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4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5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06" r:id="rId4"/>
    <p:sldMasterId id="2147483927" r:id="rId5"/>
    <p:sldMasterId id="2147483948" r:id="rId6"/>
    <p:sldMasterId id="2147484021" r:id="rId7"/>
    <p:sldMasterId id="2147484039" r:id="rId8"/>
    <p:sldMasterId id="2147484055" r:id="rId9"/>
  </p:sldMasterIdLst>
  <p:notesMasterIdLst>
    <p:notesMasterId r:id="rId23"/>
  </p:notesMasterIdLst>
  <p:handoutMasterIdLst>
    <p:handoutMasterId r:id="rId24"/>
  </p:handoutMasterIdLst>
  <p:sldIdLst>
    <p:sldId id="936" r:id="rId10"/>
    <p:sldId id="1355" r:id="rId11"/>
    <p:sldId id="2076137356" r:id="rId12"/>
    <p:sldId id="2147196141" r:id="rId13"/>
    <p:sldId id="2147196140" r:id="rId14"/>
    <p:sldId id="2076137361" r:id="rId15"/>
    <p:sldId id="2076137358" r:id="rId16"/>
    <p:sldId id="2147196142" r:id="rId17"/>
    <p:sldId id="2076137357" r:id="rId18"/>
    <p:sldId id="1358" r:id="rId19"/>
    <p:sldId id="2076137362" r:id="rId20"/>
    <p:sldId id="2076137363" r:id="rId21"/>
    <p:sldId id="207613735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8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EEE70C-CEF9-7D04-807F-BC0427746E54}" name="Patel, Dipan" initials="PD" userId="S::dipan.a.patel@accenture.com::def47a18-120a-45e2-a4ad-4e7245935ebb" providerId="AD"/>
  <p188:author id="{B5315D8E-DF5B-F8EB-894E-9E3384735307}" name="Patil, Yogesh" initials="PY" userId="S::yogesh.patil@accenture.com::406aa9c9-f2de-46d9-b869-c849efbde74b" providerId="AD"/>
  <p188:author id="{BDEA39EB-AA2F-0854-71E8-C5DD7CA7E84D}" name="Hitender Yadav" initials="HY" userId="S::hitender.yadav@avanade.com::e6279f1a-e786-49ac-b8dc-4881329cc4e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bert Dicken" initials="RD" lastIdx="1" clrIdx="0">
    <p:extLst>
      <p:ext uri="{19B8F6BF-5375-455C-9EA6-DF929625EA0E}">
        <p15:presenceInfo xmlns:p15="http://schemas.microsoft.com/office/powerpoint/2012/main" userId="4e426e07c830f6ae" providerId="Windows Live"/>
      </p:ext>
    </p:extLst>
  </p:cmAuthor>
  <p:cmAuthor id="2" name="Martin Chiles" initials="MC" lastIdx="6" clrIdx="1">
    <p:extLst>
      <p:ext uri="{19B8F6BF-5375-455C-9EA6-DF929625EA0E}">
        <p15:presenceInfo xmlns:p15="http://schemas.microsoft.com/office/powerpoint/2012/main" userId="S::m.chiles@friendstudio.com::b0849007-7ac9-4ae0-828c-872bba5530ed" providerId="AD"/>
      </p:ext>
    </p:extLst>
  </p:cmAuthor>
  <p:cmAuthor id="3" name="Hardy, Joshua (RTCMI)" initials="HJ(" lastIdx="9" clrIdx="2">
    <p:extLst>
      <p:ext uri="{19B8F6BF-5375-455C-9EA6-DF929625EA0E}">
        <p15:presenceInfo xmlns:p15="http://schemas.microsoft.com/office/powerpoint/2012/main" userId="S-1-5-21-2497950810-3593656576-593574081-7992638" providerId="AD"/>
      </p:ext>
    </p:extLst>
  </p:cmAuthor>
  <p:cmAuthor id="4" name="Coetzer, Christo D." initials="CCD" lastIdx="1" clrIdx="3">
    <p:extLst>
      <p:ext uri="{19B8F6BF-5375-455C-9EA6-DF929625EA0E}">
        <p15:presenceInfo xmlns:p15="http://schemas.microsoft.com/office/powerpoint/2012/main" userId="S::christo.d.coetzer@accenture.com::927253cf-2ae5-4999-bb42-5ba732e196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4F9A"/>
    <a:srgbClr val="005EB8"/>
    <a:srgbClr val="6F6E6E"/>
    <a:srgbClr val="D60057"/>
    <a:srgbClr val="B40436"/>
    <a:srgbClr val="2F9191"/>
    <a:srgbClr val="0384DB"/>
    <a:srgbClr val="00B5E2"/>
    <a:srgbClr val="8B0D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84" autoAdjust="0"/>
    <p:restoredTop sz="85452" autoAdjust="0"/>
  </p:normalViewPr>
  <p:slideViewPr>
    <p:cSldViewPr snapToGrid="0">
      <p:cViewPr>
        <p:scale>
          <a:sx n="120" d="100"/>
          <a:sy n="120" d="100"/>
        </p:scale>
        <p:origin x="312" y="84"/>
      </p:cViewPr>
      <p:guideLst>
        <p:guide pos="768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CF37B8-157A-414F-96D8-133BD1AC02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112D0-9157-3748-BDDE-F5B2051DA58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7A4CE1-8D79-DE40-B60E-3FB5DF025DD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DBC19B6-DA08-D146-8CDA-4CB4720D60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2066C-A13F-C746-947C-76D57B4AC3B9}" type="datetimeFigureOut">
              <a:rPr lang="en-US" smtClean="0"/>
              <a:t>7/28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764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2A1605-A06A-ED46-84EC-6091C98E84CB}" type="datetimeFigureOut">
              <a:rPr lang="en-US" smtClean="0"/>
              <a:t>7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A74C9-25DB-0440-8602-03A0C00D24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951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4637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EB926E-92CD-284C-A7B6-4D16F0BFE78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5985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36972859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1943156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1316003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1085318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FF452E-224D-4FAB-8E95-F18F4E6C5DEF}" type="slidenum">
              <a:rPr kumimoji="0" lang="en-AU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95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1303827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75783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58240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2159264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4571426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27086-BCE6-4359-81E4-08ED465CC9D2}" type="slidenum">
              <a:rPr kumimoji="0" lang="en-AU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Geneva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1526907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41F9B8-823C-1C49-9EB3-107A9C85C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612" y="2296729"/>
            <a:ext cx="4680000" cy="15611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4600" b="1" i="0" kern="1200" spc="-11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4C9D9-859C-3440-9A39-27335EE50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598" y="3881689"/>
            <a:ext cx="4680000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8BC46D8-BA31-FD41-922A-CCAAF8BAD2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7598" y="4714809"/>
            <a:ext cx="4680000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194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 Teal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chemeClr val="accent4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74A0C8C-E5B0-DD48-941B-1CDFCB16A1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9EFB295-2552-4040-8A6C-D1D3431CC3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8709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mage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28C269-B04F-8240-8B27-01F71B8120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5957" y="1588351"/>
            <a:ext cx="5762352" cy="283846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2007C127-0CA4-244C-A87F-A13D19FDC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F54C20-F135-B446-8218-E1C8D892C5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85956" y="4582050"/>
            <a:ext cx="5762351" cy="14670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Font typeface="System Font Regular"/>
              <a:buNone/>
              <a:defRPr sz="2200" b="1">
                <a:solidFill>
                  <a:schemeClr val="accent1"/>
                </a:solidFill>
              </a:defRPr>
            </a:lvl2pPr>
            <a:lvl3pPr marL="914400" indent="0">
              <a:buFont typeface="System Font Regular"/>
              <a:buNone/>
              <a:defRPr b="1">
                <a:solidFill>
                  <a:schemeClr val="accent1"/>
                </a:solidFill>
              </a:defRPr>
            </a:lvl3pPr>
            <a:lvl4pPr marL="1371600" indent="0">
              <a:buFont typeface="System Font Regular"/>
              <a:buNone/>
              <a:defRPr b="1">
                <a:solidFill>
                  <a:schemeClr val="accent1"/>
                </a:solidFill>
              </a:defRPr>
            </a:lvl4pPr>
            <a:lvl5pPr marL="1828800" indent="0">
              <a:buFont typeface="System Font Regular"/>
              <a:buNone/>
              <a:defRPr b="1">
                <a:solidFill>
                  <a:schemeClr val="accent1"/>
                </a:solidFill>
              </a:defRPr>
            </a:lvl5pPr>
          </a:lstStyle>
          <a:p>
            <a:pPr marL="0" indent="0">
              <a:buNone/>
            </a:pPr>
            <a:r>
              <a:rPr lang="en-GB"/>
              <a:t>“Click to</a:t>
            </a:r>
            <a:r>
              <a:rPr lang="en-US" b="1">
                <a:solidFill>
                  <a:schemeClr val="accent1"/>
                </a:solidFill>
              </a:rPr>
              <a:t> insert quote text: Arial bold 24pt and in a theme </a:t>
            </a:r>
            <a:r>
              <a:rPr lang="en-US" b="1" err="1">
                <a:solidFill>
                  <a:schemeClr val="accent1"/>
                </a:solidFill>
              </a:rPr>
              <a:t>colour</a:t>
            </a:r>
            <a:r>
              <a:rPr lang="en-US" b="1">
                <a:solidFill>
                  <a:schemeClr val="accent1"/>
                </a:solidFill>
              </a:rPr>
              <a:t> that complements the image selection.”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AC12A81C-BFDA-3643-91B3-A41DE97D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9717953-4479-4A4D-A2F0-20DF3956FF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552457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9682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mage and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28C269-B04F-8240-8B27-01F71B8120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5957" y="1588351"/>
            <a:ext cx="5762352" cy="4739422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2007C127-0CA4-244C-A87F-A13D19FDC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F54C20-F135-B446-8218-E1C8D892C5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06" y="4391218"/>
            <a:ext cx="5529573" cy="174572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3000" b="1">
                <a:solidFill>
                  <a:srgbClr val="0384DB"/>
                </a:solidFill>
              </a:defRPr>
            </a:lvl1pPr>
            <a:lvl2pPr marL="457200" indent="0">
              <a:buFont typeface="System Font Regular"/>
              <a:buNone/>
              <a:defRPr sz="2200" b="1">
                <a:solidFill>
                  <a:schemeClr val="accent1"/>
                </a:solidFill>
              </a:defRPr>
            </a:lvl2pPr>
            <a:lvl3pPr marL="914400" indent="0">
              <a:buFont typeface="System Font Regular"/>
              <a:buNone/>
              <a:defRPr b="1">
                <a:solidFill>
                  <a:schemeClr val="accent1"/>
                </a:solidFill>
              </a:defRPr>
            </a:lvl3pPr>
            <a:lvl4pPr marL="1371600" indent="0">
              <a:buFont typeface="System Font Regular"/>
              <a:buNone/>
              <a:defRPr b="1">
                <a:solidFill>
                  <a:schemeClr val="accent1"/>
                </a:solidFill>
              </a:defRPr>
            </a:lvl4pPr>
            <a:lvl5pPr marL="1828800" indent="0">
              <a:buFont typeface="System Font Regular"/>
              <a:buNone/>
              <a:defRPr b="1">
                <a:solidFill>
                  <a:schemeClr val="accent1"/>
                </a:solidFill>
              </a:defRPr>
            </a:lvl5pPr>
          </a:lstStyle>
          <a:p>
            <a:pPr marL="0" indent="0">
              <a:buNone/>
            </a:pPr>
            <a:r>
              <a:rPr lang="en-GB"/>
              <a:t>Click to insert statistic: Arial bold 30pt and in a theme colour that complements the image selection.</a:t>
            </a:r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4D1DF735-A2C8-A746-85AC-3625B6A68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03703D8-C805-E34A-B108-48CF5E521C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5524570" cy="2640059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0766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2007C127-0CA4-244C-A87F-A13D19FDC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E70AA93-0FCB-FA48-AAFE-BA42BC58C0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8611" y="1588351"/>
            <a:ext cx="11519717" cy="439102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2C82BB3-01AB-5342-B310-340017FEE5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8612" y="5979378"/>
            <a:ext cx="11519716" cy="243402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mage caption: Arial regular 12pt</a:t>
            </a:r>
            <a:endParaRPr lang="en-US"/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4AF56867-B248-B64A-93C4-3DB4C8FA4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19491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28C269-B04F-8240-8B27-01F71B8120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78329" y="1588351"/>
            <a:ext cx="5670000" cy="439102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61593D7-12CB-3045-AB84-08D8D5326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8329" y="5970752"/>
            <a:ext cx="5670000" cy="243402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mage caption: Arial regular 12pt</a:t>
            </a:r>
            <a:endParaRPr lang="en-US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2007C127-0CA4-244C-A87F-A13D19FDC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E70AA93-0FCB-FA48-AAFE-BA42BC58C0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8612" y="1588351"/>
            <a:ext cx="5670000" cy="439102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2C82BB3-01AB-5342-B310-340017FEE5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8612" y="5970752"/>
            <a:ext cx="5670000" cy="243402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mage caption: Arial regular 12pt</a:t>
            </a:r>
            <a:endParaRPr lang="en-US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EE0949A5-B2ED-AB4F-A74A-FA07956EA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671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28C269-B04F-8240-8B27-01F71B8120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299938" y="4009292"/>
            <a:ext cx="3548390" cy="197008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61593D7-12CB-3045-AB84-08D8D5326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99937" y="5979378"/>
            <a:ext cx="3548391" cy="243402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mage caption: Arial regular 12pt</a:t>
            </a:r>
            <a:endParaRPr lang="en-US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2007C127-0CA4-244C-A87F-A13D19FDC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E70AA93-0FCB-FA48-AAFE-BA42BC58C0F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8611" y="1588351"/>
            <a:ext cx="7800505" cy="439102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2C82BB3-01AB-5342-B310-340017FEE5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8611" y="5979378"/>
            <a:ext cx="7800505" cy="243402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mage caption: Arial regular 12pt</a:t>
            </a:r>
            <a:endParaRPr lang="en-US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68AB903-975B-224F-B397-E41E9B4157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99938" y="1587703"/>
            <a:ext cx="3548390" cy="197008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CED9845-2E4B-DC44-87C7-44BB7064A6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99937" y="3559774"/>
            <a:ext cx="3548391" cy="243402"/>
          </a:xfrm>
          <a:prstGeom prst="rect">
            <a:avLst/>
          </a:prstGeom>
        </p:spPr>
        <p:txBody>
          <a:bodyPr lIns="0" tIns="3600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mage caption: Arial regular 12pt</a:t>
            </a:r>
            <a:endParaRPr lang="en-US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131C57F8-4F7B-6F43-89B6-83578E7CF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52517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-Map-Europe-Centr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lose up of a mans face&#10;&#10;Description automatically generated">
            <a:extLst>
              <a:ext uri="{FF2B5EF4-FFF2-40B4-BE49-F238E27FC236}">
                <a16:creationId xmlns:a16="http://schemas.microsoft.com/office/drawing/2014/main" id="{0CC938EF-7E4D-854D-9112-56C1CC184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17" t="11946" b="12497"/>
          <a:stretch/>
        </p:blipFill>
        <p:spPr>
          <a:xfrm>
            <a:off x="932443" y="1069384"/>
            <a:ext cx="10312339" cy="5181601"/>
          </a:xfrm>
          <a:prstGeom prst="rect">
            <a:avLst/>
          </a:prstGeom>
        </p:spPr>
      </p:pic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12A79FE0-EB26-CE40-AD36-211D3B39F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088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-Map-Asia-Centr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9968CE3-0709-1341-B862-B3A9310FB02E}"/>
              </a:ext>
            </a:extLst>
          </p:cNvPr>
          <p:cNvGrpSpPr/>
          <p:nvPr userDrawn="1"/>
        </p:nvGrpSpPr>
        <p:grpSpPr>
          <a:xfrm>
            <a:off x="1558302" y="1294657"/>
            <a:ext cx="9060621" cy="4636258"/>
            <a:chOff x="1565690" y="1493955"/>
            <a:chExt cx="9060621" cy="4636258"/>
          </a:xfrm>
          <a:solidFill>
            <a:srgbClr val="CECECE"/>
          </a:solidFill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4A87B6-D140-6C4B-B421-F6851F1FAB9C}"/>
                </a:ext>
              </a:extLst>
            </p:cNvPr>
            <p:cNvGrpSpPr/>
            <p:nvPr/>
          </p:nvGrpSpPr>
          <p:grpSpPr>
            <a:xfrm>
              <a:off x="1565690" y="1493955"/>
              <a:ext cx="9060621" cy="4613098"/>
              <a:chOff x="447792" y="1624583"/>
              <a:chExt cx="9224893" cy="4716351"/>
            </a:xfrm>
            <a:grpFill/>
          </p:grpSpPr>
          <p:grpSp>
            <p:nvGrpSpPr>
              <p:cNvPr id="395" name="Group 394">
                <a:extLst>
                  <a:ext uri="{FF2B5EF4-FFF2-40B4-BE49-F238E27FC236}">
                    <a16:creationId xmlns:a16="http://schemas.microsoft.com/office/drawing/2014/main" id="{EC1FEEBB-801A-C044-B5E8-33925171C378}"/>
                  </a:ext>
                </a:extLst>
              </p:cNvPr>
              <p:cNvGrpSpPr/>
              <p:nvPr/>
            </p:nvGrpSpPr>
            <p:grpSpPr>
              <a:xfrm>
                <a:off x="6018880" y="1624583"/>
                <a:ext cx="3653805" cy="4716351"/>
                <a:chOff x="681740" y="1643823"/>
                <a:chExt cx="3653805" cy="4716351"/>
              </a:xfrm>
              <a:grpFill/>
            </p:grpSpPr>
            <p:sp>
              <p:nvSpPr>
                <p:cNvPr id="1184" name="Freeform 482">
                  <a:extLst>
                    <a:ext uri="{FF2B5EF4-FFF2-40B4-BE49-F238E27FC236}">
                      <a16:creationId xmlns:a16="http://schemas.microsoft.com/office/drawing/2014/main" id="{8A26CE83-046C-9546-B2C4-753F066959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0933" y="4124085"/>
                  <a:ext cx="739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0 w 6"/>
                    <a:gd name="T3" fmla="*/ 2147483647 h 8"/>
                    <a:gd name="T4" fmla="*/ 0 w 6"/>
                    <a:gd name="T5" fmla="*/ 2147483647 h 8"/>
                    <a:gd name="T6" fmla="*/ 0 w 6"/>
                    <a:gd name="T7" fmla="*/ 0 h 8"/>
                    <a:gd name="T8" fmla="*/ 2147483647 w 6"/>
                    <a:gd name="T9" fmla="*/ 2147483647 h 8"/>
                    <a:gd name="T10" fmla="*/ 2147483647 w 6"/>
                    <a:gd name="T11" fmla="*/ 2147483647 h 8"/>
                    <a:gd name="T12" fmla="*/ 2147483647 w 6"/>
                    <a:gd name="T13" fmla="*/ 2147483647 h 8"/>
                    <a:gd name="T14" fmla="*/ 2147483647 w 6"/>
                    <a:gd name="T15" fmla="*/ 2147483647 h 8"/>
                    <a:gd name="T16" fmla="*/ 2147483647 w 6"/>
                    <a:gd name="T17" fmla="*/ 2147483647 h 8"/>
                    <a:gd name="T18" fmla="*/ 2147483647 w 6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8"/>
                    <a:gd name="T32" fmla="*/ 6 w 6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8">
                      <a:moveTo>
                        <a:pt x="1" y="6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5" y="4"/>
                      </a:lnTo>
                      <a:lnTo>
                        <a:pt x="6" y="5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5" name="Freeform 484">
                  <a:extLst>
                    <a:ext uri="{FF2B5EF4-FFF2-40B4-BE49-F238E27FC236}">
                      <a16:creationId xmlns:a16="http://schemas.microsoft.com/office/drawing/2014/main" id="{CDCA1D83-412E-674D-93F0-FC5BEBE967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29449" y="4122605"/>
                  <a:ext cx="7400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0 w 6"/>
                    <a:gd name="T5" fmla="*/ 2147483647 h 7"/>
                    <a:gd name="T6" fmla="*/ 0 w 6"/>
                    <a:gd name="T7" fmla="*/ 2147483647 h 7"/>
                    <a:gd name="T8" fmla="*/ 0 w 6"/>
                    <a:gd name="T9" fmla="*/ 0 h 7"/>
                    <a:gd name="T10" fmla="*/ 0 w 6"/>
                    <a:gd name="T11" fmla="*/ 0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7"/>
                    <a:gd name="T44" fmla="*/ 6 w 6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7">
                      <a:moveTo>
                        <a:pt x="1" y="6"/>
                      </a:move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4"/>
                      </a:lnTo>
                      <a:lnTo>
                        <a:pt x="6" y="5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6" name="Freeform 485">
                  <a:extLst>
                    <a:ext uri="{FF2B5EF4-FFF2-40B4-BE49-F238E27FC236}">
                      <a16:creationId xmlns:a16="http://schemas.microsoft.com/office/drawing/2014/main" id="{CD2AFE9D-35A2-7A4E-AF87-F94377A1AD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047" y="4152206"/>
                  <a:ext cx="25158" cy="16279"/>
                </a:xfrm>
                <a:custGeom>
                  <a:avLst/>
                  <a:gdLst>
                    <a:gd name="T0" fmla="*/ 2147483647 w 18"/>
                    <a:gd name="T1" fmla="*/ 2147483647 h 11"/>
                    <a:gd name="T2" fmla="*/ 2147483647 w 18"/>
                    <a:gd name="T3" fmla="*/ 2147483647 h 11"/>
                    <a:gd name="T4" fmla="*/ 2147483647 w 18"/>
                    <a:gd name="T5" fmla="*/ 2147483647 h 11"/>
                    <a:gd name="T6" fmla="*/ 2147483647 w 18"/>
                    <a:gd name="T7" fmla="*/ 2147483647 h 11"/>
                    <a:gd name="T8" fmla="*/ 0 w 18"/>
                    <a:gd name="T9" fmla="*/ 2147483647 h 11"/>
                    <a:gd name="T10" fmla="*/ 0 w 18"/>
                    <a:gd name="T11" fmla="*/ 2147483647 h 11"/>
                    <a:gd name="T12" fmla="*/ 2147483647 w 18"/>
                    <a:gd name="T13" fmla="*/ 2147483647 h 11"/>
                    <a:gd name="T14" fmla="*/ 2147483647 w 18"/>
                    <a:gd name="T15" fmla="*/ 2147483647 h 11"/>
                    <a:gd name="T16" fmla="*/ 2147483647 w 18"/>
                    <a:gd name="T17" fmla="*/ 2147483647 h 11"/>
                    <a:gd name="T18" fmla="*/ 2147483647 w 18"/>
                    <a:gd name="T19" fmla="*/ 0 h 11"/>
                    <a:gd name="T20" fmla="*/ 2147483647 w 18"/>
                    <a:gd name="T21" fmla="*/ 2147483647 h 11"/>
                    <a:gd name="T22" fmla="*/ 2147483647 w 18"/>
                    <a:gd name="T23" fmla="*/ 2147483647 h 11"/>
                    <a:gd name="T24" fmla="*/ 2147483647 w 18"/>
                    <a:gd name="T25" fmla="*/ 2147483647 h 11"/>
                    <a:gd name="T26" fmla="*/ 2147483647 w 18"/>
                    <a:gd name="T27" fmla="*/ 2147483647 h 11"/>
                    <a:gd name="T28" fmla="*/ 2147483647 w 18"/>
                    <a:gd name="T29" fmla="*/ 2147483647 h 11"/>
                    <a:gd name="T30" fmla="*/ 2147483647 w 18"/>
                    <a:gd name="T31" fmla="*/ 2147483647 h 11"/>
                    <a:gd name="T32" fmla="*/ 2147483647 w 18"/>
                    <a:gd name="T33" fmla="*/ 2147483647 h 1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"/>
                    <a:gd name="T52" fmla="*/ 0 h 11"/>
                    <a:gd name="T53" fmla="*/ 18 w 18"/>
                    <a:gd name="T54" fmla="*/ 11 h 1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" h="11">
                      <a:moveTo>
                        <a:pt x="12" y="9"/>
                      </a:moveTo>
                      <a:lnTo>
                        <a:pt x="8" y="11"/>
                      </a:lnTo>
                      <a:lnTo>
                        <a:pt x="3" y="11"/>
                      </a:lnTo>
                      <a:lnTo>
                        <a:pt x="2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11" y="0"/>
                      </a:lnTo>
                      <a:lnTo>
                        <a:pt x="16" y="2"/>
                      </a:lnTo>
                      <a:lnTo>
                        <a:pt x="17" y="3"/>
                      </a:lnTo>
                      <a:lnTo>
                        <a:pt x="18" y="5"/>
                      </a:lnTo>
                      <a:lnTo>
                        <a:pt x="18" y="8"/>
                      </a:lnTo>
                      <a:lnTo>
                        <a:pt x="17" y="8"/>
                      </a:lnTo>
                      <a:lnTo>
                        <a:pt x="14" y="9"/>
                      </a:lnTo>
                      <a:lnTo>
                        <a:pt x="12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7" name="Freeform 486">
                  <a:extLst>
                    <a:ext uri="{FF2B5EF4-FFF2-40B4-BE49-F238E27FC236}">
                      <a16:creationId xmlns:a16="http://schemas.microsoft.com/office/drawing/2014/main" id="{3D9AD1BD-1A68-484E-AEE6-E7B797100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4966" y="4180320"/>
                  <a:ext cx="5919" cy="10359"/>
                </a:xfrm>
                <a:custGeom>
                  <a:avLst/>
                  <a:gdLst>
                    <a:gd name="T0" fmla="*/ 2147483647 w 5"/>
                    <a:gd name="T1" fmla="*/ 2147483647 h 7"/>
                    <a:gd name="T2" fmla="*/ 2147483647 w 5"/>
                    <a:gd name="T3" fmla="*/ 2147483647 h 7"/>
                    <a:gd name="T4" fmla="*/ 2147483647 w 5"/>
                    <a:gd name="T5" fmla="*/ 2147483647 h 7"/>
                    <a:gd name="T6" fmla="*/ 2147483647 w 5"/>
                    <a:gd name="T7" fmla="*/ 2147483647 h 7"/>
                    <a:gd name="T8" fmla="*/ 0 w 5"/>
                    <a:gd name="T9" fmla="*/ 2147483647 h 7"/>
                    <a:gd name="T10" fmla="*/ 0 w 5"/>
                    <a:gd name="T11" fmla="*/ 0 h 7"/>
                    <a:gd name="T12" fmla="*/ 2147483647 w 5"/>
                    <a:gd name="T13" fmla="*/ 0 h 7"/>
                    <a:gd name="T14" fmla="*/ 2147483647 w 5"/>
                    <a:gd name="T15" fmla="*/ 2147483647 h 7"/>
                    <a:gd name="T16" fmla="*/ 2147483647 w 5"/>
                    <a:gd name="T17" fmla="*/ 2147483647 h 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7"/>
                    <a:gd name="T29" fmla="*/ 5 w 5"/>
                    <a:gd name="T30" fmla="*/ 7 h 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7">
                      <a:moveTo>
                        <a:pt x="5" y="5"/>
                      </a:move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3" y="6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3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8" name="Freeform 487">
                  <a:extLst>
                    <a:ext uri="{FF2B5EF4-FFF2-40B4-BE49-F238E27FC236}">
                      <a16:creationId xmlns:a16="http://schemas.microsoft.com/office/drawing/2014/main" id="{154FF614-BDEB-3340-B1CA-5C91984D48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7570" y="4150722"/>
                  <a:ext cx="25157" cy="16278"/>
                </a:xfrm>
                <a:custGeom>
                  <a:avLst/>
                  <a:gdLst>
                    <a:gd name="T0" fmla="*/ 2147483647 w 18"/>
                    <a:gd name="T1" fmla="*/ 2147483647 h 11"/>
                    <a:gd name="T2" fmla="*/ 2147483647 w 18"/>
                    <a:gd name="T3" fmla="*/ 2147483647 h 11"/>
                    <a:gd name="T4" fmla="*/ 2147483647 w 18"/>
                    <a:gd name="T5" fmla="*/ 2147483647 h 11"/>
                    <a:gd name="T6" fmla="*/ 2147483647 w 18"/>
                    <a:gd name="T7" fmla="*/ 2147483647 h 11"/>
                    <a:gd name="T8" fmla="*/ 2147483647 w 18"/>
                    <a:gd name="T9" fmla="*/ 2147483647 h 11"/>
                    <a:gd name="T10" fmla="*/ 0 w 18"/>
                    <a:gd name="T11" fmla="*/ 2147483647 h 11"/>
                    <a:gd name="T12" fmla="*/ 0 w 18"/>
                    <a:gd name="T13" fmla="*/ 2147483647 h 11"/>
                    <a:gd name="T14" fmla="*/ 2147483647 w 18"/>
                    <a:gd name="T15" fmla="*/ 2147483647 h 11"/>
                    <a:gd name="T16" fmla="*/ 2147483647 w 18"/>
                    <a:gd name="T17" fmla="*/ 2147483647 h 11"/>
                    <a:gd name="T18" fmla="*/ 2147483647 w 18"/>
                    <a:gd name="T19" fmla="*/ 2147483647 h 11"/>
                    <a:gd name="T20" fmla="*/ 2147483647 w 18"/>
                    <a:gd name="T21" fmla="*/ 2147483647 h 11"/>
                    <a:gd name="T22" fmla="*/ 2147483647 w 18"/>
                    <a:gd name="T23" fmla="*/ 0 h 11"/>
                    <a:gd name="T24" fmla="*/ 2147483647 w 18"/>
                    <a:gd name="T25" fmla="*/ 2147483647 h 11"/>
                    <a:gd name="T26" fmla="*/ 2147483647 w 18"/>
                    <a:gd name="T27" fmla="*/ 2147483647 h 11"/>
                    <a:gd name="T28" fmla="*/ 2147483647 w 18"/>
                    <a:gd name="T29" fmla="*/ 2147483647 h 11"/>
                    <a:gd name="T30" fmla="*/ 2147483647 w 18"/>
                    <a:gd name="T31" fmla="*/ 2147483647 h 11"/>
                    <a:gd name="T32" fmla="*/ 2147483647 w 18"/>
                    <a:gd name="T33" fmla="*/ 2147483647 h 11"/>
                    <a:gd name="T34" fmla="*/ 2147483647 w 18"/>
                    <a:gd name="T35" fmla="*/ 2147483647 h 11"/>
                    <a:gd name="T36" fmla="*/ 2147483647 w 18"/>
                    <a:gd name="T37" fmla="*/ 2147483647 h 11"/>
                    <a:gd name="T38" fmla="*/ 2147483647 w 18"/>
                    <a:gd name="T39" fmla="*/ 2147483647 h 11"/>
                    <a:gd name="T40" fmla="*/ 2147483647 w 18"/>
                    <a:gd name="T41" fmla="*/ 2147483647 h 1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"/>
                    <a:gd name="T64" fmla="*/ 0 h 11"/>
                    <a:gd name="T65" fmla="*/ 18 w 18"/>
                    <a:gd name="T66" fmla="*/ 11 h 1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" h="11">
                      <a:moveTo>
                        <a:pt x="12" y="9"/>
                      </a:moveTo>
                      <a:lnTo>
                        <a:pt x="12" y="9"/>
                      </a:lnTo>
                      <a:lnTo>
                        <a:pt x="8" y="11"/>
                      </a:lnTo>
                      <a:lnTo>
                        <a:pt x="3" y="11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3" y="3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3"/>
                      </a:lnTo>
                      <a:lnTo>
                        <a:pt x="18" y="5"/>
                      </a:lnTo>
                      <a:lnTo>
                        <a:pt x="18" y="7"/>
                      </a:lnTo>
                      <a:lnTo>
                        <a:pt x="17" y="7"/>
                      </a:lnTo>
                      <a:lnTo>
                        <a:pt x="14" y="9"/>
                      </a:lnTo>
                      <a:lnTo>
                        <a:pt x="12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9" name="Freeform 488">
                  <a:extLst>
                    <a:ext uri="{FF2B5EF4-FFF2-40B4-BE49-F238E27FC236}">
                      <a16:creationId xmlns:a16="http://schemas.microsoft.com/office/drawing/2014/main" id="{3F6A0549-CAA1-BB4C-B3E4-219E25F4B4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3487" y="4178841"/>
                  <a:ext cx="5919" cy="10360"/>
                </a:xfrm>
                <a:custGeom>
                  <a:avLst/>
                  <a:gdLst>
                    <a:gd name="T0" fmla="*/ 2147483647 w 5"/>
                    <a:gd name="T1" fmla="*/ 2147483647 h 7"/>
                    <a:gd name="T2" fmla="*/ 2147483647 w 5"/>
                    <a:gd name="T3" fmla="*/ 2147483647 h 7"/>
                    <a:gd name="T4" fmla="*/ 2147483647 w 5"/>
                    <a:gd name="T5" fmla="*/ 2147483647 h 7"/>
                    <a:gd name="T6" fmla="*/ 2147483647 w 5"/>
                    <a:gd name="T7" fmla="*/ 2147483647 h 7"/>
                    <a:gd name="T8" fmla="*/ 2147483647 w 5"/>
                    <a:gd name="T9" fmla="*/ 2147483647 h 7"/>
                    <a:gd name="T10" fmla="*/ 2147483647 w 5"/>
                    <a:gd name="T11" fmla="*/ 2147483647 h 7"/>
                    <a:gd name="T12" fmla="*/ 0 w 5"/>
                    <a:gd name="T13" fmla="*/ 2147483647 h 7"/>
                    <a:gd name="T14" fmla="*/ 0 w 5"/>
                    <a:gd name="T15" fmla="*/ 0 h 7"/>
                    <a:gd name="T16" fmla="*/ 0 w 5"/>
                    <a:gd name="T17" fmla="*/ 0 h 7"/>
                    <a:gd name="T18" fmla="*/ 2147483647 w 5"/>
                    <a:gd name="T19" fmla="*/ 0 h 7"/>
                    <a:gd name="T20" fmla="*/ 2147483647 w 5"/>
                    <a:gd name="T21" fmla="*/ 0 h 7"/>
                    <a:gd name="T22" fmla="*/ 2147483647 w 5"/>
                    <a:gd name="T23" fmla="*/ 2147483647 h 7"/>
                    <a:gd name="T24" fmla="*/ 2147483647 w 5"/>
                    <a:gd name="T25" fmla="*/ 2147483647 h 7"/>
                    <a:gd name="T26" fmla="*/ 2147483647 w 5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7"/>
                    <a:gd name="T44" fmla="*/ 5 w 5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7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3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0" name="Freeform 489">
                  <a:extLst>
                    <a:ext uri="{FF2B5EF4-FFF2-40B4-BE49-F238E27FC236}">
                      <a16:creationId xmlns:a16="http://schemas.microsoft.com/office/drawing/2014/main" id="{AC63B30E-3851-6341-8947-8645D63359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6805" y="4205478"/>
                  <a:ext cx="887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0 w 6"/>
                    <a:gd name="T7" fmla="*/ 2147483647 h 8"/>
                    <a:gd name="T8" fmla="*/ 0 w 6"/>
                    <a:gd name="T9" fmla="*/ 2147483647 h 8"/>
                    <a:gd name="T10" fmla="*/ 2147483647 w 6"/>
                    <a:gd name="T11" fmla="*/ 0 h 8"/>
                    <a:gd name="T12" fmla="*/ 2147483647 w 6"/>
                    <a:gd name="T13" fmla="*/ 0 h 8"/>
                    <a:gd name="T14" fmla="*/ 2147483647 w 6"/>
                    <a:gd name="T15" fmla="*/ 2147483647 h 8"/>
                    <a:gd name="T16" fmla="*/ 2147483647 w 6"/>
                    <a:gd name="T17" fmla="*/ 2147483647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8"/>
                    <a:gd name="T29" fmla="*/ 6 w 6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8">
                      <a:moveTo>
                        <a:pt x="6" y="6"/>
                      </a:moveTo>
                      <a:lnTo>
                        <a:pt x="5" y="7"/>
                      </a:lnTo>
                      <a:lnTo>
                        <a:pt x="4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1" name="Freeform 490">
                  <a:extLst>
                    <a:ext uri="{FF2B5EF4-FFF2-40B4-BE49-F238E27FC236}">
                      <a16:creationId xmlns:a16="http://schemas.microsoft.com/office/drawing/2014/main" id="{4FADCC55-4942-6B43-B17A-76BF5DAE2F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8286" y="4223238"/>
                  <a:ext cx="8879" cy="13319"/>
                </a:xfrm>
                <a:custGeom>
                  <a:avLst/>
                  <a:gdLst>
                    <a:gd name="T0" fmla="*/ 2147483647 w 7"/>
                    <a:gd name="T1" fmla="*/ 2147483647 h 9"/>
                    <a:gd name="T2" fmla="*/ 2147483647 w 7"/>
                    <a:gd name="T3" fmla="*/ 2147483647 h 9"/>
                    <a:gd name="T4" fmla="*/ 2147483647 w 7"/>
                    <a:gd name="T5" fmla="*/ 2147483647 h 9"/>
                    <a:gd name="T6" fmla="*/ 2147483647 w 7"/>
                    <a:gd name="T7" fmla="*/ 2147483647 h 9"/>
                    <a:gd name="T8" fmla="*/ 0 w 7"/>
                    <a:gd name="T9" fmla="*/ 2147483647 h 9"/>
                    <a:gd name="T10" fmla="*/ 0 w 7"/>
                    <a:gd name="T11" fmla="*/ 2147483647 h 9"/>
                    <a:gd name="T12" fmla="*/ 0 w 7"/>
                    <a:gd name="T13" fmla="*/ 2147483647 h 9"/>
                    <a:gd name="T14" fmla="*/ 2147483647 w 7"/>
                    <a:gd name="T15" fmla="*/ 0 h 9"/>
                    <a:gd name="T16" fmla="*/ 2147483647 w 7"/>
                    <a:gd name="T17" fmla="*/ 0 h 9"/>
                    <a:gd name="T18" fmla="*/ 2147483647 w 7"/>
                    <a:gd name="T19" fmla="*/ 2147483647 h 9"/>
                    <a:gd name="T20" fmla="*/ 2147483647 w 7"/>
                    <a:gd name="T21" fmla="*/ 2147483647 h 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9"/>
                    <a:gd name="T35" fmla="*/ 7 w 7"/>
                    <a:gd name="T36" fmla="*/ 9 h 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9">
                      <a:moveTo>
                        <a:pt x="5" y="6"/>
                      </a:moveTo>
                      <a:lnTo>
                        <a:pt x="7" y="7"/>
                      </a:lnTo>
                      <a:lnTo>
                        <a:pt x="4" y="9"/>
                      </a:lnTo>
                      <a:lnTo>
                        <a:pt x="2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2" name="Freeform 491">
                  <a:extLst>
                    <a:ext uri="{FF2B5EF4-FFF2-40B4-BE49-F238E27FC236}">
                      <a16:creationId xmlns:a16="http://schemas.microsoft.com/office/drawing/2014/main" id="{A1567AC7-DE2E-3544-A209-01BB03C804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5328" y="4203997"/>
                  <a:ext cx="887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2147483647 w 6"/>
                    <a:gd name="T9" fmla="*/ 2147483647 h 8"/>
                    <a:gd name="T10" fmla="*/ 0 w 6"/>
                    <a:gd name="T11" fmla="*/ 2147483647 h 8"/>
                    <a:gd name="T12" fmla="*/ 0 w 6"/>
                    <a:gd name="T13" fmla="*/ 2147483647 h 8"/>
                    <a:gd name="T14" fmla="*/ 2147483647 w 6"/>
                    <a:gd name="T15" fmla="*/ 0 h 8"/>
                    <a:gd name="T16" fmla="*/ 2147483647 w 6"/>
                    <a:gd name="T17" fmla="*/ 0 h 8"/>
                    <a:gd name="T18" fmla="*/ 2147483647 w 6"/>
                    <a:gd name="T19" fmla="*/ 0 h 8"/>
                    <a:gd name="T20" fmla="*/ 2147483647 w 6"/>
                    <a:gd name="T21" fmla="*/ 2147483647 h 8"/>
                    <a:gd name="T22" fmla="*/ 2147483647 w 6"/>
                    <a:gd name="T23" fmla="*/ 2147483647 h 8"/>
                    <a:gd name="T24" fmla="*/ 2147483647 w 6"/>
                    <a:gd name="T25" fmla="*/ 2147483647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8"/>
                    <a:gd name="T41" fmla="*/ 6 w 6"/>
                    <a:gd name="T42" fmla="*/ 8 h 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8">
                      <a:moveTo>
                        <a:pt x="6" y="6"/>
                      </a:move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4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3" name="Freeform 492">
                  <a:extLst>
                    <a:ext uri="{FF2B5EF4-FFF2-40B4-BE49-F238E27FC236}">
                      <a16:creationId xmlns:a16="http://schemas.microsoft.com/office/drawing/2014/main" id="{417D4E07-79F9-E74A-A4EE-FDF752E49F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6805" y="4221757"/>
                  <a:ext cx="8879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2147483647 h 9"/>
                    <a:gd name="T4" fmla="*/ 2147483647 w 6"/>
                    <a:gd name="T5" fmla="*/ 2147483647 h 9"/>
                    <a:gd name="T6" fmla="*/ 2147483647 w 6"/>
                    <a:gd name="T7" fmla="*/ 2147483647 h 9"/>
                    <a:gd name="T8" fmla="*/ 2147483647 w 6"/>
                    <a:gd name="T9" fmla="*/ 2147483647 h 9"/>
                    <a:gd name="T10" fmla="*/ 2147483647 w 6"/>
                    <a:gd name="T11" fmla="*/ 2147483647 h 9"/>
                    <a:gd name="T12" fmla="*/ 2147483647 w 6"/>
                    <a:gd name="T13" fmla="*/ 2147483647 h 9"/>
                    <a:gd name="T14" fmla="*/ 0 w 6"/>
                    <a:gd name="T15" fmla="*/ 2147483647 h 9"/>
                    <a:gd name="T16" fmla="*/ 0 w 6"/>
                    <a:gd name="T17" fmla="*/ 2147483647 h 9"/>
                    <a:gd name="T18" fmla="*/ 0 w 6"/>
                    <a:gd name="T19" fmla="*/ 2147483647 h 9"/>
                    <a:gd name="T20" fmla="*/ 0 w 6"/>
                    <a:gd name="T21" fmla="*/ 2147483647 h 9"/>
                    <a:gd name="T22" fmla="*/ 2147483647 w 6"/>
                    <a:gd name="T23" fmla="*/ 0 h 9"/>
                    <a:gd name="T24" fmla="*/ 2147483647 w 6"/>
                    <a:gd name="T25" fmla="*/ 0 h 9"/>
                    <a:gd name="T26" fmla="*/ 2147483647 w 6"/>
                    <a:gd name="T27" fmla="*/ 0 h 9"/>
                    <a:gd name="T28" fmla="*/ 2147483647 w 6"/>
                    <a:gd name="T29" fmla="*/ 2147483647 h 9"/>
                    <a:gd name="T30" fmla="*/ 2147483647 w 6"/>
                    <a:gd name="T31" fmla="*/ 2147483647 h 9"/>
                    <a:gd name="T32" fmla="*/ 2147483647 w 6"/>
                    <a:gd name="T33" fmla="*/ 2147483647 h 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"/>
                    <a:gd name="T52" fmla="*/ 0 h 9"/>
                    <a:gd name="T53" fmla="*/ 6 w 6"/>
                    <a:gd name="T54" fmla="*/ 9 h 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" h="9">
                      <a:moveTo>
                        <a:pt x="5" y="6"/>
                      </a:moveTo>
                      <a:lnTo>
                        <a:pt x="5" y="6"/>
                      </a:lnTo>
                      <a:lnTo>
                        <a:pt x="6" y="7"/>
                      </a:lnTo>
                      <a:lnTo>
                        <a:pt x="4" y="9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4" name="Freeform 493">
                  <a:extLst>
                    <a:ext uri="{FF2B5EF4-FFF2-40B4-BE49-F238E27FC236}">
                      <a16:creationId xmlns:a16="http://schemas.microsoft.com/office/drawing/2014/main" id="{F5A6396A-F2B9-9D45-A043-CF01B48B0D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3845" y="4254314"/>
                  <a:ext cx="4440" cy="14799"/>
                </a:xfrm>
                <a:custGeom>
                  <a:avLst/>
                  <a:gdLst>
                    <a:gd name="T0" fmla="*/ 0 w 3"/>
                    <a:gd name="T1" fmla="*/ 2147483647 h 10"/>
                    <a:gd name="T2" fmla="*/ 0 w 3"/>
                    <a:gd name="T3" fmla="*/ 2147483647 h 10"/>
                    <a:gd name="T4" fmla="*/ 0 w 3"/>
                    <a:gd name="T5" fmla="*/ 0 h 10"/>
                    <a:gd name="T6" fmla="*/ 2147483647 w 3"/>
                    <a:gd name="T7" fmla="*/ 0 h 10"/>
                    <a:gd name="T8" fmla="*/ 2147483647 w 3"/>
                    <a:gd name="T9" fmla="*/ 2147483647 h 10"/>
                    <a:gd name="T10" fmla="*/ 2147483647 w 3"/>
                    <a:gd name="T11" fmla="*/ 2147483647 h 10"/>
                    <a:gd name="T12" fmla="*/ 2147483647 w 3"/>
                    <a:gd name="T13" fmla="*/ 2147483647 h 10"/>
                    <a:gd name="T14" fmla="*/ 0 w 3"/>
                    <a:gd name="T15" fmla="*/ 2147483647 h 10"/>
                    <a:gd name="T16" fmla="*/ 0 w 3"/>
                    <a:gd name="T17" fmla="*/ 2147483647 h 10"/>
                    <a:gd name="T18" fmla="*/ 0 w 3"/>
                    <a:gd name="T19" fmla="*/ 2147483647 h 1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"/>
                    <a:gd name="T31" fmla="*/ 0 h 10"/>
                    <a:gd name="T32" fmla="*/ 3 w 3"/>
                    <a:gd name="T33" fmla="*/ 10 h 1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" h="10">
                      <a:moveTo>
                        <a:pt x="0" y="5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5" name="Freeform 494">
                  <a:extLst>
                    <a:ext uri="{FF2B5EF4-FFF2-40B4-BE49-F238E27FC236}">
                      <a16:creationId xmlns:a16="http://schemas.microsoft.com/office/drawing/2014/main" id="{30F9F199-FBD3-7241-BCCE-EC066DFBBE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5285" y="4243953"/>
                  <a:ext cx="10360" cy="11839"/>
                </a:xfrm>
                <a:custGeom>
                  <a:avLst/>
                  <a:gdLst>
                    <a:gd name="T0" fmla="*/ 2147483647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2147483647 h 8"/>
                    <a:gd name="T6" fmla="*/ 2147483647 w 8"/>
                    <a:gd name="T7" fmla="*/ 2147483647 h 8"/>
                    <a:gd name="T8" fmla="*/ 2147483647 w 8"/>
                    <a:gd name="T9" fmla="*/ 2147483647 h 8"/>
                    <a:gd name="T10" fmla="*/ 2147483647 w 8"/>
                    <a:gd name="T11" fmla="*/ 2147483647 h 8"/>
                    <a:gd name="T12" fmla="*/ 0 w 8"/>
                    <a:gd name="T13" fmla="*/ 2147483647 h 8"/>
                    <a:gd name="T14" fmla="*/ 0 w 8"/>
                    <a:gd name="T15" fmla="*/ 2147483647 h 8"/>
                    <a:gd name="T16" fmla="*/ 2147483647 w 8"/>
                    <a:gd name="T17" fmla="*/ 0 h 8"/>
                    <a:gd name="T18" fmla="*/ 2147483647 w 8"/>
                    <a:gd name="T19" fmla="*/ 2147483647 h 8"/>
                    <a:gd name="T20" fmla="*/ 2147483647 w 8"/>
                    <a:gd name="T21" fmla="*/ 2147483647 h 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8"/>
                    <a:gd name="T35" fmla="*/ 8 w 8"/>
                    <a:gd name="T36" fmla="*/ 8 h 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8">
                      <a:moveTo>
                        <a:pt x="6" y="4"/>
                      </a:moveTo>
                      <a:lnTo>
                        <a:pt x="8" y="6"/>
                      </a:lnTo>
                      <a:lnTo>
                        <a:pt x="8" y="7"/>
                      </a:lnTo>
                      <a:lnTo>
                        <a:pt x="6" y="8"/>
                      </a:lnTo>
                      <a:lnTo>
                        <a:pt x="4" y="8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6" name="Freeform 495">
                  <a:extLst>
                    <a:ext uri="{FF2B5EF4-FFF2-40B4-BE49-F238E27FC236}">
                      <a16:creationId xmlns:a16="http://schemas.microsoft.com/office/drawing/2014/main" id="{8B7273AC-1964-6740-BDEC-8CE390F844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0885" y="4252833"/>
                  <a:ext cx="5919" cy="13319"/>
                </a:xfrm>
                <a:custGeom>
                  <a:avLst/>
                  <a:gdLst>
                    <a:gd name="T0" fmla="*/ 0 w 4"/>
                    <a:gd name="T1" fmla="*/ 2147483647 h 9"/>
                    <a:gd name="T2" fmla="*/ 0 w 4"/>
                    <a:gd name="T3" fmla="*/ 2147483647 h 9"/>
                    <a:gd name="T4" fmla="*/ 0 w 4"/>
                    <a:gd name="T5" fmla="*/ 2147483647 h 9"/>
                    <a:gd name="T6" fmla="*/ 0 w 4"/>
                    <a:gd name="T7" fmla="*/ 0 h 9"/>
                    <a:gd name="T8" fmla="*/ 2147483647 w 4"/>
                    <a:gd name="T9" fmla="*/ 0 h 9"/>
                    <a:gd name="T10" fmla="*/ 2147483647 w 4"/>
                    <a:gd name="T11" fmla="*/ 0 h 9"/>
                    <a:gd name="T12" fmla="*/ 2147483647 w 4"/>
                    <a:gd name="T13" fmla="*/ 2147483647 h 9"/>
                    <a:gd name="T14" fmla="*/ 2147483647 w 4"/>
                    <a:gd name="T15" fmla="*/ 2147483647 h 9"/>
                    <a:gd name="T16" fmla="*/ 2147483647 w 4"/>
                    <a:gd name="T17" fmla="*/ 2147483647 h 9"/>
                    <a:gd name="T18" fmla="*/ 0 w 4"/>
                    <a:gd name="T19" fmla="*/ 2147483647 h 9"/>
                    <a:gd name="T20" fmla="*/ 0 w 4"/>
                    <a:gd name="T21" fmla="*/ 2147483647 h 9"/>
                    <a:gd name="T22" fmla="*/ 0 w 4"/>
                    <a:gd name="T23" fmla="*/ 2147483647 h 9"/>
                    <a:gd name="T24" fmla="*/ 0 w 4"/>
                    <a:gd name="T25" fmla="*/ 2147483647 h 9"/>
                    <a:gd name="T26" fmla="*/ 0 w 4"/>
                    <a:gd name="T27" fmla="*/ 2147483647 h 9"/>
                    <a:gd name="T28" fmla="*/ 0 w 4"/>
                    <a:gd name="T29" fmla="*/ 2147483647 h 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"/>
                    <a:gd name="T46" fmla="*/ 0 h 9"/>
                    <a:gd name="T47" fmla="*/ 4 w 4"/>
                    <a:gd name="T48" fmla="*/ 9 h 9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7" name="Freeform 496">
                  <a:extLst>
                    <a:ext uri="{FF2B5EF4-FFF2-40B4-BE49-F238E27FC236}">
                      <a16:creationId xmlns:a16="http://schemas.microsoft.com/office/drawing/2014/main" id="{0940DF20-D7B3-3747-B2D4-467A4AE0CB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3803" y="4242475"/>
                  <a:ext cx="8879" cy="11839"/>
                </a:xfrm>
                <a:custGeom>
                  <a:avLst/>
                  <a:gdLst>
                    <a:gd name="T0" fmla="*/ 2147483647 w 7"/>
                    <a:gd name="T1" fmla="*/ 2147483647 h 8"/>
                    <a:gd name="T2" fmla="*/ 2147483647 w 7"/>
                    <a:gd name="T3" fmla="*/ 2147483647 h 8"/>
                    <a:gd name="T4" fmla="*/ 2147483647 w 7"/>
                    <a:gd name="T5" fmla="*/ 2147483647 h 8"/>
                    <a:gd name="T6" fmla="*/ 2147483647 w 7"/>
                    <a:gd name="T7" fmla="*/ 2147483647 h 8"/>
                    <a:gd name="T8" fmla="*/ 2147483647 w 7"/>
                    <a:gd name="T9" fmla="*/ 2147483647 h 8"/>
                    <a:gd name="T10" fmla="*/ 2147483647 w 7"/>
                    <a:gd name="T11" fmla="*/ 2147483647 h 8"/>
                    <a:gd name="T12" fmla="*/ 2147483647 w 7"/>
                    <a:gd name="T13" fmla="*/ 2147483647 h 8"/>
                    <a:gd name="T14" fmla="*/ 2147483647 w 7"/>
                    <a:gd name="T15" fmla="*/ 2147483647 h 8"/>
                    <a:gd name="T16" fmla="*/ 2147483647 w 7"/>
                    <a:gd name="T17" fmla="*/ 2147483647 h 8"/>
                    <a:gd name="T18" fmla="*/ 0 w 7"/>
                    <a:gd name="T19" fmla="*/ 2147483647 h 8"/>
                    <a:gd name="T20" fmla="*/ 0 w 7"/>
                    <a:gd name="T21" fmla="*/ 2147483647 h 8"/>
                    <a:gd name="T22" fmla="*/ 0 w 7"/>
                    <a:gd name="T23" fmla="*/ 2147483647 h 8"/>
                    <a:gd name="T24" fmla="*/ 2147483647 w 7"/>
                    <a:gd name="T25" fmla="*/ 0 h 8"/>
                    <a:gd name="T26" fmla="*/ 2147483647 w 7"/>
                    <a:gd name="T27" fmla="*/ 2147483647 h 8"/>
                    <a:gd name="T28" fmla="*/ 2147483647 w 7"/>
                    <a:gd name="T29" fmla="*/ 2147483647 h 8"/>
                    <a:gd name="T30" fmla="*/ 2147483647 w 7"/>
                    <a:gd name="T31" fmla="*/ 2147483647 h 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"/>
                    <a:gd name="T49" fmla="*/ 0 h 8"/>
                    <a:gd name="T50" fmla="*/ 7 w 7"/>
                    <a:gd name="T51" fmla="*/ 8 h 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" h="8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7" y="6"/>
                      </a:lnTo>
                      <a:lnTo>
                        <a:pt x="7" y="7"/>
                      </a:lnTo>
                      <a:lnTo>
                        <a:pt x="6" y="8"/>
                      </a:lnTo>
                      <a:lnTo>
                        <a:pt x="4" y="8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8" name="Freeform 497">
                  <a:extLst>
                    <a:ext uri="{FF2B5EF4-FFF2-40B4-BE49-F238E27FC236}">
                      <a16:creationId xmlns:a16="http://schemas.microsoft.com/office/drawing/2014/main" id="{7A101DB3-4969-B74E-B929-550D4C0745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046" y="4277995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0 h 6"/>
                    <a:gd name="T16" fmla="*/ 2147483647 w 5"/>
                    <a:gd name="T17" fmla="*/ 0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6"/>
                    <a:gd name="T35" fmla="*/ 5 w 5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6">
                      <a:moveTo>
                        <a:pt x="5" y="3"/>
                      </a:move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9" name="Freeform 498">
                  <a:extLst>
                    <a:ext uri="{FF2B5EF4-FFF2-40B4-BE49-F238E27FC236}">
                      <a16:creationId xmlns:a16="http://schemas.microsoft.com/office/drawing/2014/main" id="{BD80C42B-BB04-3346-935B-EFD9066D65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4969" y="4310551"/>
                  <a:ext cx="20718" cy="25157"/>
                </a:xfrm>
                <a:custGeom>
                  <a:avLst/>
                  <a:gdLst>
                    <a:gd name="T0" fmla="*/ 2147483647 w 15"/>
                    <a:gd name="T1" fmla="*/ 2147483647 h 17"/>
                    <a:gd name="T2" fmla="*/ 2147483647 w 15"/>
                    <a:gd name="T3" fmla="*/ 2147483647 h 17"/>
                    <a:gd name="T4" fmla="*/ 2147483647 w 15"/>
                    <a:gd name="T5" fmla="*/ 2147483647 h 17"/>
                    <a:gd name="T6" fmla="*/ 2147483647 w 15"/>
                    <a:gd name="T7" fmla="*/ 2147483647 h 17"/>
                    <a:gd name="T8" fmla="*/ 2147483647 w 15"/>
                    <a:gd name="T9" fmla="*/ 0 h 17"/>
                    <a:gd name="T10" fmla="*/ 2147483647 w 15"/>
                    <a:gd name="T11" fmla="*/ 2147483647 h 17"/>
                    <a:gd name="T12" fmla="*/ 2147483647 w 15"/>
                    <a:gd name="T13" fmla="*/ 2147483647 h 17"/>
                    <a:gd name="T14" fmla="*/ 2147483647 w 15"/>
                    <a:gd name="T15" fmla="*/ 2147483647 h 17"/>
                    <a:gd name="T16" fmla="*/ 2147483647 w 15"/>
                    <a:gd name="T17" fmla="*/ 2147483647 h 17"/>
                    <a:gd name="T18" fmla="*/ 2147483647 w 15"/>
                    <a:gd name="T19" fmla="*/ 2147483647 h 17"/>
                    <a:gd name="T20" fmla="*/ 0 w 15"/>
                    <a:gd name="T21" fmla="*/ 2147483647 h 17"/>
                    <a:gd name="T22" fmla="*/ 0 w 15"/>
                    <a:gd name="T23" fmla="*/ 2147483647 h 17"/>
                    <a:gd name="T24" fmla="*/ 0 w 15"/>
                    <a:gd name="T25" fmla="*/ 2147483647 h 17"/>
                    <a:gd name="T26" fmla="*/ 2147483647 w 15"/>
                    <a:gd name="T27" fmla="*/ 2147483647 h 17"/>
                    <a:gd name="T28" fmla="*/ 2147483647 w 15"/>
                    <a:gd name="T29" fmla="*/ 2147483647 h 17"/>
                    <a:gd name="T30" fmla="*/ 2147483647 w 15"/>
                    <a:gd name="T31" fmla="*/ 2147483647 h 17"/>
                    <a:gd name="T32" fmla="*/ 2147483647 w 15"/>
                    <a:gd name="T33" fmla="*/ 2147483647 h 17"/>
                    <a:gd name="T34" fmla="*/ 2147483647 w 15"/>
                    <a:gd name="T35" fmla="*/ 2147483647 h 17"/>
                    <a:gd name="T36" fmla="*/ 2147483647 w 15"/>
                    <a:gd name="T37" fmla="*/ 2147483647 h 17"/>
                    <a:gd name="T38" fmla="*/ 2147483647 w 15"/>
                    <a:gd name="T39" fmla="*/ 2147483647 h 1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17"/>
                    <a:gd name="T62" fmla="*/ 15 w 15"/>
                    <a:gd name="T63" fmla="*/ 17 h 1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17">
                      <a:moveTo>
                        <a:pt x="12" y="10"/>
                      </a:moveTo>
                      <a:lnTo>
                        <a:pt x="12" y="7"/>
                      </a:lnTo>
                      <a:lnTo>
                        <a:pt x="13" y="5"/>
                      </a:lnTo>
                      <a:lnTo>
                        <a:pt x="14" y="2"/>
                      </a:lnTo>
                      <a:lnTo>
                        <a:pt x="15" y="0"/>
                      </a:lnTo>
                      <a:lnTo>
                        <a:pt x="13" y="2"/>
                      </a:lnTo>
                      <a:lnTo>
                        <a:pt x="9" y="2"/>
                      </a:lnTo>
                      <a:lnTo>
                        <a:pt x="7" y="4"/>
                      </a:lnTo>
                      <a:lnTo>
                        <a:pt x="4" y="4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1" y="16"/>
                      </a:lnTo>
                      <a:lnTo>
                        <a:pt x="4" y="17"/>
                      </a:lnTo>
                      <a:lnTo>
                        <a:pt x="7" y="17"/>
                      </a:lnTo>
                      <a:lnTo>
                        <a:pt x="9" y="16"/>
                      </a:lnTo>
                      <a:lnTo>
                        <a:pt x="10" y="12"/>
                      </a:lnTo>
                      <a:lnTo>
                        <a:pt x="12" y="8"/>
                      </a:lnTo>
                      <a:lnTo>
                        <a:pt x="12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0" name="Freeform 499">
                  <a:extLst>
                    <a:ext uri="{FF2B5EF4-FFF2-40B4-BE49-F238E27FC236}">
                      <a16:creationId xmlns:a16="http://schemas.microsoft.com/office/drawing/2014/main" id="{1138B73A-D8ED-F947-B34E-73C91AF20B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7570" y="4275035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0 w 5"/>
                    <a:gd name="T15" fmla="*/ 2147483647 h 6"/>
                    <a:gd name="T16" fmla="*/ 0 w 5"/>
                    <a:gd name="T17" fmla="*/ 2147483647 h 6"/>
                    <a:gd name="T18" fmla="*/ 2147483647 w 5"/>
                    <a:gd name="T19" fmla="*/ 0 h 6"/>
                    <a:gd name="T20" fmla="*/ 2147483647 w 5"/>
                    <a:gd name="T21" fmla="*/ 0 h 6"/>
                    <a:gd name="T22" fmla="*/ 2147483647 w 5"/>
                    <a:gd name="T23" fmla="*/ 0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2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1" name="Freeform 500">
                  <a:extLst>
                    <a:ext uri="{FF2B5EF4-FFF2-40B4-BE49-F238E27FC236}">
                      <a16:creationId xmlns:a16="http://schemas.microsoft.com/office/drawing/2014/main" id="{5E74069A-04E9-2843-AF40-6F5B975F99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3490" y="4309068"/>
                  <a:ext cx="20718" cy="25158"/>
                </a:xfrm>
                <a:custGeom>
                  <a:avLst/>
                  <a:gdLst>
                    <a:gd name="T0" fmla="*/ 2147483647 w 15"/>
                    <a:gd name="T1" fmla="*/ 2147483647 h 17"/>
                    <a:gd name="T2" fmla="*/ 2147483647 w 15"/>
                    <a:gd name="T3" fmla="*/ 2147483647 h 17"/>
                    <a:gd name="T4" fmla="*/ 2147483647 w 15"/>
                    <a:gd name="T5" fmla="*/ 2147483647 h 17"/>
                    <a:gd name="T6" fmla="*/ 2147483647 w 15"/>
                    <a:gd name="T7" fmla="*/ 2147483647 h 17"/>
                    <a:gd name="T8" fmla="*/ 2147483647 w 15"/>
                    <a:gd name="T9" fmla="*/ 2147483647 h 17"/>
                    <a:gd name="T10" fmla="*/ 2147483647 w 15"/>
                    <a:gd name="T11" fmla="*/ 0 h 17"/>
                    <a:gd name="T12" fmla="*/ 2147483647 w 15"/>
                    <a:gd name="T13" fmla="*/ 0 h 17"/>
                    <a:gd name="T14" fmla="*/ 2147483647 w 15"/>
                    <a:gd name="T15" fmla="*/ 2147483647 h 17"/>
                    <a:gd name="T16" fmla="*/ 2147483647 w 15"/>
                    <a:gd name="T17" fmla="*/ 2147483647 h 17"/>
                    <a:gd name="T18" fmla="*/ 2147483647 w 15"/>
                    <a:gd name="T19" fmla="*/ 2147483647 h 17"/>
                    <a:gd name="T20" fmla="*/ 2147483647 w 15"/>
                    <a:gd name="T21" fmla="*/ 2147483647 h 17"/>
                    <a:gd name="T22" fmla="*/ 2147483647 w 15"/>
                    <a:gd name="T23" fmla="*/ 2147483647 h 17"/>
                    <a:gd name="T24" fmla="*/ 2147483647 w 15"/>
                    <a:gd name="T25" fmla="*/ 2147483647 h 17"/>
                    <a:gd name="T26" fmla="*/ 0 w 15"/>
                    <a:gd name="T27" fmla="*/ 2147483647 h 17"/>
                    <a:gd name="T28" fmla="*/ 0 w 15"/>
                    <a:gd name="T29" fmla="*/ 2147483647 h 17"/>
                    <a:gd name="T30" fmla="*/ 0 w 15"/>
                    <a:gd name="T31" fmla="*/ 2147483647 h 17"/>
                    <a:gd name="T32" fmla="*/ 0 w 15"/>
                    <a:gd name="T33" fmla="*/ 2147483647 h 17"/>
                    <a:gd name="T34" fmla="*/ 2147483647 w 15"/>
                    <a:gd name="T35" fmla="*/ 2147483647 h 17"/>
                    <a:gd name="T36" fmla="*/ 2147483647 w 15"/>
                    <a:gd name="T37" fmla="*/ 2147483647 h 17"/>
                    <a:gd name="T38" fmla="*/ 2147483647 w 15"/>
                    <a:gd name="T39" fmla="*/ 2147483647 h 17"/>
                    <a:gd name="T40" fmla="*/ 2147483647 w 15"/>
                    <a:gd name="T41" fmla="*/ 2147483647 h 17"/>
                    <a:gd name="T42" fmla="*/ 2147483647 w 15"/>
                    <a:gd name="T43" fmla="*/ 2147483647 h 17"/>
                    <a:gd name="T44" fmla="*/ 2147483647 w 15"/>
                    <a:gd name="T45" fmla="*/ 2147483647 h 17"/>
                    <a:gd name="T46" fmla="*/ 2147483647 w 15"/>
                    <a:gd name="T47" fmla="*/ 2147483647 h 17"/>
                    <a:gd name="T48" fmla="*/ 2147483647 w 15"/>
                    <a:gd name="T49" fmla="*/ 2147483647 h 17"/>
                    <a:gd name="T50" fmla="*/ 2147483647 w 15"/>
                    <a:gd name="T51" fmla="*/ 2147483647 h 17"/>
                    <a:gd name="T52" fmla="*/ 2147483647 w 15"/>
                    <a:gd name="T53" fmla="*/ 2147483647 h 17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5"/>
                    <a:gd name="T82" fmla="*/ 0 h 17"/>
                    <a:gd name="T83" fmla="*/ 15 w 15"/>
                    <a:gd name="T84" fmla="*/ 17 h 17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5" h="17">
                      <a:moveTo>
                        <a:pt x="11" y="9"/>
                      </a:moveTo>
                      <a:lnTo>
                        <a:pt x="11" y="9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14" y="2"/>
                      </a:lnTo>
                      <a:lnTo>
                        <a:pt x="15" y="0"/>
                      </a:lnTo>
                      <a:lnTo>
                        <a:pt x="13" y="2"/>
                      </a:lnTo>
                      <a:lnTo>
                        <a:pt x="9" y="2"/>
                      </a:lnTo>
                      <a:lnTo>
                        <a:pt x="6" y="3"/>
                      </a:lnTo>
                      <a:lnTo>
                        <a:pt x="4" y="3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1" y="15"/>
                      </a:lnTo>
                      <a:lnTo>
                        <a:pt x="4" y="17"/>
                      </a:lnTo>
                      <a:lnTo>
                        <a:pt x="6" y="17"/>
                      </a:lnTo>
                      <a:lnTo>
                        <a:pt x="9" y="15"/>
                      </a:lnTo>
                      <a:lnTo>
                        <a:pt x="10" y="12"/>
                      </a:lnTo>
                      <a:lnTo>
                        <a:pt x="11" y="8"/>
                      </a:lnTo>
                      <a:lnTo>
                        <a:pt x="11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2" name="Freeform 506">
                  <a:extLst>
                    <a:ext uri="{FF2B5EF4-FFF2-40B4-BE49-F238E27FC236}">
                      <a16:creationId xmlns:a16="http://schemas.microsoft.com/office/drawing/2014/main" id="{C4D07ADF-D48B-3840-A82D-D14AAE7E40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878" y="6326137"/>
                  <a:ext cx="57715" cy="34037"/>
                </a:xfrm>
                <a:custGeom>
                  <a:avLst/>
                  <a:gdLst>
                    <a:gd name="T0" fmla="*/ 2147483647 w 42"/>
                    <a:gd name="T1" fmla="*/ 2147483647 h 23"/>
                    <a:gd name="T2" fmla="*/ 2147483647 w 42"/>
                    <a:gd name="T3" fmla="*/ 2147483647 h 23"/>
                    <a:gd name="T4" fmla="*/ 2147483647 w 42"/>
                    <a:gd name="T5" fmla="*/ 2147483647 h 23"/>
                    <a:gd name="T6" fmla="*/ 0 w 42"/>
                    <a:gd name="T7" fmla="*/ 2147483647 h 23"/>
                    <a:gd name="T8" fmla="*/ 0 w 42"/>
                    <a:gd name="T9" fmla="*/ 2147483647 h 23"/>
                    <a:gd name="T10" fmla="*/ 0 w 42"/>
                    <a:gd name="T11" fmla="*/ 2147483647 h 23"/>
                    <a:gd name="T12" fmla="*/ 2147483647 w 42"/>
                    <a:gd name="T13" fmla="*/ 2147483647 h 23"/>
                    <a:gd name="T14" fmla="*/ 2147483647 w 42"/>
                    <a:gd name="T15" fmla="*/ 2147483647 h 23"/>
                    <a:gd name="T16" fmla="*/ 2147483647 w 42"/>
                    <a:gd name="T17" fmla="*/ 0 h 23"/>
                    <a:gd name="T18" fmla="*/ 2147483647 w 42"/>
                    <a:gd name="T19" fmla="*/ 0 h 23"/>
                    <a:gd name="T20" fmla="*/ 2147483647 w 42"/>
                    <a:gd name="T21" fmla="*/ 2147483647 h 23"/>
                    <a:gd name="T22" fmla="*/ 2147483647 w 42"/>
                    <a:gd name="T23" fmla="*/ 2147483647 h 23"/>
                    <a:gd name="T24" fmla="*/ 2147483647 w 42"/>
                    <a:gd name="T25" fmla="*/ 2147483647 h 23"/>
                    <a:gd name="T26" fmla="*/ 2147483647 w 42"/>
                    <a:gd name="T27" fmla="*/ 2147483647 h 23"/>
                    <a:gd name="T28" fmla="*/ 2147483647 w 42"/>
                    <a:gd name="T29" fmla="*/ 2147483647 h 23"/>
                    <a:gd name="T30" fmla="*/ 2147483647 w 42"/>
                    <a:gd name="T31" fmla="*/ 2147483647 h 23"/>
                    <a:gd name="T32" fmla="*/ 2147483647 w 42"/>
                    <a:gd name="T33" fmla="*/ 2147483647 h 23"/>
                    <a:gd name="T34" fmla="*/ 2147483647 w 42"/>
                    <a:gd name="T35" fmla="*/ 2147483647 h 23"/>
                    <a:gd name="T36" fmla="*/ 2147483647 w 42"/>
                    <a:gd name="T37" fmla="*/ 2147483647 h 23"/>
                    <a:gd name="T38" fmla="*/ 2147483647 w 42"/>
                    <a:gd name="T39" fmla="*/ 2147483647 h 23"/>
                    <a:gd name="T40" fmla="*/ 2147483647 w 42"/>
                    <a:gd name="T41" fmla="*/ 2147483647 h 23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42"/>
                    <a:gd name="T64" fmla="*/ 0 h 23"/>
                    <a:gd name="T65" fmla="*/ 42 w 42"/>
                    <a:gd name="T66" fmla="*/ 23 h 23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42" h="23">
                      <a:moveTo>
                        <a:pt x="17" y="11"/>
                      </a:moveTo>
                      <a:lnTo>
                        <a:pt x="10" y="10"/>
                      </a:lnTo>
                      <a:lnTo>
                        <a:pt x="4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4" y="2"/>
                      </a:lnTo>
                      <a:lnTo>
                        <a:pt x="10" y="0"/>
                      </a:lnTo>
                      <a:lnTo>
                        <a:pt x="15" y="0"/>
                      </a:lnTo>
                      <a:lnTo>
                        <a:pt x="20" y="2"/>
                      </a:lnTo>
                      <a:lnTo>
                        <a:pt x="27" y="3"/>
                      </a:lnTo>
                      <a:lnTo>
                        <a:pt x="33" y="6"/>
                      </a:lnTo>
                      <a:lnTo>
                        <a:pt x="37" y="11"/>
                      </a:lnTo>
                      <a:lnTo>
                        <a:pt x="41" y="16"/>
                      </a:lnTo>
                      <a:lnTo>
                        <a:pt x="42" y="19"/>
                      </a:lnTo>
                      <a:lnTo>
                        <a:pt x="41" y="22"/>
                      </a:lnTo>
                      <a:lnTo>
                        <a:pt x="39" y="23"/>
                      </a:lnTo>
                      <a:lnTo>
                        <a:pt x="37" y="22"/>
                      </a:lnTo>
                      <a:lnTo>
                        <a:pt x="27" y="15"/>
                      </a:lnTo>
                      <a:lnTo>
                        <a:pt x="17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3" name="Freeform 508">
                  <a:extLst>
                    <a:ext uri="{FF2B5EF4-FFF2-40B4-BE49-F238E27FC236}">
                      <a16:creationId xmlns:a16="http://schemas.microsoft.com/office/drawing/2014/main" id="{90E701A6-F69B-CE49-977B-912E130965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1401" y="6324654"/>
                  <a:ext cx="57715" cy="34038"/>
                </a:xfrm>
                <a:custGeom>
                  <a:avLst/>
                  <a:gdLst>
                    <a:gd name="T0" fmla="*/ 2147483647 w 42"/>
                    <a:gd name="T1" fmla="*/ 2147483647 h 23"/>
                    <a:gd name="T2" fmla="*/ 2147483647 w 42"/>
                    <a:gd name="T3" fmla="*/ 2147483647 h 23"/>
                    <a:gd name="T4" fmla="*/ 2147483647 w 42"/>
                    <a:gd name="T5" fmla="*/ 2147483647 h 23"/>
                    <a:gd name="T6" fmla="*/ 2147483647 w 42"/>
                    <a:gd name="T7" fmla="*/ 2147483647 h 23"/>
                    <a:gd name="T8" fmla="*/ 0 w 42"/>
                    <a:gd name="T9" fmla="*/ 2147483647 h 23"/>
                    <a:gd name="T10" fmla="*/ 0 w 42"/>
                    <a:gd name="T11" fmla="*/ 2147483647 h 23"/>
                    <a:gd name="T12" fmla="*/ 0 w 42"/>
                    <a:gd name="T13" fmla="*/ 2147483647 h 23"/>
                    <a:gd name="T14" fmla="*/ 0 w 42"/>
                    <a:gd name="T15" fmla="*/ 2147483647 h 23"/>
                    <a:gd name="T16" fmla="*/ 2147483647 w 42"/>
                    <a:gd name="T17" fmla="*/ 2147483647 h 23"/>
                    <a:gd name="T18" fmla="*/ 2147483647 w 42"/>
                    <a:gd name="T19" fmla="*/ 2147483647 h 23"/>
                    <a:gd name="T20" fmla="*/ 2147483647 w 42"/>
                    <a:gd name="T21" fmla="*/ 0 h 23"/>
                    <a:gd name="T22" fmla="*/ 2147483647 w 42"/>
                    <a:gd name="T23" fmla="*/ 0 h 23"/>
                    <a:gd name="T24" fmla="*/ 2147483647 w 42"/>
                    <a:gd name="T25" fmla="*/ 2147483647 h 23"/>
                    <a:gd name="T26" fmla="*/ 2147483647 w 42"/>
                    <a:gd name="T27" fmla="*/ 2147483647 h 23"/>
                    <a:gd name="T28" fmla="*/ 2147483647 w 42"/>
                    <a:gd name="T29" fmla="*/ 2147483647 h 23"/>
                    <a:gd name="T30" fmla="*/ 2147483647 w 42"/>
                    <a:gd name="T31" fmla="*/ 2147483647 h 23"/>
                    <a:gd name="T32" fmla="*/ 2147483647 w 42"/>
                    <a:gd name="T33" fmla="*/ 2147483647 h 23"/>
                    <a:gd name="T34" fmla="*/ 2147483647 w 42"/>
                    <a:gd name="T35" fmla="*/ 2147483647 h 23"/>
                    <a:gd name="T36" fmla="*/ 2147483647 w 42"/>
                    <a:gd name="T37" fmla="*/ 2147483647 h 23"/>
                    <a:gd name="T38" fmla="*/ 2147483647 w 42"/>
                    <a:gd name="T39" fmla="*/ 2147483647 h 23"/>
                    <a:gd name="T40" fmla="*/ 2147483647 w 42"/>
                    <a:gd name="T41" fmla="*/ 2147483647 h 23"/>
                    <a:gd name="T42" fmla="*/ 2147483647 w 42"/>
                    <a:gd name="T43" fmla="*/ 2147483647 h 23"/>
                    <a:gd name="T44" fmla="*/ 2147483647 w 42"/>
                    <a:gd name="T45" fmla="*/ 2147483647 h 23"/>
                    <a:gd name="T46" fmla="*/ 2147483647 w 42"/>
                    <a:gd name="T47" fmla="*/ 2147483647 h 23"/>
                    <a:gd name="T48" fmla="*/ 2147483647 w 42"/>
                    <a:gd name="T49" fmla="*/ 2147483647 h 23"/>
                    <a:gd name="T50" fmla="*/ 2147483647 w 42"/>
                    <a:gd name="T51" fmla="*/ 2147483647 h 23"/>
                    <a:gd name="T52" fmla="*/ 2147483647 w 42"/>
                    <a:gd name="T53" fmla="*/ 2147483647 h 23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42"/>
                    <a:gd name="T82" fmla="*/ 0 h 23"/>
                    <a:gd name="T83" fmla="*/ 42 w 42"/>
                    <a:gd name="T84" fmla="*/ 23 h 23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42" h="23">
                      <a:moveTo>
                        <a:pt x="16" y="11"/>
                      </a:moveTo>
                      <a:lnTo>
                        <a:pt x="16" y="11"/>
                      </a:lnTo>
                      <a:lnTo>
                        <a:pt x="10" y="10"/>
                      </a:lnTo>
                      <a:lnTo>
                        <a:pt x="4" y="8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15" y="0"/>
                      </a:lnTo>
                      <a:lnTo>
                        <a:pt x="20" y="1"/>
                      </a:lnTo>
                      <a:lnTo>
                        <a:pt x="27" y="3"/>
                      </a:lnTo>
                      <a:lnTo>
                        <a:pt x="33" y="6"/>
                      </a:lnTo>
                      <a:lnTo>
                        <a:pt x="37" y="11"/>
                      </a:lnTo>
                      <a:lnTo>
                        <a:pt x="40" y="16"/>
                      </a:lnTo>
                      <a:lnTo>
                        <a:pt x="42" y="19"/>
                      </a:lnTo>
                      <a:lnTo>
                        <a:pt x="40" y="21"/>
                      </a:lnTo>
                      <a:lnTo>
                        <a:pt x="39" y="23"/>
                      </a:lnTo>
                      <a:lnTo>
                        <a:pt x="37" y="21"/>
                      </a:lnTo>
                      <a:lnTo>
                        <a:pt x="27" y="14"/>
                      </a:lnTo>
                      <a:lnTo>
                        <a:pt x="16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4" name="Freeform 509">
                  <a:extLst>
                    <a:ext uri="{FF2B5EF4-FFF2-40B4-BE49-F238E27FC236}">
                      <a16:creationId xmlns:a16="http://schemas.microsoft.com/office/drawing/2014/main" id="{37C5FF84-A0CC-B647-8143-4F00411522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855" y="2256485"/>
                  <a:ext cx="41436" cy="23678"/>
                </a:xfrm>
                <a:custGeom>
                  <a:avLst/>
                  <a:gdLst>
                    <a:gd name="T0" fmla="*/ 2147483647 w 31"/>
                    <a:gd name="T1" fmla="*/ 2147483647 h 16"/>
                    <a:gd name="T2" fmla="*/ 2147483647 w 31"/>
                    <a:gd name="T3" fmla="*/ 2147483647 h 16"/>
                    <a:gd name="T4" fmla="*/ 2147483647 w 31"/>
                    <a:gd name="T5" fmla="*/ 2147483647 h 16"/>
                    <a:gd name="T6" fmla="*/ 2147483647 w 31"/>
                    <a:gd name="T7" fmla="*/ 2147483647 h 16"/>
                    <a:gd name="T8" fmla="*/ 2147483647 w 31"/>
                    <a:gd name="T9" fmla="*/ 2147483647 h 16"/>
                    <a:gd name="T10" fmla="*/ 0 w 31"/>
                    <a:gd name="T11" fmla="*/ 2147483647 h 16"/>
                    <a:gd name="T12" fmla="*/ 0 w 31"/>
                    <a:gd name="T13" fmla="*/ 2147483647 h 16"/>
                    <a:gd name="T14" fmla="*/ 2147483647 w 31"/>
                    <a:gd name="T15" fmla="*/ 2147483647 h 16"/>
                    <a:gd name="T16" fmla="*/ 2147483647 w 31"/>
                    <a:gd name="T17" fmla="*/ 2147483647 h 16"/>
                    <a:gd name="T18" fmla="*/ 2147483647 w 31"/>
                    <a:gd name="T19" fmla="*/ 0 h 16"/>
                    <a:gd name="T20" fmla="*/ 2147483647 w 31"/>
                    <a:gd name="T21" fmla="*/ 0 h 16"/>
                    <a:gd name="T22" fmla="*/ 2147483647 w 31"/>
                    <a:gd name="T23" fmla="*/ 2147483647 h 16"/>
                    <a:gd name="T24" fmla="*/ 2147483647 w 31"/>
                    <a:gd name="T25" fmla="*/ 2147483647 h 16"/>
                    <a:gd name="T26" fmla="*/ 2147483647 w 31"/>
                    <a:gd name="T27" fmla="*/ 2147483647 h 16"/>
                    <a:gd name="T28" fmla="*/ 2147483647 w 31"/>
                    <a:gd name="T29" fmla="*/ 2147483647 h 16"/>
                    <a:gd name="T30" fmla="*/ 2147483647 w 31"/>
                    <a:gd name="T31" fmla="*/ 2147483647 h 16"/>
                    <a:gd name="T32" fmla="*/ 2147483647 w 31"/>
                    <a:gd name="T33" fmla="*/ 2147483647 h 16"/>
                    <a:gd name="T34" fmla="*/ 2147483647 w 31"/>
                    <a:gd name="T35" fmla="*/ 2147483647 h 1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31"/>
                    <a:gd name="T55" fmla="*/ 0 h 16"/>
                    <a:gd name="T56" fmla="*/ 31 w 31"/>
                    <a:gd name="T57" fmla="*/ 16 h 1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31" h="16">
                      <a:moveTo>
                        <a:pt x="19" y="14"/>
                      </a:moveTo>
                      <a:lnTo>
                        <a:pt x="12" y="15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3" y="6"/>
                      </a:lnTo>
                      <a:lnTo>
                        <a:pt x="7" y="3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7" y="1"/>
                      </a:lnTo>
                      <a:lnTo>
                        <a:pt x="31" y="3"/>
                      </a:lnTo>
                      <a:lnTo>
                        <a:pt x="31" y="6"/>
                      </a:lnTo>
                      <a:lnTo>
                        <a:pt x="31" y="8"/>
                      </a:lnTo>
                      <a:lnTo>
                        <a:pt x="28" y="10"/>
                      </a:lnTo>
                      <a:lnTo>
                        <a:pt x="26" y="12"/>
                      </a:lnTo>
                      <a:lnTo>
                        <a:pt x="19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5" name="Freeform 510">
                  <a:extLst>
                    <a:ext uri="{FF2B5EF4-FFF2-40B4-BE49-F238E27FC236}">
                      <a16:creationId xmlns:a16="http://schemas.microsoft.com/office/drawing/2014/main" id="{9911404B-DFCD-8B4B-9BB4-D4A8B11BF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2531" y="2169173"/>
                  <a:ext cx="34037" cy="25158"/>
                </a:xfrm>
                <a:custGeom>
                  <a:avLst/>
                  <a:gdLst>
                    <a:gd name="T0" fmla="*/ 2147483647 w 25"/>
                    <a:gd name="T1" fmla="*/ 2147483647 h 17"/>
                    <a:gd name="T2" fmla="*/ 2147483647 w 25"/>
                    <a:gd name="T3" fmla="*/ 2147483647 h 17"/>
                    <a:gd name="T4" fmla="*/ 2147483647 w 25"/>
                    <a:gd name="T5" fmla="*/ 2147483647 h 17"/>
                    <a:gd name="T6" fmla="*/ 2147483647 w 25"/>
                    <a:gd name="T7" fmla="*/ 2147483647 h 17"/>
                    <a:gd name="T8" fmla="*/ 2147483647 w 25"/>
                    <a:gd name="T9" fmla="*/ 2147483647 h 17"/>
                    <a:gd name="T10" fmla="*/ 2147483647 w 25"/>
                    <a:gd name="T11" fmla="*/ 0 h 17"/>
                    <a:gd name="T12" fmla="*/ 2147483647 w 25"/>
                    <a:gd name="T13" fmla="*/ 0 h 17"/>
                    <a:gd name="T14" fmla="*/ 2147483647 w 25"/>
                    <a:gd name="T15" fmla="*/ 2147483647 h 17"/>
                    <a:gd name="T16" fmla="*/ 0 w 25"/>
                    <a:gd name="T17" fmla="*/ 2147483647 h 17"/>
                    <a:gd name="T18" fmla="*/ 0 w 25"/>
                    <a:gd name="T19" fmla="*/ 2147483647 h 17"/>
                    <a:gd name="T20" fmla="*/ 0 w 25"/>
                    <a:gd name="T21" fmla="*/ 2147483647 h 17"/>
                    <a:gd name="T22" fmla="*/ 2147483647 w 25"/>
                    <a:gd name="T23" fmla="*/ 2147483647 h 17"/>
                    <a:gd name="T24" fmla="*/ 2147483647 w 25"/>
                    <a:gd name="T25" fmla="*/ 2147483647 h 17"/>
                    <a:gd name="T26" fmla="*/ 2147483647 w 25"/>
                    <a:gd name="T27" fmla="*/ 2147483647 h 17"/>
                    <a:gd name="T28" fmla="*/ 2147483647 w 25"/>
                    <a:gd name="T29" fmla="*/ 2147483647 h 17"/>
                    <a:gd name="T30" fmla="*/ 2147483647 w 25"/>
                    <a:gd name="T31" fmla="*/ 2147483647 h 17"/>
                    <a:gd name="T32" fmla="*/ 2147483647 w 25"/>
                    <a:gd name="T33" fmla="*/ 2147483647 h 17"/>
                    <a:gd name="T34" fmla="*/ 2147483647 w 25"/>
                    <a:gd name="T35" fmla="*/ 2147483647 h 17"/>
                    <a:gd name="T36" fmla="*/ 2147483647 w 25"/>
                    <a:gd name="T37" fmla="*/ 2147483647 h 1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5"/>
                    <a:gd name="T58" fmla="*/ 0 h 17"/>
                    <a:gd name="T59" fmla="*/ 25 w 25"/>
                    <a:gd name="T60" fmla="*/ 17 h 1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5" h="17">
                      <a:moveTo>
                        <a:pt x="25" y="14"/>
                      </a:moveTo>
                      <a:lnTo>
                        <a:pt x="24" y="9"/>
                      </a:lnTo>
                      <a:lnTo>
                        <a:pt x="21" y="5"/>
                      </a:lnTo>
                      <a:lnTo>
                        <a:pt x="18" y="2"/>
                      </a:lnTo>
                      <a:lnTo>
                        <a:pt x="12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10"/>
                      </a:lnTo>
                      <a:lnTo>
                        <a:pt x="5" y="13"/>
                      </a:lnTo>
                      <a:lnTo>
                        <a:pt x="11" y="15"/>
                      </a:lnTo>
                      <a:lnTo>
                        <a:pt x="18" y="17"/>
                      </a:lnTo>
                      <a:lnTo>
                        <a:pt x="20" y="17"/>
                      </a:lnTo>
                      <a:lnTo>
                        <a:pt x="23" y="17"/>
                      </a:lnTo>
                      <a:lnTo>
                        <a:pt x="24" y="16"/>
                      </a:lnTo>
                      <a:lnTo>
                        <a:pt x="25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6" name="Freeform 511">
                  <a:extLst>
                    <a:ext uri="{FF2B5EF4-FFF2-40B4-BE49-F238E27FC236}">
                      <a16:creationId xmlns:a16="http://schemas.microsoft.com/office/drawing/2014/main" id="{A1E34B3E-52F2-2240-B884-270565D6DA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0376" y="2255006"/>
                  <a:ext cx="41436" cy="23678"/>
                </a:xfrm>
                <a:custGeom>
                  <a:avLst/>
                  <a:gdLst>
                    <a:gd name="T0" fmla="*/ 2147483647 w 31"/>
                    <a:gd name="T1" fmla="*/ 2147483647 h 16"/>
                    <a:gd name="T2" fmla="*/ 2147483647 w 31"/>
                    <a:gd name="T3" fmla="*/ 2147483647 h 16"/>
                    <a:gd name="T4" fmla="*/ 2147483647 w 31"/>
                    <a:gd name="T5" fmla="*/ 2147483647 h 16"/>
                    <a:gd name="T6" fmla="*/ 2147483647 w 31"/>
                    <a:gd name="T7" fmla="*/ 2147483647 h 16"/>
                    <a:gd name="T8" fmla="*/ 2147483647 w 31"/>
                    <a:gd name="T9" fmla="*/ 2147483647 h 16"/>
                    <a:gd name="T10" fmla="*/ 2147483647 w 31"/>
                    <a:gd name="T11" fmla="*/ 2147483647 h 16"/>
                    <a:gd name="T12" fmla="*/ 0 w 31"/>
                    <a:gd name="T13" fmla="*/ 2147483647 h 16"/>
                    <a:gd name="T14" fmla="*/ 0 w 31"/>
                    <a:gd name="T15" fmla="*/ 2147483647 h 16"/>
                    <a:gd name="T16" fmla="*/ 0 w 31"/>
                    <a:gd name="T17" fmla="*/ 2147483647 h 16"/>
                    <a:gd name="T18" fmla="*/ 2147483647 w 31"/>
                    <a:gd name="T19" fmla="*/ 2147483647 h 16"/>
                    <a:gd name="T20" fmla="*/ 2147483647 w 31"/>
                    <a:gd name="T21" fmla="*/ 2147483647 h 16"/>
                    <a:gd name="T22" fmla="*/ 2147483647 w 31"/>
                    <a:gd name="T23" fmla="*/ 0 h 16"/>
                    <a:gd name="T24" fmla="*/ 2147483647 w 31"/>
                    <a:gd name="T25" fmla="*/ 0 h 16"/>
                    <a:gd name="T26" fmla="*/ 2147483647 w 31"/>
                    <a:gd name="T27" fmla="*/ 0 h 16"/>
                    <a:gd name="T28" fmla="*/ 2147483647 w 31"/>
                    <a:gd name="T29" fmla="*/ 2147483647 h 16"/>
                    <a:gd name="T30" fmla="*/ 2147483647 w 31"/>
                    <a:gd name="T31" fmla="*/ 2147483647 h 16"/>
                    <a:gd name="T32" fmla="*/ 2147483647 w 31"/>
                    <a:gd name="T33" fmla="*/ 2147483647 h 16"/>
                    <a:gd name="T34" fmla="*/ 2147483647 w 31"/>
                    <a:gd name="T35" fmla="*/ 2147483647 h 16"/>
                    <a:gd name="T36" fmla="*/ 2147483647 w 31"/>
                    <a:gd name="T37" fmla="*/ 2147483647 h 16"/>
                    <a:gd name="T38" fmla="*/ 2147483647 w 31"/>
                    <a:gd name="T39" fmla="*/ 2147483647 h 16"/>
                    <a:gd name="T40" fmla="*/ 2147483647 w 31"/>
                    <a:gd name="T41" fmla="*/ 2147483647 h 16"/>
                    <a:gd name="T42" fmla="*/ 2147483647 w 31"/>
                    <a:gd name="T43" fmla="*/ 2147483647 h 16"/>
                    <a:gd name="T44" fmla="*/ 2147483647 w 31"/>
                    <a:gd name="T45" fmla="*/ 2147483647 h 1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1"/>
                    <a:gd name="T70" fmla="*/ 0 h 16"/>
                    <a:gd name="T71" fmla="*/ 31 w 31"/>
                    <a:gd name="T72" fmla="*/ 16 h 1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1" h="16">
                      <a:moveTo>
                        <a:pt x="19" y="14"/>
                      </a:moveTo>
                      <a:lnTo>
                        <a:pt x="19" y="14"/>
                      </a:lnTo>
                      <a:lnTo>
                        <a:pt x="11" y="15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3" y="6"/>
                      </a:lnTo>
                      <a:lnTo>
                        <a:pt x="6" y="3"/>
                      </a:lnTo>
                      <a:lnTo>
                        <a:pt x="17" y="0"/>
                      </a:lnTo>
                      <a:lnTo>
                        <a:pt x="22" y="0"/>
                      </a:lnTo>
                      <a:lnTo>
                        <a:pt x="27" y="1"/>
                      </a:lnTo>
                      <a:lnTo>
                        <a:pt x="31" y="3"/>
                      </a:lnTo>
                      <a:lnTo>
                        <a:pt x="31" y="6"/>
                      </a:lnTo>
                      <a:lnTo>
                        <a:pt x="31" y="8"/>
                      </a:lnTo>
                      <a:lnTo>
                        <a:pt x="28" y="10"/>
                      </a:lnTo>
                      <a:lnTo>
                        <a:pt x="25" y="11"/>
                      </a:lnTo>
                      <a:lnTo>
                        <a:pt x="19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7" name="Freeform 512">
                  <a:extLst>
                    <a:ext uri="{FF2B5EF4-FFF2-40B4-BE49-F238E27FC236}">
                      <a16:creationId xmlns:a16="http://schemas.microsoft.com/office/drawing/2014/main" id="{8D843A09-A383-EA4B-8942-43ADBBA337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9570" y="2166216"/>
                  <a:ext cx="35517" cy="26638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2147483647 h 18"/>
                    <a:gd name="T14" fmla="*/ 2147483647 w 26"/>
                    <a:gd name="T15" fmla="*/ 0 h 18"/>
                    <a:gd name="T16" fmla="*/ 2147483647 w 26"/>
                    <a:gd name="T17" fmla="*/ 0 h 18"/>
                    <a:gd name="T18" fmla="*/ 2147483647 w 26"/>
                    <a:gd name="T19" fmla="*/ 2147483647 h 18"/>
                    <a:gd name="T20" fmla="*/ 0 w 26"/>
                    <a:gd name="T21" fmla="*/ 2147483647 h 18"/>
                    <a:gd name="T22" fmla="*/ 0 w 26"/>
                    <a:gd name="T23" fmla="*/ 2147483647 h 18"/>
                    <a:gd name="T24" fmla="*/ 0 w 26"/>
                    <a:gd name="T25" fmla="*/ 2147483647 h 18"/>
                    <a:gd name="T26" fmla="*/ 0 w 26"/>
                    <a:gd name="T27" fmla="*/ 2147483647 h 18"/>
                    <a:gd name="T28" fmla="*/ 2147483647 w 26"/>
                    <a:gd name="T29" fmla="*/ 2147483647 h 18"/>
                    <a:gd name="T30" fmla="*/ 2147483647 w 26"/>
                    <a:gd name="T31" fmla="*/ 2147483647 h 18"/>
                    <a:gd name="T32" fmla="*/ 2147483647 w 26"/>
                    <a:gd name="T33" fmla="*/ 2147483647 h 18"/>
                    <a:gd name="T34" fmla="*/ 2147483647 w 26"/>
                    <a:gd name="T35" fmla="*/ 2147483647 h 18"/>
                    <a:gd name="T36" fmla="*/ 2147483647 w 26"/>
                    <a:gd name="T37" fmla="*/ 2147483647 h 18"/>
                    <a:gd name="T38" fmla="*/ 2147483647 w 26"/>
                    <a:gd name="T39" fmla="*/ 2147483647 h 18"/>
                    <a:gd name="T40" fmla="*/ 2147483647 w 26"/>
                    <a:gd name="T41" fmla="*/ 2147483647 h 18"/>
                    <a:gd name="T42" fmla="*/ 2147483647 w 26"/>
                    <a:gd name="T43" fmla="*/ 2147483647 h 18"/>
                    <a:gd name="T44" fmla="*/ 2147483647 w 26"/>
                    <a:gd name="T45" fmla="*/ 2147483647 h 18"/>
                    <a:gd name="T46" fmla="*/ 2147483647 w 26"/>
                    <a:gd name="T47" fmla="*/ 2147483647 h 1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6"/>
                    <a:gd name="T73" fmla="*/ 0 h 18"/>
                    <a:gd name="T74" fmla="*/ 26 w 26"/>
                    <a:gd name="T75" fmla="*/ 18 h 1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6" h="18">
                      <a:moveTo>
                        <a:pt x="26" y="15"/>
                      </a:moveTo>
                      <a:lnTo>
                        <a:pt x="26" y="15"/>
                      </a:lnTo>
                      <a:lnTo>
                        <a:pt x="25" y="10"/>
                      </a:lnTo>
                      <a:lnTo>
                        <a:pt x="22" y="6"/>
                      </a:lnTo>
                      <a:lnTo>
                        <a:pt x="18" y="3"/>
                      </a:lnTo>
                      <a:lnTo>
                        <a:pt x="13" y="2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3" y="2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6" y="13"/>
                      </a:lnTo>
                      <a:lnTo>
                        <a:pt x="12" y="16"/>
                      </a:lnTo>
                      <a:lnTo>
                        <a:pt x="18" y="18"/>
                      </a:lnTo>
                      <a:lnTo>
                        <a:pt x="21" y="18"/>
                      </a:lnTo>
                      <a:lnTo>
                        <a:pt x="23" y="18"/>
                      </a:lnTo>
                      <a:lnTo>
                        <a:pt x="25" y="17"/>
                      </a:lnTo>
                      <a:lnTo>
                        <a:pt x="26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8" name="Freeform 513">
                  <a:extLst>
                    <a:ext uri="{FF2B5EF4-FFF2-40B4-BE49-F238E27FC236}">
                      <a16:creationId xmlns:a16="http://schemas.microsoft.com/office/drawing/2014/main" id="{4501AD13-8603-D646-A296-2D112F10B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2890" y="2155857"/>
                  <a:ext cx="29597" cy="19238"/>
                </a:xfrm>
                <a:custGeom>
                  <a:avLst/>
                  <a:gdLst>
                    <a:gd name="T0" fmla="*/ 2147483647 w 22"/>
                    <a:gd name="T1" fmla="*/ 2147483647 h 13"/>
                    <a:gd name="T2" fmla="*/ 2147483647 w 22"/>
                    <a:gd name="T3" fmla="*/ 2147483647 h 13"/>
                    <a:gd name="T4" fmla="*/ 2147483647 w 22"/>
                    <a:gd name="T5" fmla="*/ 2147483647 h 13"/>
                    <a:gd name="T6" fmla="*/ 2147483647 w 22"/>
                    <a:gd name="T7" fmla="*/ 2147483647 h 13"/>
                    <a:gd name="T8" fmla="*/ 2147483647 w 22"/>
                    <a:gd name="T9" fmla="*/ 2147483647 h 13"/>
                    <a:gd name="T10" fmla="*/ 2147483647 w 22"/>
                    <a:gd name="T11" fmla="*/ 2147483647 h 13"/>
                    <a:gd name="T12" fmla="*/ 2147483647 w 22"/>
                    <a:gd name="T13" fmla="*/ 2147483647 h 13"/>
                    <a:gd name="T14" fmla="*/ 2147483647 w 22"/>
                    <a:gd name="T15" fmla="*/ 2147483647 h 13"/>
                    <a:gd name="T16" fmla="*/ 2147483647 w 22"/>
                    <a:gd name="T17" fmla="*/ 2147483647 h 13"/>
                    <a:gd name="T18" fmla="*/ 2147483647 w 22"/>
                    <a:gd name="T19" fmla="*/ 2147483647 h 13"/>
                    <a:gd name="T20" fmla="*/ 2147483647 w 22"/>
                    <a:gd name="T21" fmla="*/ 2147483647 h 13"/>
                    <a:gd name="T22" fmla="*/ 2147483647 w 22"/>
                    <a:gd name="T23" fmla="*/ 0 h 13"/>
                    <a:gd name="T24" fmla="*/ 2147483647 w 22"/>
                    <a:gd name="T25" fmla="*/ 0 h 13"/>
                    <a:gd name="T26" fmla="*/ 2147483647 w 22"/>
                    <a:gd name="T27" fmla="*/ 2147483647 h 13"/>
                    <a:gd name="T28" fmla="*/ 0 w 22"/>
                    <a:gd name="T29" fmla="*/ 2147483647 h 13"/>
                    <a:gd name="T30" fmla="*/ 0 w 22"/>
                    <a:gd name="T31" fmla="*/ 2147483647 h 13"/>
                    <a:gd name="T32" fmla="*/ 2147483647 w 22"/>
                    <a:gd name="T33" fmla="*/ 2147483647 h 13"/>
                    <a:gd name="T34" fmla="*/ 2147483647 w 22"/>
                    <a:gd name="T35" fmla="*/ 2147483647 h 13"/>
                    <a:gd name="T36" fmla="*/ 2147483647 w 22"/>
                    <a:gd name="T37" fmla="*/ 2147483647 h 13"/>
                    <a:gd name="T38" fmla="*/ 2147483647 w 22"/>
                    <a:gd name="T39" fmla="*/ 2147483647 h 13"/>
                    <a:gd name="T40" fmla="*/ 2147483647 w 22"/>
                    <a:gd name="T41" fmla="*/ 2147483647 h 13"/>
                    <a:gd name="T42" fmla="*/ 2147483647 w 22"/>
                    <a:gd name="T43" fmla="*/ 2147483647 h 1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2"/>
                    <a:gd name="T67" fmla="*/ 0 h 13"/>
                    <a:gd name="T68" fmla="*/ 22 w 22"/>
                    <a:gd name="T69" fmla="*/ 13 h 1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2" h="13">
                      <a:moveTo>
                        <a:pt x="11" y="5"/>
                      </a:moveTo>
                      <a:lnTo>
                        <a:pt x="12" y="6"/>
                      </a:lnTo>
                      <a:lnTo>
                        <a:pt x="14" y="9"/>
                      </a:lnTo>
                      <a:lnTo>
                        <a:pt x="16" y="11"/>
                      </a:lnTo>
                      <a:lnTo>
                        <a:pt x="17" y="12"/>
                      </a:lnTo>
                      <a:lnTo>
                        <a:pt x="18" y="13"/>
                      </a:lnTo>
                      <a:lnTo>
                        <a:pt x="19" y="13"/>
                      </a:lnTo>
                      <a:lnTo>
                        <a:pt x="22" y="11"/>
                      </a:lnTo>
                      <a:lnTo>
                        <a:pt x="22" y="9"/>
                      </a:lnTo>
                      <a:lnTo>
                        <a:pt x="18" y="4"/>
                      </a:lnTo>
                      <a:lnTo>
                        <a:pt x="12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5" y="6"/>
                      </a:lnTo>
                      <a:lnTo>
                        <a:pt x="8" y="6"/>
                      </a:lnTo>
                      <a:lnTo>
                        <a:pt x="11" y="5"/>
                      </a:lnTo>
                      <a:lnTo>
                        <a:pt x="12" y="6"/>
                      </a:lnTo>
                      <a:lnTo>
                        <a:pt x="12" y="7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9" name="Freeform 514">
                  <a:extLst>
                    <a:ext uri="{FF2B5EF4-FFF2-40B4-BE49-F238E27FC236}">
                      <a16:creationId xmlns:a16="http://schemas.microsoft.com/office/drawing/2014/main" id="{460B7A9D-1D8E-AB4C-B0B2-20076D2032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4773" y="2138097"/>
                  <a:ext cx="32557" cy="17758"/>
                </a:xfrm>
                <a:custGeom>
                  <a:avLst/>
                  <a:gdLst>
                    <a:gd name="T0" fmla="*/ 2147483647 w 24"/>
                    <a:gd name="T1" fmla="*/ 2147483647 h 12"/>
                    <a:gd name="T2" fmla="*/ 2147483647 w 24"/>
                    <a:gd name="T3" fmla="*/ 2147483647 h 12"/>
                    <a:gd name="T4" fmla="*/ 2147483647 w 24"/>
                    <a:gd name="T5" fmla="*/ 2147483647 h 12"/>
                    <a:gd name="T6" fmla="*/ 0 w 24"/>
                    <a:gd name="T7" fmla="*/ 2147483647 h 12"/>
                    <a:gd name="T8" fmla="*/ 0 w 24"/>
                    <a:gd name="T9" fmla="*/ 2147483647 h 12"/>
                    <a:gd name="T10" fmla="*/ 2147483647 w 24"/>
                    <a:gd name="T11" fmla="*/ 2147483647 h 12"/>
                    <a:gd name="T12" fmla="*/ 2147483647 w 24"/>
                    <a:gd name="T13" fmla="*/ 2147483647 h 12"/>
                    <a:gd name="T14" fmla="*/ 2147483647 w 24"/>
                    <a:gd name="T15" fmla="*/ 0 h 12"/>
                    <a:gd name="T16" fmla="*/ 2147483647 w 24"/>
                    <a:gd name="T17" fmla="*/ 0 h 12"/>
                    <a:gd name="T18" fmla="*/ 2147483647 w 24"/>
                    <a:gd name="T19" fmla="*/ 2147483647 h 12"/>
                    <a:gd name="T20" fmla="*/ 2147483647 w 24"/>
                    <a:gd name="T21" fmla="*/ 2147483647 h 12"/>
                    <a:gd name="T22" fmla="*/ 2147483647 w 24"/>
                    <a:gd name="T23" fmla="*/ 2147483647 h 12"/>
                    <a:gd name="T24" fmla="*/ 2147483647 w 24"/>
                    <a:gd name="T25" fmla="*/ 2147483647 h 12"/>
                    <a:gd name="T26" fmla="*/ 2147483647 w 24"/>
                    <a:gd name="T27" fmla="*/ 2147483647 h 12"/>
                    <a:gd name="T28" fmla="*/ 2147483647 w 24"/>
                    <a:gd name="T29" fmla="*/ 2147483647 h 12"/>
                    <a:gd name="T30" fmla="*/ 2147483647 w 24"/>
                    <a:gd name="T31" fmla="*/ 2147483647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4"/>
                    <a:gd name="T49" fmla="*/ 0 h 12"/>
                    <a:gd name="T50" fmla="*/ 24 w 24"/>
                    <a:gd name="T51" fmla="*/ 12 h 1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4" h="12">
                      <a:moveTo>
                        <a:pt x="10" y="11"/>
                      </a:moveTo>
                      <a:lnTo>
                        <a:pt x="4" y="12"/>
                      </a:lnTo>
                      <a:lnTo>
                        <a:pt x="1" y="12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14" y="0"/>
                      </a:lnTo>
                      <a:lnTo>
                        <a:pt x="18" y="2"/>
                      </a:lnTo>
                      <a:lnTo>
                        <a:pt x="22" y="3"/>
                      </a:lnTo>
                      <a:lnTo>
                        <a:pt x="24" y="5"/>
                      </a:lnTo>
                      <a:lnTo>
                        <a:pt x="24" y="7"/>
                      </a:lnTo>
                      <a:lnTo>
                        <a:pt x="24" y="9"/>
                      </a:lnTo>
                      <a:lnTo>
                        <a:pt x="20" y="10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0" name="Freeform 515">
                  <a:extLst>
                    <a:ext uri="{FF2B5EF4-FFF2-40B4-BE49-F238E27FC236}">
                      <a16:creationId xmlns:a16="http://schemas.microsoft.com/office/drawing/2014/main" id="{F2A1BFF4-8879-F648-8DFA-F860AE49ED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1409" y="2154375"/>
                  <a:ext cx="29597" cy="19239"/>
                </a:xfrm>
                <a:custGeom>
                  <a:avLst/>
                  <a:gdLst>
                    <a:gd name="T0" fmla="*/ 2147483647 w 22"/>
                    <a:gd name="T1" fmla="*/ 2147483647 h 13"/>
                    <a:gd name="T2" fmla="*/ 2147483647 w 22"/>
                    <a:gd name="T3" fmla="*/ 2147483647 h 13"/>
                    <a:gd name="T4" fmla="*/ 2147483647 w 22"/>
                    <a:gd name="T5" fmla="*/ 2147483647 h 13"/>
                    <a:gd name="T6" fmla="*/ 2147483647 w 22"/>
                    <a:gd name="T7" fmla="*/ 2147483647 h 13"/>
                    <a:gd name="T8" fmla="*/ 2147483647 w 22"/>
                    <a:gd name="T9" fmla="*/ 2147483647 h 13"/>
                    <a:gd name="T10" fmla="*/ 2147483647 w 22"/>
                    <a:gd name="T11" fmla="*/ 2147483647 h 13"/>
                    <a:gd name="T12" fmla="*/ 2147483647 w 22"/>
                    <a:gd name="T13" fmla="*/ 2147483647 h 13"/>
                    <a:gd name="T14" fmla="*/ 2147483647 w 22"/>
                    <a:gd name="T15" fmla="*/ 2147483647 h 13"/>
                    <a:gd name="T16" fmla="*/ 2147483647 w 22"/>
                    <a:gd name="T17" fmla="*/ 2147483647 h 13"/>
                    <a:gd name="T18" fmla="*/ 2147483647 w 22"/>
                    <a:gd name="T19" fmla="*/ 2147483647 h 13"/>
                    <a:gd name="T20" fmla="*/ 2147483647 w 22"/>
                    <a:gd name="T21" fmla="*/ 2147483647 h 13"/>
                    <a:gd name="T22" fmla="*/ 2147483647 w 22"/>
                    <a:gd name="T23" fmla="*/ 2147483647 h 13"/>
                    <a:gd name="T24" fmla="*/ 2147483647 w 22"/>
                    <a:gd name="T25" fmla="*/ 2147483647 h 13"/>
                    <a:gd name="T26" fmla="*/ 2147483647 w 22"/>
                    <a:gd name="T27" fmla="*/ 2147483647 h 13"/>
                    <a:gd name="T28" fmla="*/ 2147483647 w 22"/>
                    <a:gd name="T29" fmla="*/ 2147483647 h 13"/>
                    <a:gd name="T30" fmla="*/ 2147483647 w 22"/>
                    <a:gd name="T31" fmla="*/ 0 h 13"/>
                    <a:gd name="T32" fmla="*/ 2147483647 w 22"/>
                    <a:gd name="T33" fmla="*/ 0 h 13"/>
                    <a:gd name="T34" fmla="*/ 2147483647 w 22"/>
                    <a:gd name="T35" fmla="*/ 2147483647 h 13"/>
                    <a:gd name="T36" fmla="*/ 0 w 22"/>
                    <a:gd name="T37" fmla="*/ 2147483647 h 13"/>
                    <a:gd name="T38" fmla="*/ 0 w 22"/>
                    <a:gd name="T39" fmla="*/ 2147483647 h 13"/>
                    <a:gd name="T40" fmla="*/ 0 w 22"/>
                    <a:gd name="T41" fmla="*/ 2147483647 h 13"/>
                    <a:gd name="T42" fmla="*/ 0 w 22"/>
                    <a:gd name="T43" fmla="*/ 2147483647 h 13"/>
                    <a:gd name="T44" fmla="*/ 0 w 22"/>
                    <a:gd name="T45" fmla="*/ 2147483647 h 13"/>
                    <a:gd name="T46" fmla="*/ 2147483647 w 22"/>
                    <a:gd name="T47" fmla="*/ 2147483647 h 13"/>
                    <a:gd name="T48" fmla="*/ 2147483647 w 22"/>
                    <a:gd name="T49" fmla="*/ 2147483647 h 13"/>
                    <a:gd name="T50" fmla="*/ 2147483647 w 22"/>
                    <a:gd name="T51" fmla="*/ 2147483647 h 13"/>
                    <a:gd name="T52" fmla="*/ 2147483647 w 22"/>
                    <a:gd name="T53" fmla="*/ 2147483647 h 13"/>
                    <a:gd name="T54" fmla="*/ 2147483647 w 22"/>
                    <a:gd name="T55" fmla="*/ 2147483647 h 13"/>
                    <a:gd name="T56" fmla="*/ 2147483647 w 22"/>
                    <a:gd name="T57" fmla="*/ 2147483647 h 13"/>
                    <a:gd name="T58" fmla="*/ 2147483647 w 22"/>
                    <a:gd name="T59" fmla="*/ 2147483647 h 13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2"/>
                    <a:gd name="T91" fmla="*/ 0 h 13"/>
                    <a:gd name="T92" fmla="*/ 22 w 22"/>
                    <a:gd name="T93" fmla="*/ 13 h 13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2" h="13">
                      <a:moveTo>
                        <a:pt x="10" y="5"/>
                      </a:moveTo>
                      <a:lnTo>
                        <a:pt x="10" y="5"/>
                      </a:lnTo>
                      <a:lnTo>
                        <a:pt x="12" y="6"/>
                      </a:lnTo>
                      <a:lnTo>
                        <a:pt x="14" y="8"/>
                      </a:lnTo>
                      <a:lnTo>
                        <a:pt x="15" y="11"/>
                      </a:lnTo>
                      <a:lnTo>
                        <a:pt x="17" y="12"/>
                      </a:lnTo>
                      <a:lnTo>
                        <a:pt x="18" y="13"/>
                      </a:lnTo>
                      <a:lnTo>
                        <a:pt x="19" y="13"/>
                      </a:lnTo>
                      <a:lnTo>
                        <a:pt x="22" y="11"/>
                      </a:lnTo>
                      <a:lnTo>
                        <a:pt x="22" y="8"/>
                      </a:lnTo>
                      <a:lnTo>
                        <a:pt x="18" y="4"/>
                      </a:lnTo>
                      <a:lnTo>
                        <a:pt x="12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5" y="6"/>
                      </a:lnTo>
                      <a:lnTo>
                        <a:pt x="8" y="6"/>
                      </a:lnTo>
                      <a:lnTo>
                        <a:pt x="10" y="5"/>
                      </a:lnTo>
                      <a:lnTo>
                        <a:pt x="12" y="6"/>
                      </a:lnTo>
                      <a:lnTo>
                        <a:pt x="12" y="7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1" name="Freeform 516">
                  <a:extLst>
                    <a:ext uri="{FF2B5EF4-FFF2-40B4-BE49-F238E27FC236}">
                      <a16:creationId xmlns:a16="http://schemas.microsoft.com/office/drawing/2014/main" id="{43624104-A9AA-8145-BE0A-4B8011383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3291" y="2136617"/>
                  <a:ext cx="32557" cy="17758"/>
                </a:xfrm>
                <a:custGeom>
                  <a:avLst/>
                  <a:gdLst>
                    <a:gd name="T0" fmla="*/ 2147483647 w 24"/>
                    <a:gd name="T1" fmla="*/ 2147483647 h 12"/>
                    <a:gd name="T2" fmla="*/ 2147483647 w 24"/>
                    <a:gd name="T3" fmla="*/ 2147483647 h 12"/>
                    <a:gd name="T4" fmla="*/ 2147483647 w 24"/>
                    <a:gd name="T5" fmla="*/ 2147483647 h 12"/>
                    <a:gd name="T6" fmla="*/ 2147483647 w 24"/>
                    <a:gd name="T7" fmla="*/ 2147483647 h 12"/>
                    <a:gd name="T8" fmla="*/ 0 w 24"/>
                    <a:gd name="T9" fmla="*/ 2147483647 h 12"/>
                    <a:gd name="T10" fmla="*/ 0 w 24"/>
                    <a:gd name="T11" fmla="*/ 2147483647 h 12"/>
                    <a:gd name="T12" fmla="*/ 0 w 24"/>
                    <a:gd name="T13" fmla="*/ 2147483647 h 12"/>
                    <a:gd name="T14" fmla="*/ 2147483647 w 24"/>
                    <a:gd name="T15" fmla="*/ 2147483647 h 12"/>
                    <a:gd name="T16" fmla="*/ 2147483647 w 24"/>
                    <a:gd name="T17" fmla="*/ 2147483647 h 12"/>
                    <a:gd name="T18" fmla="*/ 2147483647 w 24"/>
                    <a:gd name="T19" fmla="*/ 0 h 12"/>
                    <a:gd name="T20" fmla="*/ 2147483647 w 24"/>
                    <a:gd name="T21" fmla="*/ 0 h 12"/>
                    <a:gd name="T22" fmla="*/ 2147483647 w 24"/>
                    <a:gd name="T23" fmla="*/ 2147483647 h 12"/>
                    <a:gd name="T24" fmla="*/ 2147483647 w 24"/>
                    <a:gd name="T25" fmla="*/ 2147483647 h 12"/>
                    <a:gd name="T26" fmla="*/ 2147483647 w 24"/>
                    <a:gd name="T27" fmla="*/ 2147483647 h 12"/>
                    <a:gd name="T28" fmla="*/ 2147483647 w 24"/>
                    <a:gd name="T29" fmla="*/ 2147483647 h 12"/>
                    <a:gd name="T30" fmla="*/ 2147483647 w 24"/>
                    <a:gd name="T31" fmla="*/ 2147483647 h 12"/>
                    <a:gd name="T32" fmla="*/ 2147483647 w 24"/>
                    <a:gd name="T33" fmla="*/ 2147483647 h 12"/>
                    <a:gd name="T34" fmla="*/ 2147483647 w 24"/>
                    <a:gd name="T35" fmla="*/ 2147483647 h 12"/>
                    <a:gd name="T36" fmla="*/ 2147483647 w 24"/>
                    <a:gd name="T37" fmla="*/ 2147483647 h 12"/>
                    <a:gd name="T38" fmla="*/ 2147483647 w 24"/>
                    <a:gd name="T39" fmla="*/ 2147483647 h 1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4"/>
                    <a:gd name="T61" fmla="*/ 0 h 12"/>
                    <a:gd name="T62" fmla="*/ 24 w 24"/>
                    <a:gd name="T63" fmla="*/ 12 h 1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4" h="12">
                      <a:moveTo>
                        <a:pt x="10" y="11"/>
                      </a:moveTo>
                      <a:lnTo>
                        <a:pt x="10" y="11"/>
                      </a:lnTo>
                      <a:lnTo>
                        <a:pt x="4" y="12"/>
                      </a:lnTo>
                      <a:lnTo>
                        <a:pt x="1" y="12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9" y="0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1" y="3"/>
                      </a:lnTo>
                      <a:lnTo>
                        <a:pt x="24" y="5"/>
                      </a:lnTo>
                      <a:lnTo>
                        <a:pt x="24" y="7"/>
                      </a:lnTo>
                      <a:lnTo>
                        <a:pt x="24" y="8"/>
                      </a:lnTo>
                      <a:lnTo>
                        <a:pt x="20" y="10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2" name="Freeform 517">
                  <a:extLst>
                    <a:ext uri="{FF2B5EF4-FFF2-40B4-BE49-F238E27FC236}">
                      <a16:creationId xmlns:a16="http://schemas.microsoft.com/office/drawing/2014/main" id="{146E5E97-223F-2549-9EC5-8E4A803D5B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6885" y="2107022"/>
                  <a:ext cx="22199" cy="16279"/>
                </a:xfrm>
                <a:custGeom>
                  <a:avLst/>
                  <a:gdLst>
                    <a:gd name="T0" fmla="*/ 2147483647 w 17"/>
                    <a:gd name="T1" fmla="*/ 2147483647 h 11"/>
                    <a:gd name="T2" fmla="*/ 2147483647 w 17"/>
                    <a:gd name="T3" fmla="*/ 2147483647 h 11"/>
                    <a:gd name="T4" fmla="*/ 0 w 17"/>
                    <a:gd name="T5" fmla="*/ 2147483647 h 11"/>
                    <a:gd name="T6" fmla="*/ 2147483647 w 17"/>
                    <a:gd name="T7" fmla="*/ 2147483647 h 11"/>
                    <a:gd name="T8" fmla="*/ 2147483647 w 17"/>
                    <a:gd name="T9" fmla="*/ 2147483647 h 11"/>
                    <a:gd name="T10" fmla="*/ 2147483647 w 17"/>
                    <a:gd name="T11" fmla="*/ 0 h 11"/>
                    <a:gd name="T12" fmla="*/ 2147483647 w 17"/>
                    <a:gd name="T13" fmla="*/ 0 h 11"/>
                    <a:gd name="T14" fmla="*/ 2147483647 w 17"/>
                    <a:gd name="T15" fmla="*/ 2147483647 h 11"/>
                    <a:gd name="T16" fmla="*/ 2147483647 w 17"/>
                    <a:gd name="T17" fmla="*/ 2147483647 h 11"/>
                    <a:gd name="T18" fmla="*/ 2147483647 w 17"/>
                    <a:gd name="T19" fmla="*/ 2147483647 h 11"/>
                    <a:gd name="T20" fmla="*/ 2147483647 w 17"/>
                    <a:gd name="T21" fmla="*/ 2147483647 h 11"/>
                    <a:gd name="T22" fmla="*/ 2147483647 w 17"/>
                    <a:gd name="T23" fmla="*/ 2147483647 h 11"/>
                    <a:gd name="T24" fmla="*/ 2147483647 w 17"/>
                    <a:gd name="T25" fmla="*/ 2147483647 h 11"/>
                    <a:gd name="T26" fmla="*/ 2147483647 w 17"/>
                    <a:gd name="T27" fmla="*/ 2147483647 h 11"/>
                    <a:gd name="T28" fmla="*/ 2147483647 w 17"/>
                    <a:gd name="T29" fmla="*/ 2147483647 h 11"/>
                    <a:gd name="T30" fmla="*/ 2147483647 w 17"/>
                    <a:gd name="T31" fmla="*/ 2147483647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7"/>
                    <a:gd name="T49" fmla="*/ 0 h 11"/>
                    <a:gd name="T50" fmla="*/ 17 w 17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7" h="11">
                      <a:moveTo>
                        <a:pt x="5" y="8"/>
                      </a:move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4" y="1"/>
                      </a:lnTo>
                      <a:lnTo>
                        <a:pt x="16" y="2"/>
                      </a:lnTo>
                      <a:lnTo>
                        <a:pt x="17" y="5"/>
                      </a:lnTo>
                      <a:lnTo>
                        <a:pt x="17" y="7"/>
                      </a:lnTo>
                      <a:lnTo>
                        <a:pt x="17" y="10"/>
                      </a:lnTo>
                      <a:lnTo>
                        <a:pt x="16" y="11"/>
                      </a:lnTo>
                      <a:lnTo>
                        <a:pt x="14" y="11"/>
                      </a:lnTo>
                      <a:lnTo>
                        <a:pt x="9" y="11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3" name="Freeform 519">
                  <a:extLst>
                    <a:ext uri="{FF2B5EF4-FFF2-40B4-BE49-F238E27FC236}">
                      <a16:creationId xmlns:a16="http://schemas.microsoft.com/office/drawing/2014/main" id="{0380B90F-958A-CA45-8C34-6C67ADB28D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3924" y="2105539"/>
                  <a:ext cx="23678" cy="16278"/>
                </a:xfrm>
                <a:custGeom>
                  <a:avLst/>
                  <a:gdLst>
                    <a:gd name="T0" fmla="*/ 2147483647 w 18"/>
                    <a:gd name="T1" fmla="*/ 2147483647 h 11"/>
                    <a:gd name="T2" fmla="*/ 2147483647 w 18"/>
                    <a:gd name="T3" fmla="*/ 2147483647 h 11"/>
                    <a:gd name="T4" fmla="*/ 2147483647 w 18"/>
                    <a:gd name="T5" fmla="*/ 2147483647 h 11"/>
                    <a:gd name="T6" fmla="*/ 2147483647 w 18"/>
                    <a:gd name="T7" fmla="*/ 2147483647 h 11"/>
                    <a:gd name="T8" fmla="*/ 0 w 18"/>
                    <a:gd name="T9" fmla="*/ 2147483647 h 11"/>
                    <a:gd name="T10" fmla="*/ 0 w 18"/>
                    <a:gd name="T11" fmla="*/ 2147483647 h 11"/>
                    <a:gd name="T12" fmla="*/ 2147483647 w 18"/>
                    <a:gd name="T13" fmla="*/ 2147483647 h 11"/>
                    <a:gd name="T14" fmla="*/ 2147483647 w 18"/>
                    <a:gd name="T15" fmla="*/ 2147483647 h 11"/>
                    <a:gd name="T16" fmla="*/ 2147483647 w 18"/>
                    <a:gd name="T17" fmla="*/ 0 h 11"/>
                    <a:gd name="T18" fmla="*/ 2147483647 w 18"/>
                    <a:gd name="T19" fmla="*/ 0 h 11"/>
                    <a:gd name="T20" fmla="*/ 2147483647 w 18"/>
                    <a:gd name="T21" fmla="*/ 2147483647 h 11"/>
                    <a:gd name="T22" fmla="*/ 2147483647 w 18"/>
                    <a:gd name="T23" fmla="*/ 2147483647 h 11"/>
                    <a:gd name="T24" fmla="*/ 2147483647 w 18"/>
                    <a:gd name="T25" fmla="*/ 2147483647 h 11"/>
                    <a:gd name="T26" fmla="*/ 2147483647 w 18"/>
                    <a:gd name="T27" fmla="*/ 2147483647 h 11"/>
                    <a:gd name="T28" fmla="*/ 2147483647 w 18"/>
                    <a:gd name="T29" fmla="*/ 2147483647 h 11"/>
                    <a:gd name="T30" fmla="*/ 2147483647 w 18"/>
                    <a:gd name="T31" fmla="*/ 2147483647 h 11"/>
                    <a:gd name="T32" fmla="*/ 2147483647 w 18"/>
                    <a:gd name="T33" fmla="*/ 2147483647 h 11"/>
                    <a:gd name="T34" fmla="*/ 2147483647 w 18"/>
                    <a:gd name="T35" fmla="*/ 2147483647 h 11"/>
                    <a:gd name="T36" fmla="*/ 2147483647 w 18"/>
                    <a:gd name="T37" fmla="*/ 2147483647 h 11"/>
                    <a:gd name="T38" fmla="*/ 2147483647 w 18"/>
                    <a:gd name="T39" fmla="*/ 2147483647 h 11"/>
                    <a:gd name="T40" fmla="*/ 2147483647 w 18"/>
                    <a:gd name="T41" fmla="*/ 2147483647 h 1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"/>
                    <a:gd name="T64" fmla="*/ 0 h 11"/>
                    <a:gd name="T65" fmla="*/ 18 w 18"/>
                    <a:gd name="T66" fmla="*/ 11 h 1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" h="11">
                      <a:moveTo>
                        <a:pt x="6" y="8"/>
                      </a:moveTo>
                      <a:lnTo>
                        <a:pt x="6" y="8"/>
                      </a:lnTo>
                      <a:lnTo>
                        <a:pt x="2" y="6"/>
                      </a:ln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14" y="1"/>
                      </a:lnTo>
                      <a:lnTo>
                        <a:pt x="17" y="2"/>
                      </a:lnTo>
                      <a:lnTo>
                        <a:pt x="18" y="5"/>
                      </a:lnTo>
                      <a:lnTo>
                        <a:pt x="18" y="7"/>
                      </a:lnTo>
                      <a:lnTo>
                        <a:pt x="18" y="9"/>
                      </a:lnTo>
                      <a:lnTo>
                        <a:pt x="17" y="11"/>
                      </a:lnTo>
                      <a:lnTo>
                        <a:pt x="14" y="11"/>
                      </a:lnTo>
                      <a:lnTo>
                        <a:pt x="9" y="11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4" name="Freeform 522">
                  <a:extLst>
                    <a:ext uri="{FF2B5EF4-FFF2-40B4-BE49-F238E27FC236}">
                      <a16:creationId xmlns:a16="http://schemas.microsoft.com/office/drawing/2014/main" id="{67BEC97A-4D1F-0745-BB37-704D813594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3387" y="1645301"/>
                  <a:ext cx="1422158" cy="1068468"/>
                </a:xfrm>
                <a:custGeom>
                  <a:avLst/>
                  <a:gdLst>
                    <a:gd name="T0" fmla="*/ 2147483647 w 1041"/>
                    <a:gd name="T1" fmla="*/ 2147483647 h 722"/>
                    <a:gd name="T2" fmla="*/ 2147483647 w 1041"/>
                    <a:gd name="T3" fmla="*/ 2147483647 h 722"/>
                    <a:gd name="T4" fmla="*/ 2147483647 w 1041"/>
                    <a:gd name="T5" fmla="*/ 2147483647 h 722"/>
                    <a:gd name="T6" fmla="*/ 2147483647 w 1041"/>
                    <a:gd name="T7" fmla="*/ 2147483647 h 722"/>
                    <a:gd name="T8" fmla="*/ 2147483647 w 1041"/>
                    <a:gd name="T9" fmla="*/ 2147483647 h 722"/>
                    <a:gd name="T10" fmla="*/ 2147483647 w 1041"/>
                    <a:gd name="T11" fmla="*/ 2147483647 h 722"/>
                    <a:gd name="T12" fmla="*/ 2147483647 w 1041"/>
                    <a:gd name="T13" fmla="*/ 2147483647 h 722"/>
                    <a:gd name="T14" fmla="*/ 2147483647 w 1041"/>
                    <a:gd name="T15" fmla="*/ 2147483647 h 722"/>
                    <a:gd name="T16" fmla="*/ 2147483647 w 1041"/>
                    <a:gd name="T17" fmla="*/ 2147483647 h 722"/>
                    <a:gd name="T18" fmla="*/ 2147483647 w 1041"/>
                    <a:gd name="T19" fmla="*/ 2147483647 h 722"/>
                    <a:gd name="T20" fmla="*/ 2147483647 w 1041"/>
                    <a:gd name="T21" fmla="*/ 2147483647 h 722"/>
                    <a:gd name="T22" fmla="*/ 2147483647 w 1041"/>
                    <a:gd name="T23" fmla="*/ 2147483647 h 722"/>
                    <a:gd name="T24" fmla="*/ 2147483647 w 1041"/>
                    <a:gd name="T25" fmla="*/ 2147483647 h 722"/>
                    <a:gd name="T26" fmla="*/ 2147483647 w 1041"/>
                    <a:gd name="T27" fmla="*/ 2147483647 h 722"/>
                    <a:gd name="T28" fmla="*/ 2147483647 w 1041"/>
                    <a:gd name="T29" fmla="*/ 2147483647 h 722"/>
                    <a:gd name="T30" fmla="*/ 2147483647 w 1041"/>
                    <a:gd name="T31" fmla="*/ 2147483647 h 722"/>
                    <a:gd name="T32" fmla="*/ 2147483647 w 1041"/>
                    <a:gd name="T33" fmla="*/ 2147483647 h 722"/>
                    <a:gd name="T34" fmla="*/ 2147483647 w 1041"/>
                    <a:gd name="T35" fmla="*/ 2147483647 h 722"/>
                    <a:gd name="T36" fmla="*/ 2147483647 w 1041"/>
                    <a:gd name="T37" fmla="*/ 2147483647 h 722"/>
                    <a:gd name="T38" fmla="*/ 2147483647 w 1041"/>
                    <a:gd name="T39" fmla="*/ 2147483647 h 722"/>
                    <a:gd name="T40" fmla="*/ 2147483647 w 1041"/>
                    <a:gd name="T41" fmla="*/ 2147483647 h 722"/>
                    <a:gd name="T42" fmla="*/ 2147483647 w 1041"/>
                    <a:gd name="T43" fmla="*/ 2147483647 h 722"/>
                    <a:gd name="T44" fmla="*/ 2147483647 w 1041"/>
                    <a:gd name="T45" fmla="*/ 2147483647 h 722"/>
                    <a:gd name="T46" fmla="*/ 2147483647 w 1041"/>
                    <a:gd name="T47" fmla="*/ 2147483647 h 722"/>
                    <a:gd name="T48" fmla="*/ 2147483647 w 1041"/>
                    <a:gd name="T49" fmla="*/ 2147483647 h 722"/>
                    <a:gd name="T50" fmla="*/ 2147483647 w 1041"/>
                    <a:gd name="T51" fmla="*/ 2147483647 h 722"/>
                    <a:gd name="T52" fmla="*/ 2147483647 w 1041"/>
                    <a:gd name="T53" fmla="*/ 2147483647 h 722"/>
                    <a:gd name="T54" fmla="*/ 2147483647 w 1041"/>
                    <a:gd name="T55" fmla="*/ 2147483647 h 722"/>
                    <a:gd name="T56" fmla="*/ 2147483647 w 1041"/>
                    <a:gd name="T57" fmla="*/ 2147483647 h 722"/>
                    <a:gd name="T58" fmla="*/ 2147483647 w 1041"/>
                    <a:gd name="T59" fmla="*/ 2147483647 h 722"/>
                    <a:gd name="T60" fmla="*/ 2147483647 w 1041"/>
                    <a:gd name="T61" fmla="*/ 2147483647 h 722"/>
                    <a:gd name="T62" fmla="*/ 2147483647 w 1041"/>
                    <a:gd name="T63" fmla="*/ 2147483647 h 722"/>
                    <a:gd name="T64" fmla="*/ 2147483647 w 1041"/>
                    <a:gd name="T65" fmla="*/ 2147483647 h 722"/>
                    <a:gd name="T66" fmla="*/ 2147483647 w 1041"/>
                    <a:gd name="T67" fmla="*/ 2147483647 h 722"/>
                    <a:gd name="T68" fmla="*/ 2147483647 w 1041"/>
                    <a:gd name="T69" fmla="*/ 2147483647 h 722"/>
                    <a:gd name="T70" fmla="*/ 2147483647 w 1041"/>
                    <a:gd name="T71" fmla="*/ 2147483647 h 722"/>
                    <a:gd name="T72" fmla="*/ 2147483647 w 1041"/>
                    <a:gd name="T73" fmla="*/ 2147483647 h 722"/>
                    <a:gd name="T74" fmla="*/ 2147483647 w 1041"/>
                    <a:gd name="T75" fmla="*/ 2147483647 h 722"/>
                    <a:gd name="T76" fmla="*/ 2147483647 w 1041"/>
                    <a:gd name="T77" fmla="*/ 2147483647 h 722"/>
                    <a:gd name="T78" fmla="*/ 2147483647 w 1041"/>
                    <a:gd name="T79" fmla="*/ 2147483647 h 722"/>
                    <a:gd name="T80" fmla="*/ 2147483647 w 1041"/>
                    <a:gd name="T81" fmla="*/ 2147483647 h 722"/>
                    <a:gd name="T82" fmla="*/ 2147483647 w 1041"/>
                    <a:gd name="T83" fmla="*/ 2147483647 h 722"/>
                    <a:gd name="T84" fmla="*/ 2147483647 w 1041"/>
                    <a:gd name="T85" fmla="*/ 2147483647 h 722"/>
                    <a:gd name="T86" fmla="*/ 2147483647 w 1041"/>
                    <a:gd name="T87" fmla="*/ 2147483647 h 722"/>
                    <a:gd name="T88" fmla="*/ 2147483647 w 1041"/>
                    <a:gd name="T89" fmla="*/ 2147483647 h 722"/>
                    <a:gd name="T90" fmla="*/ 2147483647 w 1041"/>
                    <a:gd name="T91" fmla="*/ 2147483647 h 722"/>
                    <a:gd name="T92" fmla="*/ 2147483647 w 1041"/>
                    <a:gd name="T93" fmla="*/ 2147483647 h 722"/>
                    <a:gd name="T94" fmla="*/ 2147483647 w 1041"/>
                    <a:gd name="T95" fmla="*/ 2147483647 h 722"/>
                    <a:gd name="T96" fmla="*/ 2147483647 w 1041"/>
                    <a:gd name="T97" fmla="*/ 2147483647 h 722"/>
                    <a:gd name="T98" fmla="*/ 2147483647 w 1041"/>
                    <a:gd name="T99" fmla="*/ 2147483647 h 722"/>
                    <a:gd name="T100" fmla="*/ 2147483647 w 1041"/>
                    <a:gd name="T101" fmla="*/ 2147483647 h 722"/>
                    <a:gd name="T102" fmla="*/ 2147483647 w 1041"/>
                    <a:gd name="T103" fmla="*/ 2147483647 h 722"/>
                    <a:gd name="T104" fmla="*/ 2147483647 w 1041"/>
                    <a:gd name="T105" fmla="*/ 2147483647 h 722"/>
                    <a:gd name="T106" fmla="*/ 2147483647 w 1041"/>
                    <a:gd name="T107" fmla="*/ 2147483647 h 722"/>
                    <a:gd name="T108" fmla="*/ 2147483647 w 1041"/>
                    <a:gd name="T109" fmla="*/ 2147483647 h 722"/>
                    <a:gd name="T110" fmla="*/ 2147483647 w 1041"/>
                    <a:gd name="T111" fmla="*/ 2147483647 h 722"/>
                    <a:gd name="T112" fmla="*/ 2147483647 w 1041"/>
                    <a:gd name="T113" fmla="*/ 2147483647 h 722"/>
                    <a:gd name="T114" fmla="*/ 2147483647 w 1041"/>
                    <a:gd name="T115" fmla="*/ 2147483647 h 722"/>
                    <a:gd name="T116" fmla="*/ 2147483647 w 1041"/>
                    <a:gd name="T117" fmla="*/ 2147483647 h 722"/>
                    <a:gd name="T118" fmla="*/ 2147483647 w 1041"/>
                    <a:gd name="T119" fmla="*/ 2147483647 h 722"/>
                    <a:gd name="T120" fmla="*/ 2147483647 w 1041"/>
                    <a:gd name="T121" fmla="*/ 2147483647 h 722"/>
                    <a:gd name="T122" fmla="*/ 2147483647 w 1041"/>
                    <a:gd name="T123" fmla="*/ 2147483647 h 722"/>
                    <a:gd name="T124" fmla="*/ 2147483647 w 1041"/>
                    <a:gd name="T125" fmla="*/ 2147483647 h 72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041"/>
                    <a:gd name="T190" fmla="*/ 0 h 722"/>
                    <a:gd name="T191" fmla="*/ 1041 w 1041"/>
                    <a:gd name="T192" fmla="*/ 722 h 72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041" h="722">
                      <a:moveTo>
                        <a:pt x="145" y="255"/>
                      </a:moveTo>
                      <a:lnTo>
                        <a:pt x="140" y="259"/>
                      </a:lnTo>
                      <a:lnTo>
                        <a:pt x="137" y="261"/>
                      </a:lnTo>
                      <a:lnTo>
                        <a:pt x="135" y="261"/>
                      </a:lnTo>
                      <a:lnTo>
                        <a:pt x="132" y="260"/>
                      </a:lnTo>
                      <a:lnTo>
                        <a:pt x="131" y="257"/>
                      </a:lnTo>
                      <a:lnTo>
                        <a:pt x="130" y="256"/>
                      </a:lnTo>
                      <a:lnTo>
                        <a:pt x="127" y="255"/>
                      </a:lnTo>
                      <a:lnTo>
                        <a:pt x="123" y="254"/>
                      </a:lnTo>
                      <a:lnTo>
                        <a:pt x="121" y="255"/>
                      </a:lnTo>
                      <a:lnTo>
                        <a:pt x="114" y="259"/>
                      </a:lnTo>
                      <a:lnTo>
                        <a:pt x="113" y="259"/>
                      </a:lnTo>
                      <a:lnTo>
                        <a:pt x="112" y="259"/>
                      </a:lnTo>
                      <a:lnTo>
                        <a:pt x="111" y="257"/>
                      </a:lnTo>
                      <a:lnTo>
                        <a:pt x="109" y="257"/>
                      </a:lnTo>
                      <a:lnTo>
                        <a:pt x="107" y="257"/>
                      </a:lnTo>
                      <a:lnTo>
                        <a:pt x="105" y="259"/>
                      </a:lnTo>
                      <a:lnTo>
                        <a:pt x="105" y="261"/>
                      </a:lnTo>
                      <a:lnTo>
                        <a:pt x="107" y="265"/>
                      </a:lnTo>
                      <a:lnTo>
                        <a:pt x="107" y="267"/>
                      </a:lnTo>
                      <a:lnTo>
                        <a:pt x="107" y="269"/>
                      </a:lnTo>
                      <a:lnTo>
                        <a:pt x="105" y="272"/>
                      </a:lnTo>
                      <a:lnTo>
                        <a:pt x="104" y="273"/>
                      </a:lnTo>
                      <a:lnTo>
                        <a:pt x="100" y="273"/>
                      </a:lnTo>
                      <a:lnTo>
                        <a:pt x="97" y="273"/>
                      </a:lnTo>
                      <a:lnTo>
                        <a:pt x="93" y="269"/>
                      </a:lnTo>
                      <a:lnTo>
                        <a:pt x="90" y="266"/>
                      </a:lnTo>
                      <a:lnTo>
                        <a:pt x="86" y="262"/>
                      </a:lnTo>
                      <a:lnTo>
                        <a:pt x="79" y="256"/>
                      </a:lnTo>
                      <a:lnTo>
                        <a:pt x="69" y="252"/>
                      </a:lnTo>
                      <a:lnTo>
                        <a:pt x="60" y="247"/>
                      </a:lnTo>
                      <a:lnTo>
                        <a:pt x="62" y="244"/>
                      </a:lnTo>
                      <a:lnTo>
                        <a:pt x="65" y="242"/>
                      </a:lnTo>
                      <a:lnTo>
                        <a:pt x="65" y="240"/>
                      </a:lnTo>
                      <a:lnTo>
                        <a:pt x="64" y="237"/>
                      </a:lnTo>
                      <a:lnTo>
                        <a:pt x="61" y="235"/>
                      </a:lnTo>
                      <a:lnTo>
                        <a:pt x="57" y="235"/>
                      </a:lnTo>
                      <a:lnTo>
                        <a:pt x="53" y="235"/>
                      </a:lnTo>
                      <a:lnTo>
                        <a:pt x="50" y="235"/>
                      </a:lnTo>
                      <a:lnTo>
                        <a:pt x="50" y="234"/>
                      </a:lnTo>
                      <a:lnTo>
                        <a:pt x="41" y="230"/>
                      </a:lnTo>
                      <a:lnTo>
                        <a:pt x="33" y="227"/>
                      </a:lnTo>
                      <a:lnTo>
                        <a:pt x="32" y="225"/>
                      </a:lnTo>
                      <a:lnTo>
                        <a:pt x="31" y="224"/>
                      </a:lnTo>
                      <a:lnTo>
                        <a:pt x="31" y="223"/>
                      </a:lnTo>
                      <a:lnTo>
                        <a:pt x="32" y="222"/>
                      </a:lnTo>
                      <a:lnTo>
                        <a:pt x="42" y="220"/>
                      </a:lnTo>
                      <a:lnTo>
                        <a:pt x="52" y="220"/>
                      </a:lnTo>
                      <a:lnTo>
                        <a:pt x="64" y="221"/>
                      </a:lnTo>
                      <a:lnTo>
                        <a:pt x="74" y="223"/>
                      </a:lnTo>
                      <a:lnTo>
                        <a:pt x="76" y="224"/>
                      </a:lnTo>
                      <a:lnTo>
                        <a:pt x="79" y="224"/>
                      </a:lnTo>
                      <a:lnTo>
                        <a:pt x="80" y="223"/>
                      </a:lnTo>
                      <a:lnTo>
                        <a:pt x="80" y="222"/>
                      </a:lnTo>
                      <a:lnTo>
                        <a:pt x="79" y="221"/>
                      </a:lnTo>
                      <a:lnTo>
                        <a:pt x="74" y="221"/>
                      </a:lnTo>
                      <a:lnTo>
                        <a:pt x="69" y="220"/>
                      </a:lnTo>
                      <a:lnTo>
                        <a:pt x="67" y="217"/>
                      </a:lnTo>
                      <a:lnTo>
                        <a:pt x="66" y="216"/>
                      </a:lnTo>
                      <a:lnTo>
                        <a:pt x="67" y="215"/>
                      </a:lnTo>
                      <a:lnTo>
                        <a:pt x="70" y="215"/>
                      </a:lnTo>
                      <a:lnTo>
                        <a:pt x="72" y="214"/>
                      </a:lnTo>
                      <a:lnTo>
                        <a:pt x="78" y="215"/>
                      </a:lnTo>
                      <a:lnTo>
                        <a:pt x="88" y="218"/>
                      </a:lnTo>
                      <a:lnTo>
                        <a:pt x="94" y="221"/>
                      </a:lnTo>
                      <a:lnTo>
                        <a:pt x="99" y="222"/>
                      </a:lnTo>
                      <a:lnTo>
                        <a:pt x="102" y="222"/>
                      </a:lnTo>
                      <a:lnTo>
                        <a:pt x="104" y="224"/>
                      </a:lnTo>
                      <a:lnTo>
                        <a:pt x="105" y="225"/>
                      </a:lnTo>
                      <a:lnTo>
                        <a:pt x="108" y="225"/>
                      </a:lnTo>
                      <a:lnTo>
                        <a:pt x="111" y="225"/>
                      </a:lnTo>
                      <a:lnTo>
                        <a:pt x="112" y="224"/>
                      </a:lnTo>
                      <a:lnTo>
                        <a:pt x="111" y="222"/>
                      </a:lnTo>
                      <a:lnTo>
                        <a:pt x="108" y="217"/>
                      </a:lnTo>
                      <a:lnTo>
                        <a:pt x="105" y="212"/>
                      </a:lnTo>
                      <a:lnTo>
                        <a:pt x="104" y="211"/>
                      </a:lnTo>
                      <a:lnTo>
                        <a:pt x="103" y="210"/>
                      </a:lnTo>
                      <a:lnTo>
                        <a:pt x="98" y="209"/>
                      </a:lnTo>
                      <a:lnTo>
                        <a:pt x="94" y="208"/>
                      </a:lnTo>
                      <a:lnTo>
                        <a:pt x="90" y="204"/>
                      </a:lnTo>
                      <a:lnTo>
                        <a:pt x="89" y="199"/>
                      </a:lnTo>
                      <a:lnTo>
                        <a:pt x="88" y="199"/>
                      </a:lnTo>
                      <a:lnTo>
                        <a:pt x="85" y="199"/>
                      </a:lnTo>
                      <a:lnTo>
                        <a:pt x="83" y="201"/>
                      </a:lnTo>
                      <a:lnTo>
                        <a:pt x="81" y="202"/>
                      </a:lnTo>
                      <a:lnTo>
                        <a:pt x="81" y="205"/>
                      </a:lnTo>
                      <a:lnTo>
                        <a:pt x="80" y="208"/>
                      </a:lnTo>
                      <a:lnTo>
                        <a:pt x="78" y="210"/>
                      </a:lnTo>
                      <a:lnTo>
                        <a:pt x="74" y="209"/>
                      </a:lnTo>
                      <a:lnTo>
                        <a:pt x="71" y="208"/>
                      </a:lnTo>
                      <a:lnTo>
                        <a:pt x="70" y="205"/>
                      </a:lnTo>
                      <a:lnTo>
                        <a:pt x="69" y="203"/>
                      </a:lnTo>
                      <a:lnTo>
                        <a:pt x="66" y="201"/>
                      </a:lnTo>
                      <a:lnTo>
                        <a:pt x="65" y="201"/>
                      </a:lnTo>
                      <a:lnTo>
                        <a:pt x="61" y="204"/>
                      </a:lnTo>
                      <a:lnTo>
                        <a:pt x="59" y="207"/>
                      </a:lnTo>
                      <a:lnTo>
                        <a:pt x="57" y="210"/>
                      </a:lnTo>
                      <a:lnTo>
                        <a:pt x="53" y="214"/>
                      </a:lnTo>
                      <a:lnTo>
                        <a:pt x="51" y="215"/>
                      </a:lnTo>
                      <a:lnTo>
                        <a:pt x="50" y="215"/>
                      </a:lnTo>
                      <a:lnTo>
                        <a:pt x="45" y="214"/>
                      </a:lnTo>
                      <a:lnTo>
                        <a:pt x="36" y="208"/>
                      </a:lnTo>
                      <a:lnTo>
                        <a:pt x="31" y="207"/>
                      </a:lnTo>
                      <a:lnTo>
                        <a:pt x="25" y="204"/>
                      </a:lnTo>
                      <a:lnTo>
                        <a:pt x="24" y="204"/>
                      </a:lnTo>
                      <a:lnTo>
                        <a:pt x="23" y="205"/>
                      </a:lnTo>
                      <a:lnTo>
                        <a:pt x="20" y="207"/>
                      </a:lnTo>
                      <a:lnTo>
                        <a:pt x="18" y="207"/>
                      </a:lnTo>
                      <a:lnTo>
                        <a:pt x="17" y="207"/>
                      </a:lnTo>
                      <a:lnTo>
                        <a:pt x="14" y="204"/>
                      </a:lnTo>
                      <a:lnTo>
                        <a:pt x="13" y="201"/>
                      </a:lnTo>
                      <a:lnTo>
                        <a:pt x="10" y="197"/>
                      </a:lnTo>
                      <a:lnTo>
                        <a:pt x="6" y="197"/>
                      </a:lnTo>
                      <a:lnTo>
                        <a:pt x="4" y="193"/>
                      </a:lnTo>
                      <a:lnTo>
                        <a:pt x="1" y="190"/>
                      </a:lnTo>
                      <a:lnTo>
                        <a:pt x="0" y="186"/>
                      </a:lnTo>
                      <a:lnTo>
                        <a:pt x="0" y="184"/>
                      </a:lnTo>
                      <a:lnTo>
                        <a:pt x="3" y="183"/>
                      </a:lnTo>
                      <a:lnTo>
                        <a:pt x="5" y="183"/>
                      </a:lnTo>
                      <a:lnTo>
                        <a:pt x="8" y="183"/>
                      </a:lnTo>
                      <a:lnTo>
                        <a:pt x="12" y="183"/>
                      </a:lnTo>
                      <a:lnTo>
                        <a:pt x="14" y="182"/>
                      </a:lnTo>
                      <a:lnTo>
                        <a:pt x="17" y="180"/>
                      </a:lnTo>
                      <a:lnTo>
                        <a:pt x="19" y="179"/>
                      </a:lnTo>
                      <a:lnTo>
                        <a:pt x="22" y="179"/>
                      </a:lnTo>
                      <a:lnTo>
                        <a:pt x="23" y="179"/>
                      </a:lnTo>
                      <a:lnTo>
                        <a:pt x="25" y="179"/>
                      </a:lnTo>
                      <a:lnTo>
                        <a:pt x="28" y="179"/>
                      </a:lnTo>
                      <a:lnTo>
                        <a:pt x="32" y="179"/>
                      </a:lnTo>
                      <a:lnTo>
                        <a:pt x="36" y="178"/>
                      </a:lnTo>
                      <a:lnTo>
                        <a:pt x="36" y="177"/>
                      </a:lnTo>
                      <a:lnTo>
                        <a:pt x="37" y="176"/>
                      </a:lnTo>
                      <a:lnTo>
                        <a:pt x="39" y="175"/>
                      </a:lnTo>
                      <a:lnTo>
                        <a:pt x="43" y="172"/>
                      </a:lnTo>
                      <a:lnTo>
                        <a:pt x="48" y="172"/>
                      </a:lnTo>
                      <a:lnTo>
                        <a:pt x="59" y="171"/>
                      </a:lnTo>
                      <a:lnTo>
                        <a:pt x="69" y="169"/>
                      </a:lnTo>
                      <a:lnTo>
                        <a:pt x="75" y="167"/>
                      </a:lnTo>
                      <a:lnTo>
                        <a:pt x="81" y="164"/>
                      </a:lnTo>
                      <a:lnTo>
                        <a:pt x="84" y="161"/>
                      </a:lnTo>
                      <a:lnTo>
                        <a:pt x="86" y="161"/>
                      </a:lnTo>
                      <a:lnTo>
                        <a:pt x="94" y="163"/>
                      </a:lnTo>
                      <a:lnTo>
                        <a:pt x="100" y="164"/>
                      </a:lnTo>
                      <a:lnTo>
                        <a:pt x="103" y="164"/>
                      </a:lnTo>
                      <a:lnTo>
                        <a:pt x="105" y="163"/>
                      </a:lnTo>
                      <a:lnTo>
                        <a:pt x="109" y="160"/>
                      </a:lnTo>
                      <a:lnTo>
                        <a:pt x="114" y="159"/>
                      </a:lnTo>
                      <a:lnTo>
                        <a:pt x="125" y="157"/>
                      </a:lnTo>
                      <a:lnTo>
                        <a:pt x="127" y="156"/>
                      </a:lnTo>
                      <a:lnTo>
                        <a:pt x="128" y="153"/>
                      </a:lnTo>
                      <a:lnTo>
                        <a:pt x="130" y="150"/>
                      </a:lnTo>
                      <a:lnTo>
                        <a:pt x="132" y="145"/>
                      </a:lnTo>
                      <a:lnTo>
                        <a:pt x="133" y="144"/>
                      </a:lnTo>
                      <a:lnTo>
                        <a:pt x="136" y="142"/>
                      </a:lnTo>
                      <a:lnTo>
                        <a:pt x="137" y="141"/>
                      </a:lnTo>
                      <a:lnTo>
                        <a:pt x="137" y="139"/>
                      </a:lnTo>
                      <a:lnTo>
                        <a:pt x="136" y="137"/>
                      </a:lnTo>
                      <a:lnTo>
                        <a:pt x="133" y="135"/>
                      </a:lnTo>
                      <a:lnTo>
                        <a:pt x="131" y="133"/>
                      </a:lnTo>
                      <a:lnTo>
                        <a:pt x="128" y="131"/>
                      </a:lnTo>
                      <a:lnTo>
                        <a:pt x="127" y="128"/>
                      </a:lnTo>
                      <a:lnTo>
                        <a:pt x="126" y="127"/>
                      </a:lnTo>
                      <a:lnTo>
                        <a:pt x="121" y="126"/>
                      </a:lnTo>
                      <a:lnTo>
                        <a:pt x="111" y="126"/>
                      </a:lnTo>
                      <a:lnTo>
                        <a:pt x="105" y="125"/>
                      </a:lnTo>
                      <a:lnTo>
                        <a:pt x="100" y="124"/>
                      </a:lnTo>
                      <a:lnTo>
                        <a:pt x="97" y="124"/>
                      </a:lnTo>
                      <a:lnTo>
                        <a:pt x="93" y="124"/>
                      </a:lnTo>
                      <a:lnTo>
                        <a:pt x="90" y="124"/>
                      </a:lnTo>
                      <a:lnTo>
                        <a:pt x="88" y="122"/>
                      </a:lnTo>
                      <a:lnTo>
                        <a:pt x="89" y="120"/>
                      </a:lnTo>
                      <a:lnTo>
                        <a:pt x="89" y="119"/>
                      </a:lnTo>
                      <a:lnTo>
                        <a:pt x="94" y="116"/>
                      </a:lnTo>
                      <a:lnTo>
                        <a:pt x="100" y="115"/>
                      </a:lnTo>
                      <a:lnTo>
                        <a:pt x="104" y="113"/>
                      </a:lnTo>
                      <a:lnTo>
                        <a:pt x="113" y="110"/>
                      </a:lnTo>
                      <a:lnTo>
                        <a:pt x="121" y="107"/>
                      </a:lnTo>
                      <a:lnTo>
                        <a:pt x="128" y="105"/>
                      </a:lnTo>
                      <a:lnTo>
                        <a:pt x="136" y="100"/>
                      </a:lnTo>
                      <a:lnTo>
                        <a:pt x="140" y="97"/>
                      </a:lnTo>
                      <a:lnTo>
                        <a:pt x="142" y="96"/>
                      </a:lnTo>
                      <a:lnTo>
                        <a:pt x="145" y="95"/>
                      </a:lnTo>
                      <a:lnTo>
                        <a:pt x="146" y="97"/>
                      </a:lnTo>
                      <a:lnTo>
                        <a:pt x="149" y="99"/>
                      </a:lnTo>
                      <a:lnTo>
                        <a:pt x="152" y="100"/>
                      </a:lnTo>
                      <a:lnTo>
                        <a:pt x="156" y="100"/>
                      </a:lnTo>
                      <a:lnTo>
                        <a:pt x="156" y="103"/>
                      </a:lnTo>
                      <a:lnTo>
                        <a:pt x="159" y="107"/>
                      </a:lnTo>
                      <a:lnTo>
                        <a:pt x="161" y="108"/>
                      </a:lnTo>
                      <a:lnTo>
                        <a:pt x="165" y="107"/>
                      </a:lnTo>
                      <a:lnTo>
                        <a:pt x="168" y="103"/>
                      </a:lnTo>
                      <a:lnTo>
                        <a:pt x="168" y="101"/>
                      </a:lnTo>
                      <a:lnTo>
                        <a:pt x="168" y="100"/>
                      </a:lnTo>
                      <a:lnTo>
                        <a:pt x="164" y="97"/>
                      </a:lnTo>
                      <a:lnTo>
                        <a:pt x="159" y="95"/>
                      </a:lnTo>
                      <a:lnTo>
                        <a:pt x="156" y="93"/>
                      </a:lnTo>
                      <a:lnTo>
                        <a:pt x="155" y="92"/>
                      </a:lnTo>
                      <a:lnTo>
                        <a:pt x="156" y="89"/>
                      </a:lnTo>
                      <a:lnTo>
                        <a:pt x="158" y="87"/>
                      </a:lnTo>
                      <a:lnTo>
                        <a:pt x="160" y="87"/>
                      </a:lnTo>
                      <a:lnTo>
                        <a:pt x="163" y="88"/>
                      </a:lnTo>
                      <a:lnTo>
                        <a:pt x="165" y="89"/>
                      </a:lnTo>
                      <a:lnTo>
                        <a:pt x="165" y="92"/>
                      </a:lnTo>
                      <a:lnTo>
                        <a:pt x="166" y="93"/>
                      </a:lnTo>
                      <a:lnTo>
                        <a:pt x="174" y="93"/>
                      </a:lnTo>
                      <a:lnTo>
                        <a:pt x="180" y="95"/>
                      </a:lnTo>
                      <a:lnTo>
                        <a:pt x="185" y="99"/>
                      </a:lnTo>
                      <a:lnTo>
                        <a:pt x="189" y="105"/>
                      </a:lnTo>
                      <a:lnTo>
                        <a:pt x="191" y="105"/>
                      </a:lnTo>
                      <a:lnTo>
                        <a:pt x="192" y="103"/>
                      </a:lnTo>
                      <a:lnTo>
                        <a:pt x="196" y="100"/>
                      </a:lnTo>
                      <a:lnTo>
                        <a:pt x="199" y="95"/>
                      </a:lnTo>
                      <a:lnTo>
                        <a:pt x="201" y="94"/>
                      </a:lnTo>
                      <a:lnTo>
                        <a:pt x="201" y="93"/>
                      </a:lnTo>
                      <a:lnTo>
                        <a:pt x="198" y="90"/>
                      </a:lnTo>
                      <a:lnTo>
                        <a:pt x="194" y="88"/>
                      </a:lnTo>
                      <a:lnTo>
                        <a:pt x="191" y="81"/>
                      </a:lnTo>
                      <a:lnTo>
                        <a:pt x="188" y="77"/>
                      </a:lnTo>
                      <a:lnTo>
                        <a:pt x="188" y="74"/>
                      </a:lnTo>
                      <a:lnTo>
                        <a:pt x="189" y="70"/>
                      </a:lnTo>
                      <a:lnTo>
                        <a:pt x="192" y="67"/>
                      </a:lnTo>
                      <a:lnTo>
                        <a:pt x="199" y="63"/>
                      </a:lnTo>
                      <a:lnTo>
                        <a:pt x="208" y="62"/>
                      </a:lnTo>
                      <a:lnTo>
                        <a:pt x="210" y="62"/>
                      </a:lnTo>
                      <a:lnTo>
                        <a:pt x="211" y="64"/>
                      </a:lnTo>
                      <a:lnTo>
                        <a:pt x="212" y="67"/>
                      </a:lnTo>
                      <a:lnTo>
                        <a:pt x="215" y="69"/>
                      </a:lnTo>
                      <a:lnTo>
                        <a:pt x="217" y="69"/>
                      </a:lnTo>
                      <a:lnTo>
                        <a:pt x="221" y="68"/>
                      </a:lnTo>
                      <a:lnTo>
                        <a:pt x="221" y="71"/>
                      </a:lnTo>
                      <a:lnTo>
                        <a:pt x="222" y="74"/>
                      </a:lnTo>
                      <a:lnTo>
                        <a:pt x="225" y="75"/>
                      </a:lnTo>
                      <a:lnTo>
                        <a:pt x="229" y="76"/>
                      </a:lnTo>
                      <a:lnTo>
                        <a:pt x="238" y="75"/>
                      </a:lnTo>
                      <a:lnTo>
                        <a:pt x="241" y="75"/>
                      </a:lnTo>
                      <a:lnTo>
                        <a:pt x="245" y="76"/>
                      </a:lnTo>
                      <a:lnTo>
                        <a:pt x="245" y="74"/>
                      </a:lnTo>
                      <a:lnTo>
                        <a:pt x="245" y="73"/>
                      </a:lnTo>
                      <a:lnTo>
                        <a:pt x="239" y="69"/>
                      </a:lnTo>
                      <a:lnTo>
                        <a:pt x="232" y="67"/>
                      </a:lnTo>
                      <a:lnTo>
                        <a:pt x="227" y="64"/>
                      </a:lnTo>
                      <a:lnTo>
                        <a:pt x="226" y="62"/>
                      </a:lnTo>
                      <a:lnTo>
                        <a:pt x="225" y="60"/>
                      </a:lnTo>
                      <a:lnTo>
                        <a:pt x="226" y="57"/>
                      </a:lnTo>
                      <a:lnTo>
                        <a:pt x="230" y="56"/>
                      </a:lnTo>
                      <a:lnTo>
                        <a:pt x="235" y="55"/>
                      </a:lnTo>
                      <a:lnTo>
                        <a:pt x="240" y="54"/>
                      </a:lnTo>
                      <a:lnTo>
                        <a:pt x="246" y="54"/>
                      </a:lnTo>
                      <a:lnTo>
                        <a:pt x="250" y="52"/>
                      </a:lnTo>
                      <a:lnTo>
                        <a:pt x="264" y="54"/>
                      </a:lnTo>
                      <a:lnTo>
                        <a:pt x="269" y="54"/>
                      </a:lnTo>
                      <a:lnTo>
                        <a:pt x="278" y="52"/>
                      </a:lnTo>
                      <a:lnTo>
                        <a:pt x="288" y="50"/>
                      </a:lnTo>
                      <a:lnTo>
                        <a:pt x="292" y="48"/>
                      </a:lnTo>
                      <a:lnTo>
                        <a:pt x="296" y="48"/>
                      </a:lnTo>
                      <a:lnTo>
                        <a:pt x="300" y="49"/>
                      </a:lnTo>
                      <a:lnTo>
                        <a:pt x="304" y="50"/>
                      </a:lnTo>
                      <a:lnTo>
                        <a:pt x="307" y="50"/>
                      </a:lnTo>
                      <a:lnTo>
                        <a:pt x="311" y="49"/>
                      </a:lnTo>
                      <a:lnTo>
                        <a:pt x="314" y="51"/>
                      </a:lnTo>
                      <a:lnTo>
                        <a:pt x="318" y="54"/>
                      </a:lnTo>
                      <a:lnTo>
                        <a:pt x="323" y="60"/>
                      </a:lnTo>
                      <a:lnTo>
                        <a:pt x="329" y="63"/>
                      </a:lnTo>
                      <a:lnTo>
                        <a:pt x="333" y="64"/>
                      </a:lnTo>
                      <a:lnTo>
                        <a:pt x="335" y="63"/>
                      </a:lnTo>
                      <a:lnTo>
                        <a:pt x="337" y="63"/>
                      </a:lnTo>
                      <a:lnTo>
                        <a:pt x="338" y="62"/>
                      </a:lnTo>
                      <a:lnTo>
                        <a:pt x="337" y="60"/>
                      </a:lnTo>
                      <a:lnTo>
                        <a:pt x="333" y="52"/>
                      </a:lnTo>
                      <a:lnTo>
                        <a:pt x="333" y="50"/>
                      </a:lnTo>
                      <a:lnTo>
                        <a:pt x="334" y="49"/>
                      </a:lnTo>
                      <a:lnTo>
                        <a:pt x="335" y="48"/>
                      </a:lnTo>
                      <a:lnTo>
                        <a:pt x="338" y="48"/>
                      </a:lnTo>
                      <a:lnTo>
                        <a:pt x="344" y="50"/>
                      </a:lnTo>
                      <a:lnTo>
                        <a:pt x="349" y="54"/>
                      </a:lnTo>
                      <a:lnTo>
                        <a:pt x="356" y="56"/>
                      </a:lnTo>
                      <a:lnTo>
                        <a:pt x="358" y="57"/>
                      </a:lnTo>
                      <a:lnTo>
                        <a:pt x="362" y="57"/>
                      </a:lnTo>
                      <a:lnTo>
                        <a:pt x="362" y="56"/>
                      </a:lnTo>
                      <a:lnTo>
                        <a:pt x="365" y="55"/>
                      </a:lnTo>
                      <a:lnTo>
                        <a:pt x="366" y="56"/>
                      </a:lnTo>
                      <a:lnTo>
                        <a:pt x="370" y="58"/>
                      </a:lnTo>
                      <a:lnTo>
                        <a:pt x="373" y="62"/>
                      </a:lnTo>
                      <a:lnTo>
                        <a:pt x="377" y="67"/>
                      </a:lnTo>
                      <a:lnTo>
                        <a:pt x="380" y="73"/>
                      </a:lnTo>
                      <a:lnTo>
                        <a:pt x="382" y="77"/>
                      </a:lnTo>
                      <a:lnTo>
                        <a:pt x="385" y="83"/>
                      </a:lnTo>
                      <a:lnTo>
                        <a:pt x="389" y="88"/>
                      </a:lnTo>
                      <a:lnTo>
                        <a:pt x="391" y="89"/>
                      </a:lnTo>
                      <a:lnTo>
                        <a:pt x="392" y="88"/>
                      </a:lnTo>
                      <a:lnTo>
                        <a:pt x="394" y="86"/>
                      </a:lnTo>
                      <a:lnTo>
                        <a:pt x="394" y="83"/>
                      </a:lnTo>
                      <a:lnTo>
                        <a:pt x="392" y="82"/>
                      </a:lnTo>
                      <a:lnTo>
                        <a:pt x="392" y="80"/>
                      </a:lnTo>
                      <a:lnTo>
                        <a:pt x="392" y="74"/>
                      </a:lnTo>
                      <a:lnTo>
                        <a:pt x="391" y="68"/>
                      </a:lnTo>
                      <a:lnTo>
                        <a:pt x="389" y="62"/>
                      </a:lnTo>
                      <a:lnTo>
                        <a:pt x="385" y="57"/>
                      </a:lnTo>
                      <a:lnTo>
                        <a:pt x="380" y="54"/>
                      </a:lnTo>
                      <a:lnTo>
                        <a:pt x="375" y="49"/>
                      </a:lnTo>
                      <a:lnTo>
                        <a:pt x="365" y="43"/>
                      </a:lnTo>
                      <a:lnTo>
                        <a:pt x="365" y="41"/>
                      </a:lnTo>
                      <a:lnTo>
                        <a:pt x="368" y="39"/>
                      </a:lnTo>
                      <a:lnTo>
                        <a:pt x="373" y="38"/>
                      </a:lnTo>
                      <a:lnTo>
                        <a:pt x="379" y="39"/>
                      </a:lnTo>
                      <a:lnTo>
                        <a:pt x="382" y="41"/>
                      </a:lnTo>
                      <a:lnTo>
                        <a:pt x="386" y="43"/>
                      </a:lnTo>
                      <a:lnTo>
                        <a:pt x="389" y="44"/>
                      </a:lnTo>
                      <a:lnTo>
                        <a:pt x="390" y="44"/>
                      </a:lnTo>
                      <a:lnTo>
                        <a:pt x="392" y="42"/>
                      </a:lnTo>
                      <a:lnTo>
                        <a:pt x="392" y="41"/>
                      </a:lnTo>
                      <a:lnTo>
                        <a:pt x="394" y="39"/>
                      </a:lnTo>
                      <a:lnTo>
                        <a:pt x="396" y="41"/>
                      </a:lnTo>
                      <a:lnTo>
                        <a:pt x="399" y="42"/>
                      </a:lnTo>
                      <a:lnTo>
                        <a:pt x="401" y="46"/>
                      </a:lnTo>
                      <a:lnTo>
                        <a:pt x="403" y="48"/>
                      </a:lnTo>
                      <a:lnTo>
                        <a:pt x="404" y="48"/>
                      </a:lnTo>
                      <a:lnTo>
                        <a:pt x="408" y="48"/>
                      </a:lnTo>
                      <a:lnTo>
                        <a:pt x="412" y="48"/>
                      </a:lnTo>
                      <a:lnTo>
                        <a:pt x="415" y="49"/>
                      </a:lnTo>
                      <a:lnTo>
                        <a:pt x="420" y="50"/>
                      </a:lnTo>
                      <a:lnTo>
                        <a:pt x="423" y="51"/>
                      </a:lnTo>
                      <a:lnTo>
                        <a:pt x="425" y="51"/>
                      </a:lnTo>
                      <a:lnTo>
                        <a:pt x="427" y="50"/>
                      </a:lnTo>
                      <a:lnTo>
                        <a:pt x="427" y="48"/>
                      </a:lnTo>
                      <a:lnTo>
                        <a:pt x="425" y="46"/>
                      </a:lnTo>
                      <a:lnTo>
                        <a:pt x="424" y="45"/>
                      </a:lnTo>
                      <a:lnTo>
                        <a:pt x="419" y="43"/>
                      </a:lnTo>
                      <a:lnTo>
                        <a:pt x="414" y="41"/>
                      </a:lnTo>
                      <a:lnTo>
                        <a:pt x="414" y="39"/>
                      </a:lnTo>
                      <a:lnTo>
                        <a:pt x="415" y="38"/>
                      </a:lnTo>
                      <a:lnTo>
                        <a:pt x="419" y="38"/>
                      </a:lnTo>
                      <a:lnTo>
                        <a:pt x="431" y="41"/>
                      </a:lnTo>
                      <a:lnTo>
                        <a:pt x="441" y="42"/>
                      </a:lnTo>
                      <a:lnTo>
                        <a:pt x="451" y="42"/>
                      </a:lnTo>
                      <a:lnTo>
                        <a:pt x="462" y="42"/>
                      </a:lnTo>
                      <a:lnTo>
                        <a:pt x="462" y="41"/>
                      </a:lnTo>
                      <a:lnTo>
                        <a:pt x="461" y="39"/>
                      </a:lnTo>
                      <a:lnTo>
                        <a:pt x="457" y="35"/>
                      </a:lnTo>
                      <a:lnTo>
                        <a:pt x="452" y="32"/>
                      </a:lnTo>
                      <a:lnTo>
                        <a:pt x="446" y="31"/>
                      </a:lnTo>
                      <a:lnTo>
                        <a:pt x="441" y="29"/>
                      </a:lnTo>
                      <a:lnTo>
                        <a:pt x="437" y="27"/>
                      </a:lnTo>
                      <a:lnTo>
                        <a:pt x="432" y="26"/>
                      </a:lnTo>
                      <a:lnTo>
                        <a:pt x="432" y="25"/>
                      </a:lnTo>
                      <a:lnTo>
                        <a:pt x="432" y="23"/>
                      </a:lnTo>
                      <a:lnTo>
                        <a:pt x="436" y="22"/>
                      </a:lnTo>
                      <a:lnTo>
                        <a:pt x="443" y="22"/>
                      </a:lnTo>
                      <a:lnTo>
                        <a:pt x="452" y="22"/>
                      </a:lnTo>
                      <a:lnTo>
                        <a:pt x="461" y="23"/>
                      </a:lnTo>
                      <a:lnTo>
                        <a:pt x="470" y="24"/>
                      </a:lnTo>
                      <a:lnTo>
                        <a:pt x="480" y="25"/>
                      </a:lnTo>
                      <a:lnTo>
                        <a:pt x="486" y="23"/>
                      </a:lnTo>
                      <a:lnTo>
                        <a:pt x="502" y="22"/>
                      </a:lnTo>
                      <a:lnTo>
                        <a:pt x="516" y="18"/>
                      </a:lnTo>
                      <a:lnTo>
                        <a:pt x="518" y="17"/>
                      </a:lnTo>
                      <a:lnTo>
                        <a:pt x="519" y="18"/>
                      </a:lnTo>
                      <a:lnTo>
                        <a:pt x="521" y="20"/>
                      </a:lnTo>
                      <a:lnTo>
                        <a:pt x="523" y="23"/>
                      </a:lnTo>
                      <a:lnTo>
                        <a:pt x="528" y="24"/>
                      </a:lnTo>
                      <a:lnTo>
                        <a:pt x="539" y="24"/>
                      </a:lnTo>
                      <a:lnTo>
                        <a:pt x="540" y="25"/>
                      </a:lnTo>
                      <a:lnTo>
                        <a:pt x="540" y="27"/>
                      </a:lnTo>
                      <a:lnTo>
                        <a:pt x="541" y="30"/>
                      </a:lnTo>
                      <a:lnTo>
                        <a:pt x="542" y="31"/>
                      </a:lnTo>
                      <a:lnTo>
                        <a:pt x="545" y="32"/>
                      </a:lnTo>
                      <a:lnTo>
                        <a:pt x="546" y="32"/>
                      </a:lnTo>
                      <a:lnTo>
                        <a:pt x="547" y="37"/>
                      </a:lnTo>
                      <a:lnTo>
                        <a:pt x="549" y="39"/>
                      </a:lnTo>
                      <a:lnTo>
                        <a:pt x="555" y="45"/>
                      </a:lnTo>
                      <a:lnTo>
                        <a:pt x="556" y="46"/>
                      </a:lnTo>
                      <a:lnTo>
                        <a:pt x="559" y="48"/>
                      </a:lnTo>
                      <a:lnTo>
                        <a:pt x="561" y="48"/>
                      </a:lnTo>
                      <a:lnTo>
                        <a:pt x="564" y="48"/>
                      </a:lnTo>
                      <a:lnTo>
                        <a:pt x="565" y="46"/>
                      </a:lnTo>
                      <a:lnTo>
                        <a:pt x="564" y="45"/>
                      </a:lnTo>
                      <a:lnTo>
                        <a:pt x="560" y="39"/>
                      </a:lnTo>
                      <a:lnTo>
                        <a:pt x="556" y="32"/>
                      </a:lnTo>
                      <a:lnTo>
                        <a:pt x="555" y="31"/>
                      </a:lnTo>
                      <a:lnTo>
                        <a:pt x="552" y="30"/>
                      </a:lnTo>
                      <a:lnTo>
                        <a:pt x="551" y="27"/>
                      </a:lnTo>
                      <a:lnTo>
                        <a:pt x="549" y="25"/>
                      </a:lnTo>
                      <a:lnTo>
                        <a:pt x="549" y="20"/>
                      </a:lnTo>
                      <a:lnTo>
                        <a:pt x="549" y="18"/>
                      </a:lnTo>
                      <a:lnTo>
                        <a:pt x="551" y="16"/>
                      </a:lnTo>
                      <a:lnTo>
                        <a:pt x="555" y="14"/>
                      </a:lnTo>
                      <a:lnTo>
                        <a:pt x="560" y="13"/>
                      </a:lnTo>
                      <a:lnTo>
                        <a:pt x="564" y="12"/>
                      </a:lnTo>
                      <a:lnTo>
                        <a:pt x="566" y="10"/>
                      </a:lnTo>
                      <a:lnTo>
                        <a:pt x="566" y="6"/>
                      </a:lnTo>
                      <a:lnTo>
                        <a:pt x="566" y="5"/>
                      </a:lnTo>
                      <a:lnTo>
                        <a:pt x="568" y="4"/>
                      </a:lnTo>
                      <a:lnTo>
                        <a:pt x="578" y="4"/>
                      </a:lnTo>
                      <a:lnTo>
                        <a:pt x="588" y="5"/>
                      </a:lnTo>
                      <a:lnTo>
                        <a:pt x="589" y="5"/>
                      </a:lnTo>
                      <a:lnTo>
                        <a:pt x="592" y="7"/>
                      </a:lnTo>
                      <a:lnTo>
                        <a:pt x="596" y="10"/>
                      </a:lnTo>
                      <a:lnTo>
                        <a:pt x="601" y="13"/>
                      </a:lnTo>
                      <a:lnTo>
                        <a:pt x="605" y="14"/>
                      </a:lnTo>
                      <a:lnTo>
                        <a:pt x="608" y="14"/>
                      </a:lnTo>
                      <a:lnTo>
                        <a:pt x="613" y="14"/>
                      </a:lnTo>
                      <a:lnTo>
                        <a:pt x="615" y="14"/>
                      </a:lnTo>
                      <a:lnTo>
                        <a:pt x="616" y="13"/>
                      </a:lnTo>
                      <a:lnTo>
                        <a:pt x="616" y="11"/>
                      </a:lnTo>
                      <a:lnTo>
                        <a:pt x="616" y="7"/>
                      </a:lnTo>
                      <a:lnTo>
                        <a:pt x="613" y="3"/>
                      </a:lnTo>
                      <a:lnTo>
                        <a:pt x="615" y="3"/>
                      </a:lnTo>
                      <a:lnTo>
                        <a:pt x="617" y="1"/>
                      </a:lnTo>
                      <a:lnTo>
                        <a:pt x="624" y="4"/>
                      </a:lnTo>
                      <a:lnTo>
                        <a:pt x="630" y="5"/>
                      </a:lnTo>
                      <a:lnTo>
                        <a:pt x="644" y="5"/>
                      </a:lnTo>
                      <a:lnTo>
                        <a:pt x="671" y="4"/>
                      </a:lnTo>
                      <a:lnTo>
                        <a:pt x="674" y="3"/>
                      </a:lnTo>
                      <a:lnTo>
                        <a:pt x="678" y="1"/>
                      </a:lnTo>
                      <a:lnTo>
                        <a:pt x="682" y="0"/>
                      </a:lnTo>
                      <a:lnTo>
                        <a:pt x="686" y="0"/>
                      </a:lnTo>
                      <a:lnTo>
                        <a:pt x="695" y="4"/>
                      </a:lnTo>
                      <a:lnTo>
                        <a:pt x="699" y="5"/>
                      </a:lnTo>
                      <a:lnTo>
                        <a:pt x="702" y="5"/>
                      </a:lnTo>
                      <a:lnTo>
                        <a:pt x="710" y="3"/>
                      </a:lnTo>
                      <a:lnTo>
                        <a:pt x="718" y="1"/>
                      </a:lnTo>
                      <a:lnTo>
                        <a:pt x="720" y="1"/>
                      </a:lnTo>
                      <a:lnTo>
                        <a:pt x="724" y="1"/>
                      </a:lnTo>
                      <a:lnTo>
                        <a:pt x="728" y="4"/>
                      </a:lnTo>
                      <a:lnTo>
                        <a:pt x="730" y="6"/>
                      </a:lnTo>
                      <a:lnTo>
                        <a:pt x="735" y="11"/>
                      </a:lnTo>
                      <a:lnTo>
                        <a:pt x="740" y="14"/>
                      </a:lnTo>
                      <a:lnTo>
                        <a:pt x="745" y="17"/>
                      </a:lnTo>
                      <a:lnTo>
                        <a:pt x="752" y="19"/>
                      </a:lnTo>
                      <a:lnTo>
                        <a:pt x="763" y="20"/>
                      </a:lnTo>
                      <a:lnTo>
                        <a:pt x="777" y="22"/>
                      </a:lnTo>
                      <a:lnTo>
                        <a:pt x="787" y="22"/>
                      </a:lnTo>
                      <a:lnTo>
                        <a:pt x="798" y="20"/>
                      </a:lnTo>
                      <a:lnTo>
                        <a:pt x="806" y="19"/>
                      </a:lnTo>
                      <a:lnTo>
                        <a:pt x="814" y="19"/>
                      </a:lnTo>
                      <a:lnTo>
                        <a:pt x="822" y="18"/>
                      </a:lnTo>
                      <a:lnTo>
                        <a:pt x="822" y="20"/>
                      </a:lnTo>
                      <a:lnTo>
                        <a:pt x="822" y="23"/>
                      </a:lnTo>
                      <a:lnTo>
                        <a:pt x="819" y="24"/>
                      </a:lnTo>
                      <a:lnTo>
                        <a:pt x="818" y="24"/>
                      </a:lnTo>
                      <a:lnTo>
                        <a:pt x="817" y="26"/>
                      </a:lnTo>
                      <a:lnTo>
                        <a:pt x="817" y="29"/>
                      </a:lnTo>
                      <a:lnTo>
                        <a:pt x="819" y="32"/>
                      </a:lnTo>
                      <a:lnTo>
                        <a:pt x="823" y="33"/>
                      </a:lnTo>
                      <a:lnTo>
                        <a:pt x="824" y="33"/>
                      </a:lnTo>
                      <a:lnTo>
                        <a:pt x="825" y="33"/>
                      </a:lnTo>
                      <a:lnTo>
                        <a:pt x="829" y="29"/>
                      </a:lnTo>
                      <a:lnTo>
                        <a:pt x="833" y="26"/>
                      </a:lnTo>
                      <a:lnTo>
                        <a:pt x="837" y="26"/>
                      </a:lnTo>
                      <a:lnTo>
                        <a:pt x="842" y="29"/>
                      </a:lnTo>
                      <a:lnTo>
                        <a:pt x="846" y="30"/>
                      </a:lnTo>
                      <a:lnTo>
                        <a:pt x="851" y="31"/>
                      </a:lnTo>
                      <a:lnTo>
                        <a:pt x="864" y="30"/>
                      </a:lnTo>
                      <a:lnTo>
                        <a:pt x="878" y="29"/>
                      </a:lnTo>
                      <a:lnTo>
                        <a:pt x="884" y="29"/>
                      </a:lnTo>
                      <a:lnTo>
                        <a:pt x="889" y="30"/>
                      </a:lnTo>
                      <a:lnTo>
                        <a:pt x="894" y="32"/>
                      </a:lnTo>
                      <a:lnTo>
                        <a:pt x="895" y="33"/>
                      </a:lnTo>
                      <a:lnTo>
                        <a:pt x="894" y="35"/>
                      </a:lnTo>
                      <a:lnTo>
                        <a:pt x="892" y="37"/>
                      </a:lnTo>
                      <a:lnTo>
                        <a:pt x="885" y="41"/>
                      </a:lnTo>
                      <a:lnTo>
                        <a:pt x="876" y="44"/>
                      </a:lnTo>
                      <a:lnTo>
                        <a:pt x="867" y="46"/>
                      </a:lnTo>
                      <a:lnTo>
                        <a:pt x="857" y="48"/>
                      </a:lnTo>
                      <a:lnTo>
                        <a:pt x="836" y="48"/>
                      </a:lnTo>
                      <a:lnTo>
                        <a:pt x="818" y="46"/>
                      </a:lnTo>
                      <a:lnTo>
                        <a:pt x="798" y="43"/>
                      </a:lnTo>
                      <a:lnTo>
                        <a:pt x="777" y="43"/>
                      </a:lnTo>
                      <a:lnTo>
                        <a:pt x="757" y="44"/>
                      </a:lnTo>
                      <a:lnTo>
                        <a:pt x="737" y="46"/>
                      </a:lnTo>
                      <a:lnTo>
                        <a:pt x="734" y="48"/>
                      </a:lnTo>
                      <a:lnTo>
                        <a:pt x="732" y="50"/>
                      </a:lnTo>
                      <a:lnTo>
                        <a:pt x="732" y="52"/>
                      </a:lnTo>
                      <a:lnTo>
                        <a:pt x="732" y="56"/>
                      </a:lnTo>
                      <a:lnTo>
                        <a:pt x="734" y="63"/>
                      </a:lnTo>
                      <a:lnTo>
                        <a:pt x="737" y="69"/>
                      </a:lnTo>
                      <a:lnTo>
                        <a:pt x="738" y="69"/>
                      </a:lnTo>
                      <a:lnTo>
                        <a:pt x="739" y="69"/>
                      </a:lnTo>
                      <a:lnTo>
                        <a:pt x="742" y="67"/>
                      </a:lnTo>
                      <a:lnTo>
                        <a:pt x="748" y="61"/>
                      </a:lnTo>
                      <a:lnTo>
                        <a:pt x="754" y="58"/>
                      </a:lnTo>
                      <a:lnTo>
                        <a:pt x="759" y="57"/>
                      </a:lnTo>
                      <a:lnTo>
                        <a:pt x="767" y="58"/>
                      </a:lnTo>
                      <a:lnTo>
                        <a:pt x="771" y="57"/>
                      </a:lnTo>
                      <a:lnTo>
                        <a:pt x="773" y="56"/>
                      </a:lnTo>
                      <a:lnTo>
                        <a:pt x="777" y="55"/>
                      </a:lnTo>
                      <a:lnTo>
                        <a:pt x="780" y="54"/>
                      </a:lnTo>
                      <a:lnTo>
                        <a:pt x="782" y="55"/>
                      </a:lnTo>
                      <a:lnTo>
                        <a:pt x="787" y="55"/>
                      </a:lnTo>
                      <a:lnTo>
                        <a:pt x="794" y="54"/>
                      </a:lnTo>
                      <a:lnTo>
                        <a:pt x="800" y="54"/>
                      </a:lnTo>
                      <a:lnTo>
                        <a:pt x="804" y="54"/>
                      </a:lnTo>
                      <a:lnTo>
                        <a:pt x="806" y="55"/>
                      </a:lnTo>
                      <a:lnTo>
                        <a:pt x="806" y="56"/>
                      </a:lnTo>
                      <a:lnTo>
                        <a:pt x="806" y="57"/>
                      </a:lnTo>
                      <a:lnTo>
                        <a:pt x="805" y="60"/>
                      </a:lnTo>
                      <a:lnTo>
                        <a:pt x="801" y="64"/>
                      </a:lnTo>
                      <a:lnTo>
                        <a:pt x="799" y="67"/>
                      </a:lnTo>
                      <a:lnTo>
                        <a:pt x="799" y="69"/>
                      </a:lnTo>
                      <a:lnTo>
                        <a:pt x="800" y="70"/>
                      </a:lnTo>
                      <a:lnTo>
                        <a:pt x="803" y="71"/>
                      </a:lnTo>
                      <a:lnTo>
                        <a:pt x="819" y="71"/>
                      </a:lnTo>
                      <a:lnTo>
                        <a:pt x="827" y="70"/>
                      </a:lnTo>
                      <a:lnTo>
                        <a:pt x="834" y="68"/>
                      </a:lnTo>
                      <a:lnTo>
                        <a:pt x="834" y="67"/>
                      </a:lnTo>
                      <a:lnTo>
                        <a:pt x="836" y="65"/>
                      </a:lnTo>
                      <a:lnTo>
                        <a:pt x="834" y="63"/>
                      </a:lnTo>
                      <a:lnTo>
                        <a:pt x="836" y="61"/>
                      </a:lnTo>
                      <a:lnTo>
                        <a:pt x="836" y="60"/>
                      </a:lnTo>
                      <a:lnTo>
                        <a:pt x="838" y="60"/>
                      </a:lnTo>
                      <a:lnTo>
                        <a:pt x="847" y="58"/>
                      </a:lnTo>
                      <a:lnTo>
                        <a:pt x="857" y="58"/>
                      </a:lnTo>
                      <a:lnTo>
                        <a:pt x="866" y="58"/>
                      </a:lnTo>
                      <a:lnTo>
                        <a:pt x="875" y="57"/>
                      </a:lnTo>
                      <a:lnTo>
                        <a:pt x="878" y="56"/>
                      </a:lnTo>
                      <a:lnTo>
                        <a:pt x="880" y="57"/>
                      </a:lnTo>
                      <a:lnTo>
                        <a:pt x="880" y="58"/>
                      </a:lnTo>
                      <a:lnTo>
                        <a:pt x="879" y="61"/>
                      </a:lnTo>
                      <a:lnTo>
                        <a:pt x="876" y="63"/>
                      </a:lnTo>
                      <a:lnTo>
                        <a:pt x="875" y="65"/>
                      </a:lnTo>
                      <a:lnTo>
                        <a:pt x="874" y="68"/>
                      </a:lnTo>
                      <a:lnTo>
                        <a:pt x="871" y="70"/>
                      </a:lnTo>
                      <a:lnTo>
                        <a:pt x="861" y="76"/>
                      </a:lnTo>
                      <a:lnTo>
                        <a:pt x="851" y="82"/>
                      </a:lnTo>
                      <a:lnTo>
                        <a:pt x="829" y="89"/>
                      </a:lnTo>
                      <a:lnTo>
                        <a:pt x="820" y="94"/>
                      </a:lnTo>
                      <a:lnTo>
                        <a:pt x="815" y="97"/>
                      </a:lnTo>
                      <a:lnTo>
                        <a:pt x="812" y="102"/>
                      </a:lnTo>
                      <a:lnTo>
                        <a:pt x="810" y="106"/>
                      </a:lnTo>
                      <a:lnTo>
                        <a:pt x="809" y="108"/>
                      </a:lnTo>
                      <a:lnTo>
                        <a:pt x="806" y="109"/>
                      </a:lnTo>
                      <a:lnTo>
                        <a:pt x="805" y="109"/>
                      </a:lnTo>
                      <a:lnTo>
                        <a:pt x="806" y="110"/>
                      </a:lnTo>
                      <a:lnTo>
                        <a:pt x="810" y="113"/>
                      </a:lnTo>
                      <a:lnTo>
                        <a:pt x="815" y="113"/>
                      </a:lnTo>
                      <a:lnTo>
                        <a:pt x="819" y="112"/>
                      </a:lnTo>
                      <a:lnTo>
                        <a:pt x="824" y="109"/>
                      </a:lnTo>
                      <a:lnTo>
                        <a:pt x="845" y="99"/>
                      </a:lnTo>
                      <a:lnTo>
                        <a:pt x="856" y="94"/>
                      </a:lnTo>
                      <a:lnTo>
                        <a:pt x="869" y="92"/>
                      </a:lnTo>
                      <a:lnTo>
                        <a:pt x="876" y="89"/>
                      </a:lnTo>
                      <a:lnTo>
                        <a:pt x="885" y="86"/>
                      </a:lnTo>
                      <a:lnTo>
                        <a:pt x="894" y="82"/>
                      </a:lnTo>
                      <a:lnTo>
                        <a:pt x="903" y="81"/>
                      </a:lnTo>
                      <a:lnTo>
                        <a:pt x="905" y="80"/>
                      </a:lnTo>
                      <a:lnTo>
                        <a:pt x="908" y="77"/>
                      </a:lnTo>
                      <a:lnTo>
                        <a:pt x="909" y="74"/>
                      </a:lnTo>
                      <a:lnTo>
                        <a:pt x="912" y="71"/>
                      </a:lnTo>
                      <a:lnTo>
                        <a:pt x="917" y="71"/>
                      </a:lnTo>
                      <a:lnTo>
                        <a:pt x="923" y="71"/>
                      </a:lnTo>
                      <a:lnTo>
                        <a:pt x="928" y="71"/>
                      </a:lnTo>
                      <a:lnTo>
                        <a:pt x="933" y="70"/>
                      </a:lnTo>
                      <a:lnTo>
                        <a:pt x="940" y="69"/>
                      </a:lnTo>
                      <a:lnTo>
                        <a:pt x="946" y="68"/>
                      </a:lnTo>
                      <a:lnTo>
                        <a:pt x="959" y="69"/>
                      </a:lnTo>
                      <a:lnTo>
                        <a:pt x="961" y="69"/>
                      </a:lnTo>
                      <a:lnTo>
                        <a:pt x="964" y="68"/>
                      </a:lnTo>
                      <a:lnTo>
                        <a:pt x="968" y="63"/>
                      </a:lnTo>
                      <a:lnTo>
                        <a:pt x="970" y="62"/>
                      </a:lnTo>
                      <a:lnTo>
                        <a:pt x="973" y="61"/>
                      </a:lnTo>
                      <a:lnTo>
                        <a:pt x="985" y="61"/>
                      </a:lnTo>
                      <a:lnTo>
                        <a:pt x="997" y="58"/>
                      </a:lnTo>
                      <a:lnTo>
                        <a:pt x="1005" y="56"/>
                      </a:lnTo>
                      <a:lnTo>
                        <a:pt x="1012" y="54"/>
                      </a:lnTo>
                      <a:lnTo>
                        <a:pt x="1017" y="54"/>
                      </a:lnTo>
                      <a:lnTo>
                        <a:pt x="1020" y="55"/>
                      </a:lnTo>
                      <a:lnTo>
                        <a:pt x="1022" y="57"/>
                      </a:lnTo>
                      <a:lnTo>
                        <a:pt x="1025" y="61"/>
                      </a:lnTo>
                      <a:lnTo>
                        <a:pt x="1027" y="68"/>
                      </a:lnTo>
                      <a:lnTo>
                        <a:pt x="1032" y="74"/>
                      </a:lnTo>
                      <a:lnTo>
                        <a:pt x="1038" y="78"/>
                      </a:lnTo>
                      <a:lnTo>
                        <a:pt x="1041" y="84"/>
                      </a:lnTo>
                      <a:lnTo>
                        <a:pt x="1041" y="87"/>
                      </a:lnTo>
                      <a:lnTo>
                        <a:pt x="1040" y="88"/>
                      </a:lnTo>
                      <a:lnTo>
                        <a:pt x="1026" y="89"/>
                      </a:lnTo>
                      <a:lnTo>
                        <a:pt x="1020" y="92"/>
                      </a:lnTo>
                      <a:lnTo>
                        <a:pt x="1012" y="94"/>
                      </a:lnTo>
                      <a:lnTo>
                        <a:pt x="1011" y="94"/>
                      </a:lnTo>
                      <a:lnTo>
                        <a:pt x="1008" y="94"/>
                      </a:lnTo>
                      <a:lnTo>
                        <a:pt x="1003" y="92"/>
                      </a:lnTo>
                      <a:lnTo>
                        <a:pt x="998" y="90"/>
                      </a:lnTo>
                      <a:lnTo>
                        <a:pt x="996" y="92"/>
                      </a:lnTo>
                      <a:lnTo>
                        <a:pt x="994" y="93"/>
                      </a:lnTo>
                      <a:lnTo>
                        <a:pt x="994" y="95"/>
                      </a:lnTo>
                      <a:lnTo>
                        <a:pt x="996" y="97"/>
                      </a:lnTo>
                      <a:lnTo>
                        <a:pt x="999" y="103"/>
                      </a:lnTo>
                      <a:lnTo>
                        <a:pt x="979" y="106"/>
                      </a:lnTo>
                      <a:lnTo>
                        <a:pt x="969" y="106"/>
                      </a:lnTo>
                      <a:lnTo>
                        <a:pt x="964" y="105"/>
                      </a:lnTo>
                      <a:lnTo>
                        <a:pt x="959" y="102"/>
                      </a:lnTo>
                      <a:lnTo>
                        <a:pt x="954" y="100"/>
                      </a:lnTo>
                      <a:lnTo>
                        <a:pt x="951" y="101"/>
                      </a:lnTo>
                      <a:lnTo>
                        <a:pt x="950" y="102"/>
                      </a:lnTo>
                      <a:lnTo>
                        <a:pt x="950" y="106"/>
                      </a:lnTo>
                      <a:lnTo>
                        <a:pt x="951" y="107"/>
                      </a:lnTo>
                      <a:lnTo>
                        <a:pt x="954" y="109"/>
                      </a:lnTo>
                      <a:lnTo>
                        <a:pt x="956" y="110"/>
                      </a:lnTo>
                      <a:lnTo>
                        <a:pt x="964" y="112"/>
                      </a:lnTo>
                      <a:lnTo>
                        <a:pt x="966" y="113"/>
                      </a:lnTo>
                      <a:lnTo>
                        <a:pt x="969" y="114"/>
                      </a:lnTo>
                      <a:lnTo>
                        <a:pt x="969" y="115"/>
                      </a:lnTo>
                      <a:lnTo>
                        <a:pt x="968" y="116"/>
                      </a:lnTo>
                      <a:lnTo>
                        <a:pt x="964" y="118"/>
                      </a:lnTo>
                      <a:lnTo>
                        <a:pt x="955" y="118"/>
                      </a:lnTo>
                      <a:lnTo>
                        <a:pt x="950" y="118"/>
                      </a:lnTo>
                      <a:lnTo>
                        <a:pt x="945" y="119"/>
                      </a:lnTo>
                      <a:lnTo>
                        <a:pt x="942" y="119"/>
                      </a:lnTo>
                      <a:lnTo>
                        <a:pt x="941" y="118"/>
                      </a:lnTo>
                      <a:lnTo>
                        <a:pt x="936" y="115"/>
                      </a:lnTo>
                      <a:lnTo>
                        <a:pt x="932" y="115"/>
                      </a:lnTo>
                      <a:lnTo>
                        <a:pt x="928" y="116"/>
                      </a:lnTo>
                      <a:lnTo>
                        <a:pt x="925" y="116"/>
                      </a:lnTo>
                      <a:lnTo>
                        <a:pt x="921" y="116"/>
                      </a:lnTo>
                      <a:lnTo>
                        <a:pt x="913" y="113"/>
                      </a:lnTo>
                      <a:lnTo>
                        <a:pt x="909" y="112"/>
                      </a:lnTo>
                      <a:lnTo>
                        <a:pt x="907" y="112"/>
                      </a:lnTo>
                      <a:lnTo>
                        <a:pt x="905" y="113"/>
                      </a:lnTo>
                      <a:lnTo>
                        <a:pt x="904" y="115"/>
                      </a:lnTo>
                      <a:lnTo>
                        <a:pt x="905" y="119"/>
                      </a:lnTo>
                      <a:lnTo>
                        <a:pt x="908" y="121"/>
                      </a:lnTo>
                      <a:lnTo>
                        <a:pt x="909" y="125"/>
                      </a:lnTo>
                      <a:lnTo>
                        <a:pt x="913" y="132"/>
                      </a:lnTo>
                      <a:lnTo>
                        <a:pt x="916" y="134"/>
                      </a:lnTo>
                      <a:lnTo>
                        <a:pt x="919" y="134"/>
                      </a:lnTo>
                      <a:lnTo>
                        <a:pt x="931" y="131"/>
                      </a:lnTo>
                      <a:lnTo>
                        <a:pt x="937" y="129"/>
                      </a:lnTo>
                      <a:lnTo>
                        <a:pt x="942" y="129"/>
                      </a:lnTo>
                      <a:lnTo>
                        <a:pt x="946" y="129"/>
                      </a:lnTo>
                      <a:lnTo>
                        <a:pt x="947" y="132"/>
                      </a:lnTo>
                      <a:lnTo>
                        <a:pt x="947" y="134"/>
                      </a:lnTo>
                      <a:lnTo>
                        <a:pt x="946" y="135"/>
                      </a:lnTo>
                      <a:lnTo>
                        <a:pt x="942" y="135"/>
                      </a:lnTo>
                      <a:lnTo>
                        <a:pt x="940" y="138"/>
                      </a:lnTo>
                      <a:lnTo>
                        <a:pt x="937" y="140"/>
                      </a:lnTo>
                      <a:lnTo>
                        <a:pt x="936" y="144"/>
                      </a:lnTo>
                      <a:lnTo>
                        <a:pt x="935" y="145"/>
                      </a:lnTo>
                      <a:lnTo>
                        <a:pt x="933" y="145"/>
                      </a:lnTo>
                      <a:lnTo>
                        <a:pt x="930" y="146"/>
                      </a:lnTo>
                      <a:lnTo>
                        <a:pt x="926" y="147"/>
                      </a:lnTo>
                      <a:lnTo>
                        <a:pt x="925" y="147"/>
                      </a:lnTo>
                      <a:lnTo>
                        <a:pt x="925" y="148"/>
                      </a:lnTo>
                      <a:lnTo>
                        <a:pt x="922" y="152"/>
                      </a:lnTo>
                      <a:lnTo>
                        <a:pt x="921" y="154"/>
                      </a:lnTo>
                      <a:lnTo>
                        <a:pt x="917" y="159"/>
                      </a:lnTo>
                      <a:lnTo>
                        <a:pt x="916" y="161"/>
                      </a:lnTo>
                      <a:lnTo>
                        <a:pt x="916" y="164"/>
                      </a:lnTo>
                      <a:lnTo>
                        <a:pt x="917" y="167"/>
                      </a:lnTo>
                      <a:lnTo>
                        <a:pt x="918" y="172"/>
                      </a:lnTo>
                      <a:lnTo>
                        <a:pt x="918" y="176"/>
                      </a:lnTo>
                      <a:lnTo>
                        <a:pt x="914" y="189"/>
                      </a:lnTo>
                      <a:lnTo>
                        <a:pt x="914" y="195"/>
                      </a:lnTo>
                      <a:lnTo>
                        <a:pt x="914" y="197"/>
                      </a:lnTo>
                      <a:lnTo>
                        <a:pt x="917" y="201"/>
                      </a:lnTo>
                      <a:lnTo>
                        <a:pt x="918" y="203"/>
                      </a:lnTo>
                      <a:lnTo>
                        <a:pt x="918" y="207"/>
                      </a:lnTo>
                      <a:lnTo>
                        <a:pt x="917" y="210"/>
                      </a:lnTo>
                      <a:lnTo>
                        <a:pt x="916" y="210"/>
                      </a:lnTo>
                      <a:lnTo>
                        <a:pt x="913" y="210"/>
                      </a:lnTo>
                      <a:lnTo>
                        <a:pt x="911" y="209"/>
                      </a:lnTo>
                      <a:lnTo>
                        <a:pt x="907" y="207"/>
                      </a:lnTo>
                      <a:lnTo>
                        <a:pt x="904" y="207"/>
                      </a:lnTo>
                      <a:lnTo>
                        <a:pt x="902" y="208"/>
                      </a:lnTo>
                      <a:lnTo>
                        <a:pt x="900" y="210"/>
                      </a:lnTo>
                      <a:lnTo>
                        <a:pt x="900" y="212"/>
                      </a:lnTo>
                      <a:lnTo>
                        <a:pt x="902" y="216"/>
                      </a:lnTo>
                      <a:lnTo>
                        <a:pt x="905" y="218"/>
                      </a:lnTo>
                      <a:lnTo>
                        <a:pt x="908" y="220"/>
                      </a:lnTo>
                      <a:lnTo>
                        <a:pt x="912" y="221"/>
                      </a:lnTo>
                      <a:lnTo>
                        <a:pt x="921" y="221"/>
                      </a:lnTo>
                      <a:lnTo>
                        <a:pt x="928" y="220"/>
                      </a:lnTo>
                      <a:lnTo>
                        <a:pt x="931" y="220"/>
                      </a:lnTo>
                      <a:lnTo>
                        <a:pt x="932" y="221"/>
                      </a:lnTo>
                      <a:lnTo>
                        <a:pt x="933" y="225"/>
                      </a:lnTo>
                      <a:lnTo>
                        <a:pt x="932" y="230"/>
                      </a:lnTo>
                      <a:lnTo>
                        <a:pt x="931" y="234"/>
                      </a:lnTo>
                      <a:lnTo>
                        <a:pt x="928" y="236"/>
                      </a:lnTo>
                      <a:lnTo>
                        <a:pt x="925" y="237"/>
                      </a:lnTo>
                      <a:lnTo>
                        <a:pt x="921" y="237"/>
                      </a:lnTo>
                      <a:lnTo>
                        <a:pt x="917" y="236"/>
                      </a:lnTo>
                      <a:lnTo>
                        <a:pt x="909" y="231"/>
                      </a:lnTo>
                      <a:lnTo>
                        <a:pt x="902" y="227"/>
                      </a:lnTo>
                      <a:lnTo>
                        <a:pt x="900" y="227"/>
                      </a:lnTo>
                      <a:lnTo>
                        <a:pt x="898" y="228"/>
                      </a:lnTo>
                      <a:lnTo>
                        <a:pt x="894" y="230"/>
                      </a:lnTo>
                      <a:lnTo>
                        <a:pt x="890" y="235"/>
                      </a:lnTo>
                      <a:lnTo>
                        <a:pt x="889" y="237"/>
                      </a:lnTo>
                      <a:lnTo>
                        <a:pt x="889" y="240"/>
                      </a:lnTo>
                      <a:lnTo>
                        <a:pt x="892" y="244"/>
                      </a:lnTo>
                      <a:lnTo>
                        <a:pt x="894" y="248"/>
                      </a:lnTo>
                      <a:lnTo>
                        <a:pt x="899" y="252"/>
                      </a:lnTo>
                      <a:lnTo>
                        <a:pt x="904" y="254"/>
                      </a:lnTo>
                      <a:lnTo>
                        <a:pt x="905" y="255"/>
                      </a:lnTo>
                      <a:lnTo>
                        <a:pt x="907" y="257"/>
                      </a:lnTo>
                      <a:lnTo>
                        <a:pt x="905" y="257"/>
                      </a:lnTo>
                      <a:lnTo>
                        <a:pt x="903" y="259"/>
                      </a:lnTo>
                      <a:lnTo>
                        <a:pt x="900" y="259"/>
                      </a:lnTo>
                      <a:lnTo>
                        <a:pt x="895" y="259"/>
                      </a:lnTo>
                      <a:lnTo>
                        <a:pt x="890" y="257"/>
                      </a:lnTo>
                      <a:lnTo>
                        <a:pt x="885" y="257"/>
                      </a:lnTo>
                      <a:lnTo>
                        <a:pt x="884" y="259"/>
                      </a:lnTo>
                      <a:lnTo>
                        <a:pt x="883" y="261"/>
                      </a:lnTo>
                      <a:lnTo>
                        <a:pt x="884" y="262"/>
                      </a:lnTo>
                      <a:lnTo>
                        <a:pt x="885" y="263"/>
                      </a:lnTo>
                      <a:lnTo>
                        <a:pt x="894" y="266"/>
                      </a:lnTo>
                      <a:lnTo>
                        <a:pt x="899" y="267"/>
                      </a:lnTo>
                      <a:lnTo>
                        <a:pt x="903" y="269"/>
                      </a:lnTo>
                      <a:lnTo>
                        <a:pt x="905" y="271"/>
                      </a:lnTo>
                      <a:lnTo>
                        <a:pt x="908" y="271"/>
                      </a:lnTo>
                      <a:lnTo>
                        <a:pt x="911" y="274"/>
                      </a:lnTo>
                      <a:lnTo>
                        <a:pt x="912" y="276"/>
                      </a:lnTo>
                      <a:lnTo>
                        <a:pt x="912" y="282"/>
                      </a:lnTo>
                      <a:lnTo>
                        <a:pt x="911" y="285"/>
                      </a:lnTo>
                      <a:lnTo>
                        <a:pt x="909" y="286"/>
                      </a:lnTo>
                      <a:lnTo>
                        <a:pt x="908" y="286"/>
                      </a:lnTo>
                      <a:lnTo>
                        <a:pt x="905" y="285"/>
                      </a:lnTo>
                      <a:lnTo>
                        <a:pt x="902" y="282"/>
                      </a:lnTo>
                      <a:lnTo>
                        <a:pt x="899" y="280"/>
                      </a:lnTo>
                      <a:lnTo>
                        <a:pt x="894" y="279"/>
                      </a:lnTo>
                      <a:lnTo>
                        <a:pt x="892" y="278"/>
                      </a:lnTo>
                      <a:lnTo>
                        <a:pt x="888" y="275"/>
                      </a:lnTo>
                      <a:lnTo>
                        <a:pt x="885" y="273"/>
                      </a:lnTo>
                      <a:lnTo>
                        <a:pt x="883" y="272"/>
                      </a:lnTo>
                      <a:lnTo>
                        <a:pt x="881" y="273"/>
                      </a:lnTo>
                      <a:lnTo>
                        <a:pt x="881" y="275"/>
                      </a:lnTo>
                      <a:lnTo>
                        <a:pt x="881" y="276"/>
                      </a:lnTo>
                      <a:lnTo>
                        <a:pt x="883" y="278"/>
                      </a:lnTo>
                      <a:lnTo>
                        <a:pt x="888" y="281"/>
                      </a:lnTo>
                      <a:lnTo>
                        <a:pt x="892" y="286"/>
                      </a:lnTo>
                      <a:lnTo>
                        <a:pt x="892" y="291"/>
                      </a:lnTo>
                      <a:lnTo>
                        <a:pt x="892" y="297"/>
                      </a:lnTo>
                      <a:lnTo>
                        <a:pt x="892" y="298"/>
                      </a:lnTo>
                      <a:lnTo>
                        <a:pt x="893" y="299"/>
                      </a:lnTo>
                      <a:lnTo>
                        <a:pt x="897" y="300"/>
                      </a:lnTo>
                      <a:lnTo>
                        <a:pt x="902" y="300"/>
                      </a:lnTo>
                      <a:lnTo>
                        <a:pt x="907" y="301"/>
                      </a:lnTo>
                      <a:lnTo>
                        <a:pt x="912" y="303"/>
                      </a:lnTo>
                      <a:lnTo>
                        <a:pt x="912" y="304"/>
                      </a:lnTo>
                      <a:lnTo>
                        <a:pt x="912" y="306"/>
                      </a:lnTo>
                      <a:lnTo>
                        <a:pt x="908" y="308"/>
                      </a:lnTo>
                      <a:lnTo>
                        <a:pt x="905" y="308"/>
                      </a:lnTo>
                      <a:lnTo>
                        <a:pt x="902" y="307"/>
                      </a:lnTo>
                      <a:lnTo>
                        <a:pt x="899" y="306"/>
                      </a:lnTo>
                      <a:lnTo>
                        <a:pt x="895" y="306"/>
                      </a:lnTo>
                      <a:lnTo>
                        <a:pt x="893" y="307"/>
                      </a:lnTo>
                      <a:lnTo>
                        <a:pt x="886" y="306"/>
                      </a:lnTo>
                      <a:lnTo>
                        <a:pt x="884" y="306"/>
                      </a:lnTo>
                      <a:lnTo>
                        <a:pt x="883" y="308"/>
                      </a:lnTo>
                      <a:lnTo>
                        <a:pt x="879" y="317"/>
                      </a:lnTo>
                      <a:lnTo>
                        <a:pt x="879" y="320"/>
                      </a:lnTo>
                      <a:lnTo>
                        <a:pt x="880" y="322"/>
                      </a:lnTo>
                      <a:lnTo>
                        <a:pt x="881" y="323"/>
                      </a:lnTo>
                      <a:lnTo>
                        <a:pt x="885" y="323"/>
                      </a:lnTo>
                      <a:lnTo>
                        <a:pt x="888" y="325"/>
                      </a:lnTo>
                      <a:lnTo>
                        <a:pt x="890" y="329"/>
                      </a:lnTo>
                      <a:lnTo>
                        <a:pt x="890" y="333"/>
                      </a:lnTo>
                      <a:lnTo>
                        <a:pt x="890" y="337"/>
                      </a:lnTo>
                      <a:lnTo>
                        <a:pt x="889" y="339"/>
                      </a:lnTo>
                      <a:lnTo>
                        <a:pt x="888" y="339"/>
                      </a:lnTo>
                      <a:lnTo>
                        <a:pt x="885" y="340"/>
                      </a:lnTo>
                      <a:lnTo>
                        <a:pt x="883" y="339"/>
                      </a:lnTo>
                      <a:lnTo>
                        <a:pt x="879" y="337"/>
                      </a:lnTo>
                      <a:lnTo>
                        <a:pt x="874" y="336"/>
                      </a:lnTo>
                      <a:lnTo>
                        <a:pt x="871" y="336"/>
                      </a:lnTo>
                      <a:lnTo>
                        <a:pt x="869" y="337"/>
                      </a:lnTo>
                      <a:lnTo>
                        <a:pt x="864" y="340"/>
                      </a:lnTo>
                      <a:lnTo>
                        <a:pt x="860" y="342"/>
                      </a:lnTo>
                      <a:lnTo>
                        <a:pt x="855" y="343"/>
                      </a:lnTo>
                      <a:lnTo>
                        <a:pt x="853" y="342"/>
                      </a:lnTo>
                      <a:lnTo>
                        <a:pt x="851" y="340"/>
                      </a:lnTo>
                      <a:lnTo>
                        <a:pt x="847" y="337"/>
                      </a:lnTo>
                      <a:lnTo>
                        <a:pt x="843" y="335"/>
                      </a:lnTo>
                      <a:lnTo>
                        <a:pt x="839" y="332"/>
                      </a:lnTo>
                      <a:lnTo>
                        <a:pt x="836" y="329"/>
                      </a:lnTo>
                      <a:lnTo>
                        <a:pt x="834" y="325"/>
                      </a:lnTo>
                      <a:lnTo>
                        <a:pt x="834" y="324"/>
                      </a:lnTo>
                      <a:lnTo>
                        <a:pt x="836" y="324"/>
                      </a:lnTo>
                      <a:lnTo>
                        <a:pt x="842" y="322"/>
                      </a:lnTo>
                      <a:lnTo>
                        <a:pt x="845" y="319"/>
                      </a:lnTo>
                      <a:lnTo>
                        <a:pt x="846" y="317"/>
                      </a:lnTo>
                      <a:lnTo>
                        <a:pt x="845" y="316"/>
                      </a:lnTo>
                      <a:lnTo>
                        <a:pt x="842" y="316"/>
                      </a:lnTo>
                      <a:lnTo>
                        <a:pt x="833" y="317"/>
                      </a:lnTo>
                      <a:lnTo>
                        <a:pt x="823" y="318"/>
                      </a:lnTo>
                      <a:lnTo>
                        <a:pt x="822" y="318"/>
                      </a:lnTo>
                      <a:lnTo>
                        <a:pt x="822" y="319"/>
                      </a:lnTo>
                      <a:lnTo>
                        <a:pt x="820" y="322"/>
                      </a:lnTo>
                      <a:lnTo>
                        <a:pt x="818" y="323"/>
                      </a:lnTo>
                      <a:lnTo>
                        <a:pt x="814" y="323"/>
                      </a:lnTo>
                      <a:lnTo>
                        <a:pt x="812" y="323"/>
                      </a:lnTo>
                      <a:lnTo>
                        <a:pt x="810" y="323"/>
                      </a:lnTo>
                      <a:lnTo>
                        <a:pt x="809" y="325"/>
                      </a:lnTo>
                      <a:lnTo>
                        <a:pt x="808" y="329"/>
                      </a:lnTo>
                      <a:lnTo>
                        <a:pt x="805" y="332"/>
                      </a:lnTo>
                      <a:lnTo>
                        <a:pt x="798" y="337"/>
                      </a:lnTo>
                      <a:lnTo>
                        <a:pt x="796" y="339"/>
                      </a:lnTo>
                      <a:lnTo>
                        <a:pt x="796" y="342"/>
                      </a:lnTo>
                      <a:lnTo>
                        <a:pt x="798" y="345"/>
                      </a:lnTo>
                      <a:lnTo>
                        <a:pt x="800" y="346"/>
                      </a:lnTo>
                      <a:lnTo>
                        <a:pt x="808" y="349"/>
                      </a:lnTo>
                      <a:lnTo>
                        <a:pt x="809" y="351"/>
                      </a:lnTo>
                      <a:lnTo>
                        <a:pt x="809" y="352"/>
                      </a:lnTo>
                      <a:lnTo>
                        <a:pt x="809" y="354"/>
                      </a:lnTo>
                      <a:lnTo>
                        <a:pt x="808" y="355"/>
                      </a:lnTo>
                      <a:lnTo>
                        <a:pt x="808" y="356"/>
                      </a:lnTo>
                      <a:lnTo>
                        <a:pt x="809" y="357"/>
                      </a:lnTo>
                      <a:lnTo>
                        <a:pt x="812" y="358"/>
                      </a:lnTo>
                      <a:lnTo>
                        <a:pt x="815" y="358"/>
                      </a:lnTo>
                      <a:lnTo>
                        <a:pt x="815" y="361"/>
                      </a:lnTo>
                      <a:lnTo>
                        <a:pt x="813" y="363"/>
                      </a:lnTo>
                      <a:lnTo>
                        <a:pt x="808" y="364"/>
                      </a:lnTo>
                      <a:lnTo>
                        <a:pt x="805" y="367"/>
                      </a:lnTo>
                      <a:lnTo>
                        <a:pt x="804" y="368"/>
                      </a:lnTo>
                      <a:lnTo>
                        <a:pt x="803" y="370"/>
                      </a:lnTo>
                      <a:lnTo>
                        <a:pt x="805" y="374"/>
                      </a:lnTo>
                      <a:lnTo>
                        <a:pt x="808" y="377"/>
                      </a:lnTo>
                      <a:lnTo>
                        <a:pt x="809" y="378"/>
                      </a:lnTo>
                      <a:lnTo>
                        <a:pt x="810" y="378"/>
                      </a:lnTo>
                      <a:lnTo>
                        <a:pt x="810" y="380"/>
                      </a:lnTo>
                      <a:lnTo>
                        <a:pt x="813" y="376"/>
                      </a:lnTo>
                      <a:lnTo>
                        <a:pt x="815" y="374"/>
                      </a:lnTo>
                      <a:lnTo>
                        <a:pt x="819" y="372"/>
                      </a:lnTo>
                      <a:lnTo>
                        <a:pt x="823" y="374"/>
                      </a:lnTo>
                      <a:lnTo>
                        <a:pt x="828" y="376"/>
                      </a:lnTo>
                      <a:lnTo>
                        <a:pt x="833" y="376"/>
                      </a:lnTo>
                      <a:lnTo>
                        <a:pt x="843" y="375"/>
                      </a:lnTo>
                      <a:lnTo>
                        <a:pt x="845" y="376"/>
                      </a:lnTo>
                      <a:lnTo>
                        <a:pt x="846" y="377"/>
                      </a:lnTo>
                      <a:lnTo>
                        <a:pt x="847" y="380"/>
                      </a:lnTo>
                      <a:lnTo>
                        <a:pt x="848" y="384"/>
                      </a:lnTo>
                      <a:lnTo>
                        <a:pt x="850" y="387"/>
                      </a:lnTo>
                      <a:lnTo>
                        <a:pt x="851" y="387"/>
                      </a:lnTo>
                      <a:lnTo>
                        <a:pt x="853" y="387"/>
                      </a:lnTo>
                      <a:lnTo>
                        <a:pt x="855" y="386"/>
                      </a:lnTo>
                      <a:lnTo>
                        <a:pt x="856" y="384"/>
                      </a:lnTo>
                      <a:lnTo>
                        <a:pt x="857" y="386"/>
                      </a:lnTo>
                      <a:lnTo>
                        <a:pt x="857" y="387"/>
                      </a:lnTo>
                      <a:lnTo>
                        <a:pt x="859" y="389"/>
                      </a:lnTo>
                      <a:lnTo>
                        <a:pt x="860" y="390"/>
                      </a:lnTo>
                      <a:lnTo>
                        <a:pt x="862" y="390"/>
                      </a:lnTo>
                      <a:lnTo>
                        <a:pt x="864" y="390"/>
                      </a:lnTo>
                      <a:lnTo>
                        <a:pt x="869" y="388"/>
                      </a:lnTo>
                      <a:lnTo>
                        <a:pt x="870" y="388"/>
                      </a:lnTo>
                      <a:lnTo>
                        <a:pt x="871" y="389"/>
                      </a:lnTo>
                      <a:lnTo>
                        <a:pt x="872" y="391"/>
                      </a:lnTo>
                      <a:lnTo>
                        <a:pt x="872" y="393"/>
                      </a:lnTo>
                      <a:lnTo>
                        <a:pt x="870" y="395"/>
                      </a:lnTo>
                      <a:lnTo>
                        <a:pt x="869" y="395"/>
                      </a:lnTo>
                      <a:lnTo>
                        <a:pt x="869" y="396"/>
                      </a:lnTo>
                      <a:lnTo>
                        <a:pt x="871" y="405"/>
                      </a:lnTo>
                      <a:lnTo>
                        <a:pt x="871" y="408"/>
                      </a:lnTo>
                      <a:lnTo>
                        <a:pt x="871" y="413"/>
                      </a:lnTo>
                      <a:lnTo>
                        <a:pt x="870" y="414"/>
                      </a:lnTo>
                      <a:lnTo>
                        <a:pt x="870" y="419"/>
                      </a:lnTo>
                      <a:lnTo>
                        <a:pt x="869" y="422"/>
                      </a:lnTo>
                      <a:lnTo>
                        <a:pt x="866" y="425"/>
                      </a:lnTo>
                      <a:lnTo>
                        <a:pt x="864" y="427"/>
                      </a:lnTo>
                      <a:lnTo>
                        <a:pt x="861" y="426"/>
                      </a:lnTo>
                      <a:lnTo>
                        <a:pt x="859" y="425"/>
                      </a:lnTo>
                      <a:lnTo>
                        <a:pt x="855" y="419"/>
                      </a:lnTo>
                      <a:lnTo>
                        <a:pt x="853" y="418"/>
                      </a:lnTo>
                      <a:lnTo>
                        <a:pt x="851" y="419"/>
                      </a:lnTo>
                      <a:lnTo>
                        <a:pt x="845" y="422"/>
                      </a:lnTo>
                      <a:lnTo>
                        <a:pt x="839" y="423"/>
                      </a:lnTo>
                      <a:lnTo>
                        <a:pt x="836" y="422"/>
                      </a:lnTo>
                      <a:lnTo>
                        <a:pt x="832" y="419"/>
                      </a:lnTo>
                      <a:lnTo>
                        <a:pt x="828" y="412"/>
                      </a:lnTo>
                      <a:lnTo>
                        <a:pt x="825" y="407"/>
                      </a:lnTo>
                      <a:lnTo>
                        <a:pt x="824" y="405"/>
                      </a:lnTo>
                      <a:lnTo>
                        <a:pt x="822" y="403"/>
                      </a:lnTo>
                      <a:lnTo>
                        <a:pt x="819" y="403"/>
                      </a:lnTo>
                      <a:lnTo>
                        <a:pt x="818" y="403"/>
                      </a:lnTo>
                      <a:lnTo>
                        <a:pt x="815" y="402"/>
                      </a:lnTo>
                      <a:lnTo>
                        <a:pt x="813" y="400"/>
                      </a:lnTo>
                      <a:lnTo>
                        <a:pt x="812" y="397"/>
                      </a:lnTo>
                      <a:lnTo>
                        <a:pt x="810" y="394"/>
                      </a:lnTo>
                      <a:lnTo>
                        <a:pt x="806" y="391"/>
                      </a:lnTo>
                      <a:lnTo>
                        <a:pt x="803" y="389"/>
                      </a:lnTo>
                      <a:lnTo>
                        <a:pt x="799" y="389"/>
                      </a:lnTo>
                      <a:lnTo>
                        <a:pt x="791" y="389"/>
                      </a:lnTo>
                      <a:lnTo>
                        <a:pt x="787" y="389"/>
                      </a:lnTo>
                      <a:lnTo>
                        <a:pt x="785" y="387"/>
                      </a:lnTo>
                      <a:lnTo>
                        <a:pt x="781" y="383"/>
                      </a:lnTo>
                      <a:lnTo>
                        <a:pt x="779" y="377"/>
                      </a:lnTo>
                      <a:lnTo>
                        <a:pt x="777" y="375"/>
                      </a:lnTo>
                      <a:lnTo>
                        <a:pt x="775" y="374"/>
                      </a:lnTo>
                      <a:lnTo>
                        <a:pt x="773" y="375"/>
                      </a:lnTo>
                      <a:lnTo>
                        <a:pt x="772" y="377"/>
                      </a:lnTo>
                      <a:lnTo>
                        <a:pt x="773" y="381"/>
                      </a:lnTo>
                      <a:lnTo>
                        <a:pt x="773" y="383"/>
                      </a:lnTo>
                      <a:lnTo>
                        <a:pt x="773" y="386"/>
                      </a:lnTo>
                      <a:lnTo>
                        <a:pt x="771" y="387"/>
                      </a:lnTo>
                      <a:lnTo>
                        <a:pt x="768" y="389"/>
                      </a:lnTo>
                      <a:lnTo>
                        <a:pt x="768" y="391"/>
                      </a:lnTo>
                      <a:lnTo>
                        <a:pt x="772" y="393"/>
                      </a:lnTo>
                      <a:lnTo>
                        <a:pt x="777" y="394"/>
                      </a:lnTo>
                      <a:lnTo>
                        <a:pt x="785" y="395"/>
                      </a:lnTo>
                      <a:lnTo>
                        <a:pt x="791" y="397"/>
                      </a:lnTo>
                      <a:lnTo>
                        <a:pt x="798" y="399"/>
                      </a:lnTo>
                      <a:lnTo>
                        <a:pt x="799" y="400"/>
                      </a:lnTo>
                      <a:lnTo>
                        <a:pt x="799" y="403"/>
                      </a:lnTo>
                      <a:lnTo>
                        <a:pt x="796" y="407"/>
                      </a:lnTo>
                      <a:lnTo>
                        <a:pt x="792" y="409"/>
                      </a:lnTo>
                      <a:lnTo>
                        <a:pt x="784" y="410"/>
                      </a:lnTo>
                      <a:lnTo>
                        <a:pt x="782" y="413"/>
                      </a:lnTo>
                      <a:lnTo>
                        <a:pt x="781" y="415"/>
                      </a:lnTo>
                      <a:lnTo>
                        <a:pt x="779" y="416"/>
                      </a:lnTo>
                      <a:lnTo>
                        <a:pt x="776" y="416"/>
                      </a:lnTo>
                      <a:lnTo>
                        <a:pt x="773" y="418"/>
                      </a:lnTo>
                      <a:lnTo>
                        <a:pt x="771" y="419"/>
                      </a:lnTo>
                      <a:lnTo>
                        <a:pt x="772" y="421"/>
                      </a:lnTo>
                      <a:lnTo>
                        <a:pt x="773" y="422"/>
                      </a:lnTo>
                      <a:lnTo>
                        <a:pt x="776" y="425"/>
                      </a:lnTo>
                      <a:lnTo>
                        <a:pt x="776" y="426"/>
                      </a:lnTo>
                      <a:lnTo>
                        <a:pt x="776" y="427"/>
                      </a:lnTo>
                      <a:lnTo>
                        <a:pt x="773" y="431"/>
                      </a:lnTo>
                      <a:lnTo>
                        <a:pt x="771" y="433"/>
                      </a:lnTo>
                      <a:lnTo>
                        <a:pt x="768" y="437"/>
                      </a:lnTo>
                      <a:lnTo>
                        <a:pt x="768" y="438"/>
                      </a:lnTo>
                      <a:lnTo>
                        <a:pt x="771" y="439"/>
                      </a:lnTo>
                      <a:lnTo>
                        <a:pt x="776" y="439"/>
                      </a:lnTo>
                      <a:lnTo>
                        <a:pt x="779" y="438"/>
                      </a:lnTo>
                      <a:lnTo>
                        <a:pt x="789" y="438"/>
                      </a:lnTo>
                      <a:lnTo>
                        <a:pt x="798" y="435"/>
                      </a:lnTo>
                      <a:lnTo>
                        <a:pt x="806" y="433"/>
                      </a:lnTo>
                      <a:lnTo>
                        <a:pt x="815" y="428"/>
                      </a:lnTo>
                      <a:lnTo>
                        <a:pt x="817" y="428"/>
                      </a:lnTo>
                      <a:lnTo>
                        <a:pt x="819" y="428"/>
                      </a:lnTo>
                      <a:lnTo>
                        <a:pt x="823" y="432"/>
                      </a:lnTo>
                      <a:lnTo>
                        <a:pt x="828" y="433"/>
                      </a:lnTo>
                      <a:lnTo>
                        <a:pt x="837" y="435"/>
                      </a:lnTo>
                      <a:lnTo>
                        <a:pt x="856" y="435"/>
                      </a:lnTo>
                      <a:lnTo>
                        <a:pt x="857" y="437"/>
                      </a:lnTo>
                      <a:lnTo>
                        <a:pt x="857" y="438"/>
                      </a:lnTo>
                      <a:lnTo>
                        <a:pt x="839" y="444"/>
                      </a:lnTo>
                      <a:lnTo>
                        <a:pt x="831" y="448"/>
                      </a:lnTo>
                      <a:lnTo>
                        <a:pt x="823" y="453"/>
                      </a:lnTo>
                      <a:lnTo>
                        <a:pt x="819" y="455"/>
                      </a:lnTo>
                      <a:lnTo>
                        <a:pt x="813" y="458"/>
                      </a:lnTo>
                      <a:lnTo>
                        <a:pt x="812" y="460"/>
                      </a:lnTo>
                      <a:lnTo>
                        <a:pt x="809" y="463"/>
                      </a:lnTo>
                      <a:lnTo>
                        <a:pt x="808" y="466"/>
                      </a:lnTo>
                      <a:lnTo>
                        <a:pt x="805" y="467"/>
                      </a:lnTo>
                      <a:lnTo>
                        <a:pt x="786" y="476"/>
                      </a:lnTo>
                      <a:lnTo>
                        <a:pt x="767" y="483"/>
                      </a:lnTo>
                      <a:lnTo>
                        <a:pt x="753" y="487"/>
                      </a:lnTo>
                      <a:lnTo>
                        <a:pt x="738" y="491"/>
                      </a:lnTo>
                      <a:lnTo>
                        <a:pt x="732" y="492"/>
                      </a:lnTo>
                      <a:lnTo>
                        <a:pt x="726" y="492"/>
                      </a:lnTo>
                      <a:lnTo>
                        <a:pt x="720" y="491"/>
                      </a:lnTo>
                      <a:lnTo>
                        <a:pt x="715" y="489"/>
                      </a:lnTo>
                      <a:lnTo>
                        <a:pt x="710" y="486"/>
                      </a:lnTo>
                      <a:lnTo>
                        <a:pt x="706" y="482"/>
                      </a:lnTo>
                      <a:lnTo>
                        <a:pt x="704" y="477"/>
                      </a:lnTo>
                      <a:lnTo>
                        <a:pt x="702" y="470"/>
                      </a:lnTo>
                      <a:lnTo>
                        <a:pt x="701" y="469"/>
                      </a:lnTo>
                      <a:lnTo>
                        <a:pt x="699" y="467"/>
                      </a:lnTo>
                      <a:lnTo>
                        <a:pt x="697" y="469"/>
                      </a:lnTo>
                      <a:lnTo>
                        <a:pt x="696" y="470"/>
                      </a:lnTo>
                      <a:lnTo>
                        <a:pt x="696" y="473"/>
                      </a:lnTo>
                      <a:lnTo>
                        <a:pt x="697" y="478"/>
                      </a:lnTo>
                      <a:lnTo>
                        <a:pt x="700" y="484"/>
                      </a:lnTo>
                      <a:lnTo>
                        <a:pt x="702" y="489"/>
                      </a:lnTo>
                      <a:lnTo>
                        <a:pt x="702" y="492"/>
                      </a:lnTo>
                      <a:lnTo>
                        <a:pt x="701" y="495"/>
                      </a:lnTo>
                      <a:lnTo>
                        <a:pt x="699" y="497"/>
                      </a:lnTo>
                      <a:lnTo>
                        <a:pt x="695" y="498"/>
                      </a:lnTo>
                      <a:lnTo>
                        <a:pt x="690" y="501"/>
                      </a:lnTo>
                      <a:lnTo>
                        <a:pt x="687" y="503"/>
                      </a:lnTo>
                      <a:lnTo>
                        <a:pt x="682" y="508"/>
                      </a:lnTo>
                      <a:lnTo>
                        <a:pt x="676" y="512"/>
                      </a:lnTo>
                      <a:lnTo>
                        <a:pt x="671" y="517"/>
                      </a:lnTo>
                      <a:lnTo>
                        <a:pt x="667" y="523"/>
                      </a:lnTo>
                      <a:lnTo>
                        <a:pt x="663" y="529"/>
                      </a:lnTo>
                      <a:lnTo>
                        <a:pt x="662" y="533"/>
                      </a:lnTo>
                      <a:lnTo>
                        <a:pt x="659" y="536"/>
                      </a:lnTo>
                      <a:lnTo>
                        <a:pt x="655" y="541"/>
                      </a:lnTo>
                      <a:lnTo>
                        <a:pt x="653" y="543"/>
                      </a:lnTo>
                      <a:lnTo>
                        <a:pt x="650" y="544"/>
                      </a:lnTo>
                      <a:lnTo>
                        <a:pt x="648" y="544"/>
                      </a:lnTo>
                      <a:lnTo>
                        <a:pt x="644" y="544"/>
                      </a:lnTo>
                      <a:lnTo>
                        <a:pt x="641" y="544"/>
                      </a:lnTo>
                      <a:lnTo>
                        <a:pt x="639" y="546"/>
                      </a:lnTo>
                      <a:lnTo>
                        <a:pt x="639" y="549"/>
                      </a:lnTo>
                      <a:lnTo>
                        <a:pt x="639" y="554"/>
                      </a:lnTo>
                      <a:lnTo>
                        <a:pt x="638" y="556"/>
                      </a:lnTo>
                      <a:lnTo>
                        <a:pt x="636" y="557"/>
                      </a:lnTo>
                      <a:lnTo>
                        <a:pt x="634" y="557"/>
                      </a:lnTo>
                      <a:lnTo>
                        <a:pt x="627" y="555"/>
                      </a:lnTo>
                      <a:lnTo>
                        <a:pt x="624" y="555"/>
                      </a:lnTo>
                      <a:lnTo>
                        <a:pt x="620" y="556"/>
                      </a:lnTo>
                      <a:lnTo>
                        <a:pt x="617" y="557"/>
                      </a:lnTo>
                      <a:lnTo>
                        <a:pt x="613" y="557"/>
                      </a:lnTo>
                      <a:lnTo>
                        <a:pt x="611" y="555"/>
                      </a:lnTo>
                      <a:lnTo>
                        <a:pt x="610" y="554"/>
                      </a:lnTo>
                      <a:lnTo>
                        <a:pt x="611" y="553"/>
                      </a:lnTo>
                      <a:lnTo>
                        <a:pt x="612" y="550"/>
                      </a:lnTo>
                      <a:lnTo>
                        <a:pt x="613" y="549"/>
                      </a:lnTo>
                      <a:lnTo>
                        <a:pt x="613" y="548"/>
                      </a:lnTo>
                      <a:lnTo>
                        <a:pt x="611" y="547"/>
                      </a:lnTo>
                      <a:lnTo>
                        <a:pt x="608" y="547"/>
                      </a:lnTo>
                      <a:lnTo>
                        <a:pt x="606" y="547"/>
                      </a:lnTo>
                      <a:lnTo>
                        <a:pt x="603" y="547"/>
                      </a:lnTo>
                      <a:lnTo>
                        <a:pt x="601" y="547"/>
                      </a:lnTo>
                      <a:lnTo>
                        <a:pt x="599" y="544"/>
                      </a:lnTo>
                      <a:lnTo>
                        <a:pt x="598" y="544"/>
                      </a:lnTo>
                      <a:lnTo>
                        <a:pt x="597" y="544"/>
                      </a:lnTo>
                      <a:lnTo>
                        <a:pt x="597" y="548"/>
                      </a:lnTo>
                      <a:lnTo>
                        <a:pt x="598" y="550"/>
                      </a:lnTo>
                      <a:lnTo>
                        <a:pt x="599" y="555"/>
                      </a:lnTo>
                      <a:lnTo>
                        <a:pt x="599" y="560"/>
                      </a:lnTo>
                      <a:lnTo>
                        <a:pt x="598" y="561"/>
                      </a:lnTo>
                      <a:lnTo>
                        <a:pt x="596" y="562"/>
                      </a:lnTo>
                      <a:lnTo>
                        <a:pt x="593" y="562"/>
                      </a:lnTo>
                      <a:lnTo>
                        <a:pt x="591" y="563"/>
                      </a:lnTo>
                      <a:lnTo>
                        <a:pt x="588" y="568"/>
                      </a:lnTo>
                      <a:lnTo>
                        <a:pt x="584" y="568"/>
                      </a:lnTo>
                      <a:lnTo>
                        <a:pt x="583" y="569"/>
                      </a:lnTo>
                      <a:lnTo>
                        <a:pt x="579" y="572"/>
                      </a:lnTo>
                      <a:lnTo>
                        <a:pt x="574" y="570"/>
                      </a:lnTo>
                      <a:lnTo>
                        <a:pt x="572" y="570"/>
                      </a:lnTo>
                      <a:lnTo>
                        <a:pt x="570" y="572"/>
                      </a:lnTo>
                      <a:lnTo>
                        <a:pt x="566" y="576"/>
                      </a:lnTo>
                      <a:lnTo>
                        <a:pt x="564" y="580"/>
                      </a:lnTo>
                      <a:lnTo>
                        <a:pt x="561" y="582"/>
                      </a:lnTo>
                      <a:lnTo>
                        <a:pt x="555" y="585"/>
                      </a:lnTo>
                      <a:lnTo>
                        <a:pt x="552" y="586"/>
                      </a:lnTo>
                      <a:lnTo>
                        <a:pt x="552" y="587"/>
                      </a:lnTo>
                      <a:lnTo>
                        <a:pt x="551" y="589"/>
                      </a:lnTo>
                      <a:lnTo>
                        <a:pt x="552" y="591"/>
                      </a:lnTo>
                      <a:lnTo>
                        <a:pt x="556" y="594"/>
                      </a:lnTo>
                      <a:lnTo>
                        <a:pt x="559" y="599"/>
                      </a:lnTo>
                      <a:lnTo>
                        <a:pt x="558" y="602"/>
                      </a:lnTo>
                      <a:lnTo>
                        <a:pt x="556" y="607"/>
                      </a:lnTo>
                      <a:lnTo>
                        <a:pt x="555" y="607"/>
                      </a:lnTo>
                      <a:lnTo>
                        <a:pt x="552" y="606"/>
                      </a:lnTo>
                      <a:lnTo>
                        <a:pt x="550" y="604"/>
                      </a:lnTo>
                      <a:lnTo>
                        <a:pt x="547" y="604"/>
                      </a:lnTo>
                      <a:lnTo>
                        <a:pt x="546" y="604"/>
                      </a:lnTo>
                      <a:lnTo>
                        <a:pt x="545" y="605"/>
                      </a:lnTo>
                      <a:lnTo>
                        <a:pt x="545" y="607"/>
                      </a:lnTo>
                      <a:lnTo>
                        <a:pt x="549" y="612"/>
                      </a:lnTo>
                      <a:lnTo>
                        <a:pt x="549" y="614"/>
                      </a:lnTo>
                      <a:lnTo>
                        <a:pt x="547" y="616"/>
                      </a:lnTo>
                      <a:lnTo>
                        <a:pt x="542" y="620"/>
                      </a:lnTo>
                      <a:lnTo>
                        <a:pt x="535" y="625"/>
                      </a:lnTo>
                      <a:lnTo>
                        <a:pt x="532" y="625"/>
                      </a:lnTo>
                      <a:lnTo>
                        <a:pt x="531" y="625"/>
                      </a:lnTo>
                      <a:lnTo>
                        <a:pt x="530" y="626"/>
                      </a:lnTo>
                      <a:lnTo>
                        <a:pt x="528" y="629"/>
                      </a:lnTo>
                      <a:lnTo>
                        <a:pt x="528" y="632"/>
                      </a:lnTo>
                      <a:lnTo>
                        <a:pt x="530" y="636"/>
                      </a:lnTo>
                      <a:lnTo>
                        <a:pt x="530" y="639"/>
                      </a:lnTo>
                      <a:lnTo>
                        <a:pt x="527" y="642"/>
                      </a:lnTo>
                      <a:lnTo>
                        <a:pt x="526" y="644"/>
                      </a:lnTo>
                      <a:lnTo>
                        <a:pt x="525" y="645"/>
                      </a:lnTo>
                      <a:lnTo>
                        <a:pt x="523" y="649"/>
                      </a:lnTo>
                      <a:lnTo>
                        <a:pt x="522" y="653"/>
                      </a:lnTo>
                      <a:lnTo>
                        <a:pt x="523" y="658"/>
                      </a:lnTo>
                      <a:lnTo>
                        <a:pt x="523" y="663"/>
                      </a:lnTo>
                      <a:lnTo>
                        <a:pt x="523" y="669"/>
                      </a:lnTo>
                      <a:lnTo>
                        <a:pt x="522" y="672"/>
                      </a:lnTo>
                      <a:lnTo>
                        <a:pt x="518" y="677"/>
                      </a:lnTo>
                      <a:lnTo>
                        <a:pt x="514" y="682"/>
                      </a:lnTo>
                      <a:lnTo>
                        <a:pt x="513" y="685"/>
                      </a:lnTo>
                      <a:lnTo>
                        <a:pt x="513" y="690"/>
                      </a:lnTo>
                      <a:lnTo>
                        <a:pt x="513" y="694"/>
                      </a:lnTo>
                      <a:lnTo>
                        <a:pt x="512" y="696"/>
                      </a:lnTo>
                      <a:lnTo>
                        <a:pt x="509" y="699"/>
                      </a:lnTo>
                      <a:lnTo>
                        <a:pt x="503" y="702"/>
                      </a:lnTo>
                      <a:lnTo>
                        <a:pt x="494" y="707"/>
                      </a:lnTo>
                      <a:lnTo>
                        <a:pt x="494" y="708"/>
                      </a:lnTo>
                      <a:lnTo>
                        <a:pt x="494" y="710"/>
                      </a:lnTo>
                      <a:lnTo>
                        <a:pt x="497" y="712"/>
                      </a:lnTo>
                      <a:lnTo>
                        <a:pt x="498" y="712"/>
                      </a:lnTo>
                      <a:lnTo>
                        <a:pt x="502" y="712"/>
                      </a:lnTo>
                      <a:lnTo>
                        <a:pt x="507" y="710"/>
                      </a:lnTo>
                      <a:lnTo>
                        <a:pt x="511" y="712"/>
                      </a:lnTo>
                      <a:lnTo>
                        <a:pt x="512" y="712"/>
                      </a:lnTo>
                      <a:lnTo>
                        <a:pt x="513" y="712"/>
                      </a:lnTo>
                      <a:lnTo>
                        <a:pt x="512" y="713"/>
                      </a:lnTo>
                      <a:lnTo>
                        <a:pt x="507" y="716"/>
                      </a:lnTo>
                      <a:lnTo>
                        <a:pt x="502" y="719"/>
                      </a:lnTo>
                      <a:lnTo>
                        <a:pt x="495" y="721"/>
                      </a:lnTo>
                      <a:lnTo>
                        <a:pt x="489" y="722"/>
                      </a:lnTo>
                      <a:lnTo>
                        <a:pt x="488" y="717"/>
                      </a:lnTo>
                      <a:lnTo>
                        <a:pt x="485" y="715"/>
                      </a:lnTo>
                      <a:lnTo>
                        <a:pt x="480" y="714"/>
                      </a:lnTo>
                      <a:lnTo>
                        <a:pt x="476" y="715"/>
                      </a:lnTo>
                      <a:lnTo>
                        <a:pt x="475" y="714"/>
                      </a:lnTo>
                      <a:lnTo>
                        <a:pt x="475" y="713"/>
                      </a:lnTo>
                      <a:lnTo>
                        <a:pt x="480" y="708"/>
                      </a:lnTo>
                      <a:lnTo>
                        <a:pt x="481" y="706"/>
                      </a:lnTo>
                      <a:lnTo>
                        <a:pt x="480" y="703"/>
                      </a:lnTo>
                      <a:lnTo>
                        <a:pt x="478" y="702"/>
                      </a:lnTo>
                      <a:lnTo>
                        <a:pt x="475" y="701"/>
                      </a:lnTo>
                      <a:lnTo>
                        <a:pt x="470" y="701"/>
                      </a:lnTo>
                      <a:lnTo>
                        <a:pt x="464" y="700"/>
                      </a:lnTo>
                      <a:lnTo>
                        <a:pt x="462" y="699"/>
                      </a:lnTo>
                      <a:lnTo>
                        <a:pt x="460" y="697"/>
                      </a:lnTo>
                      <a:lnTo>
                        <a:pt x="459" y="695"/>
                      </a:lnTo>
                      <a:lnTo>
                        <a:pt x="459" y="694"/>
                      </a:lnTo>
                      <a:lnTo>
                        <a:pt x="461" y="689"/>
                      </a:lnTo>
                      <a:lnTo>
                        <a:pt x="461" y="688"/>
                      </a:lnTo>
                      <a:lnTo>
                        <a:pt x="459" y="687"/>
                      </a:lnTo>
                      <a:lnTo>
                        <a:pt x="456" y="688"/>
                      </a:lnTo>
                      <a:lnTo>
                        <a:pt x="451" y="691"/>
                      </a:lnTo>
                      <a:lnTo>
                        <a:pt x="445" y="695"/>
                      </a:lnTo>
                      <a:lnTo>
                        <a:pt x="438" y="696"/>
                      </a:lnTo>
                      <a:lnTo>
                        <a:pt x="432" y="697"/>
                      </a:lnTo>
                      <a:lnTo>
                        <a:pt x="429" y="696"/>
                      </a:lnTo>
                      <a:lnTo>
                        <a:pt x="427" y="695"/>
                      </a:lnTo>
                      <a:lnTo>
                        <a:pt x="425" y="693"/>
                      </a:lnTo>
                      <a:lnTo>
                        <a:pt x="423" y="691"/>
                      </a:lnTo>
                      <a:lnTo>
                        <a:pt x="420" y="690"/>
                      </a:lnTo>
                      <a:lnTo>
                        <a:pt x="417" y="687"/>
                      </a:lnTo>
                      <a:lnTo>
                        <a:pt x="414" y="687"/>
                      </a:lnTo>
                      <a:lnTo>
                        <a:pt x="412" y="687"/>
                      </a:lnTo>
                      <a:lnTo>
                        <a:pt x="412" y="684"/>
                      </a:lnTo>
                      <a:lnTo>
                        <a:pt x="413" y="683"/>
                      </a:lnTo>
                      <a:lnTo>
                        <a:pt x="415" y="682"/>
                      </a:lnTo>
                      <a:lnTo>
                        <a:pt x="417" y="680"/>
                      </a:lnTo>
                      <a:lnTo>
                        <a:pt x="417" y="678"/>
                      </a:lnTo>
                      <a:lnTo>
                        <a:pt x="415" y="678"/>
                      </a:lnTo>
                      <a:lnTo>
                        <a:pt x="412" y="677"/>
                      </a:lnTo>
                      <a:lnTo>
                        <a:pt x="408" y="677"/>
                      </a:lnTo>
                      <a:lnTo>
                        <a:pt x="404" y="677"/>
                      </a:lnTo>
                      <a:lnTo>
                        <a:pt x="401" y="676"/>
                      </a:lnTo>
                      <a:lnTo>
                        <a:pt x="399" y="675"/>
                      </a:lnTo>
                      <a:lnTo>
                        <a:pt x="399" y="674"/>
                      </a:lnTo>
                      <a:lnTo>
                        <a:pt x="401" y="670"/>
                      </a:lnTo>
                      <a:lnTo>
                        <a:pt x="405" y="668"/>
                      </a:lnTo>
                      <a:lnTo>
                        <a:pt x="408" y="665"/>
                      </a:lnTo>
                      <a:lnTo>
                        <a:pt x="408" y="664"/>
                      </a:lnTo>
                      <a:lnTo>
                        <a:pt x="406" y="663"/>
                      </a:lnTo>
                      <a:lnTo>
                        <a:pt x="404" y="661"/>
                      </a:lnTo>
                      <a:lnTo>
                        <a:pt x="401" y="661"/>
                      </a:lnTo>
                      <a:lnTo>
                        <a:pt x="398" y="662"/>
                      </a:lnTo>
                      <a:lnTo>
                        <a:pt x="395" y="662"/>
                      </a:lnTo>
                      <a:lnTo>
                        <a:pt x="392" y="661"/>
                      </a:lnTo>
                      <a:lnTo>
                        <a:pt x="394" y="658"/>
                      </a:lnTo>
                      <a:lnTo>
                        <a:pt x="396" y="653"/>
                      </a:lnTo>
                      <a:lnTo>
                        <a:pt x="396" y="652"/>
                      </a:lnTo>
                      <a:lnTo>
                        <a:pt x="396" y="651"/>
                      </a:lnTo>
                      <a:lnTo>
                        <a:pt x="394" y="650"/>
                      </a:lnTo>
                      <a:lnTo>
                        <a:pt x="386" y="651"/>
                      </a:lnTo>
                      <a:lnTo>
                        <a:pt x="385" y="650"/>
                      </a:lnTo>
                      <a:lnTo>
                        <a:pt x="386" y="649"/>
                      </a:lnTo>
                      <a:lnTo>
                        <a:pt x="387" y="646"/>
                      </a:lnTo>
                      <a:lnTo>
                        <a:pt x="387" y="645"/>
                      </a:lnTo>
                      <a:lnTo>
                        <a:pt x="385" y="645"/>
                      </a:lnTo>
                      <a:lnTo>
                        <a:pt x="384" y="645"/>
                      </a:lnTo>
                      <a:lnTo>
                        <a:pt x="381" y="645"/>
                      </a:lnTo>
                      <a:lnTo>
                        <a:pt x="381" y="643"/>
                      </a:lnTo>
                      <a:lnTo>
                        <a:pt x="382" y="642"/>
                      </a:lnTo>
                      <a:lnTo>
                        <a:pt x="384" y="640"/>
                      </a:lnTo>
                      <a:lnTo>
                        <a:pt x="386" y="639"/>
                      </a:lnTo>
                      <a:lnTo>
                        <a:pt x="387" y="638"/>
                      </a:lnTo>
                      <a:lnTo>
                        <a:pt x="387" y="637"/>
                      </a:lnTo>
                      <a:lnTo>
                        <a:pt x="386" y="637"/>
                      </a:lnTo>
                      <a:lnTo>
                        <a:pt x="384" y="638"/>
                      </a:lnTo>
                      <a:lnTo>
                        <a:pt x="381" y="638"/>
                      </a:lnTo>
                      <a:lnTo>
                        <a:pt x="377" y="636"/>
                      </a:lnTo>
                      <a:lnTo>
                        <a:pt x="376" y="632"/>
                      </a:lnTo>
                      <a:lnTo>
                        <a:pt x="375" y="629"/>
                      </a:lnTo>
                      <a:lnTo>
                        <a:pt x="375" y="627"/>
                      </a:lnTo>
                      <a:lnTo>
                        <a:pt x="377" y="626"/>
                      </a:lnTo>
                      <a:lnTo>
                        <a:pt x="380" y="625"/>
                      </a:lnTo>
                      <a:lnTo>
                        <a:pt x="384" y="626"/>
                      </a:lnTo>
                      <a:lnTo>
                        <a:pt x="386" y="626"/>
                      </a:lnTo>
                      <a:lnTo>
                        <a:pt x="389" y="624"/>
                      </a:lnTo>
                      <a:lnTo>
                        <a:pt x="390" y="621"/>
                      </a:lnTo>
                      <a:lnTo>
                        <a:pt x="389" y="619"/>
                      </a:lnTo>
                      <a:lnTo>
                        <a:pt x="391" y="618"/>
                      </a:lnTo>
                      <a:lnTo>
                        <a:pt x="391" y="617"/>
                      </a:lnTo>
                      <a:lnTo>
                        <a:pt x="389" y="617"/>
                      </a:lnTo>
                      <a:lnTo>
                        <a:pt x="387" y="617"/>
                      </a:lnTo>
                      <a:lnTo>
                        <a:pt x="385" y="618"/>
                      </a:lnTo>
                      <a:lnTo>
                        <a:pt x="382" y="619"/>
                      </a:lnTo>
                      <a:lnTo>
                        <a:pt x="380" y="618"/>
                      </a:lnTo>
                      <a:lnTo>
                        <a:pt x="377" y="618"/>
                      </a:lnTo>
                      <a:lnTo>
                        <a:pt x="375" y="618"/>
                      </a:lnTo>
                      <a:lnTo>
                        <a:pt x="373" y="619"/>
                      </a:lnTo>
                      <a:lnTo>
                        <a:pt x="372" y="620"/>
                      </a:lnTo>
                      <a:lnTo>
                        <a:pt x="371" y="624"/>
                      </a:lnTo>
                      <a:lnTo>
                        <a:pt x="370" y="625"/>
                      </a:lnTo>
                      <a:lnTo>
                        <a:pt x="367" y="625"/>
                      </a:lnTo>
                      <a:lnTo>
                        <a:pt x="366" y="623"/>
                      </a:lnTo>
                      <a:lnTo>
                        <a:pt x="366" y="621"/>
                      </a:lnTo>
                      <a:lnTo>
                        <a:pt x="368" y="618"/>
                      </a:lnTo>
                      <a:lnTo>
                        <a:pt x="368" y="617"/>
                      </a:lnTo>
                      <a:lnTo>
                        <a:pt x="367" y="614"/>
                      </a:lnTo>
                      <a:lnTo>
                        <a:pt x="366" y="612"/>
                      </a:lnTo>
                      <a:lnTo>
                        <a:pt x="368" y="607"/>
                      </a:lnTo>
                      <a:lnTo>
                        <a:pt x="371" y="601"/>
                      </a:lnTo>
                      <a:lnTo>
                        <a:pt x="372" y="600"/>
                      </a:lnTo>
                      <a:lnTo>
                        <a:pt x="373" y="599"/>
                      </a:lnTo>
                      <a:lnTo>
                        <a:pt x="376" y="600"/>
                      </a:lnTo>
                      <a:lnTo>
                        <a:pt x="379" y="602"/>
                      </a:lnTo>
                      <a:lnTo>
                        <a:pt x="380" y="604"/>
                      </a:lnTo>
                      <a:lnTo>
                        <a:pt x="380" y="602"/>
                      </a:lnTo>
                      <a:lnTo>
                        <a:pt x="381" y="600"/>
                      </a:lnTo>
                      <a:lnTo>
                        <a:pt x="380" y="598"/>
                      </a:lnTo>
                      <a:lnTo>
                        <a:pt x="381" y="595"/>
                      </a:lnTo>
                      <a:lnTo>
                        <a:pt x="382" y="594"/>
                      </a:lnTo>
                      <a:lnTo>
                        <a:pt x="384" y="594"/>
                      </a:lnTo>
                      <a:lnTo>
                        <a:pt x="386" y="599"/>
                      </a:lnTo>
                      <a:lnTo>
                        <a:pt x="389" y="604"/>
                      </a:lnTo>
                      <a:lnTo>
                        <a:pt x="390" y="605"/>
                      </a:lnTo>
                      <a:lnTo>
                        <a:pt x="394" y="606"/>
                      </a:lnTo>
                      <a:lnTo>
                        <a:pt x="396" y="605"/>
                      </a:lnTo>
                      <a:lnTo>
                        <a:pt x="398" y="604"/>
                      </a:lnTo>
                      <a:lnTo>
                        <a:pt x="399" y="600"/>
                      </a:lnTo>
                      <a:lnTo>
                        <a:pt x="399" y="598"/>
                      </a:lnTo>
                      <a:lnTo>
                        <a:pt x="398" y="598"/>
                      </a:lnTo>
                      <a:lnTo>
                        <a:pt x="399" y="599"/>
                      </a:lnTo>
                      <a:lnTo>
                        <a:pt x="396" y="597"/>
                      </a:lnTo>
                      <a:lnTo>
                        <a:pt x="395" y="593"/>
                      </a:lnTo>
                      <a:lnTo>
                        <a:pt x="394" y="587"/>
                      </a:lnTo>
                      <a:lnTo>
                        <a:pt x="392" y="586"/>
                      </a:lnTo>
                      <a:lnTo>
                        <a:pt x="391" y="586"/>
                      </a:lnTo>
                      <a:lnTo>
                        <a:pt x="385" y="586"/>
                      </a:lnTo>
                      <a:lnTo>
                        <a:pt x="382" y="586"/>
                      </a:lnTo>
                      <a:lnTo>
                        <a:pt x="381" y="584"/>
                      </a:lnTo>
                      <a:lnTo>
                        <a:pt x="380" y="584"/>
                      </a:lnTo>
                      <a:lnTo>
                        <a:pt x="379" y="584"/>
                      </a:lnTo>
                      <a:lnTo>
                        <a:pt x="377" y="585"/>
                      </a:lnTo>
                      <a:lnTo>
                        <a:pt x="376" y="587"/>
                      </a:lnTo>
                      <a:lnTo>
                        <a:pt x="375" y="589"/>
                      </a:lnTo>
                      <a:lnTo>
                        <a:pt x="373" y="589"/>
                      </a:lnTo>
                      <a:lnTo>
                        <a:pt x="372" y="588"/>
                      </a:lnTo>
                      <a:lnTo>
                        <a:pt x="370" y="588"/>
                      </a:lnTo>
                      <a:lnTo>
                        <a:pt x="368" y="588"/>
                      </a:lnTo>
                      <a:lnTo>
                        <a:pt x="366" y="591"/>
                      </a:lnTo>
                      <a:lnTo>
                        <a:pt x="363" y="594"/>
                      </a:lnTo>
                      <a:lnTo>
                        <a:pt x="362" y="597"/>
                      </a:lnTo>
                      <a:lnTo>
                        <a:pt x="358" y="599"/>
                      </a:lnTo>
                      <a:lnTo>
                        <a:pt x="357" y="601"/>
                      </a:lnTo>
                      <a:lnTo>
                        <a:pt x="356" y="602"/>
                      </a:lnTo>
                      <a:lnTo>
                        <a:pt x="354" y="602"/>
                      </a:lnTo>
                      <a:lnTo>
                        <a:pt x="353" y="599"/>
                      </a:lnTo>
                      <a:lnTo>
                        <a:pt x="356" y="592"/>
                      </a:lnTo>
                      <a:lnTo>
                        <a:pt x="357" y="586"/>
                      </a:lnTo>
                      <a:lnTo>
                        <a:pt x="357" y="579"/>
                      </a:lnTo>
                      <a:lnTo>
                        <a:pt x="356" y="572"/>
                      </a:lnTo>
                      <a:lnTo>
                        <a:pt x="357" y="572"/>
                      </a:lnTo>
                      <a:lnTo>
                        <a:pt x="359" y="570"/>
                      </a:lnTo>
                      <a:lnTo>
                        <a:pt x="362" y="568"/>
                      </a:lnTo>
                      <a:lnTo>
                        <a:pt x="365" y="566"/>
                      </a:lnTo>
                      <a:lnTo>
                        <a:pt x="367" y="562"/>
                      </a:lnTo>
                      <a:lnTo>
                        <a:pt x="370" y="559"/>
                      </a:lnTo>
                      <a:lnTo>
                        <a:pt x="371" y="557"/>
                      </a:lnTo>
                      <a:lnTo>
                        <a:pt x="366" y="556"/>
                      </a:lnTo>
                      <a:lnTo>
                        <a:pt x="363" y="556"/>
                      </a:lnTo>
                      <a:lnTo>
                        <a:pt x="359" y="559"/>
                      </a:lnTo>
                      <a:lnTo>
                        <a:pt x="357" y="561"/>
                      </a:lnTo>
                      <a:lnTo>
                        <a:pt x="353" y="567"/>
                      </a:lnTo>
                      <a:lnTo>
                        <a:pt x="347" y="572"/>
                      </a:lnTo>
                      <a:lnTo>
                        <a:pt x="345" y="573"/>
                      </a:lnTo>
                      <a:lnTo>
                        <a:pt x="343" y="573"/>
                      </a:lnTo>
                      <a:lnTo>
                        <a:pt x="340" y="572"/>
                      </a:lnTo>
                      <a:lnTo>
                        <a:pt x="339" y="570"/>
                      </a:lnTo>
                      <a:lnTo>
                        <a:pt x="338" y="562"/>
                      </a:lnTo>
                      <a:lnTo>
                        <a:pt x="338" y="559"/>
                      </a:lnTo>
                      <a:lnTo>
                        <a:pt x="339" y="557"/>
                      </a:lnTo>
                      <a:lnTo>
                        <a:pt x="342" y="556"/>
                      </a:lnTo>
                      <a:lnTo>
                        <a:pt x="347" y="555"/>
                      </a:lnTo>
                      <a:lnTo>
                        <a:pt x="349" y="554"/>
                      </a:lnTo>
                      <a:lnTo>
                        <a:pt x="349" y="553"/>
                      </a:lnTo>
                      <a:lnTo>
                        <a:pt x="345" y="552"/>
                      </a:lnTo>
                      <a:lnTo>
                        <a:pt x="342" y="552"/>
                      </a:lnTo>
                      <a:lnTo>
                        <a:pt x="337" y="552"/>
                      </a:lnTo>
                      <a:lnTo>
                        <a:pt x="335" y="550"/>
                      </a:lnTo>
                      <a:lnTo>
                        <a:pt x="334" y="548"/>
                      </a:lnTo>
                      <a:lnTo>
                        <a:pt x="333" y="547"/>
                      </a:lnTo>
                      <a:lnTo>
                        <a:pt x="333" y="544"/>
                      </a:lnTo>
                      <a:lnTo>
                        <a:pt x="337" y="542"/>
                      </a:lnTo>
                      <a:lnTo>
                        <a:pt x="339" y="542"/>
                      </a:lnTo>
                      <a:lnTo>
                        <a:pt x="342" y="542"/>
                      </a:lnTo>
                      <a:lnTo>
                        <a:pt x="347" y="542"/>
                      </a:lnTo>
                      <a:lnTo>
                        <a:pt x="347" y="541"/>
                      </a:lnTo>
                      <a:lnTo>
                        <a:pt x="347" y="540"/>
                      </a:lnTo>
                      <a:lnTo>
                        <a:pt x="344" y="537"/>
                      </a:lnTo>
                      <a:lnTo>
                        <a:pt x="343" y="535"/>
                      </a:lnTo>
                      <a:lnTo>
                        <a:pt x="342" y="529"/>
                      </a:lnTo>
                      <a:lnTo>
                        <a:pt x="340" y="528"/>
                      </a:lnTo>
                      <a:lnTo>
                        <a:pt x="339" y="529"/>
                      </a:lnTo>
                      <a:lnTo>
                        <a:pt x="337" y="530"/>
                      </a:lnTo>
                      <a:lnTo>
                        <a:pt x="334" y="529"/>
                      </a:lnTo>
                      <a:lnTo>
                        <a:pt x="333" y="528"/>
                      </a:lnTo>
                      <a:lnTo>
                        <a:pt x="333" y="527"/>
                      </a:lnTo>
                      <a:lnTo>
                        <a:pt x="334" y="525"/>
                      </a:lnTo>
                      <a:lnTo>
                        <a:pt x="340" y="522"/>
                      </a:lnTo>
                      <a:lnTo>
                        <a:pt x="340" y="521"/>
                      </a:lnTo>
                      <a:lnTo>
                        <a:pt x="339" y="520"/>
                      </a:lnTo>
                      <a:lnTo>
                        <a:pt x="337" y="520"/>
                      </a:lnTo>
                      <a:lnTo>
                        <a:pt x="334" y="521"/>
                      </a:lnTo>
                      <a:lnTo>
                        <a:pt x="332" y="521"/>
                      </a:lnTo>
                      <a:lnTo>
                        <a:pt x="330" y="521"/>
                      </a:lnTo>
                      <a:lnTo>
                        <a:pt x="332" y="518"/>
                      </a:lnTo>
                      <a:lnTo>
                        <a:pt x="333" y="517"/>
                      </a:lnTo>
                      <a:lnTo>
                        <a:pt x="339" y="515"/>
                      </a:lnTo>
                      <a:lnTo>
                        <a:pt x="345" y="514"/>
                      </a:lnTo>
                      <a:lnTo>
                        <a:pt x="352" y="512"/>
                      </a:lnTo>
                      <a:lnTo>
                        <a:pt x="352" y="514"/>
                      </a:lnTo>
                      <a:lnTo>
                        <a:pt x="353" y="515"/>
                      </a:lnTo>
                      <a:lnTo>
                        <a:pt x="357" y="515"/>
                      </a:lnTo>
                      <a:lnTo>
                        <a:pt x="359" y="514"/>
                      </a:lnTo>
                      <a:lnTo>
                        <a:pt x="361" y="512"/>
                      </a:lnTo>
                      <a:lnTo>
                        <a:pt x="365" y="516"/>
                      </a:lnTo>
                      <a:lnTo>
                        <a:pt x="370" y="518"/>
                      </a:lnTo>
                      <a:lnTo>
                        <a:pt x="375" y="520"/>
                      </a:lnTo>
                      <a:lnTo>
                        <a:pt x="377" y="518"/>
                      </a:lnTo>
                      <a:lnTo>
                        <a:pt x="379" y="517"/>
                      </a:lnTo>
                      <a:lnTo>
                        <a:pt x="380" y="516"/>
                      </a:lnTo>
                      <a:lnTo>
                        <a:pt x="380" y="514"/>
                      </a:lnTo>
                      <a:lnTo>
                        <a:pt x="379" y="510"/>
                      </a:lnTo>
                      <a:lnTo>
                        <a:pt x="379" y="506"/>
                      </a:lnTo>
                      <a:lnTo>
                        <a:pt x="379" y="505"/>
                      </a:lnTo>
                      <a:lnTo>
                        <a:pt x="380" y="504"/>
                      </a:lnTo>
                      <a:lnTo>
                        <a:pt x="379" y="503"/>
                      </a:lnTo>
                      <a:lnTo>
                        <a:pt x="377" y="503"/>
                      </a:lnTo>
                      <a:lnTo>
                        <a:pt x="373" y="503"/>
                      </a:lnTo>
                      <a:lnTo>
                        <a:pt x="372" y="503"/>
                      </a:lnTo>
                      <a:lnTo>
                        <a:pt x="370" y="501"/>
                      </a:lnTo>
                      <a:lnTo>
                        <a:pt x="368" y="499"/>
                      </a:lnTo>
                      <a:lnTo>
                        <a:pt x="366" y="499"/>
                      </a:lnTo>
                      <a:lnTo>
                        <a:pt x="365" y="501"/>
                      </a:lnTo>
                      <a:lnTo>
                        <a:pt x="365" y="503"/>
                      </a:lnTo>
                      <a:lnTo>
                        <a:pt x="363" y="505"/>
                      </a:lnTo>
                      <a:lnTo>
                        <a:pt x="362" y="506"/>
                      </a:lnTo>
                      <a:lnTo>
                        <a:pt x="358" y="508"/>
                      </a:lnTo>
                      <a:lnTo>
                        <a:pt x="354" y="506"/>
                      </a:lnTo>
                      <a:lnTo>
                        <a:pt x="351" y="505"/>
                      </a:lnTo>
                      <a:lnTo>
                        <a:pt x="347" y="504"/>
                      </a:lnTo>
                      <a:lnTo>
                        <a:pt x="343" y="504"/>
                      </a:lnTo>
                      <a:lnTo>
                        <a:pt x="338" y="506"/>
                      </a:lnTo>
                      <a:lnTo>
                        <a:pt x="335" y="506"/>
                      </a:lnTo>
                      <a:lnTo>
                        <a:pt x="333" y="509"/>
                      </a:lnTo>
                      <a:lnTo>
                        <a:pt x="332" y="510"/>
                      </a:lnTo>
                      <a:lnTo>
                        <a:pt x="328" y="511"/>
                      </a:lnTo>
                      <a:lnTo>
                        <a:pt x="328" y="509"/>
                      </a:lnTo>
                      <a:lnTo>
                        <a:pt x="329" y="508"/>
                      </a:lnTo>
                      <a:lnTo>
                        <a:pt x="333" y="504"/>
                      </a:lnTo>
                      <a:lnTo>
                        <a:pt x="342" y="499"/>
                      </a:lnTo>
                      <a:lnTo>
                        <a:pt x="343" y="498"/>
                      </a:lnTo>
                      <a:lnTo>
                        <a:pt x="343" y="497"/>
                      </a:lnTo>
                      <a:lnTo>
                        <a:pt x="344" y="493"/>
                      </a:lnTo>
                      <a:lnTo>
                        <a:pt x="348" y="489"/>
                      </a:lnTo>
                      <a:lnTo>
                        <a:pt x="349" y="486"/>
                      </a:lnTo>
                      <a:lnTo>
                        <a:pt x="352" y="485"/>
                      </a:lnTo>
                      <a:lnTo>
                        <a:pt x="354" y="485"/>
                      </a:lnTo>
                      <a:lnTo>
                        <a:pt x="356" y="486"/>
                      </a:lnTo>
                      <a:lnTo>
                        <a:pt x="357" y="489"/>
                      </a:lnTo>
                      <a:lnTo>
                        <a:pt x="358" y="490"/>
                      </a:lnTo>
                      <a:lnTo>
                        <a:pt x="359" y="490"/>
                      </a:lnTo>
                      <a:lnTo>
                        <a:pt x="361" y="490"/>
                      </a:lnTo>
                      <a:lnTo>
                        <a:pt x="363" y="489"/>
                      </a:lnTo>
                      <a:lnTo>
                        <a:pt x="367" y="486"/>
                      </a:lnTo>
                      <a:lnTo>
                        <a:pt x="371" y="486"/>
                      </a:lnTo>
                      <a:lnTo>
                        <a:pt x="373" y="486"/>
                      </a:lnTo>
                      <a:lnTo>
                        <a:pt x="375" y="486"/>
                      </a:lnTo>
                      <a:lnTo>
                        <a:pt x="376" y="484"/>
                      </a:lnTo>
                      <a:lnTo>
                        <a:pt x="376" y="483"/>
                      </a:lnTo>
                      <a:lnTo>
                        <a:pt x="375" y="479"/>
                      </a:lnTo>
                      <a:lnTo>
                        <a:pt x="373" y="476"/>
                      </a:lnTo>
                      <a:lnTo>
                        <a:pt x="373" y="473"/>
                      </a:lnTo>
                      <a:lnTo>
                        <a:pt x="375" y="472"/>
                      </a:lnTo>
                      <a:lnTo>
                        <a:pt x="376" y="472"/>
                      </a:lnTo>
                      <a:lnTo>
                        <a:pt x="379" y="474"/>
                      </a:lnTo>
                      <a:lnTo>
                        <a:pt x="381" y="477"/>
                      </a:lnTo>
                      <a:lnTo>
                        <a:pt x="384" y="480"/>
                      </a:lnTo>
                      <a:lnTo>
                        <a:pt x="385" y="482"/>
                      </a:lnTo>
                      <a:lnTo>
                        <a:pt x="386" y="482"/>
                      </a:lnTo>
                      <a:lnTo>
                        <a:pt x="389" y="480"/>
                      </a:lnTo>
                      <a:lnTo>
                        <a:pt x="389" y="479"/>
                      </a:lnTo>
                      <a:lnTo>
                        <a:pt x="390" y="473"/>
                      </a:lnTo>
                      <a:lnTo>
                        <a:pt x="390" y="470"/>
                      </a:lnTo>
                      <a:lnTo>
                        <a:pt x="389" y="467"/>
                      </a:lnTo>
                      <a:lnTo>
                        <a:pt x="386" y="465"/>
                      </a:lnTo>
                      <a:lnTo>
                        <a:pt x="382" y="464"/>
                      </a:lnTo>
                      <a:lnTo>
                        <a:pt x="379" y="464"/>
                      </a:lnTo>
                      <a:lnTo>
                        <a:pt x="376" y="465"/>
                      </a:lnTo>
                      <a:lnTo>
                        <a:pt x="375" y="463"/>
                      </a:lnTo>
                      <a:lnTo>
                        <a:pt x="382" y="459"/>
                      </a:lnTo>
                      <a:lnTo>
                        <a:pt x="387" y="455"/>
                      </a:lnTo>
                      <a:lnTo>
                        <a:pt x="389" y="453"/>
                      </a:lnTo>
                      <a:lnTo>
                        <a:pt x="390" y="451"/>
                      </a:lnTo>
                      <a:lnTo>
                        <a:pt x="389" y="447"/>
                      </a:lnTo>
                      <a:lnTo>
                        <a:pt x="386" y="444"/>
                      </a:lnTo>
                      <a:lnTo>
                        <a:pt x="386" y="441"/>
                      </a:lnTo>
                      <a:lnTo>
                        <a:pt x="386" y="440"/>
                      </a:lnTo>
                      <a:lnTo>
                        <a:pt x="385" y="435"/>
                      </a:lnTo>
                      <a:lnTo>
                        <a:pt x="381" y="431"/>
                      </a:lnTo>
                      <a:lnTo>
                        <a:pt x="379" y="428"/>
                      </a:lnTo>
                      <a:lnTo>
                        <a:pt x="379" y="426"/>
                      </a:lnTo>
                      <a:lnTo>
                        <a:pt x="380" y="422"/>
                      </a:lnTo>
                      <a:lnTo>
                        <a:pt x="380" y="420"/>
                      </a:lnTo>
                      <a:lnTo>
                        <a:pt x="375" y="414"/>
                      </a:lnTo>
                      <a:lnTo>
                        <a:pt x="370" y="407"/>
                      </a:lnTo>
                      <a:lnTo>
                        <a:pt x="368" y="406"/>
                      </a:lnTo>
                      <a:lnTo>
                        <a:pt x="366" y="405"/>
                      </a:lnTo>
                      <a:lnTo>
                        <a:pt x="359" y="405"/>
                      </a:lnTo>
                      <a:lnTo>
                        <a:pt x="344" y="407"/>
                      </a:lnTo>
                      <a:lnTo>
                        <a:pt x="345" y="405"/>
                      </a:lnTo>
                      <a:lnTo>
                        <a:pt x="348" y="403"/>
                      </a:lnTo>
                      <a:lnTo>
                        <a:pt x="353" y="401"/>
                      </a:lnTo>
                      <a:lnTo>
                        <a:pt x="354" y="401"/>
                      </a:lnTo>
                      <a:lnTo>
                        <a:pt x="356" y="399"/>
                      </a:lnTo>
                      <a:lnTo>
                        <a:pt x="356" y="397"/>
                      </a:lnTo>
                      <a:lnTo>
                        <a:pt x="354" y="395"/>
                      </a:lnTo>
                      <a:lnTo>
                        <a:pt x="344" y="388"/>
                      </a:lnTo>
                      <a:lnTo>
                        <a:pt x="340" y="384"/>
                      </a:lnTo>
                      <a:lnTo>
                        <a:pt x="339" y="381"/>
                      </a:lnTo>
                      <a:lnTo>
                        <a:pt x="338" y="378"/>
                      </a:lnTo>
                      <a:lnTo>
                        <a:pt x="338" y="377"/>
                      </a:lnTo>
                      <a:lnTo>
                        <a:pt x="337" y="377"/>
                      </a:lnTo>
                      <a:lnTo>
                        <a:pt x="334" y="380"/>
                      </a:lnTo>
                      <a:lnTo>
                        <a:pt x="333" y="383"/>
                      </a:lnTo>
                      <a:lnTo>
                        <a:pt x="332" y="386"/>
                      </a:lnTo>
                      <a:lnTo>
                        <a:pt x="329" y="388"/>
                      </a:lnTo>
                      <a:lnTo>
                        <a:pt x="326" y="391"/>
                      </a:lnTo>
                      <a:lnTo>
                        <a:pt x="326" y="395"/>
                      </a:lnTo>
                      <a:lnTo>
                        <a:pt x="325" y="400"/>
                      </a:lnTo>
                      <a:lnTo>
                        <a:pt x="324" y="403"/>
                      </a:lnTo>
                      <a:lnTo>
                        <a:pt x="321" y="406"/>
                      </a:lnTo>
                      <a:lnTo>
                        <a:pt x="320" y="407"/>
                      </a:lnTo>
                      <a:lnTo>
                        <a:pt x="318" y="407"/>
                      </a:lnTo>
                      <a:lnTo>
                        <a:pt x="316" y="406"/>
                      </a:lnTo>
                      <a:lnTo>
                        <a:pt x="315" y="403"/>
                      </a:lnTo>
                      <a:lnTo>
                        <a:pt x="315" y="401"/>
                      </a:lnTo>
                      <a:lnTo>
                        <a:pt x="312" y="400"/>
                      </a:lnTo>
                      <a:lnTo>
                        <a:pt x="311" y="400"/>
                      </a:lnTo>
                      <a:lnTo>
                        <a:pt x="307" y="403"/>
                      </a:lnTo>
                      <a:lnTo>
                        <a:pt x="305" y="405"/>
                      </a:lnTo>
                      <a:lnTo>
                        <a:pt x="302" y="403"/>
                      </a:lnTo>
                      <a:lnTo>
                        <a:pt x="297" y="399"/>
                      </a:lnTo>
                      <a:lnTo>
                        <a:pt x="296" y="396"/>
                      </a:lnTo>
                      <a:lnTo>
                        <a:pt x="295" y="394"/>
                      </a:lnTo>
                      <a:lnTo>
                        <a:pt x="296" y="393"/>
                      </a:lnTo>
                      <a:lnTo>
                        <a:pt x="299" y="391"/>
                      </a:lnTo>
                      <a:lnTo>
                        <a:pt x="300" y="390"/>
                      </a:lnTo>
                      <a:lnTo>
                        <a:pt x="300" y="389"/>
                      </a:lnTo>
                      <a:lnTo>
                        <a:pt x="299" y="386"/>
                      </a:lnTo>
                      <a:lnTo>
                        <a:pt x="297" y="382"/>
                      </a:lnTo>
                      <a:lnTo>
                        <a:pt x="297" y="377"/>
                      </a:lnTo>
                      <a:lnTo>
                        <a:pt x="299" y="371"/>
                      </a:lnTo>
                      <a:lnTo>
                        <a:pt x="299" y="365"/>
                      </a:lnTo>
                      <a:lnTo>
                        <a:pt x="297" y="363"/>
                      </a:lnTo>
                      <a:lnTo>
                        <a:pt x="295" y="361"/>
                      </a:lnTo>
                      <a:lnTo>
                        <a:pt x="295" y="359"/>
                      </a:lnTo>
                      <a:lnTo>
                        <a:pt x="296" y="357"/>
                      </a:lnTo>
                      <a:lnTo>
                        <a:pt x="301" y="355"/>
                      </a:lnTo>
                      <a:lnTo>
                        <a:pt x="302" y="352"/>
                      </a:lnTo>
                      <a:lnTo>
                        <a:pt x="302" y="351"/>
                      </a:lnTo>
                      <a:lnTo>
                        <a:pt x="302" y="350"/>
                      </a:lnTo>
                      <a:lnTo>
                        <a:pt x="295" y="339"/>
                      </a:lnTo>
                      <a:lnTo>
                        <a:pt x="288" y="329"/>
                      </a:lnTo>
                      <a:lnTo>
                        <a:pt x="287" y="329"/>
                      </a:lnTo>
                      <a:lnTo>
                        <a:pt x="285" y="329"/>
                      </a:lnTo>
                      <a:lnTo>
                        <a:pt x="282" y="329"/>
                      </a:lnTo>
                      <a:lnTo>
                        <a:pt x="281" y="327"/>
                      </a:lnTo>
                      <a:lnTo>
                        <a:pt x="279" y="326"/>
                      </a:lnTo>
                      <a:lnTo>
                        <a:pt x="279" y="325"/>
                      </a:lnTo>
                      <a:lnTo>
                        <a:pt x="282" y="322"/>
                      </a:lnTo>
                      <a:lnTo>
                        <a:pt x="283" y="320"/>
                      </a:lnTo>
                      <a:lnTo>
                        <a:pt x="285" y="318"/>
                      </a:lnTo>
                      <a:lnTo>
                        <a:pt x="283" y="316"/>
                      </a:lnTo>
                      <a:lnTo>
                        <a:pt x="282" y="316"/>
                      </a:lnTo>
                      <a:lnTo>
                        <a:pt x="279" y="314"/>
                      </a:lnTo>
                      <a:lnTo>
                        <a:pt x="278" y="314"/>
                      </a:lnTo>
                      <a:lnTo>
                        <a:pt x="278" y="312"/>
                      </a:lnTo>
                      <a:lnTo>
                        <a:pt x="278" y="310"/>
                      </a:lnTo>
                      <a:lnTo>
                        <a:pt x="281" y="307"/>
                      </a:lnTo>
                      <a:lnTo>
                        <a:pt x="283" y="306"/>
                      </a:lnTo>
                      <a:lnTo>
                        <a:pt x="286" y="305"/>
                      </a:lnTo>
                      <a:lnTo>
                        <a:pt x="286" y="301"/>
                      </a:lnTo>
                      <a:lnTo>
                        <a:pt x="286" y="300"/>
                      </a:lnTo>
                      <a:lnTo>
                        <a:pt x="285" y="300"/>
                      </a:lnTo>
                      <a:lnTo>
                        <a:pt x="281" y="300"/>
                      </a:lnTo>
                      <a:lnTo>
                        <a:pt x="279" y="301"/>
                      </a:lnTo>
                      <a:lnTo>
                        <a:pt x="277" y="303"/>
                      </a:lnTo>
                      <a:lnTo>
                        <a:pt x="274" y="303"/>
                      </a:lnTo>
                      <a:lnTo>
                        <a:pt x="272" y="301"/>
                      </a:lnTo>
                      <a:lnTo>
                        <a:pt x="269" y="300"/>
                      </a:lnTo>
                      <a:lnTo>
                        <a:pt x="267" y="301"/>
                      </a:lnTo>
                      <a:lnTo>
                        <a:pt x="263" y="303"/>
                      </a:lnTo>
                      <a:lnTo>
                        <a:pt x="259" y="303"/>
                      </a:lnTo>
                      <a:lnTo>
                        <a:pt x="257" y="303"/>
                      </a:lnTo>
                      <a:lnTo>
                        <a:pt x="254" y="300"/>
                      </a:lnTo>
                      <a:lnTo>
                        <a:pt x="252" y="292"/>
                      </a:lnTo>
                      <a:lnTo>
                        <a:pt x="252" y="290"/>
                      </a:lnTo>
                      <a:lnTo>
                        <a:pt x="250" y="287"/>
                      </a:lnTo>
                      <a:lnTo>
                        <a:pt x="246" y="284"/>
                      </a:lnTo>
                      <a:lnTo>
                        <a:pt x="244" y="282"/>
                      </a:lnTo>
                      <a:lnTo>
                        <a:pt x="241" y="282"/>
                      </a:lnTo>
                      <a:lnTo>
                        <a:pt x="238" y="280"/>
                      </a:lnTo>
                      <a:lnTo>
                        <a:pt x="236" y="279"/>
                      </a:lnTo>
                      <a:lnTo>
                        <a:pt x="236" y="278"/>
                      </a:lnTo>
                      <a:lnTo>
                        <a:pt x="236" y="274"/>
                      </a:lnTo>
                      <a:lnTo>
                        <a:pt x="235" y="272"/>
                      </a:lnTo>
                      <a:lnTo>
                        <a:pt x="232" y="272"/>
                      </a:lnTo>
                      <a:lnTo>
                        <a:pt x="229" y="271"/>
                      </a:lnTo>
                      <a:lnTo>
                        <a:pt x="224" y="272"/>
                      </a:lnTo>
                      <a:lnTo>
                        <a:pt x="219" y="272"/>
                      </a:lnTo>
                      <a:lnTo>
                        <a:pt x="216" y="272"/>
                      </a:lnTo>
                      <a:lnTo>
                        <a:pt x="213" y="269"/>
                      </a:lnTo>
                      <a:lnTo>
                        <a:pt x="211" y="263"/>
                      </a:lnTo>
                      <a:lnTo>
                        <a:pt x="210" y="261"/>
                      </a:lnTo>
                      <a:lnTo>
                        <a:pt x="208" y="260"/>
                      </a:lnTo>
                      <a:lnTo>
                        <a:pt x="207" y="260"/>
                      </a:lnTo>
                      <a:lnTo>
                        <a:pt x="206" y="260"/>
                      </a:lnTo>
                      <a:lnTo>
                        <a:pt x="202" y="263"/>
                      </a:lnTo>
                      <a:lnTo>
                        <a:pt x="199" y="266"/>
                      </a:lnTo>
                      <a:lnTo>
                        <a:pt x="196" y="267"/>
                      </a:lnTo>
                      <a:lnTo>
                        <a:pt x="191" y="267"/>
                      </a:lnTo>
                      <a:lnTo>
                        <a:pt x="188" y="266"/>
                      </a:lnTo>
                      <a:lnTo>
                        <a:pt x="187" y="263"/>
                      </a:lnTo>
                      <a:lnTo>
                        <a:pt x="183" y="257"/>
                      </a:lnTo>
                      <a:lnTo>
                        <a:pt x="182" y="256"/>
                      </a:lnTo>
                      <a:lnTo>
                        <a:pt x="180" y="255"/>
                      </a:lnTo>
                      <a:lnTo>
                        <a:pt x="177" y="256"/>
                      </a:lnTo>
                      <a:lnTo>
                        <a:pt x="172" y="255"/>
                      </a:lnTo>
                      <a:lnTo>
                        <a:pt x="169" y="254"/>
                      </a:lnTo>
                      <a:lnTo>
                        <a:pt x="165" y="250"/>
                      </a:lnTo>
                      <a:lnTo>
                        <a:pt x="164" y="249"/>
                      </a:lnTo>
                      <a:lnTo>
                        <a:pt x="161" y="250"/>
                      </a:lnTo>
                      <a:lnTo>
                        <a:pt x="156" y="253"/>
                      </a:lnTo>
                      <a:lnTo>
                        <a:pt x="154" y="255"/>
                      </a:lnTo>
                      <a:lnTo>
                        <a:pt x="149" y="256"/>
                      </a:lnTo>
                      <a:lnTo>
                        <a:pt x="147" y="256"/>
                      </a:lnTo>
                      <a:lnTo>
                        <a:pt x="145" y="25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5" name="Freeform 524">
                  <a:extLst>
                    <a:ext uri="{FF2B5EF4-FFF2-40B4-BE49-F238E27FC236}">
                      <a16:creationId xmlns:a16="http://schemas.microsoft.com/office/drawing/2014/main" id="{4061C270-91CC-4F46-9ADC-D0B3DC56E6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1908" y="1643823"/>
                  <a:ext cx="1422157" cy="1068468"/>
                </a:xfrm>
                <a:custGeom>
                  <a:avLst/>
                  <a:gdLst>
                    <a:gd name="T0" fmla="*/ 2147483647 w 1041"/>
                    <a:gd name="T1" fmla="*/ 2147483647 h 722"/>
                    <a:gd name="T2" fmla="*/ 2147483647 w 1041"/>
                    <a:gd name="T3" fmla="*/ 2147483647 h 722"/>
                    <a:gd name="T4" fmla="*/ 2147483647 w 1041"/>
                    <a:gd name="T5" fmla="*/ 2147483647 h 722"/>
                    <a:gd name="T6" fmla="*/ 2147483647 w 1041"/>
                    <a:gd name="T7" fmla="*/ 2147483647 h 722"/>
                    <a:gd name="T8" fmla="*/ 2147483647 w 1041"/>
                    <a:gd name="T9" fmla="*/ 2147483647 h 722"/>
                    <a:gd name="T10" fmla="*/ 2147483647 w 1041"/>
                    <a:gd name="T11" fmla="*/ 2147483647 h 722"/>
                    <a:gd name="T12" fmla="*/ 2147483647 w 1041"/>
                    <a:gd name="T13" fmla="*/ 2147483647 h 722"/>
                    <a:gd name="T14" fmla="*/ 2147483647 w 1041"/>
                    <a:gd name="T15" fmla="*/ 2147483647 h 722"/>
                    <a:gd name="T16" fmla="*/ 2147483647 w 1041"/>
                    <a:gd name="T17" fmla="*/ 2147483647 h 722"/>
                    <a:gd name="T18" fmla="*/ 2147483647 w 1041"/>
                    <a:gd name="T19" fmla="*/ 2147483647 h 722"/>
                    <a:gd name="T20" fmla="*/ 2147483647 w 1041"/>
                    <a:gd name="T21" fmla="*/ 2147483647 h 722"/>
                    <a:gd name="T22" fmla="*/ 2147483647 w 1041"/>
                    <a:gd name="T23" fmla="*/ 2147483647 h 722"/>
                    <a:gd name="T24" fmla="*/ 2147483647 w 1041"/>
                    <a:gd name="T25" fmla="*/ 2147483647 h 722"/>
                    <a:gd name="T26" fmla="*/ 2147483647 w 1041"/>
                    <a:gd name="T27" fmla="*/ 2147483647 h 722"/>
                    <a:gd name="T28" fmla="*/ 2147483647 w 1041"/>
                    <a:gd name="T29" fmla="*/ 2147483647 h 722"/>
                    <a:gd name="T30" fmla="*/ 2147483647 w 1041"/>
                    <a:gd name="T31" fmla="*/ 2147483647 h 722"/>
                    <a:gd name="T32" fmla="*/ 2147483647 w 1041"/>
                    <a:gd name="T33" fmla="*/ 0 h 722"/>
                    <a:gd name="T34" fmla="*/ 2147483647 w 1041"/>
                    <a:gd name="T35" fmla="*/ 2147483647 h 722"/>
                    <a:gd name="T36" fmla="*/ 2147483647 w 1041"/>
                    <a:gd name="T37" fmla="*/ 2147483647 h 722"/>
                    <a:gd name="T38" fmla="*/ 2147483647 w 1041"/>
                    <a:gd name="T39" fmla="*/ 2147483647 h 722"/>
                    <a:gd name="T40" fmla="*/ 2147483647 w 1041"/>
                    <a:gd name="T41" fmla="*/ 2147483647 h 722"/>
                    <a:gd name="T42" fmla="*/ 2147483647 w 1041"/>
                    <a:gd name="T43" fmla="*/ 2147483647 h 722"/>
                    <a:gd name="T44" fmla="*/ 2147483647 w 1041"/>
                    <a:gd name="T45" fmla="*/ 2147483647 h 722"/>
                    <a:gd name="T46" fmla="*/ 2147483647 w 1041"/>
                    <a:gd name="T47" fmla="*/ 2147483647 h 722"/>
                    <a:gd name="T48" fmla="*/ 2147483647 w 1041"/>
                    <a:gd name="T49" fmla="*/ 2147483647 h 722"/>
                    <a:gd name="T50" fmla="*/ 2147483647 w 1041"/>
                    <a:gd name="T51" fmla="*/ 2147483647 h 722"/>
                    <a:gd name="T52" fmla="*/ 2147483647 w 1041"/>
                    <a:gd name="T53" fmla="*/ 2147483647 h 722"/>
                    <a:gd name="T54" fmla="*/ 2147483647 w 1041"/>
                    <a:gd name="T55" fmla="*/ 2147483647 h 722"/>
                    <a:gd name="T56" fmla="*/ 2147483647 w 1041"/>
                    <a:gd name="T57" fmla="*/ 2147483647 h 722"/>
                    <a:gd name="T58" fmla="*/ 2147483647 w 1041"/>
                    <a:gd name="T59" fmla="*/ 2147483647 h 722"/>
                    <a:gd name="T60" fmla="*/ 2147483647 w 1041"/>
                    <a:gd name="T61" fmla="*/ 2147483647 h 722"/>
                    <a:gd name="T62" fmla="*/ 2147483647 w 1041"/>
                    <a:gd name="T63" fmla="*/ 2147483647 h 722"/>
                    <a:gd name="T64" fmla="*/ 2147483647 w 1041"/>
                    <a:gd name="T65" fmla="*/ 2147483647 h 722"/>
                    <a:gd name="T66" fmla="*/ 2147483647 w 1041"/>
                    <a:gd name="T67" fmla="*/ 2147483647 h 722"/>
                    <a:gd name="T68" fmla="*/ 2147483647 w 1041"/>
                    <a:gd name="T69" fmla="*/ 2147483647 h 722"/>
                    <a:gd name="T70" fmla="*/ 2147483647 w 1041"/>
                    <a:gd name="T71" fmla="*/ 2147483647 h 722"/>
                    <a:gd name="T72" fmla="*/ 2147483647 w 1041"/>
                    <a:gd name="T73" fmla="*/ 2147483647 h 722"/>
                    <a:gd name="T74" fmla="*/ 2147483647 w 1041"/>
                    <a:gd name="T75" fmla="*/ 2147483647 h 722"/>
                    <a:gd name="T76" fmla="*/ 2147483647 w 1041"/>
                    <a:gd name="T77" fmla="*/ 2147483647 h 722"/>
                    <a:gd name="T78" fmla="*/ 2147483647 w 1041"/>
                    <a:gd name="T79" fmla="*/ 2147483647 h 722"/>
                    <a:gd name="T80" fmla="*/ 2147483647 w 1041"/>
                    <a:gd name="T81" fmla="*/ 2147483647 h 722"/>
                    <a:gd name="T82" fmla="*/ 2147483647 w 1041"/>
                    <a:gd name="T83" fmla="*/ 2147483647 h 722"/>
                    <a:gd name="T84" fmla="*/ 2147483647 w 1041"/>
                    <a:gd name="T85" fmla="*/ 2147483647 h 722"/>
                    <a:gd name="T86" fmla="*/ 2147483647 w 1041"/>
                    <a:gd name="T87" fmla="*/ 2147483647 h 722"/>
                    <a:gd name="T88" fmla="*/ 2147483647 w 1041"/>
                    <a:gd name="T89" fmla="*/ 2147483647 h 722"/>
                    <a:gd name="T90" fmla="*/ 2147483647 w 1041"/>
                    <a:gd name="T91" fmla="*/ 2147483647 h 722"/>
                    <a:gd name="T92" fmla="*/ 2147483647 w 1041"/>
                    <a:gd name="T93" fmla="*/ 2147483647 h 722"/>
                    <a:gd name="T94" fmla="*/ 2147483647 w 1041"/>
                    <a:gd name="T95" fmla="*/ 2147483647 h 722"/>
                    <a:gd name="T96" fmla="*/ 2147483647 w 1041"/>
                    <a:gd name="T97" fmla="*/ 2147483647 h 722"/>
                    <a:gd name="T98" fmla="*/ 2147483647 w 1041"/>
                    <a:gd name="T99" fmla="*/ 2147483647 h 722"/>
                    <a:gd name="T100" fmla="*/ 2147483647 w 1041"/>
                    <a:gd name="T101" fmla="*/ 2147483647 h 722"/>
                    <a:gd name="T102" fmla="*/ 2147483647 w 1041"/>
                    <a:gd name="T103" fmla="*/ 2147483647 h 722"/>
                    <a:gd name="T104" fmla="*/ 2147483647 w 1041"/>
                    <a:gd name="T105" fmla="*/ 2147483647 h 722"/>
                    <a:gd name="T106" fmla="*/ 2147483647 w 1041"/>
                    <a:gd name="T107" fmla="*/ 2147483647 h 722"/>
                    <a:gd name="T108" fmla="*/ 2147483647 w 1041"/>
                    <a:gd name="T109" fmla="*/ 2147483647 h 722"/>
                    <a:gd name="T110" fmla="*/ 2147483647 w 1041"/>
                    <a:gd name="T111" fmla="*/ 2147483647 h 722"/>
                    <a:gd name="T112" fmla="*/ 2147483647 w 1041"/>
                    <a:gd name="T113" fmla="*/ 2147483647 h 722"/>
                    <a:gd name="T114" fmla="*/ 2147483647 w 1041"/>
                    <a:gd name="T115" fmla="*/ 2147483647 h 722"/>
                    <a:gd name="T116" fmla="*/ 2147483647 w 1041"/>
                    <a:gd name="T117" fmla="*/ 2147483647 h 722"/>
                    <a:gd name="T118" fmla="*/ 2147483647 w 1041"/>
                    <a:gd name="T119" fmla="*/ 2147483647 h 722"/>
                    <a:gd name="T120" fmla="*/ 2147483647 w 1041"/>
                    <a:gd name="T121" fmla="*/ 2147483647 h 722"/>
                    <a:gd name="T122" fmla="*/ 2147483647 w 1041"/>
                    <a:gd name="T123" fmla="*/ 2147483647 h 722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041"/>
                    <a:gd name="T187" fmla="*/ 0 h 722"/>
                    <a:gd name="T188" fmla="*/ 1041 w 1041"/>
                    <a:gd name="T189" fmla="*/ 722 h 722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041" h="722">
                      <a:moveTo>
                        <a:pt x="145" y="255"/>
                      </a:moveTo>
                      <a:lnTo>
                        <a:pt x="145" y="255"/>
                      </a:lnTo>
                      <a:lnTo>
                        <a:pt x="140" y="258"/>
                      </a:lnTo>
                      <a:lnTo>
                        <a:pt x="137" y="261"/>
                      </a:lnTo>
                      <a:lnTo>
                        <a:pt x="134" y="261"/>
                      </a:lnTo>
                      <a:lnTo>
                        <a:pt x="132" y="260"/>
                      </a:lnTo>
                      <a:lnTo>
                        <a:pt x="131" y="257"/>
                      </a:lnTo>
                      <a:lnTo>
                        <a:pt x="129" y="256"/>
                      </a:lnTo>
                      <a:lnTo>
                        <a:pt x="127" y="255"/>
                      </a:lnTo>
                      <a:lnTo>
                        <a:pt x="123" y="254"/>
                      </a:lnTo>
                      <a:lnTo>
                        <a:pt x="120" y="255"/>
                      </a:lnTo>
                      <a:lnTo>
                        <a:pt x="114" y="258"/>
                      </a:lnTo>
                      <a:lnTo>
                        <a:pt x="113" y="258"/>
                      </a:lnTo>
                      <a:lnTo>
                        <a:pt x="112" y="258"/>
                      </a:lnTo>
                      <a:lnTo>
                        <a:pt x="110" y="257"/>
                      </a:lnTo>
                      <a:lnTo>
                        <a:pt x="109" y="257"/>
                      </a:lnTo>
                      <a:lnTo>
                        <a:pt x="106" y="257"/>
                      </a:lnTo>
                      <a:lnTo>
                        <a:pt x="105" y="258"/>
                      </a:lnTo>
                      <a:lnTo>
                        <a:pt x="105" y="261"/>
                      </a:lnTo>
                      <a:lnTo>
                        <a:pt x="106" y="264"/>
                      </a:lnTo>
                      <a:lnTo>
                        <a:pt x="106" y="267"/>
                      </a:lnTo>
                      <a:lnTo>
                        <a:pt x="106" y="269"/>
                      </a:lnTo>
                      <a:lnTo>
                        <a:pt x="105" y="272"/>
                      </a:lnTo>
                      <a:lnTo>
                        <a:pt x="104" y="273"/>
                      </a:lnTo>
                      <a:lnTo>
                        <a:pt x="100" y="273"/>
                      </a:lnTo>
                      <a:lnTo>
                        <a:pt x="96" y="273"/>
                      </a:lnTo>
                      <a:lnTo>
                        <a:pt x="93" y="269"/>
                      </a:lnTo>
                      <a:lnTo>
                        <a:pt x="90" y="266"/>
                      </a:lnTo>
                      <a:lnTo>
                        <a:pt x="86" y="262"/>
                      </a:lnTo>
                      <a:lnTo>
                        <a:pt x="79" y="256"/>
                      </a:lnTo>
                      <a:lnTo>
                        <a:pt x="68" y="251"/>
                      </a:lnTo>
                      <a:lnTo>
                        <a:pt x="60" y="247"/>
                      </a:lnTo>
                      <a:lnTo>
                        <a:pt x="62" y="244"/>
                      </a:lnTo>
                      <a:lnTo>
                        <a:pt x="65" y="242"/>
                      </a:lnTo>
                      <a:lnTo>
                        <a:pt x="65" y="240"/>
                      </a:lnTo>
                      <a:lnTo>
                        <a:pt x="63" y="237"/>
                      </a:lnTo>
                      <a:lnTo>
                        <a:pt x="61" y="235"/>
                      </a:lnTo>
                      <a:lnTo>
                        <a:pt x="57" y="235"/>
                      </a:lnTo>
                      <a:lnTo>
                        <a:pt x="53" y="235"/>
                      </a:lnTo>
                      <a:lnTo>
                        <a:pt x="49" y="235"/>
                      </a:lnTo>
                      <a:lnTo>
                        <a:pt x="49" y="234"/>
                      </a:lnTo>
                      <a:lnTo>
                        <a:pt x="40" y="230"/>
                      </a:lnTo>
                      <a:lnTo>
                        <a:pt x="33" y="226"/>
                      </a:lnTo>
                      <a:lnTo>
                        <a:pt x="32" y="225"/>
                      </a:lnTo>
                      <a:lnTo>
                        <a:pt x="30" y="224"/>
                      </a:lnTo>
                      <a:lnTo>
                        <a:pt x="30" y="223"/>
                      </a:lnTo>
                      <a:lnTo>
                        <a:pt x="32" y="222"/>
                      </a:lnTo>
                      <a:lnTo>
                        <a:pt x="42" y="219"/>
                      </a:lnTo>
                      <a:lnTo>
                        <a:pt x="52" y="219"/>
                      </a:lnTo>
                      <a:lnTo>
                        <a:pt x="63" y="221"/>
                      </a:lnTo>
                      <a:lnTo>
                        <a:pt x="73" y="223"/>
                      </a:lnTo>
                      <a:lnTo>
                        <a:pt x="76" y="224"/>
                      </a:lnTo>
                      <a:lnTo>
                        <a:pt x="79" y="224"/>
                      </a:lnTo>
                      <a:lnTo>
                        <a:pt x="80" y="223"/>
                      </a:lnTo>
                      <a:lnTo>
                        <a:pt x="80" y="222"/>
                      </a:lnTo>
                      <a:lnTo>
                        <a:pt x="79" y="221"/>
                      </a:lnTo>
                      <a:lnTo>
                        <a:pt x="73" y="221"/>
                      </a:lnTo>
                      <a:lnTo>
                        <a:pt x="68" y="219"/>
                      </a:lnTo>
                      <a:lnTo>
                        <a:pt x="67" y="217"/>
                      </a:lnTo>
                      <a:lnTo>
                        <a:pt x="66" y="216"/>
                      </a:lnTo>
                      <a:lnTo>
                        <a:pt x="67" y="215"/>
                      </a:lnTo>
                      <a:lnTo>
                        <a:pt x="70" y="215"/>
                      </a:lnTo>
                      <a:lnTo>
                        <a:pt x="72" y="213"/>
                      </a:lnTo>
                      <a:lnTo>
                        <a:pt x="77" y="215"/>
                      </a:lnTo>
                      <a:lnTo>
                        <a:pt x="87" y="218"/>
                      </a:lnTo>
                      <a:lnTo>
                        <a:pt x="94" y="221"/>
                      </a:lnTo>
                      <a:lnTo>
                        <a:pt x="99" y="222"/>
                      </a:lnTo>
                      <a:lnTo>
                        <a:pt x="101" y="222"/>
                      </a:lnTo>
                      <a:lnTo>
                        <a:pt x="104" y="224"/>
                      </a:lnTo>
                      <a:lnTo>
                        <a:pt x="105" y="225"/>
                      </a:lnTo>
                      <a:lnTo>
                        <a:pt x="108" y="225"/>
                      </a:lnTo>
                      <a:lnTo>
                        <a:pt x="110" y="225"/>
                      </a:lnTo>
                      <a:lnTo>
                        <a:pt x="112" y="224"/>
                      </a:lnTo>
                      <a:lnTo>
                        <a:pt x="110" y="222"/>
                      </a:lnTo>
                      <a:lnTo>
                        <a:pt x="108" y="217"/>
                      </a:lnTo>
                      <a:lnTo>
                        <a:pt x="105" y="212"/>
                      </a:lnTo>
                      <a:lnTo>
                        <a:pt x="104" y="211"/>
                      </a:lnTo>
                      <a:lnTo>
                        <a:pt x="103" y="210"/>
                      </a:lnTo>
                      <a:lnTo>
                        <a:pt x="98" y="209"/>
                      </a:lnTo>
                      <a:lnTo>
                        <a:pt x="94" y="208"/>
                      </a:lnTo>
                      <a:lnTo>
                        <a:pt x="90" y="204"/>
                      </a:lnTo>
                      <a:lnTo>
                        <a:pt x="89" y="199"/>
                      </a:lnTo>
                      <a:lnTo>
                        <a:pt x="87" y="199"/>
                      </a:lnTo>
                      <a:lnTo>
                        <a:pt x="85" y="199"/>
                      </a:lnTo>
                      <a:lnTo>
                        <a:pt x="82" y="200"/>
                      </a:lnTo>
                      <a:lnTo>
                        <a:pt x="81" y="202"/>
                      </a:lnTo>
                      <a:lnTo>
                        <a:pt x="81" y="205"/>
                      </a:lnTo>
                      <a:lnTo>
                        <a:pt x="80" y="208"/>
                      </a:lnTo>
                      <a:lnTo>
                        <a:pt x="77" y="210"/>
                      </a:lnTo>
                      <a:lnTo>
                        <a:pt x="73" y="209"/>
                      </a:lnTo>
                      <a:lnTo>
                        <a:pt x="71" y="208"/>
                      </a:lnTo>
                      <a:lnTo>
                        <a:pt x="70" y="205"/>
                      </a:lnTo>
                      <a:lnTo>
                        <a:pt x="68" y="203"/>
                      </a:lnTo>
                      <a:lnTo>
                        <a:pt x="66" y="200"/>
                      </a:lnTo>
                      <a:lnTo>
                        <a:pt x="65" y="200"/>
                      </a:lnTo>
                      <a:lnTo>
                        <a:pt x="61" y="204"/>
                      </a:lnTo>
                      <a:lnTo>
                        <a:pt x="58" y="206"/>
                      </a:lnTo>
                      <a:lnTo>
                        <a:pt x="57" y="210"/>
                      </a:lnTo>
                      <a:lnTo>
                        <a:pt x="53" y="213"/>
                      </a:lnTo>
                      <a:lnTo>
                        <a:pt x="51" y="215"/>
                      </a:lnTo>
                      <a:lnTo>
                        <a:pt x="49" y="215"/>
                      </a:lnTo>
                      <a:lnTo>
                        <a:pt x="44" y="213"/>
                      </a:lnTo>
                      <a:lnTo>
                        <a:pt x="35" y="208"/>
                      </a:lnTo>
                      <a:lnTo>
                        <a:pt x="30" y="206"/>
                      </a:lnTo>
                      <a:lnTo>
                        <a:pt x="25" y="204"/>
                      </a:lnTo>
                      <a:lnTo>
                        <a:pt x="24" y="204"/>
                      </a:lnTo>
                      <a:lnTo>
                        <a:pt x="23" y="205"/>
                      </a:lnTo>
                      <a:lnTo>
                        <a:pt x="20" y="206"/>
                      </a:lnTo>
                      <a:lnTo>
                        <a:pt x="18" y="206"/>
                      </a:lnTo>
                      <a:lnTo>
                        <a:pt x="16" y="206"/>
                      </a:lnTo>
                      <a:lnTo>
                        <a:pt x="14" y="204"/>
                      </a:lnTo>
                      <a:lnTo>
                        <a:pt x="13" y="200"/>
                      </a:lnTo>
                      <a:lnTo>
                        <a:pt x="10" y="197"/>
                      </a:lnTo>
                      <a:lnTo>
                        <a:pt x="6" y="197"/>
                      </a:lnTo>
                      <a:lnTo>
                        <a:pt x="4" y="193"/>
                      </a:lnTo>
                      <a:lnTo>
                        <a:pt x="1" y="190"/>
                      </a:lnTo>
                      <a:lnTo>
                        <a:pt x="0" y="186"/>
                      </a:lnTo>
                      <a:lnTo>
                        <a:pt x="0" y="184"/>
                      </a:lnTo>
                      <a:lnTo>
                        <a:pt x="2" y="183"/>
                      </a:lnTo>
                      <a:lnTo>
                        <a:pt x="5" y="183"/>
                      </a:lnTo>
                      <a:lnTo>
                        <a:pt x="7" y="183"/>
                      </a:lnTo>
                      <a:lnTo>
                        <a:pt x="11" y="183"/>
                      </a:lnTo>
                      <a:lnTo>
                        <a:pt x="14" y="181"/>
                      </a:lnTo>
                      <a:lnTo>
                        <a:pt x="16" y="180"/>
                      </a:lnTo>
                      <a:lnTo>
                        <a:pt x="19" y="179"/>
                      </a:lnTo>
                      <a:lnTo>
                        <a:pt x="21" y="179"/>
                      </a:lnTo>
                      <a:lnTo>
                        <a:pt x="23" y="179"/>
                      </a:lnTo>
                      <a:lnTo>
                        <a:pt x="25" y="179"/>
                      </a:lnTo>
                      <a:lnTo>
                        <a:pt x="28" y="179"/>
                      </a:lnTo>
                      <a:lnTo>
                        <a:pt x="32" y="179"/>
                      </a:lnTo>
                      <a:lnTo>
                        <a:pt x="35" y="178"/>
                      </a:lnTo>
                      <a:lnTo>
                        <a:pt x="35" y="177"/>
                      </a:lnTo>
                      <a:lnTo>
                        <a:pt x="37" y="176"/>
                      </a:lnTo>
                      <a:lnTo>
                        <a:pt x="39" y="174"/>
                      </a:lnTo>
                      <a:lnTo>
                        <a:pt x="43" y="172"/>
                      </a:lnTo>
                      <a:lnTo>
                        <a:pt x="48" y="172"/>
                      </a:lnTo>
                      <a:lnTo>
                        <a:pt x="58" y="171"/>
                      </a:lnTo>
                      <a:lnTo>
                        <a:pt x="68" y="168"/>
                      </a:lnTo>
                      <a:lnTo>
                        <a:pt x="75" y="167"/>
                      </a:lnTo>
                      <a:lnTo>
                        <a:pt x="81" y="164"/>
                      </a:lnTo>
                      <a:lnTo>
                        <a:pt x="84" y="161"/>
                      </a:lnTo>
                      <a:lnTo>
                        <a:pt x="86" y="161"/>
                      </a:lnTo>
                      <a:lnTo>
                        <a:pt x="94" y="162"/>
                      </a:lnTo>
                      <a:lnTo>
                        <a:pt x="100" y="164"/>
                      </a:lnTo>
                      <a:lnTo>
                        <a:pt x="103" y="164"/>
                      </a:lnTo>
                      <a:lnTo>
                        <a:pt x="105" y="162"/>
                      </a:lnTo>
                      <a:lnTo>
                        <a:pt x="109" y="160"/>
                      </a:lnTo>
                      <a:lnTo>
                        <a:pt x="114" y="159"/>
                      </a:lnTo>
                      <a:lnTo>
                        <a:pt x="124" y="157"/>
                      </a:lnTo>
                      <a:lnTo>
                        <a:pt x="127" y="155"/>
                      </a:lnTo>
                      <a:lnTo>
                        <a:pt x="128" y="153"/>
                      </a:lnTo>
                      <a:lnTo>
                        <a:pt x="129" y="149"/>
                      </a:lnTo>
                      <a:lnTo>
                        <a:pt x="132" y="145"/>
                      </a:lnTo>
                      <a:lnTo>
                        <a:pt x="133" y="143"/>
                      </a:lnTo>
                      <a:lnTo>
                        <a:pt x="136" y="142"/>
                      </a:lnTo>
                      <a:lnTo>
                        <a:pt x="137" y="141"/>
                      </a:lnTo>
                      <a:lnTo>
                        <a:pt x="137" y="139"/>
                      </a:lnTo>
                      <a:lnTo>
                        <a:pt x="136" y="136"/>
                      </a:lnTo>
                      <a:lnTo>
                        <a:pt x="133" y="135"/>
                      </a:lnTo>
                      <a:lnTo>
                        <a:pt x="131" y="133"/>
                      </a:lnTo>
                      <a:lnTo>
                        <a:pt x="128" y="130"/>
                      </a:lnTo>
                      <a:lnTo>
                        <a:pt x="127" y="128"/>
                      </a:lnTo>
                      <a:lnTo>
                        <a:pt x="126" y="127"/>
                      </a:lnTo>
                      <a:lnTo>
                        <a:pt x="120" y="126"/>
                      </a:lnTo>
                      <a:lnTo>
                        <a:pt x="110" y="126"/>
                      </a:lnTo>
                      <a:lnTo>
                        <a:pt x="105" y="125"/>
                      </a:lnTo>
                      <a:lnTo>
                        <a:pt x="100" y="123"/>
                      </a:lnTo>
                      <a:lnTo>
                        <a:pt x="96" y="123"/>
                      </a:lnTo>
                      <a:lnTo>
                        <a:pt x="93" y="123"/>
                      </a:lnTo>
                      <a:lnTo>
                        <a:pt x="90" y="123"/>
                      </a:lnTo>
                      <a:lnTo>
                        <a:pt x="87" y="122"/>
                      </a:lnTo>
                      <a:lnTo>
                        <a:pt x="89" y="120"/>
                      </a:lnTo>
                      <a:lnTo>
                        <a:pt x="89" y="119"/>
                      </a:lnTo>
                      <a:lnTo>
                        <a:pt x="94" y="116"/>
                      </a:lnTo>
                      <a:lnTo>
                        <a:pt x="100" y="115"/>
                      </a:lnTo>
                      <a:lnTo>
                        <a:pt x="104" y="113"/>
                      </a:lnTo>
                      <a:lnTo>
                        <a:pt x="113" y="110"/>
                      </a:lnTo>
                      <a:lnTo>
                        <a:pt x="120" y="107"/>
                      </a:lnTo>
                      <a:lnTo>
                        <a:pt x="128" y="104"/>
                      </a:lnTo>
                      <a:lnTo>
                        <a:pt x="136" y="100"/>
                      </a:lnTo>
                      <a:lnTo>
                        <a:pt x="140" y="97"/>
                      </a:lnTo>
                      <a:lnTo>
                        <a:pt x="142" y="96"/>
                      </a:lnTo>
                      <a:lnTo>
                        <a:pt x="145" y="95"/>
                      </a:lnTo>
                      <a:lnTo>
                        <a:pt x="146" y="97"/>
                      </a:lnTo>
                      <a:lnTo>
                        <a:pt x="148" y="98"/>
                      </a:lnTo>
                      <a:lnTo>
                        <a:pt x="152" y="100"/>
                      </a:lnTo>
                      <a:lnTo>
                        <a:pt x="156" y="100"/>
                      </a:lnTo>
                      <a:lnTo>
                        <a:pt x="156" y="103"/>
                      </a:lnTo>
                      <a:lnTo>
                        <a:pt x="159" y="107"/>
                      </a:lnTo>
                      <a:lnTo>
                        <a:pt x="161" y="108"/>
                      </a:lnTo>
                      <a:lnTo>
                        <a:pt x="165" y="107"/>
                      </a:lnTo>
                      <a:lnTo>
                        <a:pt x="167" y="103"/>
                      </a:lnTo>
                      <a:lnTo>
                        <a:pt x="167" y="101"/>
                      </a:lnTo>
                      <a:lnTo>
                        <a:pt x="167" y="100"/>
                      </a:lnTo>
                      <a:lnTo>
                        <a:pt x="164" y="97"/>
                      </a:lnTo>
                      <a:lnTo>
                        <a:pt x="159" y="95"/>
                      </a:lnTo>
                      <a:lnTo>
                        <a:pt x="156" y="93"/>
                      </a:lnTo>
                      <a:lnTo>
                        <a:pt x="155" y="91"/>
                      </a:lnTo>
                      <a:lnTo>
                        <a:pt x="156" y="89"/>
                      </a:lnTo>
                      <a:lnTo>
                        <a:pt x="157" y="87"/>
                      </a:lnTo>
                      <a:lnTo>
                        <a:pt x="160" y="87"/>
                      </a:lnTo>
                      <a:lnTo>
                        <a:pt x="162" y="88"/>
                      </a:lnTo>
                      <a:lnTo>
                        <a:pt x="165" y="89"/>
                      </a:lnTo>
                      <a:lnTo>
                        <a:pt x="165" y="91"/>
                      </a:lnTo>
                      <a:lnTo>
                        <a:pt x="166" y="93"/>
                      </a:lnTo>
                      <a:lnTo>
                        <a:pt x="174" y="93"/>
                      </a:lnTo>
                      <a:lnTo>
                        <a:pt x="180" y="95"/>
                      </a:lnTo>
                      <a:lnTo>
                        <a:pt x="185" y="98"/>
                      </a:lnTo>
                      <a:lnTo>
                        <a:pt x="189" y="104"/>
                      </a:lnTo>
                      <a:lnTo>
                        <a:pt x="190" y="104"/>
                      </a:lnTo>
                      <a:lnTo>
                        <a:pt x="192" y="103"/>
                      </a:lnTo>
                      <a:lnTo>
                        <a:pt x="195" y="100"/>
                      </a:lnTo>
                      <a:lnTo>
                        <a:pt x="199" y="95"/>
                      </a:lnTo>
                      <a:lnTo>
                        <a:pt x="200" y="94"/>
                      </a:lnTo>
                      <a:lnTo>
                        <a:pt x="200" y="93"/>
                      </a:lnTo>
                      <a:lnTo>
                        <a:pt x="198" y="90"/>
                      </a:lnTo>
                      <a:lnTo>
                        <a:pt x="194" y="88"/>
                      </a:lnTo>
                      <a:lnTo>
                        <a:pt x="190" y="81"/>
                      </a:lnTo>
                      <a:lnTo>
                        <a:pt x="188" y="77"/>
                      </a:lnTo>
                      <a:lnTo>
                        <a:pt x="188" y="74"/>
                      </a:lnTo>
                      <a:lnTo>
                        <a:pt x="189" y="70"/>
                      </a:lnTo>
                      <a:lnTo>
                        <a:pt x="192" y="66"/>
                      </a:lnTo>
                      <a:lnTo>
                        <a:pt x="199" y="63"/>
                      </a:lnTo>
                      <a:lnTo>
                        <a:pt x="208" y="62"/>
                      </a:lnTo>
                      <a:lnTo>
                        <a:pt x="209" y="62"/>
                      </a:lnTo>
                      <a:lnTo>
                        <a:pt x="211" y="64"/>
                      </a:lnTo>
                      <a:lnTo>
                        <a:pt x="212" y="66"/>
                      </a:lnTo>
                      <a:lnTo>
                        <a:pt x="214" y="69"/>
                      </a:lnTo>
                      <a:lnTo>
                        <a:pt x="217" y="69"/>
                      </a:lnTo>
                      <a:lnTo>
                        <a:pt x="221" y="68"/>
                      </a:lnTo>
                      <a:lnTo>
                        <a:pt x="221" y="71"/>
                      </a:lnTo>
                      <a:lnTo>
                        <a:pt x="222" y="74"/>
                      </a:lnTo>
                      <a:lnTo>
                        <a:pt x="225" y="75"/>
                      </a:lnTo>
                      <a:lnTo>
                        <a:pt x="228" y="76"/>
                      </a:lnTo>
                      <a:lnTo>
                        <a:pt x="237" y="75"/>
                      </a:lnTo>
                      <a:lnTo>
                        <a:pt x="241" y="75"/>
                      </a:lnTo>
                      <a:lnTo>
                        <a:pt x="245" y="76"/>
                      </a:lnTo>
                      <a:lnTo>
                        <a:pt x="245" y="74"/>
                      </a:lnTo>
                      <a:lnTo>
                        <a:pt x="245" y="72"/>
                      </a:lnTo>
                      <a:lnTo>
                        <a:pt x="239" y="69"/>
                      </a:lnTo>
                      <a:lnTo>
                        <a:pt x="232" y="66"/>
                      </a:lnTo>
                      <a:lnTo>
                        <a:pt x="227" y="64"/>
                      </a:lnTo>
                      <a:lnTo>
                        <a:pt x="226" y="62"/>
                      </a:lnTo>
                      <a:lnTo>
                        <a:pt x="225" y="59"/>
                      </a:lnTo>
                      <a:lnTo>
                        <a:pt x="226" y="57"/>
                      </a:lnTo>
                      <a:lnTo>
                        <a:pt x="230" y="56"/>
                      </a:lnTo>
                      <a:lnTo>
                        <a:pt x="235" y="55"/>
                      </a:lnTo>
                      <a:lnTo>
                        <a:pt x="240" y="53"/>
                      </a:lnTo>
                      <a:lnTo>
                        <a:pt x="246" y="53"/>
                      </a:lnTo>
                      <a:lnTo>
                        <a:pt x="250" y="52"/>
                      </a:lnTo>
                      <a:lnTo>
                        <a:pt x="264" y="53"/>
                      </a:lnTo>
                      <a:lnTo>
                        <a:pt x="269" y="53"/>
                      </a:lnTo>
                      <a:lnTo>
                        <a:pt x="278" y="52"/>
                      </a:lnTo>
                      <a:lnTo>
                        <a:pt x="288" y="50"/>
                      </a:lnTo>
                      <a:lnTo>
                        <a:pt x="292" y="47"/>
                      </a:lnTo>
                      <a:lnTo>
                        <a:pt x="296" y="47"/>
                      </a:lnTo>
                      <a:lnTo>
                        <a:pt x="300" y="49"/>
                      </a:lnTo>
                      <a:lnTo>
                        <a:pt x="303" y="50"/>
                      </a:lnTo>
                      <a:lnTo>
                        <a:pt x="307" y="50"/>
                      </a:lnTo>
                      <a:lnTo>
                        <a:pt x="311" y="49"/>
                      </a:lnTo>
                      <a:lnTo>
                        <a:pt x="313" y="51"/>
                      </a:lnTo>
                      <a:lnTo>
                        <a:pt x="317" y="53"/>
                      </a:lnTo>
                      <a:lnTo>
                        <a:pt x="322" y="59"/>
                      </a:lnTo>
                      <a:lnTo>
                        <a:pt x="329" y="63"/>
                      </a:lnTo>
                      <a:lnTo>
                        <a:pt x="333" y="64"/>
                      </a:lnTo>
                      <a:lnTo>
                        <a:pt x="335" y="63"/>
                      </a:lnTo>
                      <a:lnTo>
                        <a:pt x="336" y="63"/>
                      </a:lnTo>
                      <a:lnTo>
                        <a:pt x="338" y="62"/>
                      </a:lnTo>
                      <a:lnTo>
                        <a:pt x="336" y="59"/>
                      </a:lnTo>
                      <a:lnTo>
                        <a:pt x="333" y="52"/>
                      </a:lnTo>
                      <a:lnTo>
                        <a:pt x="333" y="50"/>
                      </a:lnTo>
                      <a:lnTo>
                        <a:pt x="334" y="49"/>
                      </a:lnTo>
                      <a:lnTo>
                        <a:pt x="335" y="47"/>
                      </a:lnTo>
                      <a:lnTo>
                        <a:pt x="338" y="47"/>
                      </a:lnTo>
                      <a:lnTo>
                        <a:pt x="344" y="50"/>
                      </a:lnTo>
                      <a:lnTo>
                        <a:pt x="349" y="53"/>
                      </a:lnTo>
                      <a:lnTo>
                        <a:pt x="355" y="56"/>
                      </a:lnTo>
                      <a:lnTo>
                        <a:pt x="358" y="57"/>
                      </a:lnTo>
                      <a:lnTo>
                        <a:pt x="362" y="57"/>
                      </a:lnTo>
                      <a:lnTo>
                        <a:pt x="362" y="56"/>
                      </a:lnTo>
                      <a:lnTo>
                        <a:pt x="364" y="55"/>
                      </a:lnTo>
                      <a:lnTo>
                        <a:pt x="366" y="56"/>
                      </a:lnTo>
                      <a:lnTo>
                        <a:pt x="369" y="58"/>
                      </a:lnTo>
                      <a:lnTo>
                        <a:pt x="373" y="62"/>
                      </a:lnTo>
                      <a:lnTo>
                        <a:pt x="377" y="66"/>
                      </a:lnTo>
                      <a:lnTo>
                        <a:pt x="380" y="72"/>
                      </a:lnTo>
                      <a:lnTo>
                        <a:pt x="382" y="77"/>
                      </a:lnTo>
                      <a:lnTo>
                        <a:pt x="385" y="83"/>
                      </a:lnTo>
                      <a:lnTo>
                        <a:pt x="388" y="88"/>
                      </a:lnTo>
                      <a:lnTo>
                        <a:pt x="391" y="89"/>
                      </a:lnTo>
                      <a:lnTo>
                        <a:pt x="392" y="88"/>
                      </a:lnTo>
                      <a:lnTo>
                        <a:pt x="393" y="85"/>
                      </a:lnTo>
                      <a:lnTo>
                        <a:pt x="393" y="83"/>
                      </a:lnTo>
                      <a:lnTo>
                        <a:pt x="392" y="82"/>
                      </a:lnTo>
                      <a:lnTo>
                        <a:pt x="392" y="79"/>
                      </a:lnTo>
                      <a:lnTo>
                        <a:pt x="392" y="74"/>
                      </a:lnTo>
                      <a:lnTo>
                        <a:pt x="391" y="68"/>
                      </a:lnTo>
                      <a:lnTo>
                        <a:pt x="388" y="62"/>
                      </a:lnTo>
                      <a:lnTo>
                        <a:pt x="385" y="57"/>
                      </a:lnTo>
                      <a:lnTo>
                        <a:pt x="380" y="53"/>
                      </a:lnTo>
                      <a:lnTo>
                        <a:pt x="374" y="49"/>
                      </a:lnTo>
                      <a:lnTo>
                        <a:pt x="364" y="43"/>
                      </a:lnTo>
                      <a:lnTo>
                        <a:pt x="364" y="40"/>
                      </a:lnTo>
                      <a:lnTo>
                        <a:pt x="368" y="39"/>
                      </a:lnTo>
                      <a:lnTo>
                        <a:pt x="373" y="38"/>
                      </a:lnTo>
                      <a:lnTo>
                        <a:pt x="378" y="39"/>
                      </a:lnTo>
                      <a:lnTo>
                        <a:pt x="382" y="40"/>
                      </a:lnTo>
                      <a:lnTo>
                        <a:pt x="386" y="43"/>
                      </a:lnTo>
                      <a:lnTo>
                        <a:pt x="388" y="44"/>
                      </a:lnTo>
                      <a:lnTo>
                        <a:pt x="390" y="44"/>
                      </a:lnTo>
                      <a:lnTo>
                        <a:pt x="392" y="42"/>
                      </a:lnTo>
                      <a:lnTo>
                        <a:pt x="392" y="40"/>
                      </a:lnTo>
                      <a:lnTo>
                        <a:pt x="393" y="39"/>
                      </a:lnTo>
                      <a:lnTo>
                        <a:pt x="396" y="40"/>
                      </a:lnTo>
                      <a:lnTo>
                        <a:pt x="399" y="42"/>
                      </a:lnTo>
                      <a:lnTo>
                        <a:pt x="401" y="46"/>
                      </a:lnTo>
                      <a:lnTo>
                        <a:pt x="402" y="47"/>
                      </a:lnTo>
                      <a:lnTo>
                        <a:pt x="404" y="47"/>
                      </a:lnTo>
                      <a:lnTo>
                        <a:pt x="407" y="47"/>
                      </a:lnTo>
                      <a:lnTo>
                        <a:pt x="411" y="47"/>
                      </a:lnTo>
                      <a:lnTo>
                        <a:pt x="415" y="49"/>
                      </a:lnTo>
                      <a:lnTo>
                        <a:pt x="420" y="50"/>
                      </a:lnTo>
                      <a:lnTo>
                        <a:pt x="423" y="51"/>
                      </a:lnTo>
                      <a:lnTo>
                        <a:pt x="425" y="51"/>
                      </a:lnTo>
                      <a:lnTo>
                        <a:pt x="426" y="50"/>
                      </a:lnTo>
                      <a:lnTo>
                        <a:pt x="426" y="47"/>
                      </a:lnTo>
                      <a:lnTo>
                        <a:pt x="425" y="46"/>
                      </a:lnTo>
                      <a:lnTo>
                        <a:pt x="424" y="45"/>
                      </a:lnTo>
                      <a:lnTo>
                        <a:pt x="419" y="43"/>
                      </a:lnTo>
                      <a:lnTo>
                        <a:pt x="414" y="40"/>
                      </a:lnTo>
                      <a:lnTo>
                        <a:pt x="414" y="39"/>
                      </a:lnTo>
                      <a:lnTo>
                        <a:pt x="415" y="38"/>
                      </a:lnTo>
                      <a:lnTo>
                        <a:pt x="419" y="38"/>
                      </a:lnTo>
                      <a:lnTo>
                        <a:pt x="430" y="40"/>
                      </a:lnTo>
                      <a:lnTo>
                        <a:pt x="440" y="42"/>
                      </a:lnTo>
                      <a:lnTo>
                        <a:pt x="451" y="42"/>
                      </a:lnTo>
                      <a:lnTo>
                        <a:pt x="462" y="42"/>
                      </a:lnTo>
                      <a:lnTo>
                        <a:pt x="462" y="40"/>
                      </a:lnTo>
                      <a:lnTo>
                        <a:pt x="461" y="39"/>
                      </a:lnTo>
                      <a:lnTo>
                        <a:pt x="457" y="34"/>
                      </a:lnTo>
                      <a:lnTo>
                        <a:pt x="452" y="32"/>
                      </a:lnTo>
                      <a:lnTo>
                        <a:pt x="446" y="31"/>
                      </a:lnTo>
                      <a:lnTo>
                        <a:pt x="440" y="28"/>
                      </a:lnTo>
                      <a:lnTo>
                        <a:pt x="437" y="27"/>
                      </a:lnTo>
                      <a:lnTo>
                        <a:pt x="432" y="26"/>
                      </a:lnTo>
                      <a:lnTo>
                        <a:pt x="432" y="25"/>
                      </a:lnTo>
                      <a:lnTo>
                        <a:pt x="432" y="23"/>
                      </a:lnTo>
                      <a:lnTo>
                        <a:pt x="435" y="21"/>
                      </a:lnTo>
                      <a:lnTo>
                        <a:pt x="443" y="21"/>
                      </a:lnTo>
                      <a:lnTo>
                        <a:pt x="452" y="21"/>
                      </a:lnTo>
                      <a:lnTo>
                        <a:pt x="461" y="23"/>
                      </a:lnTo>
                      <a:lnTo>
                        <a:pt x="470" y="24"/>
                      </a:lnTo>
                      <a:lnTo>
                        <a:pt x="480" y="25"/>
                      </a:lnTo>
                      <a:lnTo>
                        <a:pt x="486" y="23"/>
                      </a:lnTo>
                      <a:lnTo>
                        <a:pt x="501" y="21"/>
                      </a:lnTo>
                      <a:lnTo>
                        <a:pt x="515" y="18"/>
                      </a:lnTo>
                      <a:lnTo>
                        <a:pt x="518" y="17"/>
                      </a:lnTo>
                      <a:lnTo>
                        <a:pt x="519" y="18"/>
                      </a:lnTo>
                      <a:lnTo>
                        <a:pt x="520" y="20"/>
                      </a:lnTo>
                      <a:lnTo>
                        <a:pt x="523" y="23"/>
                      </a:lnTo>
                      <a:lnTo>
                        <a:pt x="528" y="24"/>
                      </a:lnTo>
                      <a:lnTo>
                        <a:pt x="538" y="24"/>
                      </a:lnTo>
                      <a:lnTo>
                        <a:pt x="540" y="25"/>
                      </a:lnTo>
                      <a:lnTo>
                        <a:pt x="540" y="27"/>
                      </a:lnTo>
                      <a:lnTo>
                        <a:pt x="541" y="30"/>
                      </a:lnTo>
                      <a:lnTo>
                        <a:pt x="542" y="31"/>
                      </a:lnTo>
                      <a:lnTo>
                        <a:pt x="545" y="32"/>
                      </a:lnTo>
                      <a:lnTo>
                        <a:pt x="546" y="32"/>
                      </a:lnTo>
                      <a:lnTo>
                        <a:pt x="547" y="37"/>
                      </a:lnTo>
                      <a:lnTo>
                        <a:pt x="548" y="39"/>
                      </a:lnTo>
                      <a:lnTo>
                        <a:pt x="555" y="45"/>
                      </a:lnTo>
                      <a:lnTo>
                        <a:pt x="556" y="46"/>
                      </a:lnTo>
                      <a:lnTo>
                        <a:pt x="559" y="47"/>
                      </a:lnTo>
                      <a:lnTo>
                        <a:pt x="561" y="47"/>
                      </a:lnTo>
                      <a:lnTo>
                        <a:pt x="564" y="47"/>
                      </a:lnTo>
                      <a:lnTo>
                        <a:pt x="565" y="46"/>
                      </a:lnTo>
                      <a:lnTo>
                        <a:pt x="564" y="45"/>
                      </a:lnTo>
                      <a:lnTo>
                        <a:pt x="560" y="39"/>
                      </a:lnTo>
                      <a:lnTo>
                        <a:pt x="556" y="32"/>
                      </a:lnTo>
                      <a:lnTo>
                        <a:pt x="555" y="31"/>
                      </a:lnTo>
                      <a:lnTo>
                        <a:pt x="552" y="30"/>
                      </a:lnTo>
                      <a:lnTo>
                        <a:pt x="551" y="27"/>
                      </a:lnTo>
                      <a:lnTo>
                        <a:pt x="548" y="25"/>
                      </a:lnTo>
                      <a:lnTo>
                        <a:pt x="548" y="20"/>
                      </a:lnTo>
                      <a:lnTo>
                        <a:pt x="548" y="18"/>
                      </a:lnTo>
                      <a:lnTo>
                        <a:pt x="551" y="15"/>
                      </a:lnTo>
                      <a:lnTo>
                        <a:pt x="555" y="14"/>
                      </a:lnTo>
                      <a:lnTo>
                        <a:pt x="560" y="13"/>
                      </a:lnTo>
                      <a:lnTo>
                        <a:pt x="564" y="12"/>
                      </a:lnTo>
                      <a:lnTo>
                        <a:pt x="566" y="10"/>
                      </a:lnTo>
                      <a:lnTo>
                        <a:pt x="566" y="6"/>
                      </a:lnTo>
                      <a:lnTo>
                        <a:pt x="566" y="5"/>
                      </a:lnTo>
                      <a:lnTo>
                        <a:pt x="567" y="4"/>
                      </a:lnTo>
                      <a:lnTo>
                        <a:pt x="578" y="4"/>
                      </a:lnTo>
                      <a:lnTo>
                        <a:pt x="588" y="5"/>
                      </a:lnTo>
                      <a:lnTo>
                        <a:pt x="589" y="5"/>
                      </a:lnTo>
                      <a:lnTo>
                        <a:pt x="592" y="7"/>
                      </a:lnTo>
                      <a:lnTo>
                        <a:pt x="595" y="10"/>
                      </a:lnTo>
                      <a:lnTo>
                        <a:pt x="600" y="13"/>
                      </a:lnTo>
                      <a:lnTo>
                        <a:pt x="604" y="14"/>
                      </a:lnTo>
                      <a:lnTo>
                        <a:pt x="608" y="14"/>
                      </a:lnTo>
                      <a:lnTo>
                        <a:pt x="613" y="14"/>
                      </a:lnTo>
                      <a:lnTo>
                        <a:pt x="614" y="14"/>
                      </a:lnTo>
                      <a:lnTo>
                        <a:pt x="616" y="13"/>
                      </a:lnTo>
                      <a:lnTo>
                        <a:pt x="616" y="11"/>
                      </a:lnTo>
                      <a:lnTo>
                        <a:pt x="616" y="7"/>
                      </a:lnTo>
                      <a:lnTo>
                        <a:pt x="613" y="2"/>
                      </a:lnTo>
                      <a:lnTo>
                        <a:pt x="614" y="2"/>
                      </a:lnTo>
                      <a:lnTo>
                        <a:pt x="617" y="1"/>
                      </a:lnTo>
                      <a:lnTo>
                        <a:pt x="623" y="4"/>
                      </a:lnTo>
                      <a:lnTo>
                        <a:pt x="630" y="5"/>
                      </a:lnTo>
                      <a:lnTo>
                        <a:pt x="644" y="5"/>
                      </a:lnTo>
                      <a:lnTo>
                        <a:pt x="670" y="4"/>
                      </a:lnTo>
                      <a:lnTo>
                        <a:pt x="674" y="2"/>
                      </a:lnTo>
                      <a:lnTo>
                        <a:pt x="678" y="1"/>
                      </a:lnTo>
                      <a:lnTo>
                        <a:pt x="682" y="0"/>
                      </a:lnTo>
                      <a:lnTo>
                        <a:pt x="686" y="0"/>
                      </a:lnTo>
                      <a:lnTo>
                        <a:pt x="694" y="4"/>
                      </a:lnTo>
                      <a:lnTo>
                        <a:pt x="698" y="5"/>
                      </a:lnTo>
                      <a:lnTo>
                        <a:pt x="702" y="5"/>
                      </a:lnTo>
                      <a:lnTo>
                        <a:pt x="710" y="2"/>
                      </a:lnTo>
                      <a:lnTo>
                        <a:pt x="717" y="1"/>
                      </a:lnTo>
                      <a:lnTo>
                        <a:pt x="720" y="1"/>
                      </a:lnTo>
                      <a:lnTo>
                        <a:pt x="724" y="1"/>
                      </a:lnTo>
                      <a:lnTo>
                        <a:pt x="727" y="4"/>
                      </a:lnTo>
                      <a:lnTo>
                        <a:pt x="730" y="6"/>
                      </a:lnTo>
                      <a:lnTo>
                        <a:pt x="735" y="11"/>
                      </a:lnTo>
                      <a:lnTo>
                        <a:pt x="740" y="14"/>
                      </a:lnTo>
                      <a:lnTo>
                        <a:pt x="745" y="17"/>
                      </a:lnTo>
                      <a:lnTo>
                        <a:pt x="752" y="19"/>
                      </a:lnTo>
                      <a:lnTo>
                        <a:pt x="763" y="20"/>
                      </a:lnTo>
                      <a:lnTo>
                        <a:pt x="777" y="21"/>
                      </a:lnTo>
                      <a:lnTo>
                        <a:pt x="787" y="21"/>
                      </a:lnTo>
                      <a:lnTo>
                        <a:pt x="797" y="20"/>
                      </a:lnTo>
                      <a:lnTo>
                        <a:pt x="806" y="19"/>
                      </a:lnTo>
                      <a:lnTo>
                        <a:pt x="814" y="19"/>
                      </a:lnTo>
                      <a:lnTo>
                        <a:pt x="821" y="18"/>
                      </a:lnTo>
                      <a:lnTo>
                        <a:pt x="821" y="20"/>
                      </a:lnTo>
                      <a:lnTo>
                        <a:pt x="821" y="23"/>
                      </a:lnTo>
                      <a:lnTo>
                        <a:pt x="819" y="24"/>
                      </a:lnTo>
                      <a:lnTo>
                        <a:pt x="818" y="24"/>
                      </a:lnTo>
                      <a:lnTo>
                        <a:pt x="816" y="26"/>
                      </a:lnTo>
                      <a:lnTo>
                        <a:pt x="816" y="28"/>
                      </a:lnTo>
                      <a:lnTo>
                        <a:pt x="819" y="32"/>
                      </a:lnTo>
                      <a:lnTo>
                        <a:pt x="823" y="33"/>
                      </a:lnTo>
                      <a:lnTo>
                        <a:pt x="824" y="33"/>
                      </a:lnTo>
                      <a:lnTo>
                        <a:pt x="825" y="33"/>
                      </a:lnTo>
                      <a:lnTo>
                        <a:pt x="829" y="28"/>
                      </a:lnTo>
                      <a:lnTo>
                        <a:pt x="833" y="26"/>
                      </a:lnTo>
                      <a:lnTo>
                        <a:pt x="837" y="26"/>
                      </a:lnTo>
                      <a:lnTo>
                        <a:pt x="842" y="28"/>
                      </a:lnTo>
                      <a:lnTo>
                        <a:pt x="846" y="30"/>
                      </a:lnTo>
                      <a:lnTo>
                        <a:pt x="851" y="31"/>
                      </a:lnTo>
                      <a:lnTo>
                        <a:pt x="863" y="30"/>
                      </a:lnTo>
                      <a:lnTo>
                        <a:pt x="877" y="28"/>
                      </a:lnTo>
                      <a:lnTo>
                        <a:pt x="884" y="28"/>
                      </a:lnTo>
                      <a:lnTo>
                        <a:pt x="889" y="30"/>
                      </a:lnTo>
                      <a:lnTo>
                        <a:pt x="894" y="32"/>
                      </a:lnTo>
                      <a:lnTo>
                        <a:pt x="895" y="33"/>
                      </a:lnTo>
                      <a:lnTo>
                        <a:pt x="894" y="34"/>
                      </a:lnTo>
                      <a:lnTo>
                        <a:pt x="891" y="37"/>
                      </a:lnTo>
                      <a:lnTo>
                        <a:pt x="885" y="40"/>
                      </a:lnTo>
                      <a:lnTo>
                        <a:pt x="876" y="44"/>
                      </a:lnTo>
                      <a:lnTo>
                        <a:pt x="867" y="46"/>
                      </a:lnTo>
                      <a:lnTo>
                        <a:pt x="857" y="47"/>
                      </a:lnTo>
                      <a:lnTo>
                        <a:pt x="835" y="47"/>
                      </a:lnTo>
                      <a:lnTo>
                        <a:pt x="818" y="46"/>
                      </a:lnTo>
                      <a:lnTo>
                        <a:pt x="797" y="43"/>
                      </a:lnTo>
                      <a:lnTo>
                        <a:pt x="777" y="43"/>
                      </a:lnTo>
                      <a:lnTo>
                        <a:pt x="757" y="44"/>
                      </a:lnTo>
                      <a:lnTo>
                        <a:pt x="736" y="46"/>
                      </a:lnTo>
                      <a:lnTo>
                        <a:pt x="734" y="47"/>
                      </a:lnTo>
                      <a:lnTo>
                        <a:pt x="731" y="50"/>
                      </a:lnTo>
                      <a:lnTo>
                        <a:pt x="731" y="52"/>
                      </a:lnTo>
                      <a:lnTo>
                        <a:pt x="731" y="56"/>
                      </a:lnTo>
                      <a:lnTo>
                        <a:pt x="734" y="63"/>
                      </a:lnTo>
                      <a:lnTo>
                        <a:pt x="736" y="69"/>
                      </a:lnTo>
                      <a:lnTo>
                        <a:pt x="738" y="69"/>
                      </a:lnTo>
                      <a:lnTo>
                        <a:pt x="739" y="69"/>
                      </a:lnTo>
                      <a:lnTo>
                        <a:pt x="741" y="66"/>
                      </a:lnTo>
                      <a:lnTo>
                        <a:pt x="748" y="61"/>
                      </a:lnTo>
                      <a:lnTo>
                        <a:pt x="754" y="58"/>
                      </a:lnTo>
                      <a:lnTo>
                        <a:pt x="759" y="57"/>
                      </a:lnTo>
                      <a:lnTo>
                        <a:pt x="767" y="58"/>
                      </a:lnTo>
                      <a:lnTo>
                        <a:pt x="771" y="57"/>
                      </a:lnTo>
                      <a:lnTo>
                        <a:pt x="773" y="56"/>
                      </a:lnTo>
                      <a:lnTo>
                        <a:pt x="777" y="55"/>
                      </a:lnTo>
                      <a:lnTo>
                        <a:pt x="780" y="53"/>
                      </a:lnTo>
                      <a:lnTo>
                        <a:pt x="782" y="55"/>
                      </a:lnTo>
                      <a:lnTo>
                        <a:pt x="787" y="55"/>
                      </a:lnTo>
                      <a:lnTo>
                        <a:pt x="793" y="53"/>
                      </a:lnTo>
                      <a:lnTo>
                        <a:pt x="800" y="53"/>
                      </a:lnTo>
                      <a:lnTo>
                        <a:pt x="804" y="53"/>
                      </a:lnTo>
                      <a:lnTo>
                        <a:pt x="806" y="55"/>
                      </a:lnTo>
                      <a:lnTo>
                        <a:pt x="806" y="56"/>
                      </a:lnTo>
                      <a:lnTo>
                        <a:pt x="806" y="57"/>
                      </a:lnTo>
                      <a:lnTo>
                        <a:pt x="805" y="59"/>
                      </a:lnTo>
                      <a:lnTo>
                        <a:pt x="801" y="64"/>
                      </a:lnTo>
                      <a:lnTo>
                        <a:pt x="799" y="66"/>
                      </a:lnTo>
                      <a:lnTo>
                        <a:pt x="799" y="69"/>
                      </a:lnTo>
                      <a:lnTo>
                        <a:pt x="800" y="70"/>
                      </a:lnTo>
                      <a:lnTo>
                        <a:pt x="802" y="71"/>
                      </a:lnTo>
                      <a:lnTo>
                        <a:pt x="819" y="71"/>
                      </a:lnTo>
                      <a:lnTo>
                        <a:pt x="826" y="70"/>
                      </a:lnTo>
                      <a:lnTo>
                        <a:pt x="834" y="68"/>
                      </a:lnTo>
                      <a:lnTo>
                        <a:pt x="834" y="66"/>
                      </a:lnTo>
                      <a:lnTo>
                        <a:pt x="835" y="65"/>
                      </a:lnTo>
                      <a:lnTo>
                        <a:pt x="834" y="63"/>
                      </a:lnTo>
                      <a:lnTo>
                        <a:pt x="835" y="61"/>
                      </a:lnTo>
                      <a:lnTo>
                        <a:pt x="835" y="59"/>
                      </a:lnTo>
                      <a:lnTo>
                        <a:pt x="838" y="59"/>
                      </a:lnTo>
                      <a:lnTo>
                        <a:pt x="847" y="58"/>
                      </a:lnTo>
                      <a:lnTo>
                        <a:pt x="857" y="58"/>
                      </a:lnTo>
                      <a:lnTo>
                        <a:pt x="866" y="58"/>
                      </a:lnTo>
                      <a:lnTo>
                        <a:pt x="875" y="57"/>
                      </a:lnTo>
                      <a:lnTo>
                        <a:pt x="877" y="56"/>
                      </a:lnTo>
                      <a:lnTo>
                        <a:pt x="880" y="57"/>
                      </a:lnTo>
                      <a:lnTo>
                        <a:pt x="880" y="58"/>
                      </a:lnTo>
                      <a:lnTo>
                        <a:pt x="879" y="61"/>
                      </a:lnTo>
                      <a:lnTo>
                        <a:pt x="876" y="63"/>
                      </a:lnTo>
                      <a:lnTo>
                        <a:pt x="875" y="65"/>
                      </a:lnTo>
                      <a:lnTo>
                        <a:pt x="873" y="68"/>
                      </a:lnTo>
                      <a:lnTo>
                        <a:pt x="871" y="70"/>
                      </a:lnTo>
                      <a:lnTo>
                        <a:pt x="861" y="76"/>
                      </a:lnTo>
                      <a:lnTo>
                        <a:pt x="851" y="82"/>
                      </a:lnTo>
                      <a:lnTo>
                        <a:pt x="829" y="89"/>
                      </a:lnTo>
                      <a:lnTo>
                        <a:pt x="820" y="94"/>
                      </a:lnTo>
                      <a:lnTo>
                        <a:pt x="815" y="97"/>
                      </a:lnTo>
                      <a:lnTo>
                        <a:pt x="811" y="102"/>
                      </a:lnTo>
                      <a:lnTo>
                        <a:pt x="810" y="106"/>
                      </a:lnTo>
                      <a:lnTo>
                        <a:pt x="809" y="108"/>
                      </a:lnTo>
                      <a:lnTo>
                        <a:pt x="806" y="109"/>
                      </a:lnTo>
                      <a:lnTo>
                        <a:pt x="805" y="109"/>
                      </a:lnTo>
                      <a:lnTo>
                        <a:pt x="806" y="110"/>
                      </a:lnTo>
                      <a:lnTo>
                        <a:pt x="810" y="113"/>
                      </a:lnTo>
                      <a:lnTo>
                        <a:pt x="815" y="113"/>
                      </a:lnTo>
                      <a:lnTo>
                        <a:pt x="819" y="111"/>
                      </a:lnTo>
                      <a:lnTo>
                        <a:pt x="824" y="109"/>
                      </a:lnTo>
                      <a:lnTo>
                        <a:pt x="844" y="98"/>
                      </a:lnTo>
                      <a:lnTo>
                        <a:pt x="856" y="94"/>
                      </a:lnTo>
                      <a:lnTo>
                        <a:pt x="868" y="91"/>
                      </a:lnTo>
                      <a:lnTo>
                        <a:pt x="876" y="89"/>
                      </a:lnTo>
                      <a:lnTo>
                        <a:pt x="885" y="85"/>
                      </a:lnTo>
                      <a:lnTo>
                        <a:pt x="894" y="82"/>
                      </a:lnTo>
                      <a:lnTo>
                        <a:pt x="903" y="81"/>
                      </a:lnTo>
                      <a:lnTo>
                        <a:pt x="905" y="79"/>
                      </a:lnTo>
                      <a:lnTo>
                        <a:pt x="908" y="77"/>
                      </a:lnTo>
                      <a:lnTo>
                        <a:pt x="909" y="74"/>
                      </a:lnTo>
                      <a:lnTo>
                        <a:pt x="912" y="71"/>
                      </a:lnTo>
                      <a:lnTo>
                        <a:pt x="917" y="71"/>
                      </a:lnTo>
                      <a:lnTo>
                        <a:pt x="923" y="71"/>
                      </a:lnTo>
                      <a:lnTo>
                        <a:pt x="928" y="71"/>
                      </a:lnTo>
                      <a:lnTo>
                        <a:pt x="933" y="70"/>
                      </a:lnTo>
                      <a:lnTo>
                        <a:pt x="940" y="69"/>
                      </a:lnTo>
                      <a:lnTo>
                        <a:pt x="946" y="68"/>
                      </a:lnTo>
                      <a:lnTo>
                        <a:pt x="959" y="69"/>
                      </a:lnTo>
                      <a:lnTo>
                        <a:pt x="961" y="69"/>
                      </a:lnTo>
                      <a:lnTo>
                        <a:pt x="964" y="68"/>
                      </a:lnTo>
                      <a:lnTo>
                        <a:pt x="967" y="63"/>
                      </a:lnTo>
                      <a:lnTo>
                        <a:pt x="970" y="62"/>
                      </a:lnTo>
                      <a:lnTo>
                        <a:pt x="973" y="61"/>
                      </a:lnTo>
                      <a:lnTo>
                        <a:pt x="985" y="61"/>
                      </a:lnTo>
                      <a:lnTo>
                        <a:pt x="997" y="58"/>
                      </a:lnTo>
                      <a:lnTo>
                        <a:pt x="1004" y="56"/>
                      </a:lnTo>
                      <a:lnTo>
                        <a:pt x="1012" y="53"/>
                      </a:lnTo>
                      <a:lnTo>
                        <a:pt x="1017" y="53"/>
                      </a:lnTo>
                      <a:lnTo>
                        <a:pt x="1020" y="55"/>
                      </a:lnTo>
                      <a:lnTo>
                        <a:pt x="1022" y="57"/>
                      </a:lnTo>
                      <a:lnTo>
                        <a:pt x="1025" y="61"/>
                      </a:lnTo>
                      <a:lnTo>
                        <a:pt x="1027" y="68"/>
                      </a:lnTo>
                      <a:lnTo>
                        <a:pt x="1032" y="74"/>
                      </a:lnTo>
                      <a:lnTo>
                        <a:pt x="1037" y="78"/>
                      </a:lnTo>
                      <a:lnTo>
                        <a:pt x="1041" y="84"/>
                      </a:lnTo>
                      <a:lnTo>
                        <a:pt x="1041" y="87"/>
                      </a:lnTo>
                      <a:lnTo>
                        <a:pt x="1040" y="88"/>
                      </a:lnTo>
                      <a:lnTo>
                        <a:pt x="1026" y="89"/>
                      </a:lnTo>
                      <a:lnTo>
                        <a:pt x="1020" y="91"/>
                      </a:lnTo>
                      <a:lnTo>
                        <a:pt x="1012" y="94"/>
                      </a:lnTo>
                      <a:lnTo>
                        <a:pt x="1011" y="94"/>
                      </a:lnTo>
                      <a:lnTo>
                        <a:pt x="1008" y="94"/>
                      </a:lnTo>
                      <a:lnTo>
                        <a:pt x="1003" y="91"/>
                      </a:lnTo>
                      <a:lnTo>
                        <a:pt x="998" y="90"/>
                      </a:lnTo>
                      <a:lnTo>
                        <a:pt x="995" y="91"/>
                      </a:lnTo>
                      <a:lnTo>
                        <a:pt x="994" y="93"/>
                      </a:lnTo>
                      <a:lnTo>
                        <a:pt x="994" y="95"/>
                      </a:lnTo>
                      <a:lnTo>
                        <a:pt x="995" y="97"/>
                      </a:lnTo>
                      <a:lnTo>
                        <a:pt x="999" y="103"/>
                      </a:lnTo>
                      <a:lnTo>
                        <a:pt x="979" y="106"/>
                      </a:lnTo>
                      <a:lnTo>
                        <a:pt x="969" y="106"/>
                      </a:lnTo>
                      <a:lnTo>
                        <a:pt x="964" y="104"/>
                      </a:lnTo>
                      <a:lnTo>
                        <a:pt x="959" y="102"/>
                      </a:lnTo>
                      <a:lnTo>
                        <a:pt x="953" y="100"/>
                      </a:lnTo>
                      <a:lnTo>
                        <a:pt x="951" y="101"/>
                      </a:lnTo>
                      <a:lnTo>
                        <a:pt x="950" y="102"/>
                      </a:lnTo>
                      <a:lnTo>
                        <a:pt x="950" y="106"/>
                      </a:lnTo>
                      <a:lnTo>
                        <a:pt x="951" y="107"/>
                      </a:lnTo>
                      <a:lnTo>
                        <a:pt x="953" y="109"/>
                      </a:lnTo>
                      <a:lnTo>
                        <a:pt x="956" y="110"/>
                      </a:lnTo>
                      <a:lnTo>
                        <a:pt x="964" y="111"/>
                      </a:lnTo>
                      <a:lnTo>
                        <a:pt x="966" y="113"/>
                      </a:lnTo>
                      <a:lnTo>
                        <a:pt x="969" y="114"/>
                      </a:lnTo>
                      <a:lnTo>
                        <a:pt x="969" y="115"/>
                      </a:lnTo>
                      <a:lnTo>
                        <a:pt x="967" y="116"/>
                      </a:lnTo>
                      <a:lnTo>
                        <a:pt x="964" y="117"/>
                      </a:lnTo>
                      <a:lnTo>
                        <a:pt x="955" y="117"/>
                      </a:lnTo>
                      <a:lnTo>
                        <a:pt x="950" y="117"/>
                      </a:lnTo>
                      <a:lnTo>
                        <a:pt x="945" y="119"/>
                      </a:lnTo>
                      <a:lnTo>
                        <a:pt x="942" y="119"/>
                      </a:lnTo>
                      <a:lnTo>
                        <a:pt x="941" y="117"/>
                      </a:lnTo>
                      <a:lnTo>
                        <a:pt x="936" y="115"/>
                      </a:lnTo>
                      <a:lnTo>
                        <a:pt x="932" y="115"/>
                      </a:lnTo>
                      <a:lnTo>
                        <a:pt x="928" y="116"/>
                      </a:lnTo>
                      <a:lnTo>
                        <a:pt x="924" y="116"/>
                      </a:lnTo>
                      <a:lnTo>
                        <a:pt x="920" y="116"/>
                      </a:lnTo>
                      <a:lnTo>
                        <a:pt x="913" y="113"/>
                      </a:lnTo>
                      <a:lnTo>
                        <a:pt x="909" y="111"/>
                      </a:lnTo>
                      <a:lnTo>
                        <a:pt x="906" y="111"/>
                      </a:lnTo>
                      <a:lnTo>
                        <a:pt x="905" y="113"/>
                      </a:lnTo>
                      <a:lnTo>
                        <a:pt x="904" y="115"/>
                      </a:lnTo>
                      <a:lnTo>
                        <a:pt x="905" y="119"/>
                      </a:lnTo>
                      <a:lnTo>
                        <a:pt x="908" y="121"/>
                      </a:lnTo>
                      <a:lnTo>
                        <a:pt x="909" y="125"/>
                      </a:lnTo>
                      <a:lnTo>
                        <a:pt x="913" y="132"/>
                      </a:lnTo>
                      <a:lnTo>
                        <a:pt x="915" y="134"/>
                      </a:lnTo>
                      <a:lnTo>
                        <a:pt x="919" y="134"/>
                      </a:lnTo>
                      <a:lnTo>
                        <a:pt x="931" y="130"/>
                      </a:lnTo>
                      <a:lnTo>
                        <a:pt x="937" y="129"/>
                      </a:lnTo>
                      <a:lnTo>
                        <a:pt x="942" y="129"/>
                      </a:lnTo>
                      <a:lnTo>
                        <a:pt x="946" y="129"/>
                      </a:lnTo>
                      <a:lnTo>
                        <a:pt x="947" y="132"/>
                      </a:lnTo>
                      <a:lnTo>
                        <a:pt x="947" y="134"/>
                      </a:lnTo>
                      <a:lnTo>
                        <a:pt x="946" y="135"/>
                      </a:lnTo>
                      <a:lnTo>
                        <a:pt x="942" y="135"/>
                      </a:lnTo>
                      <a:lnTo>
                        <a:pt x="940" y="138"/>
                      </a:lnTo>
                      <a:lnTo>
                        <a:pt x="937" y="140"/>
                      </a:lnTo>
                      <a:lnTo>
                        <a:pt x="936" y="143"/>
                      </a:lnTo>
                      <a:lnTo>
                        <a:pt x="934" y="145"/>
                      </a:lnTo>
                      <a:lnTo>
                        <a:pt x="933" y="145"/>
                      </a:lnTo>
                      <a:lnTo>
                        <a:pt x="929" y="146"/>
                      </a:lnTo>
                      <a:lnTo>
                        <a:pt x="926" y="147"/>
                      </a:lnTo>
                      <a:lnTo>
                        <a:pt x="924" y="147"/>
                      </a:lnTo>
                      <a:lnTo>
                        <a:pt x="924" y="148"/>
                      </a:lnTo>
                      <a:lnTo>
                        <a:pt x="922" y="152"/>
                      </a:lnTo>
                      <a:lnTo>
                        <a:pt x="920" y="154"/>
                      </a:lnTo>
                      <a:lnTo>
                        <a:pt x="917" y="159"/>
                      </a:lnTo>
                      <a:lnTo>
                        <a:pt x="915" y="161"/>
                      </a:lnTo>
                      <a:lnTo>
                        <a:pt x="915" y="164"/>
                      </a:lnTo>
                      <a:lnTo>
                        <a:pt x="917" y="167"/>
                      </a:lnTo>
                      <a:lnTo>
                        <a:pt x="918" y="172"/>
                      </a:lnTo>
                      <a:lnTo>
                        <a:pt x="918" y="176"/>
                      </a:lnTo>
                      <a:lnTo>
                        <a:pt x="914" y="189"/>
                      </a:lnTo>
                      <a:lnTo>
                        <a:pt x="914" y="194"/>
                      </a:lnTo>
                      <a:lnTo>
                        <a:pt x="914" y="197"/>
                      </a:lnTo>
                      <a:lnTo>
                        <a:pt x="917" y="200"/>
                      </a:lnTo>
                      <a:lnTo>
                        <a:pt x="918" y="203"/>
                      </a:lnTo>
                      <a:lnTo>
                        <a:pt x="918" y="206"/>
                      </a:lnTo>
                      <a:lnTo>
                        <a:pt x="917" y="210"/>
                      </a:lnTo>
                      <a:lnTo>
                        <a:pt x="915" y="210"/>
                      </a:lnTo>
                      <a:lnTo>
                        <a:pt x="913" y="210"/>
                      </a:lnTo>
                      <a:lnTo>
                        <a:pt x="910" y="209"/>
                      </a:lnTo>
                      <a:lnTo>
                        <a:pt x="906" y="206"/>
                      </a:lnTo>
                      <a:lnTo>
                        <a:pt x="904" y="206"/>
                      </a:lnTo>
                      <a:lnTo>
                        <a:pt x="901" y="208"/>
                      </a:lnTo>
                      <a:lnTo>
                        <a:pt x="900" y="210"/>
                      </a:lnTo>
                      <a:lnTo>
                        <a:pt x="900" y="212"/>
                      </a:lnTo>
                      <a:lnTo>
                        <a:pt x="901" y="216"/>
                      </a:lnTo>
                      <a:lnTo>
                        <a:pt x="905" y="218"/>
                      </a:lnTo>
                      <a:lnTo>
                        <a:pt x="908" y="219"/>
                      </a:lnTo>
                      <a:lnTo>
                        <a:pt x="912" y="221"/>
                      </a:lnTo>
                      <a:lnTo>
                        <a:pt x="920" y="221"/>
                      </a:lnTo>
                      <a:lnTo>
                        <a:pt x="928" y="219"/>
                      </a:lnTo>
                      <a:lnTo>
                        <a:pt x="931" y="219"/>
                      </a:lnTo>
                      <a:lnTo>
                        <a:pt x="932" y="221"/>
                      </a:lnTo>
                      <a:lnTo>
                        <a:pt x="933" y="225"/>
                      </a:lnTo>
                      <a:lnTo>
                        <a:pt x="932" y="230"/>
                      </a:lnTo>
                      <a:lnTo>
                        <a:pt x="931" y="234"/>
                      </a:lnTo>
                      <a:lnTo>
                        <a:pt x="928" y="236"/>
                      </a:lnTo>
                      <a:lnTo>
                        <a:pt x="924" y="237"/>
                      </a:lnTo>
                      <a:lnTo>
                        <a:pt x="920" y="237"/>
                      </a:lnTo>
                      <a:lnTo>
                        <a:pt x="917" y="236"/>
                      </a:lnTo>
                      <a:lnTo>
                        <a:pt x="909" y="231"/>
                      </a:lnTo>
                      <a:lnTo>
                        <a:pt x="901" y="226"/>
                      </a:lnTo>
                      <a:lnTo>
                        <a:pt x="900" y="226"/>
                      </a:lnTo>
                      <a:lnTo>
                        <a:pt x="898" y="228"/>
                      </a:lnTo>
                      <a:lnTo>
                        <a:pt x="894" y="230"/>
                      </a:lnTo>
                      <a:lnTo>
                        <a:pt x="890" y="235"/>
                      </a:lnTo>
                      <a:lnTo>
                        <a:pt x="889" y="237"/>
                      </a:lnTo>
                      <a:lnTo>
                        <a:pt x="889" y="240"/>
                      </a:lnTo>
                      <a:lnTo>
                        <a:pt x="891" y="244"/>
                      </a:lnTo>
                      <a:lnTo>
                        <a:pt x="894" y="248"/>
                      </a:lnTo>
                      <a:lnTo>
                        <a:pt x="899" y="251"/>
                      </a:lnTo>
                      <a:lnTo>
                        <a:pt x="904" y="254"/>
                      </a:lnTo>
                      <a:lnTo>
                        <a:pt x="905" y="255"/>
                      </a:lnTo>
                      <a:lnTo>
                        <a:pt x="906" y="257"/>
                      </a:lnTo>
                      <a:lnTo>
                        <a:pt x="905" y="257"/>
                      </a:lnTo>
                      <a:lnTo>
                        <a:pt x="903" y="258"/>
                      </a:lnTo>
                      <a:lnTo>
                        <a:pt x="900" y="258"/>
                      </a:lnTo>
                      <a:lnTo>
                        <a:pt x="895" y="258"/>
                      </a:lnTo>
                      <a:lnTo>
                        <a:pt x="890" y="257"/>
                      </a:lnTo>
                      <a:lnTo>
                        <a:pt x="885" y="257"/>
                      </a:lnTo>
                      <a:lnTo>
                        <a:pt x="884" y="258"/>
                      </a:lnTo>
                      <a:lnTo>
                        <a:pt x="882" y="261"/>
                      </a:lnTo>
                      <a:lnTo>
                        <a:pt x="884" y="262"/>
                      </a:lnTo>
                      <a:lnTo>
                        <a:pt x="885" y="263"/>
                      </a:lnTo>
                      <a:lnTo>
                        <a:pt x="894" y="266"/>
                      </a:lnTo>
                      <a:lnTo>
                        <a:pt x="899" y="267"/>
                      </a:lnTo>
                      <a:lnTo>
                        <a:pt x="903" y="269"/>
                      </a:lnTo>
                      <a:lnTo>
                        <a:pt x="905" y="270"/>
                      </a:lnTo>
                      <a:lnTo>
                        <a:pt x="908" y="270"/>
                      </a:lnTo>
                      <a:lnTo>
                        <a:pt x="910" y="274"/>
                      </a:lnTo>
                      <a:lnTo>
                        <a:pt x="912" y="276"/>
                      </a:lnTo>
                      <a:lnTo>
                        <a:pt x="912" y="282"/>
                      </a:lnTo>
                      <a:lnTo>
                        <a:pt x="910" y="285"/>
                      </a:lnTo>
                      <a:lnTo>
                        <a:pt x="909" y="286"/>
                      </a:lnTo>
                      <a:lnTo>
                        <a:pt x="908" y="286"/>
                      </a:lnTo>
                      <a:lnTo>
                        <a:pt x="905" y="285"/>
                      </a:lnTo>
                      <a:lnTo>
                        <a:pt x="901" y="282"/>
                      </a:lnTo>
                      <a:lnTo>
                        <a:pt x="899" y="280"/>
                      </a:lnTo>
                      <a:lnTo>
                        <a:pt x="894" y="279"/>
                      </a:lnTo>
                      <a:lnTo>
                        <a:pt x="891" y="277"/>
                      </a:lnTo>
                      <a:lnTo>
                        <a:pt x="887" y="275"/>
                      </a:lnTo>
                      <a:lnTo>
                        <a:pt x="885" y="273"/>
                      </a:lnTo>
                      <a:lnTo>
                        <a:pt x="882" y="272"/>
                      </a:lnTo>
                      <a:lnTo>
                        <a:pt x="881" y="273"/>
                      </a:lnTo>
                      <a:lnTo>
                        <a:pt x="881" y="275"/>
                      </a:lnTo>
                      <a:lnTo>
                        <a:pt x="881" y="276"/>
                      </a:lnTo>
                      <a:lnTo>
                        <a:pt x="882" y="277"/>
                      </a:lnTo>
                      <a:lnTo>
                        <a:pt x="887" y="281"/>
                      </a:lnTo>
                      <a:lnTo>
                        <a:pt x="891" y="286"/>
                      </a:lnTo>
                      <a:lnTo>
                        <a:pt x="891" y="291"/>
                      </a:lnTo>
                      <a:lnTo>
                        <a:pt x="891" y="296"/>
                      </a:lnTo>
                      <a:lnTo>
                        <a:pt x="891" y="298"/>
                      </a:lnTo>
                      <a:lnTo>
                        <a:pt x="893" y="299"/>
                      </a:lnTo>
                      <a:lnTo>
                        <a:pt x="896" y="300"/>
                      </a:lnTo>
                      <a:lnTo>
                        <a:pt x="901" y="300"/>
                      </a:lnTo>
                      <a:lnTo>
                        <a:pt x="906" y="301"/>
                      </a:lnTo>
                      <a:lnTo>
                        <a:pt x="912" y="302"/>
                      </a:lnTo>
                      <a:lnTo>
                        <a:pt x="912" y="304"/>
                      </a:lnTo>
                      <a:lnTo>
                        <a:pt x="912" y="306"/>
                      </a:lnTo>
                      <a:lnTo>
                        <a:pt x="908" y="308"/>
                      </a:lnTo>
                      <a:lnTo>
                        <a:pt x="905" y="308"/>
                      </a:lnTo>
                      <a:lnTo>
                        <a:pt x="901" y="307"/>
                      </a:lnTo>
                      <a:lnTo>
                        <a:pt x="899" y="306"/>
                      </a:lnTo>
                      <a:lnTo>
                        <a:pt x="895" y="306"/>
                      </a:lnTo>
                      <a:lnTo>
                        <a:pt x="893" y="307"/>
                      </a:lnTo>
                      <a:lnTo>
                        <a:pt x="886" y="306"/>
                      </a:lnTo>
                      <a:lnTo>
                        <a:pt x="884" y="306"/>
                      </a:lnTo>
                      <a:lnTo>
                        <a:pt x="882" y="308"/>
                      </a:lnTo>
                      <a:lnTo>
                        <a:pt x="879" y="317"/>
                      </a:lnTo>
                      <a:lnTo>
                        <a:pt x="879" y="320"/>
                      </a:lnTo>
                      <a:lnTo>
                        <a:pt x="880" y="321"/>
                      </a:lnTo>
                      <a:lnTo>
                        <a:pt x="881" y="323"/>
                      </a:lnTo>
                      <a:lnTo>
                        <a:pt x="885" y="323"/>
                      </a:lnTo>
                      <a:lnTo>
                        <a:pt x="887" y="325"/>
                      </a:lnTo>
                      <a:lnTo>
                        <a:pt x="890" y="328"/>
                      </a:lnTo>
                      <a:lnTo>
                        <a:pt x="890" y="333"/>
                      </a:lnTo>
                      <a:lnTo>
                        <a:pt x="890" y="337"/>
                      </a:lnTo>
                      <a:lnTo>
                        <a:pt x="889" y="339"/>
                      </a:lnTo>
                      <a:lnTo>
                        <a:pt x="887" y="339"/>
                      </a:lnTo>
                      <a:lnTo>
                        <a:pt x="885" y="340"/>
                      </a:lnTo>
                      <a:lnTo>
                        <a:pt x="882" y="339"/>
                      </a:lnTo>
                      <a:lnTo>
                        <a:pt x="879" y="337"/>
                      </a:lnTo>
                      <a:lnTo>
                        <a:pt x="873" y="336"/>
                      </a:lnTo>
                      <a:lnTo>
                        <a:pt x="871" y="336"/>
                      </a:lnTo>
                      <a:lnTo>
                        <a:pt x="868" y="337"/>
                      </a:lnTo>
                      <a:lnTo>
                        <a:pt x="863" y="340"/>
                      </a:lnTo>
                      <a:lnTo>
                        <a:pt x="860" y="341"/>
                      </a:lnTo>
                      <a:lnTo>
                        <a:pt x="854" y="343"/>
                      </a:lnTo>
                      <a:lnTo>
                        <a:pt x="853" y="341"/>
                      </a:lnTo>
                      <a:lnTo>
                        <a:pt x="851" y="340"/>
                      </a:lnTo>
                      <a:lnTo>
                        <a:pt x="847" y="337"/>
                      </a:lnTo>
                      <a:lnTo>
                        <a:pt x="843" y="334"/>
                      </a:lnTo>
                      <a:lnTo>
                        <a:pt x="839" y="332"/>
                      </a:lnTo>
                      <a:lnTo>
                        <a:pt x="835" y="328"/>
                      </a:lnTo>
                      <a:lnTo>
                        <a:pt x="834" y="325"/>
                      </a:lnTo>
                      <a:lnTo>
                        <a:pt x="834" y="324"/>
                      </a:lnTo>
                      <a:lnTo>
                        <a:pt x="835" y="324"/>
                      </a:lnTo>
                      <a:lnTo>
                        <a:pt x="842" y="321"/>
                      </a:lnTo>
                      <a:lnTo>
                        <a:pt x="844" y="319"/>
                      </a:lnTo>
                      <a:lnTo>
                        <a:pt x="846" y="317"/>
                      </a:lnTo>
                      <a:lnTo>
                        <a:pt x="844" y="315"/>
                      </a:lnTo>
                      <a:lnTo>
                        <a:pt x="842" y="315"/>
                      </a:lnTo>
                      <a:lnTo>
                        <a:pt x="833" y="317"/>
                      </a:lnTo>
                      <a:lnTo>
                        <a:pt x="823" y="318"/>
                      </a:lnTo>
                      <a:lnTo>
                        <a:pt x="821" y="318"/>
                      </a:lnTo>
                      <a:lnTo>
                        <a:pt x="821" y="319"/>
                      </a:lnTo>
                      <a:lnTo>
                        <a:pt x="820" y="321"/>
                      </a:lnTo>
                      <a:lnTo>
                        <a:pt x="818" y="323"/>
                      </a:lnTo>
                      <a:lnTo>
                        <a:pt x="814" y="323"/>
                      </a:lnTo>
                      <a:lnTo>
                        <a:pt x="811" y="323"/>
                      </a:lnTo>
                      <a:lnTo>
                        <a:pt x="810" y="323"/>
                      </a:lnTo>
                      <a:lnTo>
                        <a:pt x="809" y="325"/>
                      </a:lnTo>
                      <a:lnTo>
                        <a:pt x="807" y="328"/>
                      </a:lnTo>
                      <a:lnTo>
                        <a:pt x="805" y="332"/>
                      </a:lnTo>
                      <a:lnTo>
                        <a:pt x="797" y="337"/>
                      </a:lnTo>
                      <a:lnTo>
                        <a:pt x="796" y="339"/>
                      </a:lnTo>
                      <a:lnTo>
                        <a:pt x="796" y="341"/>
                      </a:lnTo>
                      <a:lnTo>
                        <a:pt x="797" y="345"/>
                      </a:lnTo>
                      <a:lnTo>
                        <a:pt x="800" y="346"/>
                      </a:lnTo>
                      <a:lnTo>
                        <a:pt x="807" y="349"/>
                      </a:lnTo>
                      <a:lnTo>
                        <a:pt x="809" y="351"/>
                      </a:lnTo>
                      <a:lnTo>
                        <a:pt x="809" y="352"/>
                      </a:lnTo>
                      <a:lnTo>
                        <a:pt x="809" y="353"/>
                      </a:lnTo>
                      <a:lnTo>
                        <a:pt x="807" y="355"/>
                      </a:lnTo>
                      <a:lnTo>
                        <a:pt x="807" y="356"/>
                      </a:lnTo>
                      <a:lnTo>
                        <a:pt x="809" y="357"/>
                      </a:lnTo>
                      <a:lnTo>
                        <a:pt x="811" y="358"/>
                      </a:lnTo>
                      <a:lnTo>
                        <a:pt x="815" y="358"/>
                      </a:lnTo>
                      <a:lnTo>
                        <a:pt x="815" y="360"/>
                      </a:lnTo>
                      <a:lnTo>
                        <a:pt x="813" y="363"/>
                      </a:lnTo>
                      <a:lnTo>
                        <a:pt x="807" y="364"/>
                      </a:lnTo>
                      <a:lnTo>
                        <a:pt x="805" y="366"/>
                      </a:lnTo>
                      <a:lnTo>
                        <a:pt x="804" y="368"/>
                      </a:lnTo>
                      <a:lnTo>
                        <a:pt x="802" y="370"/>
                      </a:lnTo>
                      <a:lnTo>
                        <a:pt x="805" y="373"/>
                      </a:lnTo>
                      <a:lnTo>
                        <a:pt x="807" y="377"/>
                      </a:lnTo>
                      <a:lnTo>
                        <a:pt x="809" y="378"/>
                      </a:lnTo>
                      <a:lnTo>
                        <a:pt x="810" y="378"/>
                      </a:lnTo>
                      <a:lnTo>
                        <a:pt x="810" y="379"/>
                      </a:lnTo>
                      <a:lnTo>
                        <a:pt x="813" y="376"/>
                      </a:lnTo>
                      <a:lnTo>
                        <a:pt x="815" y="373"/>
                      </a:lnTo>
                      <a:lnTo>
                        <a:pt x="819" y="372"/>
                      </a:lnTo>
                      <a:lnTo>
                        <a:pt x="823" y="373"/>
                      </a:lnTo>
                      <a:lnTo>
                        <a:pt x="828" y="376"/>
                      </a:lnTo>
                      <a:lnTo>
                        <a:pt x="833" y="376"/>
                      </a:lnTo>
                      <a:lnTo>
                        <a:pt x="843" y="375"/>
                      </a:lnTo>
                      <a:lnTo>
                        <a:pt x="844" y="376"/>
                      </a:lnTo>
                      <a:lnTo>
                        <a:pt x="846" y="377"/>
                      </a:lnTo>
                      <a:lnTo>
                        <a:pt x="847" y="379"/>
                      </a:lnTo>
                      <a:lnTo>
                        <a:pt x="848" y="384"/>
                      </a:lnTo>
                      <a:lnTo>
                        <a:pt x="849" y="387"/>
                      </a:lnTo>
                      <a:lnTo>
                        <a:pt x="851" y="387"/>
                      </a:lnTo>
                      <a:lnTo>
                        <a:pt x="853" y="387"/>
                      </a:lnTo>
                      <a:lnTo>
                        <a:pt x="854" y="385"/>
                      </a:lnTo>
                      <a:lnTo>
                        <a:pt x="856" y="384"/>
                      </a:lnTo>
                      <a:lnTo>
                        <a:pt x="857" y="385"/>
                      </a:lnTo>
                      <a:lnTo>
                        <a:pt x="857" y="387"/>
                      </a:lnTo>
                      <a:lnTo>
                        <a:pt x="858" y="389"/>
                      </a:lnTo>
                      <a:lnTo>
                        <a:pt x="860" y="390"/>
                      </a:lnTo>
                      <a:lnTo>
                        <a:pt x="862" y="390"/>
                      </a:lnTo>
                      <a:lnTo>
                        <a:pt x="863" y="390"/>
                      </a:lnTo>
                      <a:lnTo>
                        <a:pt x="868" y="388"/>
                      </a:lnTo>
                      <a:lnTo>
                        <a:pt x="870" y="388"/>
                      </a:lnTo>
                      <a:lnTo>
                        <a:pt x="871" y="389"/>
                      </a:lnTo>
                      <a:lnTo>
                        <a:pt x="872" y="391"/>
                      </a:lnTo>
                      <a:lnTo>
                        <a:pt x="872" y="392"/>
                      </a:lnTo>
                      <a:lnTo>
                        <a:pt x="870" y="395"/>
                      </a:lnTo>
                      <a:lnTo>
                        <a:pt x="868" y="395"/>
                      </a:lnTo>
                      <a:lnTo>
                        <a:pt x="868" y="396"/>
                      </a:lnTo>
                      <a:lnTo>
                        <a:pt x="871" y="404"/>
                      </a:lnTo>
                      <a:lnTo>
                        <a:pt x="871" y="408"/>
                      </a:lnTo>
                      <a:lnTo>
                        <a:pt x="871" y="413"/>
                      </a:lnTo>
                      <a:lnTo>
                        <a:pt x="870" y="414"/>
                      </a:lnTo>
                      <a:lnTo>
                        <a:pt x="870" y="419"/>
                      </a:lnTo>
                      <a:lnTo>
                        <a:pt x="868" y="422"/>
                      </a:lnTo>
                      <a:lnTo>
                        <a:pt x="866" y="424"/>
                      </a:lnTo>
                      <a:lnTo>
                        <a:pt x="863" y="427"/>
                      </a:lnTo>
                      <a:lnTo>
                        <a:pt x="861" y="426"/>
                      </a:lnTo>
                      <a:lnTo>
                        <a:pt x="858" y="424"/>
                      </a:lnTo>
                      <a:lnTo>
                        <a:pt x="854" y="419"/>
                      </a:lnTo>
                      <a:lnTo>
                        <a:pt x="853" y="417"/>
                      </a:lnTo>
                      <a:lnTo>
                        <a:pt x="851" y="419"/>
                      </a:lnTo>
                      <a:lnTo>
                        <a:pt x="844" y="422"/>
                      </a:lnTo>
                      <a:lnTo>
                        <a:pt x="839" y="423"/>
                      </a:lnTo>
                      <a:lnTo>
                        <a:pt x="835" y="422"/>
                      </a:lnTo>
                      <a:lnTo>
                        <a:pt x="832" y="419"/>
                      </a:lnTo>
                      <a:lnTo>
                        <a:pt x="828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1" y="403"/>
                      </a:lnTo>
                      <a:lnTo>
                        <a:pt x="819" y="403"/>
                      </a:lnTo>
                      <a:lnTo>
                        <a:pt x="818" y="403"/>
                      </a:lnTo>
                      <a:lnTo>
                        <a:pt x="815" y="402"/>
                      </a:lnTo>
                      <a:lnTo>
                        <a:pt x="813" y="400"/>
                      </a:lnTo>
                      <a:lnTo>
                        <a:pt x="811" y="397"/>
                      </a:lnTo>
                      <a:lnTo>
                        <a:pt x="810" y="394"/>
                      </a:lnTo>
                      <a:lnTo>
                        <a:pt x="806" y="391"/>
                      </a:lnTo>
                      <a:lnTo>
                        <a:pt x="802" y="389"/>
                      </a:lnTo>
                      <a:lnTo>
                        <a:pt x="799" y="389"/>
                      </a:lnTo>
                      <a:lnTo>
                        <a:pt x="791" y="389"/>
                      </a:lnTo>
                      <a:lnTo>
                        <a:pt x="787" y="389"/>
                      </a:lnTo>
                      <a:lnTo>
                        <a:pt x="785" y="387"/>
                      </a:lnTo>
                      <a:lnTo>
                        <a:pt x="781" y="383"/>
                      </a:lnTo>
                      <a:lnTo>
                        <a:pt x="778" y="377"/>
                      </a:lnTo>
                      <a:lnTo>
                        <a:pt x="777" y="375"/>
                      </a:lnTo>
                      <a:lnTo>
                        <a:pt x="774" y="373"/>
                      </a:lnTo>
                      <a:lnTo>
                        <a:pt x="773" y="375"/>
                      </a:lnTo>
                      <a:lnTo>
                        <a:pt x="772" y="377"/>
                      </a:lnTo>
                      <a:lnTo>
                        <a:pt x="773" y="381"/>
                      </a:lnTo>
                      <a:lnTo>
                        <a:pt x="773" y="383"/>
                      </a:lnTo>
                      <a:lnTo>
                        <a:pt x="773" y="385"/>
                      </a:lnTo>
                      <a:lnTo>
                        <a:pt x="771" y="387"/>
                      </a:lnTo>
                      <a:lnTo>
                        <a:pt x="768" y="389"/>
                      </a:lnTo>
                      <a:lnTo>
                        <a:pt x="768" y="391"/>
                      </a:lnTo>
                      <a:lnTo>
                        <a:pt x="772" y="392"/>
                      </a:lnTo>
                      <a:lnTo>
                        <a:pt x="777" y="394"/>
                      </a:lnTo>
                      <a:lnTo>
                        <a:pt x="785" y="395"/>
                      </a:lnTo>
                      <a:lnTo>
                        <a:pt x="791" y="397"/>
                      </a:lnTo>
                      <a:lnTo>
                        <a:pt x="797" y="398"/>
                      </a:lnTo>
                      <a:lnTo>
                        <a:pt x="799" y="400"/>
                      </a:lnTo>
                      <a:lnTo>
                        <a:pt x="799" y="403"/>
                      </a:lnTo>
                      <a:lnTo>
                        <a:pt x="796" y="407"/>
                      </a:lnTo>
                      <a:lnTo>
                        <a:pt x="792" y="409"/>
                      </a:lnTo>
                      <a:lnTo>
                        <a:pt x="783" y="410"/>
                      </a:lnTo>
                      <a:lnTo>
                        <a:pt x="782" y="413"/>
                      </a:lnTo>
                      <a:lnTo>
                        <a:pt x="781" y="415"/>
                      </a:lnTo>
                      <a:lnTo>
                        <a:pt x="778" y="416"/>
                      </a:lnTo>
                      <a:lnTo>
                        <a:pt x="776" y="416"/>
                      </a:lnTo>
                      <a:lnTo>
                        <a:pt x="773" y="417"/>
                      </a:lnTo>
                      <a:lnTo>
                        <a:pt x="771" y="419"/>
                      </a:lnTo>
                      <a:lnTo>
                        <a:pt x="772" y="421"/>
                      </a:lnTo>
                      <a:lnTo>
                        <a:pt x="773" y="422"/>
                      </a:lnTo>
                      <a:lnTo>
                        <a:pt x="776" y="424"/>
                      </a:lnTo>
                      <a:lnTo>
                        <a:pt x="776" y="426"/>
                      </a:lnTo>
                      <a:lnTo>
                        <a:pt x="776" y="427"/>
                      </a:lnTo>
                      <a:lnTo>
                        <a:pt x="773" y="430"/>
                      </a:lnTo>
                      <a:lnTo>
                        <a:pt x="771" y="433"/>
                      </a:lnTo>
                      <a:lnTo>
                        <a:pt x="768" y="436"/>
                      </a:lnTo>
                      <a:lnTo>
                        <a:pt x="768" y="438"/>
                      </a:lnTo>
                      <a:lnTo>
                        <a:pt x="771" y="439"/>
                      </a:lnTo>
                      <a:lnTo>
                        <a:pt x="776" y="439"/>
                      </a:lnTo>
                      <a:lnTo>
                        <a:pt x="778" y="438"/>
                      </a:lnTo>
                      <a:lnTo>
                        <a:pt x="788" y="438"/>
                      </a:lnTo>
                      <a:lnTo>
                        <a:pt x="797" y="435"/>
                      </a:lnTo>
                      <a:lnTo>
                        <a:pt x="806" y="433"/>
                      </a:lnTo>
                      <a:lnTo>
                        <a:pt x="815" y="428"/>
                      </a:lnTo>
                      <a:lnTo>
                        <a:pt x="816" y="428"/>
                      </a:lnTo>
                      <a:lnTo>
                        <a:pt x="819" y="428"/>
                      </a:lnTo>
                      <a:lnTo>
                        <a:pt x="823" y="432"/>
                      </a:lnTo>
                      <a:lnTo>
                        <a:pt x="828" y="433"/>
                      </a:lnTo>
                      <a:lnTo>
                        <a:pt x="837" y="435"/>
                      </a:lnTo>
                      <a:lnTo>
                        <a:pt x="856" y="435"/>
                      </a:lnTo>
                      <a:lnTo>
                        <a:pt x="857" y="436"/>
                      </a:lnTo>
                      <a:lnTo>
                        <a:pt x="857" y="438"/>
                      </a:lnTo>
                      <a:lnTo>
                        <a:pt x="839" y="443"/>
                      </a:lnTo>
                      <a:lnTo>
                        <a:pt x="830" y="448"/>
                      </a:lnTo>
                      <a:lnTo>
                        <a:pt x="823" y="453"/>
                      </a:lnTo>
                      <a:lnTo>
                        <a:pt x="819" y="455"/>
                      </a:lnTo>
                      <a:lnTo>
                        <a:pt x="813" y="458"/>
                      </a:lnTo>
                      <a:lnTo>
                        <a:pt x="811" y="460"/>
                      </a:lnTo>
                      <a:lnTo>
                        <a:pt x="809" y="462"/>
                      </a:lnTo>
                      <a:lnTo>
                        <a:pt x="807" y="466"/>
                      </a:lnTo>
                      <a:lnTo>
                        <a:pt x="805" y="467"/>
                      </a:lnTo>
                      <a:lnTo>
                        <a:pt x="786" y="475"/>
                      </a:lnTo>
                      <a:lnTo>
                        <a:pt x="767" y="483"/>
                      </a:lnTo>
                      <a:lnTo>
                        <a:pt x="753" y="487"/>
                      </a:lnTo>
                      <a:lnTo>
                        <a:pt x="738" y="491"/>
                      </a:lnTo>
                      <a:lnTo>
                        <a:pt x="731" y="492"/>
                      </a:lnTo>
                      <a:lnTo>
                        <a:pt x="726" y="492"/>
                      </a:lnTo>
                      <a:lnTo>
                        <a:pt x="720" y="491"/>
                      </a:lnTo>
                      <a:lnTo>
                        <a:pt x="715" y="488"/>
                      </a:lnTo>
                      <a:lnTo>
                        <a:pt x="710" y="486"/>
                      </a:lnTo>
                      <a:lnTo>
                        <a:pt x="706" y="481"/>
                      </a:lnTo>
                      <a:lnTo>
                        <a:pt x="703" y="477"/>
                      </a:lnTo>
                      <a:lnTo>
                        <a:pt x="702" y="470"/>
                      </a:lnTo>
                      <a:lnTo>
                        <a:pt x="701" y="468"/>
                      </a:lnTo>
                      <a:lnTo>
                        <a:pt x="698" y="467"/>
                      </a:lnTo>
                      <a:lnTo>
                        <a:pt x="697" y="468"/>
                      </a:lnTo>
                      <a:lnTo>
                        <a:pt x="696" y="470"/>
                      </a:lnTo>
                      <a:lnTo>
                        <a:pt x="696" y="473"/>
                      </a:lnTo>
                      <a:lnTo>
                        <a:pt x="697" y="478"/>
                      </a:lnTo>
                      <a:lnTo>
                        <a:pt x="700" y="484"/>
                      </a:lnTo>
                      <a:lnTo>
                        <a:pt x="702" y="488"/>
                      </a:lnTo>
                      <a:lnTo>
                        <a:pt x="702" y="492"/>
                      </a:lnTo>
                      <a:lnTo>
                        <a:pt x="701" y="494"/>
                      </a:lnTo>
                      <a:lnTo>
                        <a:pt x="698" y="497"/>
                      </a:lnTo>
                      <a:lnTo>
                        <a:pt x="694" y="498"/>
                      </a:lnTo>
                      <a:lnTo>
                        <a:pt x="689" y="500"/>
                      </a:lnTo>
                      <a:lnTo>
                        <a:pt x="687" y="503"/>
                      </a:lnTo>
                      <a:lnTo>
                        <a:pt x="682" y="507"/>
                      </a:lnTo>
                      <a:lnTo>
                        <a:pt x="675" y="512"/>
                      </a:lnTo>
                      <a:lnTo>
                        <a:pt x="670" y="517"/>
                      </a:lnTo>
                      <a:lnTo>
                        <a:pt x="666" y="523"/>
                      </a:lnTo>
                      <a:lnTo>
                        <a:pt x="663" y="529"/>
                      </a:lnTo>
                      <a:lnTo>
                        <a:pt x="661" y="532"/>
                      </a:lnTo>
                      <a:lnTo>
                        <a:pt x="659" y="536"/>
                      </a:lnTo>
                      <a:lnTo>
                        <a:pt x="655" y="541"/>
                      </a:lnTo>
                      <a:lnTo>
                        <a:pt x="653" y="543"/>
                      </a:lnTo>
                      <a:lnTo>
                        <a:pt x="650" y="544"/>
                      </a:lnTo>
                      <a:lnTo>
                        <a:pt x="647" y="544"/>
                      </a:lnTo>
                      <a:lnTo>
                        <a:pt x="644" y="544"/>
                      </a:lnTo>
                      <a:lnTo>
                        <a:pt x="641" y="544"/>
                      </a:lnTo>
                      <a:lnTo>
                        <a:pt x="639" y="545"/>
                      </a:lnTo>
                      <a:lnTo>
                        <a:pt x="639" y="549"/>
                      </a:lnTo>
                      <a:lnTo>
                        <a:pt x="639" y="554"/>
                      </a:lnTo>
                      <a:lnTo>
                        <a:pt x="637" y="556"/>
                      </a:lnTo>
                      <a:lnTo>
                        <a:pt x="636" y="557"/>
                      </a:lnTo>
                      <a:lnTo>
                        <a:pt x="633" y="557"/>
                      </a:lnTo>
                      <a:lnTo>
                        <a:pt x="627" y="555"/>
                      </a:lnTo>
                      <a:lnTo>
                        <a:pt x="623" y="555"/>
                      </a:lnTo>
                      <a:lnTo>
                        <a:pt x="620" y="556"/>
                      </a:lnTo>
                      <a:lnTo>
                        <a:pt x="617" y="557"/>
                      </a:lnTo>
                      <a:lnTo>
                        <a:pt x="613" y="557"/>
                      </a:lnTo>
                      <a:lnTo>
                        <a:pt x="611" y="555"/>
                      </a:lnTo>
                      <a:lnTo>
                        <a:pt x="609" y="554"/>
                      </a:lnTo>
                      <a:lnTo>
                        <a:pt x="611" y="553"/>
                      </a:lnTo>
                      <a:lnTo>
                        <a:pt x="612" y="550"/>
                      </a:lnTo>
                      <a:lnTo>
                        <a:pt x="613" y="549"/>
                      </a:lnTo>
                      <a:lnTo>
                        <a:pt x="613" y="548"/>
                      </a:lnTo>
                      <a:lnTo>
                        <a:pt x="611" y="547"/>
                      </a:lnTo>
                      <a:lnTo>
                        <a:pt x="608" y="547"/>
                      </a:lnTo>
                      <a:lnTo>
                        <a:pt x="606" y="547"/>
                      </a:lnTo>
                      <a:lnTo>
                        <a:pt x="603" y="547"/>
                      </a:lnTo>
                      <a:lnTo>
                        <a:pt x="600" y="547"/>
                      </a:lnTo>
                      <a:lnTo>
                        <a:pt x="599" y="544"/>
                      </a:lnTo>
                      <a:lnTo>
                        <a:pt x="598" y="544"/>
                      </a:lnTo>
                      <a:lnTo>
                        <a:pt x="597" y="544"/>
                      </a:lnTo>
                      <a:lnTo>
                        <a:pt x="597" y="548"/>
                      </a:lnTo>
                      <a:lnTo>
                        <a:pt x="598" y="550"/>
                      </a:lnTo>
                      <a:lnTo>
                        <a:pt x="599" y="555"/>
                      </a:lnTo>
                      <a:lnTo>
                        <a:pt x="599" y="560"/>
                      </a:lnTo>
                      <a:lnTo>
                        <a:pt x="598" y="561"/>
                      </a:lnTo>
                      <a:lnTo>
                        <a:pt x="595" y="562"/>
                      </a:lnTo>
                      <a:lnTo>
                        <a:pt x="593" y="562"/>
                      </a:lnTo>
                      <a:lnTo>
                        <a:pt x="590" y="563"/>
                      </a:lnTo>
                      <a:lnTo>
                        <a:pt x="588" y="568"/>
                      </a:lnTo>
                      <a:lnTo>
                        <a:pt x="584" y="568"/>
                      </a:lnTo>
                      <a:lnTo>
                        <a:pt x="583" y="569"/>
                      </a:lnTo>
                      <a:lnTo>
                        <a:pt x="579" y="571"/>
                      </a:lnTo>
                      <a:lnTo>
                        <a:pt x="574" y="570"/>
                      </a:lnTo>
                      <a:lnTo>
                        <a:pt x="571" y="570"/>
                      </a:lnTo>
                      <a:lnTo>
                        <a:pt x="570" y="571"/>
                      </a:lnTo>
                      <a:lnTo>
                        <a:pt x="566" y="576"/>
                      </a:lnTo>
                      <a:lnTo>
                        <a:pt x="564" y="580"/>
                      </a:lnTo>
                      <a:lnTo>
                        <a:pt x="561" y="582"/>
                      </a:lnTo>
                      <a:lnTo>
                        <a:pt x="555" y="585"/>
                      </a:lnTo>
                      <a:lnTo>
                        <a:pt x="552" y="586"/>
                      </a:lnTo>
                      <a:lnTo>
                        <a:pt x="552" y="587"/>
                      </a:lnTo>
                      <a:lnTo>
                        <a:pt x="551" y="589"/>
                      </a:lnTo>
                      <a:lnTo>
                        <a:pt x="552" y="590"/>
                      </a:lnTo>
                      <a:lnTo>
                        <a:pt x="556" y="594"/>
                      </a:lnTo>
                      <a:lnTo>
                        <a:pt x="559" y="599"/>
                      </a:lnTo>
                      <a:lnTo>
                        <a:pt x="557" y="602"/>
                      </a:lnTo>
                      <a:lnTo>
                        <a:pt x="556" y="607"/>
                      </a:lnTo>
                      <a:lnTo>
                        <a:pt x="555" y="607"/>
                      </a:lnTo>
                      <a:lnTo>
                        <a:pt x="552" y="606"/>
                      </a:lnTo>
                      <a:lnTo>
                        <a:pt x="550" y="603"/>
                      </a:lnTo>
                      <a:lnTo>
                        <a:pt x="547" y="603"/>
                      </a:lnTo>
                      <a:lnTo>
                        <a:pt x="546" y="603"/>
                      </a:lnTo>
                      <a:lnTo>
                        <a:pt x="545" y="605"/>
                      </a:lnTo>
                      <a:lnTo>
                        <a:pt x="545" y="607"/>
                      </a:lnTo>
                      <a:lnTo>
                        <a:pt x="548" y="612"/>
                      </a:lnTo>
                      <a:lnTo>
                        <a:pt x="548" y="614"/>
                      </a:lnTo>
                      <a:lnTo>
                        <a:pt x="547" y="615"/>
                      </a:lnTo>
                      <a:lnTo>
                        <a:pt x="542" y="620"/>
                      </a:lnTo>
                      <a:lnTo>
                        <a:pt x="534" y="625"/>
                      </a:lnTo>
                      <a:lnTo>
                        <a:pt x="532" y="625"/>
                      </a:lnTo>
                      <a:lnTo>
                        <a:pt x="531" y="625"/>
                      </a:lnTo>
                      <a:lnTo>
                        <a:pt x="529" y="626"/>
                      </a:lnTo>
                      <a:lnTo>
                        <a:pt x="528" y="628"/>
                      </a:lnTo>
                      <a:lnTo>
                        <a:pt x="528" y="632"/>
                      </a:lnTo>
                      <a:lnTo>
                        <a:pt x="529" y="636"/>
                      </a:lnTo>
                      <a:lnTo>
                        <a:pt x="529" y="639"/>
                      </a:lnTo>
                      <a:lnTo>
                        <a:pt x="527" y="641"/>
                      </a:lnTo>
                      <a:lnTo>
                        <a:pt x="526" y="644"/>
                      </a:lnTo>
                      <a:lnTo>
                        <a:pt x="524" y="645"/>
                      </a:lnTo>
                      <a:lnTo>
                        <a:pt x="523" y="649"/>
                      </a:lnTo>
                      <a:lnTo>
                        <a:pt x="522" y="653"/>
                      </a:lnTo>
                      <a:lnTo>
                        <a:pt x="523" y="658"/>
                      </a:lnTo>
                      <a:lnTo>
                        <a:pt x="523" y="663"/>
                      </a:lnTo>
                      <a:lnTo>
                        <a:pt x="523" y="669"/>
                      </a:lnTo>
                      <a:lnTo>
                        <a:pt x="522" y="672"/>
                      </a:lnTo>
                      <a:lnTo>
                        <a:pt x="518" y="677"/>
                      </a:lnTo>
                      <a:lnTo>
                        <a:pt x="514" y="682"/>
                      </a:lnTo>
                      <a:lnTo>
                        <a:pt x="513" y="685"/>
                      </a:lnTo>
                      <a:lnTo>
                        <a:pt x="513" y="690"/>
                      </a:lnTo>
                      <a:lnTo>
                        <a:pt x="513" y="694"/>
                      </a:lnTo>
                      <a:lnTo>
                        <a:pt x="512" y="696"/>
                      </a:lnTo>
                      <a:lnTo>
                        <a:pt x="509" y="698"/>
                      </a:lnTo>
                      <a:lnTo>
                        <a:pt x="503" y="702"/>
                      </a:lnTo>
                      <a:lnTo>
                        <a:pt x="494" y="707"/>
                      </a:lnTo>
                      <a:lnTo>
                        <a:pt x="494" y="708"/>
                      </a:lnTo>
                      <a:lnTo>
                        <a:pt x="494" y="710"/>
                      </a:lnTo>
                      <a:lnTo>
                        <a:pt x="496" y="711"/>
                      </a:lnTo>
                      <a:lnTo>
                        <a:pt x="498" y="711"/>
                      </a:lnTo>
                      <a:lnTo>
                        <a:pt x="501" y="711"/>
                      </a:lnTo>
                      <a:lnTo>
                        <a:pt x="506" y="710"/>
                      </a:lnTo>
                      <a:lnTo>
                        <a:pt x="510" y="711"/>
                      </a:lnTo>
                      <a:lnTo>
                        <a:pt x="512" y="711"/>
                      </a:lnTo>
                      <a:lnTo>
                        <a:pt x="513" y="711"/>
                      </a:lnTo>
                      <a:lnTo>
                        <a:pt x="512" y="713"/>
                      </a:lnTo>
                      <a:lnTo>
                        <a:pt x="506" y="716"/>
                      </a:lnTo>
                      <a:lnTo>
                        <a:pt x="501" y="718"/>
                      </a:lnTo>
                      <a:lnTo>
                        <a:pt x="495" y="721"/>
                      </a:lnTo>
                      <a:lnTo>
                        <a:pt x="489" y="722"/>
                      </a:lnTo>
                      <a:lnTo>
                        <a:pt x="487" y="717"/>
                      </a:lnTo>
                      <a:lnTo>
                        <a:pt x="485" y="715"/>
                      </a:lnTo>
                      <a:lnTo>
                        <a:pt x="480" y="714"/>
                      </a:lnTo>
                      <a:lnTo>
                        <a:pt x="476" y="715"/>
                      </a:lnTo>
                      <a:lnTo>
                        <a:pt x="475" y="714"/>
                      </a:lnTo>
                      <a:lnTo>
                        <a:pt x="475" y="713"/>
                      </a:lnTo>
                      <a:lnTo>
                        <a:pt x="480" y="708"/>
                      </a:lnTo>
                      <a:lnTo>
                        <a:pt x="481" y="705"/>
                      </a:lnTo>
                      <a:lnTo>
                        <a:pt x="480" y="703"/>
                      </a:lnTo>
                      <a:lnTo>
                        <a:pt x="477" y="702"/>
                      </a:lnTo>
                      <a:lnTo>
                        <a:pt x="475" y="701"/>
                      </a:lnTo>
                      <a:lnTo>
                        <a:pt x="470" y="701"/>
                      </a:lnTo>
                      <a:lnTo>
                        <a:pt x="463" y="700"/>
                      </a:lnTo>
                      <a:lnTo>
                        <a:pt x="462" y="698"/>
                      </a:lnTo>
                      <a:lnTo>
                        <a:pt x="460" y="697"/>
                      </a:lnTo>
                      <a:lnTo>
                        <a:pt x="458" y="695"/>
                      </a:lnTo>
                      <a:lnTo>
                        <a:pt x="458" y="694"/>
                      </a:lnTo>
                      <a:lnTo>
                        <a:pt x="461" y="689"/>
                      </a:lnTo>
                      <a:lnTo>
                        <a:pt x="461" y="688"/>
                      </a:lnTo>
                      <a:lnTo>
                        <a:pt x="458" y="686"/>
                      </a:lnTo>
                      <a:lnTo>
                        <a:pt x="456" y="688"/>
                      </a:lnTo>
                      <a:lnTo>
                        <a:pt x="451" y="691"/>
                      </a:lnTo>
                      <a:lnTo>
                        <a:pt x="444" y="695"/>
                      </a:lnTo>
                      <a:lnTo>
                        <a:pt x="438" y="696"/>
                      </a:lnTo>
                      <a:lnTo>
                        <a:pt x="432" y="697"/>
                      </a:lnTo>
                      <a:lnTo>
                        <a:pt x="429" y="696"/>
                      </a:lnTo>
                      <a:lnTo>
                        <a:pt x="426" y="695"/>
                      </a:lnTo>
                      <a:lnTo>
                        <a:pt x="425" y="692"/>
                      </a:lnTo>
                      <a:lnTo>
                        <a:pt x="423" y="691"/>
                      </a:lnTo>
                      <a:lnTo>
                        <a:pt x="420" y="690"/>
                      </a:lnTo>
                      <a:lnTo>
                        <a:pt x="416" y="686"/>
                      </a:lnTo>
                      <a:lnTo>
                        <a:pt x="414" y="686"/>
                      </a:lnTo>
                      <a:lnTo>
                        <a:pt x="411" y="686"/>
                      </a:lnTo>
                      <a:lnTo>
                        <a:pt x="411" y="684"/>
                      </a:lnTo>
                      <a:lnTo>
                        <a:pt x="413" y="683"/>
                      </a:lnTo>
                      <a:lnTo>
                        <a:pt x="415" y="682"/>
                      </a:lnTo>
                      <a:lnTo>
                        <a:pt x="416" y="679"/>
                      </a:lnTo>
                      <a:lnTo>
                        <a:pt x="416" y="678"/>
                      </a:lnTo>
                      <a:lnTo>
                        <a:pt x="415" y="678"/>
                      </a:lnTo>
                      <a:lnTo>
                        <a:pt x="411" y="677"/>
                      </a:lnTo>
                      <a:lnTo>
                        <a:pt x="407" y="677"/>
                      </a:lnTo>
                      <a:lnTo>
                        <a:pt x="404" y="677"/>
                      </a:lnTo>
                      <a:lnTo>
                        <a:pt x="401" y="676"/>
                      </a:lnTo>
                      <a:lnTo>
                        <a:pt x="399" y="675"/>
                      </a:lnTo>
                      <a:lnTo>
                        <a:pt x="399" y="673"/>
                      </a:lnTo>
                      <a:lnTo>
                        <a:pt x="401" y="670"/>
                      </a:lnTo>
                      <a:lnTo>
                        <a:pt x="405" y="668"/>
                      </a:lnTo>
                      <a:lnTo>
                        <a:pt x="407" y="665"/>
                      </a:lnTo>
                      <a:lnTo>
                        <a:pt x="407" y="664"/>
                      </a:lnTo>
                      <a:lnTo>
                        <a:pt x="406" y="663"/>
                      </a:lnTo>
                      <a:lnTo>
                        <a:pt x="404" y="660"/>
                      </a:lnTo>
                      <a:lnTo>
                        <a:pt x="401" y="660"/>
                      </a:lnTo>
                      <a:lnTo>
                        <a:pt x="397" y="662"/>
                      </a:lnTo>
                      <a:lnTo>
                        <a:pt x="395" y="662"/>
                      </a:lnTo>
                      <a:lnTo>
                        <a:pt x="392" y="660"/>
                      </a:lnTo>
                      <a:lnTo>
                        <a:pt x="393" y="658"/>
                      </a:lnTo>
                      <a:lnTo>
                        <a:pt x="396" y="653"/>
                      </a:lnTo>
                      <a:lnTo>
                        <a:pt x="396" y="652"/>
                      </a:lnTo>
                      <a:lnTo>
                        <a:pt x="396" y="651"/>
                      </a:lnTo>
                      <a:lnTo>
                        <a:pt x="393" y="650"/>
                      </a:lnTo>
                      <a:lnTo>
                        <a:pt x="386" y="651"/>
                      </a:lnTo>
                      <a:lnTo>
                        <a:pt x="385" y="650"/>
                      </a:lnTo>
                      <a:lnTo>
                        <a:pt x="386" y="649"/>
                      </a:lnTo>
                      <a:lnTo>
                        <a:pt x="387" y="646"/>
                      </a:lnTo>
                      <a:lnTo>
                        <a:pt x="387" y="645"/>
                      </a:lnTo>
                      <a:lnTo>
                        <a:pt x="385" y="645"/>
                      </a:lnTo>
                      <a:lnTo>
                        <a:pt x="383" y="645"/>
                      </a:lnTo>
                      <a:lnTo>
                        <a:pt x="381" y="645"/>
                      </a:lnTo>
                      <a:lnTo>
                        <a:pt x="381" y="643"/>
                      </a:lnTo>
                      <a:lnTo>
                        <a:pt x="382" y="641"/>
                      </a:lnTo>
                      <a:lnTo>
                        <a:pt x="383" y="640"/>
                      </a:lnTo>
                      <a:lnTo>
                        <a:pt x="386" y="639"/>
                      </a:lnTo>
                      <a:lnTo>
                        <a:pt x="387" y="638"/>
                      </a:lnTo>
                      <a:lnTo>
                        <a:pt x="387" y="637"/>
                      </a:lnTo>
                      <a:lnTo>
                        <a:pt x="386" y="637"/>
                      </a:lnTo>
                      <a:lnTo>
                        <a:pt x="383" y="638"/>
                      </a:lnTo>
                      <a:lnTo>
                        <a:pt x="381" y="638"/>
                      </a:lnTo>
                      <a:lnTo>
                        <a:pt x="377" y="636"/>
                      </a:lnTo>
                      <a:lnTo>
                        <a:pt x="376" y="632"/>
                      </a:lnTo>
                      <a:lnTo>
                        <a:pt x="374" y="628"/>
                      </a:lnTo>
                      <a:lnTo>
                        <a:pt x="374" y="627"/>
                      </a:lnTo>
                      <a:lnTo>
                        <a:pt x="377" y="626"/>
                      </a:lnTo>
                      <a:lnTo>
                        <a:pt x="380" y="625"/>
                      </a:lnTo>
                      <a:lnTo>
                        <a:pt x="383" y="626"/>
                      </a:lnTo>
                      <a:lnTo>
                        <a:pt x="386" y="626"/>
                      </a:lnTo>
                      <a:lnTo>
                        <a:pt x="388" y="624"/>
                      </a:lnTo>
                      <a:lnTo>
                        <a:pt x="390" y="621"/>
                      </a:lnTo>
                      <a:lnTo>
                        <a:pt x="388" y="619"/>
                      </a:lnTo>
                      <a:lnTo>
                        <a:pt x="391" y="618"/>
                      </a:lnTo>
                      <a:lnTo>
                        <a:pt x="391" y="617"/>
                      </a:lnTo>
                      <a:lnTo>
                        <a:pt x="388" y="617"/>
                      </a:lnTo>
                      <a:lnTo>
                        <a:pt x="387" y="617"/>
                      </a:lnTo>
                      <a:lnTo>
                        <a:pt x="385" y="618"/>
                      </a:lnTo>
                      <a:lnTo>
                        <a:pt x="382" y="619"/>
                      </a:lnTo>
                      <a:lnTo>
                        <a:pt x="380" y="618"/>
                      </a:lnTo>
                      <a:lnTo>
                        <a:pt x="377" y="618"/>
                      </a:lnTo>
                      <a:lnTo>
                        <a:pt x="374" y="618"/>
                      </a:lnTo>
                      <a:lnTo>
                        <a:pt x="373" y="619"/>
                      </a:lnTo>
                      <a:lnTo>
                        <a:pt x="372" y="620"/>
                      </a:lnTo>
                      <a:lnTo>
                        <a:pt x="371" y="624"/>
                      </a:lnTo>
                      <a:lnTo>
                        <a:pt x="369" y="625"/>
                      </a:lnTo>
                      <a:lnTo>
                        <a:pt x="367" y="625"/>
                      </a:lnTo>
                      <a:lnTo>
                        <a:pt x="366" y="622"/>
                      </a:lnTo>
                      <a:lnTo>
                        <a:pt x="366" y="621"/>
                      </a:lnTo>
                      <a:lnTo>
                        <a:pt x="368" y="618"/>
                      </a:lnTo>
                      <a:lnTo>
                        <a:pt x="368" y="617"/>
                      </a:lnTo>
                      <a:lnTo>
                        <a:pt x="367" y="614"/>
                      </a:lnTo>
                      <a:lnTo>
                        <a:pt x="366" y="612"/>
                      </a:lnTo>
                      <a:lnTo>
                        <a:pt x="368" y="607"/>
                      </a:lnTo>
                      <a:lnTo>
                        <a:pt x="371" y="601"/>
                      </a:lnTo>
                      <a:lnTo>
                        <a:pt x="372" y="600"/>
                      </a:lnTo>
                      <a:lnTo>
                        <a:pt x="373" y="599"/>
                      </a:lnTo>
                      <a:lnTo>
                        <a:pt x="376" y="600"/>
                      </a:lnTo>
                      <a:lnTo>
                        <a:pt x="378" y="602"/>
                      </a:lnTo>
                      <a:lnTo>
                        <a:pt x="380" y="603"/>
                      </a:lnTo>
                      <a:lnTo>
                        <a:pt x="380" y="602"/>
                      </a:lnTo>
                      <a:lnTo>
                        <a:pt x="381" y="600"/>
                      </a:lnTo>
                      <a:lnTo>
                        <a:pt x="380" y="598"/>
                      </a:lnTo>
                      <a:lnTo>
                        <a:pt x="381" y="595"/>
                      </a:lnTo>
                      <a:lnTo>
                        <a:pt x="382" y="594"/>
                      </a:lnTo>
                      <a:lnTo>
                        <a:pt x="383" y="594"/>
                      </a:lnTo>
                      <a:lnTo>
                        <a:pt x="386" y="599"/>
                      </a:lnTo>
                      <a:lnTo>
                        <a:pt x="388" y="603"/>
                      </a:lnTo>
                      <a:lnTo>
                        <a:pt x="390" y="605"/>
                      </a:lnTo>
                      <a:lnTo>
                        <a:pt x="393" y="606"/>
                      </a:lnTo>
                      <a:lnTo>
                        <a:pt x="396" y="605"/>
                      </a:lnTo>
                      <a:lnTo>
                        <a:pt x="397" y="603"/>
                      </a:lnTo>
                      <a:lnTo>
                        <a:pt x="399" y="600"/>
                      </a:lnTo>
                      <a:lnTo>
                        <a:pt x="399" y="598"/>
                      </a:lnTo>
                      <a:lnTo>
                        <a:pt x="397" y="598"/>
                      </a:lnTo>
                      <a:lnTo>
                        <a:pt x="399" y="599"/>
                      </a:lnTo>
                      <a:lnTo>
                        <a:pt x="396" y="596"/>
                      </a:lnTo>
                      <a:lnTo>
                        <a:pt x="395" y="593"/>
                      </a:lnTo>
                      <a:lnTo>
                        <a:pt x="393" y="587"/>
                      </a:lnTo>
                      <a:lnTo>
                        <a:pt x="392" y="586"/>
                      </a:lnTo>
                      <a:lnTo>
                        <a:pt x="391" y="586"/>
                      </a:lnTo>
                      <a:lnTo>
                        <a:pt x="385" y="586"/>
                      </a:lnTo>
                      <a:lnTo>
                        <a:pt x="382" y="586"/>
                      </a:lnTo>
                      <a:lnTo>
                        <a:pt x="381" y="583"/>
                      </a:lnTo>
                      <a:lnTo>
                        <a:pt x="380" y="583"/>
                      </a:lnTo>
                      <a:lnTo>
                        <a:pt x="378" y="583"/>
                      </a:lnTo>
                      <a:lnTo>
                        <a:pt x="377" y="585"/>
                      </a:lnTo>
                      <a:lnTo>
                        <a:pt x="376" y="587"/>
                      </a:lnTo>
                      <a:lnTo>
                        <a:pt x="374" y="589"/>
                      </a:lnTo>
                      <a:lnTo>
                        <a:pt x="373" y="589"/>
                      </a:lnTo>
                      <a:lnTo>
                        <a:pt x="372" y="588"/>
                      </a:lnTo>
                      <a:lnTo>
                        <a:pt x="369" y="588"/>
                      </a:lnTo>
                      <a:lnTo>
                        <a:pt x="368" y="588"/>
                      </a:lnTo>
                      <a:lnTo>
                        <a:pt x="366" y="590"/>
                      </a:lnTo>
                      <a:lnTo>
                        <a:pt x="363" y="594"/>
                      </a:lnTo>
                      <a:lnTo>
                        <a:pt x="362" y="596"/>
                      </a:lnTo>
                      <a:lnTo>
                        <a:pt x="358" y="599"/>
                      </a:lnTo>
                      <a:lnTo>
                        <a:pt x="357" y="601"/>
                      </a:lnTo>
                      <a:lnTo>
                        <a:pt x="355" y="602"/>
                      </a:lnTo>
                      <a:lnTo>
                        <a:pt x="354" y="602"/>
                      </a:lnTo>
                      <a:lnTo>
                        <a:pt x="353" y="599"/>
                      </a:lnTo>
                      <a:lnTo>
                        <a:pt x="355" y="592"/>
                      </a:lnTo>
                      <a:lnTo>
                        <a:pt x="357" y="586"/>
                      </a:lnTo>
                      <a:lnTo>
                        <a:pt x="357" y="579"/>
                      </a:lnTo>
                      <a:lnTo>
                        <a:pt x="355" y="571"/>
                      </a:lnTo>
                      <a:lnTo>
                        <a:pt x="357" y="571"/>
                      </a:lnTo>
                      <a:lnTo>
                        <a:pt x="359" y="570"/>
                      </a:lnTo>
                      <a:lnTo>
                        <a:pt x="362" y="568"/>
                      </a:lnTo>
                      <a:lnTo>
                        <a:pt x="364" y="566"/>
                      </a:lnTo>
                      <a:lnTo>
                        <a:pt x="367" y="562"/>
                      </a:lnTo>
                      <a:lnTo>
                        <a:pt x="369" y="558"/>
                      </a:lnTo>
                      <a:lnTo>
                        <a:pt x="371" y="557"/>
                      </a:lnTo>
                      <a:lnTo>
                        <a:pt x="366" y="556"/>
                      </a:lnTo>
                      <a:lnTo>
                        <a:pt x="363" y="556"/>
                      </a:lnTo>
                      <a:lnTo>
                        <a:pt x="359" y="558"/>
                      </a:lnTo>
                      <a:lnTo>
                        <a:pt x="357" y="561"/>
                      </a:lnTo>
                      <a:lnTo>
                        <a:pt x="353" y="567"/>
                      </a:lnTo>
                      <a:lnTo>
                        <a:pt x="346" y="571"/>
                      </a:lnTo>
                      <a:lnTo>
                        <a:pt x="345" y="573"/>
                      </a:lnTo>
                      <a:lnTo>
                        <a:pt x="343" y="573"/>
                      </a:lnTo>
                      <a:lnTo>
                        <a:pt x="340" y="571"/>
                      </a:lnTo>
                      <a:lnTo>
                        <a:pt x="339" y="570"/>
                      </a:lnTo>
                      <a:lnTo>
                        <a:pt x="338" y="562"/>
                      </a:lnTo>
                      <a:lnTo>
                        <a:pt x="338" y="558"/>
                      </a:lnTo>
                      <a:lnTo>
                        <a:pt x="339" y="557"/>
                      </a:lnTo>
                      <a:lnTo>
                        <a:pt x="341" y="556"/>
                      </a:lnTo>
                      <a:lnTo>
                        <a:pt x="346" y="555"/>
                      </a:lnTo>
                      <a:lnTo>
                        <a:pt x="349" y="554"/>
                      </a:lnTo>
                      <a:lnTo>
                        <a:pt x="349" y="553"/>
                      </a:lnTo>
                      <a:lnTo>
                        <a:pt x="345" y="551"/>
                      </a:lnTo>
                      <a:lnTo>
                        <a:pt x="341" y="551"/>
                      </a:lnTo>
                      <a:lnTo>
                        <a:pt x="336" y="551"/>
                      </a:lnTo>
                      <a:lnTo>
                        <a:pt x="335" y="550"/>
                      </a:lnTo>
                      <a:lnTo>
                        <a:pt x="334" y="548"/>
                      </a:lnTo>
                      <a:lnTo>
                        <a:pt x="333" y="547"/>
                      </a:lnTo>
                      <a:lnTo>
                        <a:pt x="333" y="544"/>
                      </a:lnTo>
                      <a:lnTo>
                        <a:pt x="336" y="542"/>
                      </a:lnTo>
                      <a:lnTo>
                        <a:pt x="339" y="542"/>
                      </a:lnTo>
                      <a:lnTo>
                        <a:pt x="341" y="542"/>
                      </a:lnTo>
                      <a:lnTo>
                        <a:pt x="346" y="542"/>
                      </a:lnTo>
                      <a:lnTo>
                        <a:pt x="346" y="541"/>
                      </a:lnTo>
                      <a:lnTo>
                        <a:pt x="346" y="539"/>
                      </a:lnTo>
                      <a:lnTo>
                        <a:pt x="344" y="537"/>
                      </a:lnTo>
                      <a:lnTo>
                        <a:pt x="343" y="535"/>
                      </a:lnTo>
                      <a:lnTo>
                        <a:pt x="341" y="529"/>
                      </a:lnTo>
                      <a:lnTo>
                        <a:pt x="340" y="528"/>
                      </a:lnTo>
                      <a:lnTo>
                        <a:pt x="339" y="529"/>
                      </a:lnTo>
                      <a:lnTo>
                        <a:pt x="336" y="530"/>
                      </a:lnTo>
                      <a:lnTo>
                        <a:pt x="334" y="529"/>
                      </a:lnTo>
                      <a:lnTo>
                        <a:pt x="333" y="528"/>
                      </a:lnTo>
                      <a:lnTo>
                        <a:pt x="333" y="526"/>
                      </a:lnTo>
                      <a:lnTo>
                        <a:pt x="334" y="525"/>
                      </a:lnTo>
                      <a:lnTo>
                        <a:pt x="340" y="522"/>
                      </a:lnTo>
                      <a:lnTo>
                        <a:pt x="340" y="521"/>
                      </a:lnTo>
                      <a:lnTo>
                        <a:pt x="339" y="519"/>
                      </a:lnTo>
                      <a:lnTo>
                        <a:pt x="336" y="519"/>
                      </a:lnTo>
                      <a:lnTo>
                        <a:pt x="334" y="521"/>
                      </a:lnTo>
                      <a:lnTo>
                        <a:pt x="331" y="521"/>
                      </a:lnTo>
                      <a:lnTo>
                        <a:pt x="330" y="521"/>
                      </a:lnTo>
                      <a:lnTo>
                        <a:pt x="331" y="518"/>
                      </a:lnTo>
                      <a:lnTo>
                        <a:pt x="333" y="517"/>
                      </a:lnTo>
                      <a:lnTo>
                        <a:pt x="339" y="515"/>
                      </a:lnTo>
                      <a:lnTo>
                        <a:pt x="345" y="513"/>
                      </a:lnTo>
                      <a:lnTo>
                        <a:pt x="352" y="512"/>
                      </a:lnTo>
                      <a:lnTo>
                        <a:pt x="352" y="513"/>
                      </a:lnTo>
                      <a:lnTo>
                        <a:pt x="353" y="515"/>
                      </a:lnTo>
                      <a:lnTo>
                        <a:pt x="357" y="515"/>
                      </a:lnTo>
                      <a:lnTo>
                        <a:pt x="359" y="513"/>
                      </a:lnTo>
                      <a:lnTo>
                        <a:pt x="360" y="512"/>
                      </a:lnTo>
                      <a:lnTo>
                        <a:pt x="364" y="516"/>
                      </a:lnTo>
                      <a:lnTo>
                        <a:pt x="369" y="518"/>
                      </a:lnTo>
                      <a:lnTo>
                        <a:pt x="374" y="519"/>
                      </a:lnTo>
                      <a:lnTo>
                        <a:pt x="377" y="518"/>
                      </a:lnTo>
                      <a:lnTo>
                        <a:pt x="378" y="517"/>
                      </a:lnTo>
                      <a:lnTo>
                        <a:pt x="380" y="516"/>
                      </a:lnTo>
                      <a:lnTo>
                        <a:pt x="380" y="513"/>
                      </a:lnTo>
                      <a:lnTo>
                        <a:pt x="378" y="510"/>
                      </a:lnTo>
                      <a:lnTo>
                        <a:pt x="378" y="506"/>
                      </a:lnTo>
                      <a:lnTo>
                        <a:pt x="378" y="505"/>
                      </a:lnTo>
                      <a:lnTo>
                        <a:pt x="380" y="504"/>
                      </a:lnTo>
                      <a:lnTo>
                        <a:pt x="378" y="503"/>
                      </a:lnTo>
                      <a:lnTo>
                        <a:pt x="377" y="503"/>
                      </a:lnTo>
                      <a:lnTo>
                        <a:pt x="373" y="503"/>
                      </a:lnTo>
                      <a:lnTo>
                        <a:pt x="372" y="503"/>
                      </a:lnTo>
                      <a:lnTo>
                        <a:pt x="369" y="500"/>
                      </a:lnTo>
                      <a:lnTo>
                        <a:pt x="368" y="499"/>
                      </a:lnTo>
                      <a:lnTo>
                        <a:pt x="366" y="499"/>
                      </a:lnTo>
                      <a:lnTo>
                        <a:pt x="364" y="500"/>
                      </a:lnTo>
                      <a:lnTo>
                        <a:pt x="364" y="503"/>
                      </a:lnTo>
                      <a:lnTo>
                        <a:pt x="363" y="505"/>
                      </a:lnTo>
                      <a:lnTo>
                        <a:pt x="362" y="506"/>
                      </a:lnTo>
                      <a:lnTo>
                        <a:pt x="358" y="507"/>
                      </a:lnTo>
                      <a:lnTo>
                        <a:pt x="354" y="506"/>
                      </a:lnTo>
                      <a:lnTo>
                        <a:pt x="350" y="505"/>
                      </a:lnTo>
                      <a:lnTo>
                        <a:pt x="346" y="504"/>
                      </a:lnTo>
                      <a:lnTo>
                        <a:pt x="343" y="504"/>
                      </a:lnTo>
                      <a:lnTo>
                        <a:pt x="338" y="506"/>
                      </a:lnTo>
                      <a:lnTo>
                        <a:pt x="335" y="506"/>
                      </a:lnTo>
                      <a:lnTo>
                        <a:pt x="333" y="509"/>
                      </a:lnTo>
                      <a:lnTo>
                        <a:pt x="331" y="510"/>
                      </a:lnTo>
                      <a:lnTo>
                        <a:pt x="327" y="511"/>
                      </a:lnTo>
                      <a:lnTo>
                        <a:pt x="327" y="509"/>
                      </a:lnTo>
                      <a:lnTo>
                        <a:pt x="329" y="507"/>
                      </a:lnTo>
                      <a:lnTo>
                        <a:pt x="333" y="504"/>
                      </a:lnTo>
                      <a:lnTo>
                        <a:pt x="341" y="499"/>
                      </a:lnTo>
                      <a:lnTo>
                        <a:pt x="343" y="498"/>
                      </a:lnTo>
                      <a:lnTo>
                        <a:pt x="343" y="497"/>
                      </a:lnTo>
                      <a:lnTo>
                        <a:pt x="344" y="493"/>
                      </a:lnTo>
                      <a:lnTo>
                        <a:pt x="348" y="488"/>
                      </a:lnTo>
                      <a:lnTo>
                        <a:pt x="349" y="486"/>
                      </a:lnTo>
                      <a:lnTo>
                        <a:pt x="352" y="485"/>
                      </a:lnTo>
                      <a:lnTo>
                        <a:pt x="354" y="485"/>
                      </a:lnTo>
                      <a:lnTo>
                        <a:pt x="355" y="486"/>
                      </a:lnTo>
                      <a:lnTo>
                        <a:pt x="357" y="488"/>
                      </a:lnTo>
                      <a:lnTo>
                        <a:pt x="358" y="490"/>
                      </a:lnTo>
                      <a:lnTo>
                        <a:pt x="359" y="490"/>
                      </a:lnTo>
                      <a:lnTo>
                        <a:pt x="360" y="490"/>
                      </a:lnTo>
                      <a:lnTo>
                        <a:pt x="363" y="488"/>
                      </a:lnTo>
                      <a:lnTo>
                        <a:pt x="367" y="486"/>
                      </a:lnTo>
                      <a:lnTo>
                        <a:pt x="371" y="486"/>
                      </a:lnTo>
                      <a:lnTo>
                        <a:pt x="373" y="486"/>
                      </a:lnTo>
                      <a:lnTo>
                        <a:pt x="374" y="486"/>
                      </a:lnTo>
                      <a:lnTo>
                        <a:pt x="376" y="484"/>
                      </a:lnTo>
                      <a:lnTo>
                        <a:pt x="376" y="483"/>
                      </a:lnTo>
                      <a:lnTo>
                        <a:pt x="374" y="479"/>
                      </a:lnTo>
                      <a:lnTo>
                        <a:pt x="373" y="475"/>
                      </a:lnTo>
                      <a:lnTo>
                        <a:pt x="373" y="473"/>
                      </a:lnTo>
                      <a:lnTo>
                        <a:pt x="374" y="472"/>
                      </a:lnTo>
                      <a:lnTo>
                        <a:pt x="376" y="472"/>
                      </a:lnTo>
                      <a:lnTo>
                        <a:pt x="378" y="474"/>
                      </a:lnTo>
                      <a:lnTo>
                        <a:pt x="381" y="477"/>
                      </a:lnTo>
                      <a:lnTo>
                        <a:pt x="383" y="480"/>
                      </a:lnTo>
                      <a:lnTo>
                        <a:pt x="385" y="481"/>
                      </a:lnTo>
                      <a:lnTo>
                        <a:pt x="386" y="481"/>
                      </a:lnTo>
                      <a:lnTo>
                        <a:pt x="388" y="480"/>
                      </a:lnTo>
                      <a:lnTo>
                        <a:pt x="388" y="479"/>
                      </a:lnTo>
                      <a:lnTo>
                        <a:pt x="390" y="473"/>
                      </a:lnTo>
                      <a:lnTo>
                        <a:pt x="390" y="470"/>
                      </a:lnTo>
                      <a:lnTo>
                        <a:pt x="388" y="467"/>
                      </a:lnTo>
                      <a:lnTo>
                        <a:pt x="386" y="465"/>
                      </a:lnTo>
                      <a:lnTo>
                        <a:pt x="382" y="464"/>
                      </a:lnTo>
                      <a:lnTo>
                        <a:pt x="378" y="464"/>
                      </a:lnTo>
                      <a:lnTo>
                        <a:pt x="376" y="465"/>
                      </a:lnTo>
                      <a:lnTo>
                        <a:pt x="374" y="462"/>
                      </a:lnTo>
                      <a:lnTo>
                        <a:pt x="382" y="459"/>
                      </a:lnTo>
                      <a:lnTo>
                        <a:pt x="387" y="455"/>
                      </a:lnTo>
                      <a:lnTo>
                        <a:pt x="388" y="453"/>
                      </a:lnTo>
                      <a:lnTo>
                        <a:pt x="390" y="451"/>
                      </a:lnTo>
                      <a:lnTo>
                        <a:pt x="388" y="447"/>
                      </a:lnTo>
                      <a:lnTo>
                        <a:pt x="386" y="443"/>
                      </a:lnTo>
                      <a:lnTo>
                        <a:pt x="386" y="441"/>
                      </a:lnTo>
                      <a:lnTo>
                        <a:pt x="386" y="440"/>
                      </a:lnTo>
                      <a:lnTo>
                        <a:pt x="385" y="435"/>
                      </a:lnTo>
                      <a:lnTo>
                        <a:pt x="381" y="430"/>
                      </a:lnTo>
                      <a:lnTo>
                        <a:pt x="378" y="428"/>
                      </a:lnTo>
                      <a:lnTo>
                        <a:pt x="378" y="426"/>
                      </a:lnTo>
                      <a:lnTo>
                        <a:pt x="380" y="422"/>
                      </a:lnTo>
                      <a:lnTo>
                        <a:pt x="380" y="420"/>
                      </a:lnTo>
                      <a:lnTo>
                        <a:pt x="374" y="414"/>
                      </a:lnTo>
                      <a:lnTo>
                        <a:pt x="369" y="407"/>
                      </a:lnTo>
                      <a:lnTo>
                        <a:pt x="368" y="406"/>
                      </a:lnTo>
                      <a:lnTo>
                        <a:pt x="366" y="404"/>
                      </a:lnTo>
                      <a:lnTo>
                        <a:pt x="359" y="404"/>
                      </a:lnTo>
                      <a:lnTo>
                        <a:pt x="344" y="407"/>
                      </a:lnTo>
                      <a:lnTo>
                        <a:pt x="345" y="404"/>
                      </a:lnTo>
                      <a:lnTo>
                        <a:pt x="348" y="403"/>
                      </a:lnTo>
                      <a:lnTo>
                        <a:pt x="353" y="401"/>
                      </a:lnTo>
                      <a:lnTo>
                        <a:pt x="354" y="401"/>
                      </a:lnTo>
                      <a:lnTo>
                        <a:pt x="355" y="398"/>
                      </a:lnTo>
                      <a:lnTo>
                        <a:pt x="355" y="397"/>
                      </a:lnTo>
                      <a:lnTo>
                        <a:pt x="354" y="395"/>
                      </a:lnTo>
                      <a:lnTo>
                        <a:pt x="344" y="388"/>
                      </a:lnTo>
                      <a:lnTo>
                        <a:pt x="340" y="384"/>
                      </a:lnTo>
                      <a:lnTo>
                        <a:pt x="339" y="381"/>
                      </a:lnTo>
                      <a:lnTo>
                        <a:pt x="338" y="378"/>
                      </a:lnTo>
                      <a:lnTo>
                        <a:pt x="338" y="377"/>
                      </a:lnTo>
                      <a:lnTo>
                        <a:pt x="336" y="377"/>
                      </a:lnTo>
                      <a:lnTo>
                        <a:pt x="334" y="379"/>
                      </a:lnTo>
                      <a:lnTo>
                        <a:pt x="333" y="383"/>
                      </a:lnTo>
                      <a:lnTo>
                        <a:pt x="331" y="385"/>
                      </a:lnTo>
                      <a:lnTo>
                        <a:pt x="329" y="388"/>
                      </a:lnTo>
                      <a:lnTo>
                        <a:pt x="326" y="391"/>
                      </a:lnTo>
                      <a:lnTo>
                        <a:pt x="326" y="395"/>
                      </a:lnTo>
                      <a:lnTo>
                        <a:pt x="325" y="400"/>
                      </a:lnTo>
                      <a:lnTo>
                        <a:pt x="324" y="403"/>
                      </a:lnTo>
                      <a:lnTo>
                        <a:pt x="321" y="406"/>
                      </a:lnTo>
                      <a:lnTo>
                        <a:pt x="320" y="407"/>
                      </a:lnTo>
                      <a:lnTo>
                        <a:pt x="317" y="407"/>
                      </a:lnTo>
                      <a:lnTo>
                        <a:pt x="316" y="406"/>
                      </a:lnTo>
                      <a:lnTo>
                        <a:pt x="315" y="403"/>
                      </a:lnTo>
                      <a:lnTo>
                        <a:pt x="315" y="401"/>
                      </a:lnTo>
                      <a:lnTo>
                        <a:pt x="312" y="400"/>
                      </a:lnTo>
                      <a:lnTo>
                        <a:pt x="311" y="400"/>
                      </a:lnTo>
                      <a:lnTo>
                        <a:pt x="307" y="403"/>
                      </a:lnTo>
                      <a:lnTo>
                        <a:pt x="305" y="404"/>
                      </a:lnTo>
                      <a:lnTo>
                        <a:pt x="302" y="403"/>
                      </a:lnTo>
                      <a:lnTo>
                        <a:pt x="297" y="398"/>
                      </a:lnTo>
                      <a:lnTo>
                        <a:pt x="296" y="396"/>
                      </a:lnTo>
                      <a:lnTo>
                        <a:pt x="294" y="394"/>
                      </a:lnTo>
                      <a:lnTo>
                        <a:pt x="296" y="392"/>
                      </a:lnTo>
                      <a:lnTo>
                        <a:pt x="298" y="391"/>
                      </a:lnTo>
                      <a:lnTo>
                        <a:pt x="300" y="390"/>
                      </a:lnTo>
                      <a:lnTo>
                        <a:pt x="300" y="389"/>
                      </a:lnTo>
                      <a:lnTo>
                        <a:pt x="298" y="385"/>
                      </a:lnTo>
                      <a:lnTo>
                        <a:pt x="297" y="382"/>
                      </a:lnTo>
                      <a:lnTo>
                        <a:pt x="297" y="377"/>
                      </a:lnTo>
                      <a:lnTo>
                        <a:pt x="298" y="371"/>
                      </a:lnTo>
                      <a:lnTo>
                        <a:pt x="298" y="365"/>
                      </a:lnTo>
                      <a:lnTo>
                        <a:pt x="297" y="363"/>
                      </a:lnTo>
                      <a:lnTo>
                        <a:pt x="294" y="360"/>
                      </a:lnTo>
                      <a:lnTo>
                        <a:pt x="294" y="359"/>
                      </a:lnTo>
                      <a:lnTo>
                        <a:pt x="296" y="357"/>
                      </a:lnTo>
                      <a:lnTo>
                        <a:pt x="301" y="355"/>
                      </a:lnTo>
                      <a:lnTo>
                        <a:pt x="302" y="352"/>
                      </a:lnTo>
                      <a:lnTo>
                        <a:pt x="302" y="351"/>
                      </a:lnTo>
                      <a:lnTo>
                        <a:pt x="302" y="350"/>
                      </a:lnTo>
                      <a:lnTo>
                        <a:pt x="294" y="339"/>
                      </a:lnTo>
                      <a:lnTo>
                        <a:pt x="288" y="328"/>
                      </a:lnTo>
                      <a:lnTo>
                        <a:pt x="287" y="328"/>
                      </a:lnTo>
                      <a:lnTo>
                        <a:pt x="284" y="328"/>
                      </a:lnTo>
                      <a:lnTo>
                        <a:pt x="282" y="328"/>
                      </a:lnTo>
                      <a:lnTo>
                        <a:pt x="280" y="327"/>
                      </a:lnTo>
                      <a:lnTo>
                        <a:pt x="279" y="326"/>
                      </a:lnTo>
                      <a:lnTo>
                        <a:pt x="279" y="325"/>
                      </a:lnTo>
                      <a:lnTo>
                        <a:pt x="282" y="321"/>
                      </a:lnTo>
                      <a:lnTo>
                        <a:pt x="283" y="320"/>
                      </a:lnTo>
                      <a:lnTo>
                        <a:pt x="284" y="318"/>
                      </a:lnTo>
                      <a:lnTo>
                        <a:pt x="283" y="315"/>
                      </a:lnTo>
                      <a:lnTo>
                        <a:pt x="282" y="315"/>
                      </a:lnTo>
                      <a:lnTo>
                        <a:pt x="279" y="314"/>
                      </a:lnTo>
                      <a:lnTo>
                        <a:pt x="278" y="314"/>
                      </a:lnTo>
                      <a:lnTo>
                        <a:pt x="278" y="312"/>
                      </a:lnTo>
                      <a:lnTo>
                        <a:pt x="278" y="309"/>
                      </a:lnTo>
                      <a:lnTo>
                        <a:pt x="280" y="307"/>
                      </a:lnTo>
                      <a:lnTo>
                        <a:pt x="283" y="306"/>
                      </a:lnTo>
                      <a:lnTo>
                        <a:pt x="286" y="305"/>
                      </a:lnTo>
                      <a:lnTo>
                        <a:pt x="286" y="301"/>
                      </a:lnTo>
                      <a:lnTo>
                        <a:pt x="286" y="300"/>
                      </a:lnTo>
                      <a:lnTo>
                        <a:pt x="284" y="300"/>
                      </a:lnTo>
                      <a:lnTo>
                        <a:pt x="280" y="300"/>
                      </a:lnTo>
                      <a:lnTo>
                        <a:pt x="279" y="301"/>
                      </a:lnTo>
                      <a:lnTo>
                        <a:pt x="277" y="302"/>
                      </a:lnTo>
                      <a:lnTo>
                        <a:pt x="274" y="302"/>
                      </a:lnTo>
                      <a:lnTo>
                        <a:pt x="272" y="301"/>
                      </a:lnTo>
                      <a:lnTo>
                        <a:pt x="269" y="300"/>
                      </a:lnTo>
                      <a:lnTo>
                        <a:pt x="266" y="301"/>
                      </a:lnTo>
                      <a:lnTo>
                        <a:pt x="263" y="302"/>
                      </a:lnTo>
                      <a:lnTo>
                        <a:pt x="259" y="302"/>
                      </a:lnTo>
                      <a:lnTo>
                        <a:pt x="256" y="302"/>
                      </a:lnTo>
                      <a:lnTo>
                        <a:pt x="254" y="300"/>
                      </a:lnTo>
                      <a:lnTo>
                        <a:pt x="251" y="292"/>
                      </a:lnTo>
                      <a:lnTo>
                        <a:pt x="251" y="289"/>
                      </a:lnTo>
                      <a:lnTo>
                        <a:pt x="250" y="287"/>
                      </a:lnTo>
                      <a:lnTo>
                        <a:pt x="246" y="283"/>
                      </a:lnTo>
                      <a:lnTo>
                        <a:pt x="244" y="282"/>
                      </a:lnTo>
                      <a:lnTo>
                        <a:pt x="241" y="282"/>
                      </a:lnTo>
                      <a:lnTo>
                        <a:pt x="237" y="280"/>
                      </a:lnTo>
                      <a:lnTo>
                        <a:pt x="236" y="279"/>
                      </a:lnTo>
                      <a:lnTo>
                        <a:pt x="236" y="277"/>
                      </a:lnTo>
                      <a:lnTo>
                        <a:pt x="236" y="274"/>
                      </a:lnTo>
                      <a:lnTo>
                        <a:pt x="235" y="272"/>
                      </a:lnTo>
                      <a:lnTo>
                        <a:pt x="232" y="272"/>
                      </a:lnTo>
                      <a:lnTo>
                        <a:pt x="228" y="270"/>
                      </a:lnTo>
                      <a:lnTo>
                        <a:pt x="223" y="272"/>
                      </a:lnTo>
                      <a:lnTo>
                        <a:pt x="218" y="272"/>
                      </a:lnTo>
                      <a:lnTo>
                        <a:pt x="216" y="272"/>
                      </a:lnTo>
                      <a:lnTo>
                        <a:pt x="213" y="269"/>
                      </a:lnTo>
                      <a:lnTo>
                        <a:pt x="211" y="263"/>
                      </a:lnTo>
                      <a:lnTo>
                        <a:pt x="209" y="261"/>
                      </a:lnTo>
                      <a:lnTo>
                        <a:pt x="208" y="260"/>
                      </a:lnTo>
                      <a:lnTo>
                        <a:pt x="207" y="260"/>
                      </a:lnTo>
                      <a:lnTo>
                        <a:pt x="206" y="260"/>
                      </a:lnTo>
                      <a:lnTo>
                        <a:pt x="202" y="263"/>
                      </a:lnTo>
                      <a:lnTo>
                        <a:pt x="199" y="266"/>
                      </a:lnTo>
                      <a:lnTo>
                        <a:pt x="195" y="267"/>
                      </a:lnTo>
                      <a:lnTo>
                        <a:pt x="190" y="267"/>
                      </a:lnTo>
                      <a:lnTo>
                        <a:pt x="188" y="266"/>
                      </a:lnTo>
                      <a:lnTo>
                        <a:pt x="186" y="263"/>
                      </a:lnTo>
                      <a:lnTo>
                        <a:pt x="183" y="257"/>
                      </a:lnTo>
                      <a:lnTo>
                        <a:pt x="181" y="256"/>
                      </a:lnTo>
                      <a:lnTo>
                        <a:pt x="180" y="255"/>
                      </a:lnTo>
                      <a:lnTo>
                        <a:pt x="176" y="256"/>
                      </a:lnTo>
                      <a:lnTo>
                        <a:pt x="171" y="255"/>
                      </a:lnTo>
                      <a:lnTo>
                        <a:pt x="169" y="254"/>
                      </a:lnTo>
                      <a:lnTo>
                        <a:pt x="165" y="250"/>
                      </a:lnTo>
                      <a:lnTo>
                        <a:pt x="164" y="249"/>
                      </a:lnTo>
                      <a:lnTo>
                        <a:pt x="161" y="250"/>
                      </a:lnTo>
                      <a:lnTo>
                        <a:pt x="156" y="253"/>
                      </a:lnTo>
                      <a:lnTo>
                        <a:pt x="153" y="255"/>
                      </a:lnTo>
                      <a:lnTo>
                        <a:pt x="148" y="256"/>
                      </a:lnTo>
                      <a:lnTo>
                        <a:pt x="147" y="256"/>
                      </a:lnTo>
                      <a:lnTo>
                        <a:pt x="145" y="25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6" name="Freeform 525">
                  <a:extLst>
                    <a:ext uri="{FF2B5EF4-FFF2-40B4-BE49-F238E27FC236}">
                      <a16:creationId xmlns:a16="http://schemas.microsoft.com/office/drawing/2014/main" id="{5BFF7E48-ED75-9848-9334-3E2B76B399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7340" y="4093011"/>
                  <a:ext cx="45876" cy="20718"/>
                </a:xfrm>
                <a:custGeom>
                  <a:avLst/>
                  <a:gdLst>
                    <a:gd name="T0" fmla="*/ 2147483647 w 33"/>
                    <a:gd name="T1" fmla="*/ 2147483647 h 14"/>
                    <a:gd name="T2" fmla="*/ 2147483647 w 33"/>
                    <a:gd name="T3" fmla="*/ 2147483647 h 14"/>
                    <a:gd name="T4" fmla="*/ 2147483647 w 33"/>
                    <a:gd name="T5" fmla="*/ 2147483647 h 14"/>
                    <a:gd name="T6" fmla="*/ 2147483647 w 33"/>
                    <a:gd name="T7" fmla="*/ 2147483647 h 14"/>
                    <a:gd name="T8" fmla="*/ 2147483647 w 33"/>
                    <a:gd name="T9" fmla="*/ 2147483647 h 14"/>
                    <a:gd name="T10" fmla="*/ 2147483647 w 33"/>
                    <a:gd name="T11" fmla="*/ 2147483647 h 14"/>
                    <a:gd name="T12" fmla="*/ 2147483647 w 33"/>
                    <a:gd name="T13" fmla="*/ 2147483647 h 14"/>
                    <a:gd name="T14" fmla="*/ 2147483647 w 33"/>
                    <a:gd name="T15" fmla="*/ 2147483647 h 14"/>
                    <a:gd name="T16" fmla="*/ 2147483647 w 33"/>
                    <a:gd name="T17" fmla="*/ 2147483647 h 14"/>
                    <a:gd name="T18" fmla="*/ 2147483647 w 33"/>
                    <a:gd name="T19" fmla="*/ 0 h 14"/>
                    <a:gd name="T20" fmla="*/ 2147483647 w 33"/>
                    <a:gd name="T21" fmla="*/ 2147483647 h 14"/>
                    <a:gd name="T22" fmla="*/ 2147483647 w 33"/>
                    <a:gd name="T23" fmla="*/ 2147483647 h 14"/>
                    <a:gd name="T24" fmla="*/ 2147483647 w 33"/>
                    <a:gd name="T25" fmla="*/ 2147483647 h 14"/>
                    <a:gd name="T26" fmla="*/ 2147483647 w 33"/>
                    <a:gd name="T27" fmla="*/ 2147483647 h 14"/>
                    <a:gd name="T28" fmla="*/ 2147483647 w 33"/>
                    <a:gd name="T29" fmla="*/ 2147483647 h 14"/>
                    <a:gd name="T30" fmla="*/ 0 w 33"/>
                    <a:gd name="T31" fmla="*/ 2147483647 h 14"/>
                    <a:gd name="T32" fmla="*/ 0 w 33"/>
                    <a:gd name="T33" fmla="*/ 2147483647 h 14"/>
                    <a:gd name="T34" fmla="*/ 0 w 33"/>
                    <a:gd name="T35" fmla="*/ 2147483647 h 14"/>
                    <a:gd name="T36" fmla="*/ 0 w 33"/>
                    <a:gd name="T37" fmla="*/ 2147483647 h 14"/>
                    <a:gd name="T38" fmla="*/ 2147483647 w 33"/>
                    <a:gd name="T39" fmla="*/ 2147483647 h 14"/>
                    <a:gd name="T40" fmla="*/ 2147483647 w 33"/>
                    <a:gd name="T41" fmla="*/ 2147483647 h 14"/>
                    <a:gd name="T42" fmla="*/ 2147483647 w 33"/>
                    <a:gd name="T43" fmla="*/ 2147483647 h 14"/>
                    <a:gd name="T44" fmla="*/ 2147483647 w 33"/>
                    <a:gd name="T45" fmla="*/ 2147483647 h 14"/>
                    <a:gd name="T46" fmla="*/ 2147483647 w 33"/>
                    <a:gd name="T47" fmla="*/ 2147483647 h 1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3"/>
                    <a:gd name="T73" fmla="*/ 0 h 14"/>
                    <a:gd name="T74" fmla="*/ 33 w 33"/>
                    <a:gd name="T75" fmla="*/ 14 h 14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3" h="14">
                      <a:moveTo>
                        <a:pt x="15" y="14"/>
                      </a:moveTo>
                      <a:lnTo>
                        <a:pt x="21" y="14"/>
                      </a:lnTo>
                      <a:lnTo>
                        <a:pt x="28" y="12"/>
                      </a:lnTo>
                      <a:lnTo>
                        <a:pt x="30" y="11"/>
                      </a:lnTo>
                      <a:lnTo>
                        <a:pt x="32" y="10"/>
                      </a:lnTo>
                      <a:lnTo>
                        <a:pt x="33" y="7"/>
                      </a:lnTo>
                      <a:lnTo>
                        <a:pt x="32" y="4"/>
                      </a:lnTo>
                      <a:lnTo>
                        <a:pt x="30" y="2"/>
                      </a:lnTo>
                      <a:lnTo>
                        <a:pt x="28" y="1"/>
                      </a:lnTo>
                      <a:lnTo>
                        <a:pt x="24" y="0"/>
                      </a:lnTo>
                      <a:lnTo>
                        <a:pt x="20" y="1"/>
                      </a:lnTo>
                      <a:lnTo>
                        <a:pt x="15" y="4"/>
                      </a:lnTo>
                      <a:lnTo>
                        <a:pt x="11" y="5"/>
                      </a:lnTo>
                      <a:lnTo>
                        <a:pt x="8" y="4"/>
                      </a:lnTo>
                      <a:lnTo>
                        <a:pt x="4" y="2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4" y="12"/>
                      </a:lnTo>
                      <a:lnTo>
                        <a:pt x="6" y="13"/>
                      </a:lnTo>
                      <a:lnTo>
                        <a:pt x="9" y="14"/>
                      </a:lnTo>
                      <a:lnTo>
                        <a:pt x="15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7" name="Freeform 526">
                  <a:extLst>
                    <a:ext uri="{FF2B5EF4-FFF2-40B4-BE49-F238E27FC236}">
                      <a16:creationId xmlns:a16="http://schemas.microsoft.com/office/drawing/2014/main" id="{80BC7C3D-6299-9B46-B3A2-D0DA48439F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5761" y="4088567"/>
                  <a:ext cx="53275" cy="22198"/>
                </a:xfrm>
                <a:custGeom>
                  <a:avLst/>
                  <a:gdLst>
                    <a:gd name="T0" fmla="*/ 2147483647 w 39"/>
                    <a:gd name="T1" fmla="*/ 2147483647 h 15"/>
                    <a:gd name="T2" fmla="*/ 2147483647 w 39"/>
                    <a:gd name="T3" fmla="*/ 2147483647 h 15"/>
                    <a:gd name="T4" fmla="*/ 2147483647 w 39"/>
                    <a:gd name="T5" fmla="*/ 0 h 15"/>
                    <a:gd name="T6" fmla="*/ 2147483647 w 39"/>
                    <a:gd name="T7" fmla="*/ 2147483647 h 15"/>
                    <a:gd name="T8" fmla="*/ 0 w 39"/>
                    <a:gd name="T9" fmla="*/ 2147483647 h 15"/>
                    <a:gd name="T10" fmla="*/ 0 w 39"/>
                    <a:gd name="T11" fmla="*/ 2147483647 h 15"/>
                    <a:gd name="T12" fmla="*/ 2147483647 w 39"/>
                    <a:gd name="T13" fmla="*/ 2147483647 h 15"/>
                    <a:gd name="T14" fmla="*/ 2147483647 w 39"/>
                    <a:gd name="T15" fmla="*/ 2147483647 h 15"/>
                    <a:gd name="T16" fmla="*/ 2147483647 w 39"/>
                    <a:gd name="T17" fmla="*/ 2147483647 h 15"/>
                    <a:gd name="T18" fmla="*/ 2147483647 w 39"/>
                    <a:gd name="T19" fmla="*/ 2147483647 h 15"/>
                    <a:gd name="T20" fmla="*/ 2147483647 w 39"/>
                    <a:gd name="T21" fmla="*/ 2147483647 h 15"/>
                    <a:gd name="T22" fmla="*/ 2147483647 w 39"/>
                    <a:gd name="T23" fmla="*/ 2147483647 h 15"/>
                    <a:gd name="T24" fmla="*/ 2147483647 w 39"/>
                    <a:gd name="T25" fmla="*/ 2147483647 h 15"/>
                    <a:gd name="T26" fmla="*/ 2147483647 w 39"/>
                    <a:gd name="T27" fmla="*/ 2147483647 h 15"/>
                    <a:gd name="T28" fmla="*/ 2147483647 w 39"/>
                    <a:gd name="T29" fmla="*/ 2147483647 h 15"/>
                    <a:gd name="T30" fmla="*/ 2147483647 w 39"/>
                    <a:gd name="T31" fmla="*/ 2147483647 h 15"/>
                    <a:gd name="T32" fmla="*/ 2147483647 w 39"/>
                    <a:gd name="T33" fmla="*/ 2147483647 h 15"/>
                    <a:gd name="T34" fmla="*/ 2147483647 w 39"/>
                    <a:gd name="T35" fmla="*/ 2147483647 h 1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39"/>
                    <a:gd name="T55" fmla="*/ 0 h 15"/>
                    <a:gd name="T56" fmla="*/ 39 w 39"/>
                    <a:gd name="T57" fmla="*/ 15 h 1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39" h="15">
                      <a:moveTo>
                        <a:pt x="22" y="4"/>
                      </a:moveTo>
                      <a:lnTo>
                        <a:pt x="15" y="2"/>
                      </a:lnTo>
                      <a:lnTo>
                        <a:pt x="6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5" y="8"/>
                      </a:lnTo>
                      <a:lnTo>
                        <a:pt x="10" y="10"/>
                      </a:lnTo>
                      <a:lnTo>
                        <a:pt x="16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30" y="14"/>
                      </a:lnTo>
                      <a:lnTo>
                        <a:pt x="39" y="14"/>
                      </a:lnTo>
                      <a:lnTo>
                        <a:pt x="39" y="10"/>
                      </a:lnTo>
                      <a:lnTo>
                        <a:pt x="38" y="9"/>
                      </a:lnTo>
                      <a:lnTo>
                        <a:pt x="33" y="7"/>
                      </a:lnTo>
                      <a:lnTo>
                        <a:pt x="27" y="5"/>
                      </a:lnTo>
                      <a:lnTo>
                        <a:pt x="2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8" name="Freeform 527">
                  <a:extLst>
                    <a:ext uri="{FF2B5EF4-FFF2-40B4-BE49-F238E27FC236}">
                      <a16:creationId xmlns:a16="http://schemas.microsoft.com/office/drawing/2014/main" id="{CC46E973-8648-AD45-9E86-265D9B1829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5860" y="4091531"/>
                  <a:ext cx="45877" cy="20718"/>
                </a:xfrm>
                <a:custGeom>
                  <a:avLst/>
                  <a:gdLst>
                    <a:gd name="T0" fmla="*/ 2147483647 w 33"/>
                    <a:gd name="T1" fmla="*/ 2147483647 h 14"/>
                    <a:gd name="T2" fmla="*/ 2147483647 w 33"/>
                    <a:gd name="T3" fmla="*/ 2147483647 h 14"/>
                    <a:gd name="T4" fmla="*/ 2147483647 w 33"/>
                    <a:gd name="T5" fmla="*/ 2147483647 h 14"/>
                    <a:gd name="T6" fmla="*/ 2147483647 w 33"/>
                    <a:gd name="T7" fmla="*/ 2147483647 h 14"/>
                    <a:gd name="T8" fmla="*/ 2147483647 w 33"/>
                    <a:gd name="T9" fmla="*/ 2147483647 h 14"/>
                    <a:gd name="T10" fmla="*/ 2147483647 w 33"/>
                    <a:gd name="T11" fmla="*/ 2147483647 h 14"/>
                    <a:gd name="T12" fmla="*/ 2147483647 w 33"/>
                    <a:gd name="T13" fmla="*/ 2147483647 h 14"/>
                    <a:gd name="T14" fmla="*/ 2147483647 w 33"/>
                    <a:gd name="T15" fmla="*/ 2147483647 h 14"/>
                    <a:gd name="T16" fmla="*/ 2147483647 w 33"/>
                    <a:gd name="T17" fmla="*/ 2147483647 h 14"/>
                    <a:gd name="T18" fmla="*/ 2147483647 w 33"/>
                    <a:gd name="T19" fmla="*/ 2147483647 h 14"/>
                    <a:gd name="T20" fmla="*/ 2147483647 w 33"/>
                    <a:gd name="T21" fmla="*/ 2147483647 h 14"/>
                    <a:gd name="T22" fmla="*/ 2147483647 w 33"/>
                    <a:gd name="T23" fmla="*/ 0 h 14"/>
                    <a:gd name="T24" fmla="*/ 2147483647 w 33"/>
                    <a:gd name="T25" fmla="*/ 2147483647 h 14"/>
                    <a:gd name="T26" fmla="*/ 2147483647 w 33"/>
                    <a:gd name="T27" fmla="*/ 2147483647 h 14"/>
                    <a:gd name="T28" fmla="*/ 2147483647 w 33"/>
                    <a:gd name="T29" fmla="*/ 2147483647 h 14"/>
                    <a:gd name="T30" fmla="*/ 2147483647 w 33"/>
                    <a:gd name="T31" fmla="*/ 2147483647 h 14"/>
                    <a:gd name="T32" fmla="*/ 2147483647 w 33"/>
                    <a:gd name="T33" fmla="*/ 2147483647 h 14"/>
                    <a:gd name="T34" fmla="*/ 2147483647 w 33"/>
                    <a:gd name="T35" fmla="*/ 2147483647 h 14"/>
                    <a:gd name="T36" fmla="*/ 0 w 33"/>
                    <a:gd name="T37" fmla="*/ 2147483647 h 14"/>
                    <a:gd name="T38" fmla="*/ 0 w 33"/>
                    <a:gd name="T39" fmla="*/ 2147483647 h 14"/>
                    <a:gd name="T40" fmla="*/ 0 w 33"/>
                    <a:gd name="T41" fmla="*/ 2147483647 h 14"/>
                    <a:gd name="T42" fmla="*/ 0 w 33"/>
                    <a:gd name="T43" fmla="*/ 2147483647 h 14"/>
                    <a:gd name="T44" fmla="*/ 0 w 33"/>
                    <a:gd name="T45" fmla="*/ 2147483647 h 14"/>
                    <a:gd name="T46" fmla="*/ 0 w 33"/>
                    <a:gd name="T47" fmla="*/ 2147483647 h 14"/>
                    <a:gd name="T48" fmla="*/ 2147483647 w 33"/>
                    <a:gd name="T49" fmla="*/ 2147483647 h 14"/>
                    <a:gd name="T50" fmla="*/ 2147483647 w 33"/>
                    <a:gd name="T51" fmla="*/ 2147483647 h 14"/>
                    <a:gd name="T52" fmla="*/ 2147483647 w 33"/>
                    <a:gd name="T53" fmla="*/ 2147483647 h 14"/>
                    <a:gd name="T54" fmla="*/ 2147483647 w 33"/>
                    <a:gd name="T55" fmla="*/ 2147483647 h 14"/>
                    <a:gd name="T56" fmla="*/ 2147483647 w 33"/>
                    <a:gd name="T57" fmla="*/ 2147483647 h 14"/>
                    <a:gd name="T58" fmla="*/ 2147483647 w 33"/>
                    <a:gd name="T59" fmla="*/ 2147483647 h 14"/>
                    <a:gd name="T60" fmla="*/ 2147483647 w 33"/>
                    <a:gd name="T61" fmla="*/ 2147483647 h 1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3"/>
                    <a:gd name="T94" fmla="*/ 0 h 14"/>
                    <a:gd name="T95" fmla="*/ 33 w 33"/>
                    <a:gd name="T96" fmla="*/ 14 h 1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3" h="14">
                      <a:moveTo>
                        <a:pt x="15" y="14"/>
                      </a:moveTo>
                      <a:lnTo>
                        <a:pt x="15" y="14"/>
                      </a:lnTo>
                      <a:lnTo>
                        <a:pt x="21" y="14"/>
                      </a:lnTo>
                      <a:lnTo>
                        <a:pt x="28" y="12"/>
                      </a:lnTo>
                      <a:lnTo>
                        <a:pt x="30" y="11"/>
                      </a:lnTo>
                      <a:lnTo>
                        <a:pt x="31" y="9"/>
                      </a:lnTo>
                      <a:lnTo>
                        <a:pt x="33" y="7"/>
                      </a:lnTo>
                      <a:lnTo>
                        <a:pt x="31" y="3"/>
                      </a:lnTo>
                      <a:lnTo>
                        <a:pt x="30" y="2"/>
                      </a:lnTo>
                      <a:lnTo>
                        <a:pt x="28" y="1"/>
                      </a:lnTo>
                      <a:lnTo>
                        <a:pt x="24" y="0"/>
                      </a:lnTo>
                      <a:lnTo>
                        <a:pt x="20" y="1"/>
                      </a:lnTo>
                      <a:lnTo>
                        <a:pt x="15" y="3"/>
                      </a:lnTo>
                      <a:lnTo>
                        <a:pt x="11" y="5"/>
                      </a:lnTo>
                      <a:lnTo>
                        <a:pt x="7" y="3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3" y="12"/>
                      </a:lnTo>
                      <a:lnTo>
                        <a:pt x="6" y="13"/>
                      </a:lnTo>
                      <a:lnTo>
                        <a:pt x="9" y="14"/>
                      </a:lnTo>
                      <a:lnTo>
                        <a:pt x="15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9" name="Freeform 528">
                  <a:extLst>
                    <a:ext uri="{FF2B5EF4-FFF2-40B4-BE49-F238E27FC236}">
                      <a16:creationId xmlns:a16="http://schemas.microsoft.com/office/drawing/2014/main" id="{0F673568-B9DD-2D42-AF87-F82C9054C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2804" y="4085608"/>
                  <a:ext cx="54755" cy="23678"/>
                </a:xfrm>
                <a:custGeom>
                  <a:avLst/>
                  <a:gdLst>
                    <a:gd name="T0" fmla="*/ 2147483647 w 40"/>
                    <a:gd name="T1" fmla="*/ 2147483647 h 16"/>
                    <a:gd name="T2" fmla="*/ 2147483647 w 40"/>
                    <a:gd name="T3" fmla="*/ 2147483647 h 16"/>
                    <a:gd name="T4" fmla="*/ 2147483647 w 40"/>
                    <a:gd name="T5" fmla="*/ 2147483647 h 16"/>
                    <a:gd name="T6" fmla="*/ 2147483647 w 40"/>
                    <a:gd name="T7" fmla="*/ 0 h 16"/>
                    <a:gd name="T8" fmla="*/ 2147483647 w 40"/>
                    <a:gd name="T9" fmla="*/ 0 h 16"/>
                    <a:gd name="T10" fmla="*/ 2147483647 w 40"/>
                    <a:gd name="T11" fmla="*/ 2147483647 h 16"/>
                    <a:gd name="T12" fmla="*/ 0 w 40"/>
                    <a:gd name="T13" fmla="*/ 2147483647 h 16"/>
                    <a:gd name="T14" fmla="*/ 0 w 40"/>
                    <a:gd name="T15" fmla="*/ 2147483647 h 16"/>
                    <a:gd name="T16" fmla="*/ 0 w 40"/>
                    <a:gd name="T17" fmla="*/ 2147483647 h 16"/>
                    <a:gd name="T18" fmla="*/ 2147483647 w 40"/>
                    <a:gd name="T19" fmla="*/ 2147483647 h 16"/>
                    <a:gd name="T20" fmla="*/ 2147483647 w 40"/>
                    <a:gd name="T21" fmla="*/ 2147483647 h 16"/>
                    <a:gd name="T22" fmla="*/ 2147483647 w 40"/>
                    <a:gd name="T23" fmla="*/ 2147483647 h 16"/>
                    <a:gd name="T24" fmla="*/ 2147483647 w 40"/>
                    <a:gd name="T25" fmla="*/ 2147483647 h 16"/>
                    <a:gd name="T26" fmla="*/ 2147483647 w 40"/>
                    <a:gd name="T27" fmla="*/ 2147483647 h 16"/>
                    <a:gd name="T28" fmla="*/ 2147483647 w 40"/>
                    <a:gd name="T29" fmla="*/ 2147483647 h 16"/>
                    <a:gd name="T30" fmla="*/ 2147483647 w 40"/>
                    <a:gd name="T31" fmla="*/ 2147483647 h 16"/>
                    <a:gd name="T32" fmla="*/ 2147483647 w 40"/>
                    <a:gd name="T33" fmla="*/ 2147483647 h 16"/>
                    <a:gd name="T34" fmla="*/ 2147483647 w 40"/>
                    <a:gd name="T35" fmla="*/ 2147483647 h 16"/>
                    <a:gd name="T36" fmla="*/ 2147483647 w 40"/>
                    <a:gd name="T37" fmla="*/ 2147483647 h 16"/>
                    <a:gd name="T38" fmla="*/ 2147483647 w 40"/>
                    <a:gd name="T39" fmla="*/ 2147483647 h 16"/>
                    <a:gd name="T40" fmla="*/ 2147483647 w 40"/>
                    <a:gd name="T41" fmla="*/ 2147483647 h 16"/>
                    <a:gd name="T42" fmla="*/ 2147483647 w 40"/>
                    <a:gd name="T43" fmla="*/ 2147483647 h 16"/>
                    <a:gd name="T44" fmla="*/ 2147483647 w 40"/>
                    <a:gd name="T45" fmla="*/ 2147483647 h 16"/>
                    <a:gd name="T46" fmla="*/ 2147483647 w 40"/>
                    <a:gd name="T47" fmla="*/ 2147483647 h 16"/>
                    <a:gd name="T48" fmla="*/ 2147483647 w 40"/>
                    <a:gd name="T49" fmla="*/ 2147483647 h 1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40"/>
                    <a:gd name="T76" fmla="*/ 0 h 16"/>
                    <a:gd name="T77" fmla="*/ 40 w 40"/>
                    <a:gd name="T78" fmla="*/ 16 h 1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40" h="16">
                      <a:moveTo>
                        <a:pt x="23" y="5"/>
                      </a:moveTo>
                      <a:lnTo>
                        <a:pt x="23" y="5"/>
                      </a:lnTo>
                      <a:lnTo>
                        <a:pt x="15" y="3"/>
                      </a:lnTo>
                      <a:lnTo>
                        <a:pt x="7" y="0"/>
                      </a:ln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5" y="9"/>
                      </a:lnTo>
                      <a:lnTo>
                        <a:pt x="10" y="11"/>
                      </a:lnTo>
                      <a:lnTo>
                        <a:pt x="17" y="15"/>
                      </a:lnTo>
                      <a:lnTo>
                        <a:pt x="21" y="16"/>
                      </a:lnTo>
                      <a:lnTo>
                        <a:pt x="23" y="16"/>
                      </a:lnTo>
                      <a:lnTo>
                        <a:pt x="31" y="15"/>
                      </a:lnTo>
                      <a:lnTo>
                        <a:pt x="40" y="15"/>
                      </a:lnTo>
                      <a:lnTo>
                        <a:pt x="40" y="11"/>
                      </a:lnTo>
                      <a:lnTo>
                        <a:pt x="38" y="10"/>
                      </a:lnTo>
                      <a:lnTo>
                        <a:pt x="33" y="7"/>
                      </a:lnTo>
                      <a:lnTo>
                        <a:pt x="28" y="6"/>
                      </a:lnTo>
                      <a:lnTo>
                        <a:pt x="2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0" name="Freeform 529">
                  <a:extLst>
                    <a:ext uri="{FF2B5EF4-FFF2-40B4-BE49-F238E27FC236}">
                      <a16:creationId xmlns:a16="http://schemas.microsoft.com/office/drawing/2014/main" id="{1234DD31-0804-7A46-8640-E3239E42E6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230" y="4053051"/>
                  <a:ext cx="85833" cy="69554"/>
                </a:xfrm>
                <a:custGeom>
                  <a:avLst/>
                  <a:gdLst>
                    <a:gd name="T0" fmla="*/ 0 w 63"/>
                    <a:gd name="T1" fmla="*/ 2147483647 h 47"/>
                    <a:gd name="T2" fmla="*/ 2147483647 w 63"/>
                    <a:gd name="T3" fmla="*/ 2147483647 h 47"/>
                    <a:gd name="T4" fmla="*/ 2147483647 w 63"/>
                    <a:gd name="T5" fmla="*/ 2147483647 h 47"/>
                    <a:gd name="T6" fmla="*/ 2147483647 w 63"/>
                    <a:gd name="T7" fmla="*/ 2147483647 h 47"/>
                    <a:gd name="T8" fmla="*/ 2147483647 w 63"/>
                    <a:gd name="T9" fmla="*/ 2147483647 h 47"/>
                    <a:gd name="T10" fmla="*/ 2147483647 w 63"/>
                    <a:gd name="T11" fmla="*/ 2147483647 h 47"/>
                    <a:gd name="T12" fmla="*/ 0 w 63"/>
                    <a:gd name="T13" fmla="*/ 2147483647 h 47"/>
                    <a:gd name="T14" fmla="*/ 2147483647 w 63"/>
                    <a:gd name="T15" fmla="*/ 2147483647 h 47"/>
                    <a:gd name="T16" fmla="*/ 2147483647 w 63"/>
                    <a:gd name="T17" fmla="*/ 2147483647 h 47"/>
                    <a:gd name="T18" fmla="*/ 2147483647 w 63"/>
                    <a:gd name="T19" fmla="*/ 2147483647 h 47"/>
                    <a:gd name="T20" fmla="*/ 2147483647 w 63"/>
                    <a:gd name="T21" fmla="*/ 2147483647 h 47"/>
                    <a:gd name="T22" fmla="*/ 2147483647 w 63"/>
                    <a:gd name="T23" fmla="*/ 0 h 47"/>
                    <a:gd name="T24" fmla="*/ 2147483647 w 63"/>
                    <a:gd name="T25" fmla="*/ 2147483647 h 47"/>
                    <a:gd name="T26" fmla="*/ 2147483647 w 63"/>
                    <a:gd name="T27" fmla="*/ 2147483647 h 47"/>
                    <a:gd name="T28" fmla="*/ 2147483647 w 63"/>
                    <a:gd name="T29" fmla="*/ 2147483647 h 47"/>
                    <a:gd name="T30" fmla="*/ 2147483647 w 63"/>
                    <a:gd name="T31" fmla="*/ 2147483647 h 47"/>
                    <a:gd name="T32" fmla="*/ 2147483647 w 63"/>
                    <a:gd name="T33" fmla="*/ 2147483647 h 47"/>
                    <a:gd name="T34" fmla="*/ 2147483647 w 63"/>
                    <a:gd name="T35" fmla="*/ 2147483647 h 47"/>
                    <a:gd name="T36" fmla="*/ 2147483647 w 63"/>
                    <a:gd name="T37" fmla="*/ 2147483647 h 47"/>
                    <a:gd name="T38" fmla="*/ 2147483647 w 63"/>
                    <a:gd name="T39" fmla="*/ 2147483647 h 47"/>
                    <a:gd name="T40" fmla="*/ 2147483647 w 63"/>
                    <a:gd name="T41" fmla="*/ 2147483647 h 47"/>
                    <a:gd name="T42" fmla="*/ 2147483647 w 63"/>
                    <a:gd name="T43" fmla="*/ 2147483647 h 47"/>
                    <a:gd name="T44" fmla="*/ 2147483647 w 63"/>
                    <a:gd name="T45" fmla="*/ 2147483647 h 47"/>
                    <a:gd name="T46" fmla="*/ 2147483647 w 63"/>
                    <a:gd name="T47" fmla="*/ 2147483647 h 47"/>
                    <a:gd name="T48" fmla="*/ 2147483647 w 63"/>
                    <a:gd name="T49" fmla="*/ 2147483647 h 47"/>
                    <a:gd name="T50" fmla="*/ 2147483647 w 63"/>
                    <a:gd name="T51" fmla="*/ 2147483647 h 47"/>
                    <a:gd name="T52" fmla="*/ 2147483647 w 63"/>
                    <a:gd name="T53" fmla="*/ 2147483647 h 47"/>
                    <a:gd name="T54" fmla="*/ 2147483647 w 63"/>
                    <a:gd name="T55" fmla="*/ 2147483647 h 47"/>
                    <a:gd name="T56" fmla="*/ 2147483647 w 63"/>
                    <a:gd name="T57" fmla="*/ 2147483647 h 47"/>
                    <a:gd name="T58" fmla="*/ 2147483647 w 63"/>
                    <a:gd name="T59" fmla="*/ 2147483647 h 47"/>
                    <a:gd name="T60" fmla="*/ 2147483647 w 63"/>
                    <a:gd name="T61" fmla="*/ 2147483647 h 47"/>
                    <a:gd name="T62" fmla="*/ 2147483647 w 63"/>
                    <a:gd name="T63" fmla="*/ 2147483647 h 47"/>
                    <a:gd name="T64" fmla="*/ 2147483647 w 63"/>
                    <a:gd name="T65" fmla="*/ 2147483647 h 47"/>
                    <a:gd name="T66" fmla="*/ 2147483647 w 63"/>
                    <a:gd name="T67" fmla="*/ 2147483647 h 47"/>
                    <a:gd name="T68" fmla="*/ 2147483647 w 63"/>
                    <a:gd name="T69" fmla="*/ 2147483647 h 47"/>
                    <a:gd name="T70" fmla="*/ 2147483647 w 63"/>
                    <a:gd name="T71" fmla="*/ 2147483647 h 47"/>
                    <a:gd name="T72" fmla="*/ 2147483647 w 63"/>
                    <a:gd name="T73" fmla="*/ 2147483647 h 47"/>
                    <a:gd name="T74" fmla="*/ 2147483647 w 63"/>
                    <a:gd name="T75" fmla="*/ 2147483647 h 47"/>
                    <a:gd name="T76" fmla="*/ 2147483647 w 63"/>
                    <a:gd name="T77" fmla="*/ 2147483647 h 47"/>
                    <a:gd name="T78" fmla="*/ 2147483647 w 63"/>
                    <a:gd name="T79" fmla="*/ 2147483647 h 47"/>
                    <a:gd name="T80" fmla="*/ 2147483647 w 63"/>
                    <a:gd name="T81" fmla="*/ 2147483647 h 47"/>
                    <a:gd name="T82" fmla="*/ 2147483647 w 63"/>
                    <a:gd name="T83" fmla="*/ 2147483647 h 47"/>
                    <a:gd name="T84" fmla="*/ 2147483647 w 63"/>
                    <a:gd name="T85" fmla="*/ 2147483647 h 47"/>
                    <a:gd name="T86" fmla="*/ 2147483647 w 63"/>
                    <a:gd name="T87" fmla="*/ 2147483647 h 47"/>
                    <a:gd name="T88" fmla="*/ 2147483647 w 63"/>
                    <a:gd name="T89" fmla="*/ 2147483647 h 47"/>
                    <a:gd name="T90" fmla="*/ 2147483647 w 63"/>
                    <a:gd name="T91" fmla="*/ 2147483647 h 47"/>
                    <a:gd name="T92" fmla="*/ 2147483647 w 63"/>
                    <a:gd name="T93" fmla="*/ 2147483647 h 47"/>
                    <a:gd name="T94" fmla="*/ 2147483647 w 63"/>
                    <a:gd name="T95" fmla="*/ 2147483647 h 47"/>
                    <a:gd name="T96" fmla="*/ 0 w 63"/>
                    <a:gd name="T97" fmla="*/ 2147483647 h 47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3"/>
                    <a:gd name="T148" fmla="*/ 0 h 47"/>
                    <a:gd name="T149" fmla="*/ 63 w 63"/>
                    <a:gd name="T150" fmla="*/ 47 h 47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3" h="47">
                      <a:moveTo>
                        <a:pt x="0" y="38"/>
                      </a:moveTo>
                      <a:lnTo>
                        <a:pt x="3" y="37"/>
                      </a:lnTo>
                      <a:lnTo>
                        <a:pt x="4" y="34"/>
                      </a:lnTo>
                      <a:lnTo>
                        <a:pt x="4" y="32"/>
                      </a:lnTo>
                      <a:lnTo>
                        <a:pt x="4" y="29"/>
                      </a:lnTo>
                      <a:lnTo>
                        <a:pt x="1" y="25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4" y="16"/>
                      </a:lnTo>
                      <a:lnTo>
                        <a:pt x="5" y="12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5" y="1"/>
                      </a:lnTo>
                      <a:lnTo>
                        <a:pt x="19" y="1"/>
                      </a:lnTo>
                      <a:lnTo>
                        <a:pt x="23" y="3"/>
                      </a:lnTo>
                      <a:lnTo>
                        <a:pt x="32" y="7"/>
                      </a:lnTo>
                      <a:lnTo>
                        <a:pt x="37" y="9"/>
                      </a:lnTo>
                      <a:lnTo>
                        <a:pt x="39" y="13"/>
                      </a:lnTo>
                      <a:lnTo>
                        <a:pt x="43" y="15"/>
                      </a:lnTo>
                      <a:lnTo>
                        <a:pt x="48" y="18"/>
                      </a:lnTo>
                      <a:lnTo>
                        <a:pt x="56" y="21"/>
                      </a:lnTo>
                      <a:lnTo>
                        <a:pt x="62" y="26"/>
                      </a:lnTo>
                      <a:lnTo>
                        <a:pt x="63" y="28"/>
                      </a:lnTo>
                      <a:lnTo>
                        <a:pt x="63" y="29"/>
                      </a:lnTo>
                      <a:lnTo>
                        <a:pt x="62" y="32"/>
                      </a:lnTo>
                      <a:lnTo>
                        <a:pt x="61" y="33"/>
                      </a:lnTo>
                      <a:lnTo>
                        <a:pt x="58" y="34"/>
                      </a:lnTo>
                      <a:lnTo>
                        <a:pt x="53" y="34"/>
                      </a:lnTo>
                      <a:lnTo>
                        <a:pt x="48" y="32"/>
                      </a:lnTo>
                      <a:lnTo>
                        <a:pt x="44" y="28"/>
                      </a:lnTo>
                      <a:lnTo>
                        <a:pt x="42" y="28"/>
                      </a:lnTo>
                      <a:lnTo>
                        <a:pt x="39" y="29"/>
                      </a:lnTo>
                      <a:lnTo>
                        <a:pt x="38" y="32"/>
                      </a:lnTo>
                      <a:lnTo>
                        <a:pt x="34" y="33"/>
                      </a:lnTo>
                      <a:lnTo>
                        <a:pt x="33" y="34"/>
                      </a:lnTo>
                      <a:lnTo>
                        <a:pt x="30" y="35"/>
                      </a:lnTo>
                      <a:lnTo>
                        <a:pt x="28" y="37"/>
                      </a:lnTo>
                      <a:lnTo>
                        <a:pt x="24" y="35"/>
                      </a:lnTo>
                      <a:lnTo>
                        <a:pt x="22" y="35"/>
                      </a:lnTo>
                      <a:lnTo>
                        <a:pt x="19" y="37"/>
                      </a:lnTo>
                      <a:lnTo>
                        <a:pt x="16" y="38"/>
                      </a:lnTo>
                      <a:lnTo>
                        <a:pt x="15" y="41"/>
                      </a:lnTo>
                      <a:lnTo>
                        <a:pt x="15" y="45"/>
                      </a:lnTo>
                      <a:lnTo>
                        <a:pt x="14" y="47"/>
                      </a:lnTo>
                      <a:lnTo>
                        <a:pt x="13" y="47"/>
                      </a:lnTo>
                      <a:lnTo>
                        <a:pt x="10" y="47"/>
                      </a:lnTo>
                      <a:lnTo>
                        <a:pt x="8" y="44"/>
                      </a:lnTo>
                      <a:lnTo>
                        <a:pt x="4" y="40"/>
                      </a:lnTo>
                      <a:lnTo>
                        <a:pt x="0" y="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1" name="Freeform 530">
                  <a:extLst>
                    <a:ext uri="{FF2B5EF4-FFF2-40B4-BE49-F238E27FC236}">
                      <a16:creationId xmlns:a16="http://schemas.microsoft.com/office/drawing/2014/main" id="{178B5CE1-84EB-904E-9CBD-6BFC27974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911" y="4004218"/>
                  <a:ext cx="29597" cy="16279"/>
                </a:xfrm>
                <a:custGeom>
                  <a:avLst/>
                  <a:gdLst>
                    <a:gd name="T0" fmla="*/ 2147483647 w 22"/>
                    <a:gd name="T1" fmla="*/ 0 h 11"/>
                    <a:gd name="T2" fmla="*/ 2147483647 w 22"/>
                    <a:gd name="T3" fmla="*/ 0 h 11"/>
                    <a:gd name="T4" fmla="*/ 2147483647 w 22"/>
                    <a:gd name="T5" fmla="*/ 0 h 11"/>
                    <a:gd name="T6" fmla="*/ 2147483647 w 22"/>
                    <a:gd name="T7" fmla="*/ 2147483647 h 11"/>
                    <a:gd name="T8" fmla="*/ 2147483647 w 22"/>
                    <a:gd name="T9" fmla="*/ 2147483647 h 11"/>
                    <a:gd name="T10" fmla="*/ 2147483647 w 22"/>
                    <a:gd name="T11" fmla="*/ 2147483647 h 11"/>
                    <a:gd name="T12" fmla="*/ 2147483647 w 22"/>
                    <a:gd name="T13" fmla="*/ 2147483647 h 11"/>
                    <a:gd name="T14" fmla="*/ 2147483647 w 22"/>
                    <a:gd name="T15" fmla="*/ 2147483647 h 11"/>
                    <a:gd name="T16" fmla="*/ 2147483647 w 22"/>
                    <a:gd name="T17" fmla="*/ 2147483647 h 11"/>
                    <a:gd name="T18" fmla="*/ 2147483647 w 22"/>
                    <a:gd name="T19" fmla="*/ 2147483647 h 11"/>
                    <a:gd name="T20" fmla="*/ 2147483647 w 22"/>
                    <a:gd name="T21" fmla="*/ 2147483647 h 11"/>
                    <a:gd name="T22" fmla="*/ 0 w 22"/>
                    <a:gd name="T23" fmla="*/ 2147483647 h 11"/>
                    <a:gd name="T24" fmla="*/ 0 w 22"/>
                    <a:gd name="T25" fmla="*/ 2147483647 h 11"/>
                    <a:gd name="T26" fmla="*/ 0 w 22"/>
                    <a:gd name="T27" fmla="*/ 2147483647 h 11"/>
                    <a:gd name="T28" fmla="*/ 2147483647 w 22"/>
                    <a:gd name="T29" fmla="*/ 2147483647 h 11"/>
                    <a:gd name="T30" fmla="*/ 2147483647 w 22"/>
                    <a:gd name="T31" fmla="*/ 0 h 11"/>
                    <a:gd name="T32" fmla="*/ 2147483647 w 22"/>
                    <a:gd name="T33" fmla="*/ 0 h 1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11"/>
                    <a:gd name="T53" fmla="*/ 22 w 22"/>
                    <a:gd name="T54" fmla="*/ 11 h 1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11">
                      <a:moveTo>
                        <a:pt x="13" y="0"/>
                      </a:moveTo>
                      <a:lnTo>
                        <a:pt x="17" y="0"/>
                      </a:lnTo>
                      <a:lnTo>
                        <a:pt x="19" y="0"/>
                      </a:lnTo>
                      <a:lnTo>
                        <a:pt x="20" y="2"/>
                      </a:lnTo>
                      <a:lnTo>
                        <a:pt x="22" y="4"/>
                      </a:lnTo>
                      <a:lnTo>
                        <a:pt x="20" y="7"/>
                      </a:lnTo>
                      <a:lnTo>
                        <a:pt x="19" y="9"/>
                      </a:lnTo>
                      <a:lnTo>
                        <a:pt x="17" y="10"/>
                      </a:lnTo>
                      <a:lnTo>
                        <a:pt x="13" y="11"/>
                      </a:lnTo>
                      <a:lnTo>
                        <a:pt x="8" y="11"/>
                      </a:lnTo>
                      <a:lnTo>
                        <a:pt x="4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3" y="1"/>
                      </a:lnTo>
                      <a:lnTo>
                        <a:pt x="8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2" name="Freeform 531">
                  <a:extLst>
                    <a:ext uri="{FF2B5EF4-FFF2-40B4-BE49-F238E27FC236}">
                      <a16:creationId xmlns:a16="http://schemas.microsoft.com/office/drawing/2014/main" id="{CA06D884-D4BC-1D42-8613-6EDC6B8414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3751" y="4051574"/>
                  <a:ext cx="85833" cy="69554"/>
                </a:xfrm>
                <a:custGeom>
                  <a:avLst/>
                  <a:gdLst>
                    <a:gd name="T0" fmla="*/ 0 w 63"/>
                    <a:gd name="T1" fmla="*/ 2147483647 h 47"/>
                    <a:gd name="T2" fmla="*/ 2147483647 w 63"/>
                    <a:gd name="T3" fmla="*/ 2147483647 h 47"/>
                    <a:gd name="T4" fmla="*/ 2147483647 w 63"/>
                    <a:gd name="T5" fmla="*/ 2147483647 h 47"/>
                    <a:gd name="T6" fmla="*/ 2147483647 w 63"/>
                    <a:gd name="T7" fmla="*/ 2147483647 h 47"/>
                    <a:gd name="T8" fmla="*/ 2147483647 w 63"/>
                    <a:gd name="T9" fmla="*/ 2147483647 h 47"/>
                    <a:gd name="T10" fmla="*/ 2147483647 w 63"/>
                    <a:gd name="T11" fmla="*/ 2147483647 h 47"/>
                    <a:gd name="T12" fmla="*/ 2147483647 w 63"/>
                    <a:gd name="T13" fmla="*/ 2147483647 h 47"/>
                    <a:gd name="T14" fmla="*/ 2147483647 w 63"/>
                    <a:gd name="T15" fmla="*/ 0 h 47"/>
                    <a:gd name="T16" fmla="*/ 2147483647 w 63"/>
                    <a:gd name="T17" fmla="*/ 2147483647 h 47"/>
                    <a:gd name="T18" fmla="*/ 2147483647 w 63"/>
                    <a:gd name="T19" fmla="*/ 2147483647 h 47"/>
                    <a:gd name="T20" fmla="*/ 2147483647 w 63"/>
                    <a:gd name="T21" fmla="*/ 2147483647 h 47"/>
                    <a:gd name="T22" fmla="*/ 2147483647 w 63"/>
                    <a:gd name="T23" fmla="*/ 2147483647 h 47"/>
                    <a:gd name="T24" fmla="*/ 2147483647 w 63"/>
                    <a:gd name="T25" fmla="*/ 2147483647 h 47"/>
                    <a:gd name="T26" fmla="*/ 2147483647 w 63"/>
                    <a:gd name="T27" fmla="*/ 2147483647 h 47"/>
                    <a:gd name="T28" fmla="*/ 2147483647 w 63"/>
                    <a:gd name="T29" fmla="*/ 2147483647 h 47"/>
                    <a:gd name="T30" fmla="*/ 2147483647 w 63"/>
                    <a:gd name="T31" fmla="*/ 2147483647 h 47"/>
                    <a:gd name="T32" fmla="*/ 2147483647 w 63"/>
                    <a:gd name="T33" fmla="*/ 2147483647 h 47"/>
                    <a:gd name="T34" fmla="*/ 2147483647 w 63"/>
                    <a:gd name="T35" fmla="*/ 2147483647 h 47"/>
                    <a:gd name="T36" fmla="*/ 2147483647 w 63"/>
                    <a:gd name="T37" fmla="*/ 2147483647 h 47"/>
                    <a:gd name="T38" fmla="*/ 2147483647 w 63"/>
                    <a:gd name="T39" fmla="*/ 2147483647 h 47"/>
                    <a:gd name="T40" fmla="*/ 2147483647 w 63"/>
                    <a:gd name="T41" fmla="*/ 2147483647 h 47"/>
                    <a:gd name="T42" fmla="*/ 2147483647 w 63"/>
                    <a:gd name="T43" fmla="*/ 2147483647 h 47"/>
                    <a:gd name="T44" fmla="*/ 2147483647 w 63"/>
                    <a:gd name="T45" fmla="*/ 2147483647 h 47"/>
                    <a:gd name="T46" fmla="*/ 2147483647 w 63"/>
                    <a:gd name="T47" fmla="*/ 2147483647 h 47"/>
                    <a:gd name="T48" fmla="*/ 2147483647 w 63"/>
                    <a:gd name="T49" fmla="*/ 2147483647 h 47"/>
                    <a:gd name="T50" fmla="*/ 2147483647 w 63"/>
                    <a:gd name="T51" fmla="*/ 2147483647 h 47"/>
                    <a:gd name="T52" fmla="*/ 2147483647 w 63"/>
                    <a:gd name="T53" fmla="*/ 2147483647 h 47"/>
                    <a:gd name="T54" fmla="*/ 2147483647 w 63"/>
                    <a:gd name="T55" fmla="*/ 2147483647 h 47"/>
                    <a:gd name="T56" fmla="*/ 2147483647 w 63"/>
                    <a:gd name="T57" fmla="*/ 2147483647 h 47"/>
                    <a:gd name="T58" fmla="*/ 2147483647 w 63"/>
                    <a:gd name="T59" fmla="*/ 2147483647 h 47"/>
                    <a:gd name="T60" fmla="*/ 2147483647 w 63"/>
                    <a:gd name="T61" fmla="*/ 2147483647 h 47"/>
                    <a:gd name="T62" fmla="*/ 0 w 63"/>
                    <a:gd name="T63" fmla="*/ 2147483647 h 4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63"/>
                    <a:gd name="T97" fmla="*/ 0 h 47"/>
                    <a:gd name="T98" fmla="*/ 63 w 63"/>
                    <a:gd name="T99" fmla="*/ 47 h 4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63" h="47">
                      <a:moveTo>
                        <a:pt x="0" y="38"/>
                      </a:moveTo>
                      <a:lnTo>
                        <a:pt x="0" y="38"/>
                      </a:lnTo>
                      <a:lnTo>
                        <a:pt x="2" y="36"/>
                      </a:lnTo>
                      <a:lnTo>
                        <a:pt x="4" y="34"/>
                      </a:lnTo>
                      <a:lnTo>
                        <a:pt x="4" y="32"/>
                      </a:lnTo>
                      <a:lnTo>
                        <a:pt x="4" y="29"/>
                      </a:lnTo>
                      <a:lnTo>
                        <a:pt x="1" y="25"/>
                      </a:lnTo>
                      <a:lnTo>
                        <a:pt x="0" y="23"/>
                      </a:lnTo>
                      <a:lnTo>
                        <a:pt x="1" y="21"/>
                      </a:lnTo>
                      <a:lnTo>
                        <a:pt x="4" y="16"/>
                      </a:lnTo>
                      <a:lnTo>
                        <a:pt x="5" y="11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5" y="1"/>
                      </a:lnTo>
                      <a:lnTo>
                        <a:pt x="19" y="1"/>
                      </a:lnTo>
                      <a:lnTo>
                        <a:pt x="23" y="3"/>
                      </a:lnTo>
                      <a:lnTo>
                        <a:pt x="31" y="7"/>
                      </a:lnTo>
                      <a:lnTo>
                        <a:pt x="37" y="9"/>
                      </a:lnTo>
                      <a:lnTo>
                        <a:pt x="39" y="13"/>
                      </a:lnTo>
                      <a:lnTo>
                        <a:pt x="43" y="15"/>
                      </a:lnTo>
                      <a:lnTo>
                        <a:pt x="48" y="17"/>
                      </a:lnTo>
                      <a:lnTo>
                        <a:pt x="56" y="21"/>
                      </a:lnTo>
                      <a:lnTo>
                        <a:pt x="62" y="26"/>
                      </a:lnTo>
                      <a:lnTo>
                        <a:pt x="63" y="28"/>
                      </a:lnTo>
                      <a:lnTo>
                        <a:pt x="63" y="29"/>
                      </a:lnTo>
                      <a:lnTo>
                        <a:pt x="62" y="32"/>
                      </a:lnTo>
                      <a:lnTo>
                        <a:pt x="61" y="33"/>
                      </a:lnTo>
                      <a:lnTo>
                        <a:pt x="58" y="34"/>
                      </a:lnTo>
                      <a:lnTo>
                        <a:pt x="53" y="34"/>
                      </a:lnTo>
                      <a:lnTo>
                        <a:pt x="48" y="32"/>
                      </a:lnTo>
                      <a:lnTo>
                        <a:pt x="44" y="28"/>
                      </a:lnTo>
                      <a:lnTo>
                        <a:pt x="42" y="28"/>
                      </a:lnTo>
                      <a:lnTo>
                        <a:pt x="39" y="29"/>
                      </a:lnTo>
                      <a:lnTo>
                        <a:pt x="38" y="32"/>
                      </a:lnTo>
                      <a:lnTo>
                        <a:pt x="34" y="33"/>
                      </a:lnTo>
                      <a:lnTo>
                        <a:pt x="33" y="34"/>
                      </a:lnTo>
                      <a:lnTo>
                        <a:pt x="30" y="35"/>
                      </a:lnTo>
                      <a:lnTo>
                        <a:pt x="28" y="36"/>
                      </a:lnTo>
                      <a:lnTo>
                        <a:pt x="24" y="35"/>
                      </a:lnTo>
                      <a:lnTo>
                        <a:pt x="21" y="35"/>
                      </a:lnTo>
                      <a:lnTo>
                        <a:pt x="19" y="36"/>
                      </a:lnTo>
                      <a:lnTo>
                        <a:pt x="16" y="38"/>
                      </a:lnTo>
                      <a:lnTo>
                        <a:pt x="15" y="41"/>
                      </a:lnTo>
                      <a:lnTo>
                        <a:pt x="15" y="45"/>
                      </a:lnTo>
                      <a:lnTo>
                        <a:pt x="14" y="47"/>
                      </a:lnTo>
                      <a:lnTo>
                        <a:pt x="12" y="47"/>
                      </a:lnTo>
                      <a:lnTo>
                        <a:pt x="10" y="47"/>
                      </a:lnTo>
                      <a:lnTo>
                        <a:pt x="7" y="44"/>
                      </a:lnTo>
                      <a:lnTo>
                        <a:pt x="4" y="40"/>
                      </a:lnTo>
                      <a:lnTo>
                        <a:pt x="0" y="3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3" name="Freeform 532">
                  <a:extLst>
                    <a:ext uri="{FF2B5EF4-FFF2-40B4-BE49-F238E27FC236}">
                      <a16:creationId xmlns:a16="http://schemas.microsoft.com/office/drawing/2014/main" id="{DB972944-0740-2046-863A-9AC7046A4D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3431" y="4001255"/>
                  <a:ext cx="28117" cy="17758"/>
                </a:xfrm>
                <a:custGeom>
                  <a:avLst/>
                  <a:gdLst>
                    <a:gd name="T0" fmla="*/ 2147483647 w 21"/>
                    <a:gd name="T1" fmla="*/ 0 h 12"/>
                    <a:gd name="T2" fmla="*/ 2147483647 w 21"/>
                    <a:gd name="T3" fmla="*/ 0 h 12"/>
                    <a:gd name="T4" fmla="*/ 2147483647 w 21"/>
                    <a:gd name="T5" fmla="*/ 0 h 12"/>
                    <a:gd name="T6" fmla="*/ 2147483647 w 21"/>
                    <a:gd name="T7" fmla="*/ 0 h 12"/>
                    <a:gd name="T8" fmla="*/ 2147483647 w 21"/>
                    <a:gd name="T9" fmla="*/ 2147483647 h 12"/>
                    <a:gd name="T10" fmla="*/ 2147483647 w 21"/>
                    <a:gd name="T11" fmla="*/ 2147483647 h 12"/>
                    <a:gd name="T12" fmla="*/ 2147483647 w 21"/>
                    <a:gd name="T13" fmla="*/ 2147483647 h 12"/>
                    <a:gd name="T14" fmla="*/ 2147483647 w 21"/>
                    <a:gd name="T15" fmla="*/ 2147483647 h 12"/>
                    <a:gd name="T16" fmla="*/ 2147483647 w 21"/>
                    <a:gd name="T17" fmla="*/ 2147483647 h 12"/>
                    <a:gd name="T18" fmla="*/ 2147483647 w 21"/>
                    <a:gd name="T19" fmla="*/ 2147483647 h 12"/>
                    <a:gd name="T20" fmla="*/ 2147483647 w 21"/>
                    <a:gd name="T21" fmla="*/ 2147483647 h 12"/>
                    <a:gd name="T22" fmla="*/ 2147483647 w 21"/>
                    <a:gd name="T23" fmla="*/ 2147483647 h 12"/>
                    <a:gd name="T24" fmla="*/ 2147483647 w 21"/>
                    <a:gd name="T25" fmla="*/ 2147483647 h 12"/>
                    <a:gd name="T26" fmla="*/ 2147483647 w 21"/>
                    <a:gd name="T27" fmla="*/ 2147483647 h 12"/>
                    <a:gd name="T28" fmla="*/ 0 w 21"/>
                    <a:gd name="T29" fmla="*/ 2147483647 h 12"/>
                    <a:gd name="T30" fmla="*/ 0 w 21"/>
                    <a:gd name="T31" fmla="*/ 2147483647 h 12"/>
                    <a:gd name="T32" fmla="*/ 0 w 21"/>
                    <a:gd name="T33" fmla="*/ 2147483647 h 12"/>
                    <a:gd name="T34" fmla="*/ 0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0 h 12"/>
                    <a:gd name="T40" fmla="*/ 2147483647 w 21"/>
                    <a:gd name="T41" fmla="*/ 0 h 12"/>
                    <a:gd name="T42" fmla="*/ 2147483647 w 21"/>
                    <a:gd name="T43" fmla="*/ 0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1"/>
                    <a:gd name="T67" fmla="*/ 0 h 12"/>
                    <a:gd name="T68" fmla="*/ 21 w 21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1" h="12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16" y="0"/>
                      </a:lnTo>
                      <a:lnTo>
                        <a:pt x="19" y="0"/>
                      </a:lnTo>
                      <a:lnTo>
                        <a:pt x="20" y="3"/>
                      </a:lnTo>
                      <a:lnTo>
                        <a:pt x="21" y="5"/>
                      </a:lnTo>
                      <a:lnTo>
                        <a:pt x="20" y="8"/>
                      </a:lnTo>
                      <a:lnTo>
                        <a:pt x="19" y="10"/>
                      </a:lnTo>
                      <a:lnTo>
                        <a:pt x="16" y="11"/>
                      </a:lnTo>
                      <a:lnTo>
                        <a:pt x="13" y="12"/>
                      </a:lnTo>
                      <a:lnTo>
                        <a:pt x="8" y="12"/>
                      </a:lnTo>
                      <a:lnTo>
                        <a:pt x="4" y="11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8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4" name="Freeform 533">
                  <a:extLst>
                    <a:ext uri="{FF2B5EF4-FFF2-40B4-BE49-F238E27FC236}">
                      <a16:creationId xmlns:a16="http://schemas.microsoft.com/office/drawing/2014/main" id="{3F0F3085-0194-0744-9559-F72A9A1A03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3835" y="3939103"/>
                  <a:ext cx="8879" cy="13319"/>
                </a:xfrm>
                <a:custGeom>
                  <a:avLst/>
                  <a:gdLst>
                    <a:gd name="T0" fmla="*/ 2147483647 w 7"/>
                    <a:gd name="T1" fmla="*/ 2147483647 h 9"/>
                    <a:gd name="T2" fmla="*/ 0 w 7"/>
                    <a:gd name="T3" fmla="*/ 2147483647 h 9"/>
                    <a:gd name="T4" fmla="*/ 0 w 7"/>
                    <a:gd name="T5" fmla="*/ 2147483647 h 9"/>
                    <a:gd name="T6" fmla="*/ 2147483647 w 7"/>
                    <a:gd name="T7" fmla="*/ 0 h 9"/>
                    <a:gd name="T8" fmla="*/ 2147483647 w 7"/>
                    <a:gd name="T9" fmla="*/ 2147483647 h 9"/>
                    <a:gd name="T10" fmla="*/ 2147483647 w 7"/>
                    <a:gd name="T11" fmla="*/ 2147483647 h 9"/>
                    <a:gd name="T12" fmla="*/ 2147483647 w 7"/>
                    <a:gd name="T13" fmla="*/ 2147483647 h 9"/>
                    <a:gd name="T14" fmla="*/ 2147483647 w 7"/>
                    <a:gd name="T15" fmla="*/ 2147483647 h 9"/>
                    <a:gd name="T16" fmla="*/ 2147483647 w 7"/>
                    <a:gd name="T17" fmla="*/ 2147483647 h 9"/>
                    <a:gd name="T18" fmla="*/ 2147483647 w 7"/>
                    <a:gd name="T19" fmla="*/ 2147483647 h 9"/>
                    <a:gd name="T20" fmla="*/ 2147483647 w 7"/>
                    <a:gd name="T21" fmla="*/ 2147483647 h 9"/>
                    <a:gd name="T22" fmla="*/ 2147483647 w 7"/>
                    <a:gd name="T23" fmla="*/ 2147483647 h 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"/>
                    <a:gd name="T37" fmla="*/ 0 h 9"/>
                    <a:gd name="T38" fmla="*/ 7 w 7"/>
                    <a:gd name="T39" fmla="*/ 9 h 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" h="9">
                      <a:moveTo>
                        <a:pt x="2" y="5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5" y="9"/>
                      </a:lnTo>
                      <a:lnTo>
                        <a:pt x="3" y="9"/>
                      </a:lnTo>
                      <a:lnTo>
                        <a:pt x="2" y="8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5" name="Freeform 534">
                  <a:extLst>
                    <a:ext uri="{FF2B5EF4-FFF2-40B4-BE49-F238E27FC236}">
                      <a16:creationId xmlns:a16="http://schemas.microsoft.com/office/drawing/2014/main" id="{F1BAAF70-9D63-3544-891B-B5E368EFA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514" y="3967222"/>
                  <a:ext cx="887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0 w 6"/>
                    <a:gd name="T3" fmla="*/ 2147483647 h 7"/>
                    <a:gd name="T4" fmla="*/ 0 w 6"/>
                    <a:gd name="T5" fmla="*/ 2147483647 h 7"/>
                    <a:gd name="T6" fmla="*/ 2147483647 w 6"/>
                    <a:gd name="T7" fmla="*/ 0 h 7"/>
                    <a:gd name="T8" fmla="*/ 2147483647 w 6"/>
                    <a:gd name="T9" fmla="*/ 0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7"/>
                    <a:gd name="T35" fmla="*/ 6 w 6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7">
                      <a:moveTo>
                        <a:pt x="1" y="4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5" y="4"/>
                      </a:ln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6" name="Freeform 535">
                  <a:extLst>
                    <a:ext uri="{FF2B5EF4-FFF2-40B4-BE49-F238E27FC236}">
                      <a16:creationId xmlns:a16="http://schemas.microsoft.com/office/drawing/2014/main" id="{1B29834F-5221-1349-A388-8035A23A78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2353" y="3937621"/>
                  <a:ext cx="7400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2147483647 h 9"/>
                    <a:gd name="T4" fmla="*/ 0 w 6"/>
                    <a:gd name="T5" fmla="*/ 2147483647 h 9"/>
                    <a:gd name="T6" fmla="*/ 0 w 6"/>
                    <a:gd name="T7" fmla="*/ 2147483647 h 9"/>
                    <a:gd name="T8" fmla="*/ 0 w 6"/>
                    <a:gd name="T9" fmla="*/ 2147483647 h 9"/>
                    <a:gd name="T10" fmla="*/ 0 w 6"/>
                    <a:gd name="T11" fmla="*/ 2147483647 h 9"/>
                    <a:gd name="T12" fmla="*/ 2147483647 w 6"/>
                    <a:gd name="T13" fmla="*/ 0 h 9"/>
                    <a:gd name="T14" fmla="*/ 2147483647 w 6"/>
                    <a:gd name="T15" fmla="*/ 2147483647 h 9"/>
                    <a:gd name="T16" fmla="*/ 2147483647 w 6"/>
                    <a:gd name="T17" fmla="*/ 2147483647 h 9"/>
                    <a:gd name="T18" fmla="*/ 2147483647 w 6"/>
                    <a:gd name="T19" fmla="*/ 2147483647 h 9"/>
                    <a:gd name="T20" fmla="*/ 2147483647 w 6"/>
                    <a:gd name="T21" fmla="*/ 2147483647 h 9"/>
                    <a:gd name="T22" fmla="*/ 2147483647 w 6"/>
                    <a:gd name="T23" fmla="*/ 2147483647 h 9"/>
                    <a:gd name="T24" fmla="*/ 2147483647 w 6"/>
                    <a:gd name="T25" fmla="*/ 2147483647 h 9"/>
                    <a:gd name="T26" fmla="*/ 2147483647 w 6"/>
                    <a:gd name="T27" fmla="*/ 2147483647 h 9"/>
                    <a:gd name="T28" fmla="*/ 2147483647 w 6"/>
                    <a:gd name="T29" fmla="*/ 2147483647 h 9"/>
                    <a:gd name="T30" fmla="*/ 2147483647 w 6"/>
                    <a:gd name="T31" fmla="*/ 2147483647 h 9"/>
                    <a:gd name="T32" fmla="*/ 2147483647 w 6"/>
                    <a:gd name="T33" fmla="*/ 2147483647 h 9"/>
                    <a:gd name="T34" fmla="*/ 2147483647 w 6"/>
                    <a:gd name="T35" fmla="*/ 2147483647 h 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6"/>
                    <a:gd name="T55" fmla="*/ 0 h 9"/>
                    <a:gd name="T56" fmla="*/ 6 w 6"/>
                    <a:gd name="T57" fmla="*/ 9 h 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6" h="9">
                      <a:moveTo>
                        <a:pt x="1" y="4"/>
                      </a:move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6" y="4"/>
                      </a:lnTo>
                      <a:lnTo>
                        <a:pt x="6" y="7"/>
                      </a:lnTo>
                      <a:lnTo>
                        <a:pt x="5" y="9"/>
                      </a:lnTo>
                      <a:lnTo>
                        <a:pt x="3" y="9"/>
                      </a:lnTo>
                      <a:lnTo>
                        <a:pt x="1" y="8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7" name="Freeform 536">
                  <a:extLst>
                    <a:ext uri="{FF2B5EF4-FFF2-40B4-BE49-F238E27FC236}">
                      <a16:creationId xmlns:a16="http://schemas.microsoft.com/office/drawing/2014/main" id="{588903DA-8B1A-BD46-8C1D-4711F434F7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6033" y="3965741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0 w 6"/>
                    <a:gd name="T5" fmla="*/ 2147483647 h 7"/>
                    <a:gd name="T6" fmla="*/ 0 w 6"/>
                    <a:gd name="T7" fmla="*/ 2147483647 h 7"/>
                    <a:gd name="T8" fmla="*/ 2147483647 w 6"/>
                    <a:gd name="T9" fmla="*/ 0 h 7"/>
                    <a:gd name="T10" fmla="*/ 2147483647 w 6"/>
                    <a:gd name="T11" fmla="*/ 0 h 7"/>
                    <a:gd name="T12" fmla="*/ 2147483647 w 6"/>
                    <a:gd name="T13" fmla="*/ 0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1" y="4"/>
                      </a:move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5" y="4"/>
                      </a:lnTo>
                      <a:lnTo>
                        <a:pt x="5" y="7"/>
                      </a:lnTo>
                      <a:lnTo>
                        <a:pt x="2" y="7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8" name="Freeform 537">
                  <a:extLst>
                    <a:ext uri="{FF2B5EF4-FFF2-40B4-BE49-F238E27FC236}">
                      <a16:creationId xmlns:a16="http://schemas.microsoft.com/office/drawing/2014/main" id="{43D2AEDF-F04E-1245-8ACC-34F69A6CB5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3119" y="3934665"/>
                  <a:ext cx="7399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0 w 6"/>
                    <a:gd name="T7" fmla="*/ 2147483647 h 5"/>
                    <a:gd name="T8" fmla="*/ 2147483647 w 6"/>
                    <a:gd name="T9" fmla="*/ 0 h 5"/>
                    <a:gd name="T10" fmla="*/ 2147483647 w 6"/>
                    <a:gd name="T11" fmla="*/ 0 h 5"/>
                    <a:gd name="T12" fmla="*/ 2147483647 w 6"/>
                    <a:gd name="T13" fmla="*/ 2147483647 h 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5"/>
                    <a:gd name="T23" fmla="*/ 6 w 6"/>
                    <a:gd name="T24" fmla="*/ 5 h 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5">
                      <a:moveTo>
                        <a:pt x="6" y="4"/>
                      </a:moveTo>
                      <a:lnTo>
                        <a:pt x="5" y="5"/>
                      </a:lnTo>
                      <a:lnTo>
                        <a:pt x="3" y="4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9" name="Freeform 538">
                  <a:extLst>
                    <a:ext uri="{FF2B5EF4-FFF2-40B4-BE49-F238E27FC236}">
                      <a16:creationId xmlns:a16="http://schemas.microsoft.com/office/drawing/2014/main" id="{1B58C170-CDC6-A14A-B0AE-19CE679DE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8320" y="3915426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0 w 6"/>
                    <a:gd name="T3" fmla="*/ 2147483647 h 6"/>
                    <a:gd name="T4" fmla="*/ 0 w 6"/>
                    <a:gd name="T5" fmla="*/ 2147483647 h 6"/>
                    <a:gd name="T6" fmla="*/ 2147483647 w 6"/>
                    <a:gd name="T7" fmla="*/ 0 h 6"/>
                    <a:gd name="T8" fmla="*/ 2147483647 w 6"/>
                    <a:gd name="T9" fmla="*/ 0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2" y="4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5" y="6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0" name="Freeform 539">
                  <a:extLst>
                    <a:ext uri="{FF2B5EF4-FFF2-40B4-BE49-F238E27FC236}">
                      <a16:creationId xmlns:a16="http://schemas.microsoft.com/office/drawing/2014/main" id="{AE132C62-0C0F-FE45-A50B-3EC62EF00C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1637" y="3933180"/>
                  <a:ext cx="887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2147483647 w 6"/>
                    <a:gd name="T9" fmla="*/ 2147483647 h 5"/>
                    <a:gd name="T10" fmla="*/ 2147483647 w 6"/>
                    <a:gd name="T11" fmla="*/ 2147483647 h 5"/>
                    <a:gd name="T12" fmla="*/ 0 w 6"/>
                    <a:gd name="T13" fmla="*/ 2147483647 h 5"/>
                    <a:gd name="T14" fmla="*/ 0 w 6"/>
                    <a:gd name="T15" fmla="*/ 2147483647 h 5"/>
                    <a:gd name="T16" fmla="*/ 2147483647 w 6"/>
                    <a:gd name="T17" fmla="*/ 0 h 5"/>
                    <a:gd name="T18" fmla="*/ 2147483647 w 6"/>
                    <a:gd name="T19" fmla="*/ 0 h 5"/>
                    <a:gd name="T20" fmla="*/ 2147483647 w 6"/>
                    <a:gd name="T21" fmla="*/ 2147483647 h 5"/>
                    <a:gd name="T22" fmla="*/ 2147483647 w 6"/>
                    <a:gd name="T23" fmla="*/ 2147483647 h 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5"/>
                    <a:gd name="T38" fmla="*/ 6 w 6"/>
                    <a:gd name="T39" fmla="*/ 5 h 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5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5" y="5"/>
                      </a:lnTo>
                      <a:lnTo>
                        <a:pt x="2" y="4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1" name="Freeform 540">
                  <a:extLst>
                    <a:ext uri="{FF2B5EF4-FFF2-40B4-BE49-F238E27FC236}">
                      <a16:creationId xmlns:a16="http://schemas.microsoft.com/office/drawing/2014/main" id="{DADF41F9-642A-DF4B-B504-1A85BFAED1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5360" y="3913946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0 w 7"/>
                    <a:gd name="T5" fmla="*/ 2147483647 h 6"/>
                    <a:gd name="T6" fmla="*/ 0 w 7"/>
                    <a:gd name="T7" fmla="*/ 2147483647 h 6"/>
                    <a:gd name="T8" fmla="*/ 2147483647 w 7"/>
                    <a:gd name="T9" fmla="*/ 0 h 6"/>
                    <a:gd name="T10" fmla="*/ 2147483647 w 7"/>
                    <a:gd name="T11" fmla="*/ 0 h 6"/>
                    <a:gd name="T12" fmla="*/ 2147483647 w 7"/>
                    <a:gd name="T13" fmla="*/ 0 h 6"/>
                    <a:gd name="T14" fmla="*/ 2147483647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2147483647 w 7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"/>
                    <a:gd name="T43" fmla="*/ 0 h 6"/>
                    <a:gd name="T44" fmla="*/ 7 w 7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" h="6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7" y="4"/>
                      </a:lnTo>
                      <a:lnTo>
                        <a:pt x="7" y="6"/>
                      </a:lnTo>
                      <a:lnTo>
                        <a:pt x="5" y="6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2" name="Freeform 541">
                  <a:extLst>
                    <a:ext uri="{FF2B5EF4-FFF2-40B4-BE49-F238E27FC236}">
                      <a16:creationId xmlns:a16="http://schemas.microsoft.com/office/drawing/2014/main" id="{3773AB86-4F2A-FF4A-9400-16C1574FE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8318" y="3873989"/>
                  <a:ext cx="14799" cy="22199"/>
                </a:xfrm>
                <a:custGeom>
                  <a:avLst/>
                  <a:gdLst>
                    <a:gd name="T0" fmla="*/ 2147483647 w 11"/>
                    <a:gd name="T1" fmla="*/ 2147483647 h 15"/>
                    <a:gd name="T2" fmla="*/ 2147483647 w 11"/>
                    <a:gd name="T3" fmla="*/ 2147483647 h 15"/>
                    <a:gd name="T4" fmla="*/ 0 w 11"/>
                    <a:gd name="T5" fmla="*/ 2147483647 h 15"/>
                    <a:gd name="T6" fmla="*/ 2147483647 w 11"/>
                    <a:gd name="T7" fmla="*/ 2147483647 h 15"/>
                    <a:gd name="T8" fmla="*/ 2147483647 w 11"/>
                    <a:gd name="T9" fmla="*/ 2147483647 h 15"/>
                    <a:gd name="T10" fmla="*/ 2147483647 w 11"/>
                    <a:gd name="T11" fmla="*/ 0 h 15"/>
                    <a:gd name="T12" fmla="*/ 2147483647 w 11"/>
                    <a:gd name="T13" fmla="*/ 2147483647 h 15"/>
                    <a:gd name="T14" fmla="*/ 2147483647 w 11"/>
                    <a:gd name="T15" fmla="*/ 2147483647 h 15"/>
                    <a:gd name="T16" fmla="*/ 2147483647 w 11"/>
                    <a:gd name="T17" fmla="*/ 2147483647 h 15"/>
                    <a:gd name="T18" fmla="*/ 2147483647 w 11"/>
                    <a:gd name="T19" fmla="*/ 2147483647 h 15"/>
                    <a:gd name="T20" fmla="*/ 2147483647 w 11"/>
                    <a:gd name="T21" fmla="*/ 2147483647 h 15"/>
                    <a:gd name="T22" fmla="*/ 2147483647 w 11"/>
                    <a:gd name="T23" fmla="*/ 2147483647 h 15"/>
                    <a:gd name="T24" fmla="*/ 2147483647 w 11"/>
                    <a:gd name="T25" fmla="*/ 2147483647 h 1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"/>
                    <a:gd name="T40" fmla="*/ 0 h 15"/>
                    <a:gd name="T41" fmla="*/ 11 w 11"/>
                    <a:gd name="T42" fmla="*/ 15 h 1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" h="15">
                      <a:moveTo>
                        <a:pt x="5" y="7"/>
                      </a:move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10" y="7"/>
                      </a:lnTo>
                      <a:lnTo>
                        <a:pt x="11" y="12"/>
                      </a:lnTo>
                      <a:lnTo>
                        <a:pt x="11" y="13"/>
                      </a:lnTo>
                      <a:lnTo>
                        <a:pt x="10" y="15"/>
                      </a:lnTo>
                      <a:lnTo>
                        <a:pt x="7" y="11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3" name="Freeform 542">
                  <a:extLst>
                    <a:ext uri="{FF2B5EF4-FFF2-40B4-BE49-F238E27FC236}">
                      <a16:creationId xmlns:a16="http://schemas.microsoft.com/office/drawing/2014/main" id="{F069EB74-1D08-8D43-AEF7-1603958F8D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0515" y="3903587"/>
                  <a:ext cx="13319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0 w 9"/>
                    <a:gd name="T3" fmla="*/ 0 h 12"/>
                    <a:gd name="T4" fmla="*/ 2147483647 w 9"/>
                    <a:gd name="T5" fmla="*/ 0 h 12"/>
                    <a:gd name="T6" fmla="*/ 2147483647 w 9"/>
                    <a:gd name="T7" fmla="*/ 2147483647 h 12"/>
                    <a:gd name="T8" fmla="*/ 2147483647 w 9"/>
                    <a:gd name="T9" fmla="*/ 2147483647 h 12"/>
                    <a:gd name="T10" fmla="*/ 2147483647 w 9"/>
                    <a:gd name="T11" fmla="*/ 2147483647 h 12"/>
                    <a:gd name="T12" fmla="*/ 2147483647 w 9"/>
                    <a:gd name="T13" fmla="*/ 2147483647 h 12"/>
                    <a:gd name="T14" fmla="*/ 2147483647 w 9"/>
                    <a:gd name="T15" fmla="*/ 2147483647 h 12"/>
                    <a:gd name="T16" fmla="*/ 2147483647 w 9"/>
                    <a:gd name="T17" fmla="*/ 2147483647 h 12"/>
                    <a:gd name="T18" fmla="*/ 2147483647 w 9"/>
                    <a:gd name="T19" fmla="*/ 2147483647 h 1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"/>
                    <a:gd name="T31" fmla="*/ 0 h 12"/>
                    <a:gd name="T32" fmla="*/ 9 w 9"/>
                    <a:gd name="T33" fmla="*/ 12 h 1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" h="12">
                      <a:moveTo>
                        <a:pt x="3" y="5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8" y="5"/>
                      </a:lnTo>
                      <a:lnTo>
                        <a:pt x="9" y="8"/>
                      </a:lnTo>
                      <a:lnTo>
                        <a:pt x="8" y="11"/>
                      </a:lnTo>
                      <a:lnTo>
                        <a:pt x="5" y="12"/>
                      </a:lnTo>
                      <a:lnTo>
                        <a:pt x="4" y="11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4" name="Freeform 543">
                  <a:extLst>
                    <a:ext uri="{FF2B5EF4-FFF2-40B4-BE49-F238E27FC236}">
                      <a16:creationId xmlns:a16="http://schemas.microsoft.com/office/drawing/2014/main" id="{A6881CCB-FB42-DB44-9D51-E361353C9C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5358" y="3872506"/>
                  <a:ext cx="16278" cy="22198"/>
                </a:xfrm>
                <a:custGeom>
                  <a:avLst/>
                  <a:gdLst>
                    <a:gd name="T0" fmla="*/ 2147483647 w 12"/>
                    <a:gd name="T1" fmla="*/ 2147483647 h 15"/>
                    <a:gd name="T2" fmla="*/ 2147483647 w 12"/>
                    <a:gd name="T3" fmla="*/ 2147483647 h 15"/>
                    <a:gd name="T4" fmla="*/ 2147483647 w 12"/>
                    <a:gd name="T5" fmla="*/ 2147483647 h 15"/>
                    <a:gd name="T6" fmla="*/ 0 w 12"/>
                    <a:gd name="T7" fmla="*/ 2147483647 h 15"/>
                    <a:gd name="T8" fmla="*/ 2147483647 w 12"/>
                    <a:gd name="T9" fmla="*/ 2147483647 h 15"/>
                    <a:gd name="T10" fmla="*/ 2147483647 w 12"/>
                    <a:gd name="T11" fmla="*/ 2147483647 h 15"/>
                    <a:gd name="T12" fmla="*/ 2147483647 w 12"/>
                    <a:gd name="T13" fmla="*/ 2147483647 h 15"/>
                    <a:gd name="T14" fmla="*/ 2147483647 w 12"/>
                    <a:gd name="T15" fmla="*/ 0 h 15"/>
                    <a:gd name="T16" fmla="*/ 2147483647 w 12"/>
                    <a:gd name="T17" fmla="*/ 2147483647 h 15"/>
                    <a:gd name="T18" fmla="*/ 2147483647 w 12"/>
                    <a:gd name="T19" fmla="*/ 2147483647 h 15"/>
                    <a:gd name="T20" fmla="*/ 2147483647 w 12"/>
                    <a:gd name="T21" fmla="*/ 2147483647 h 15"/>
                    <a:gd name="T22" fmla="*/ 2147483647 w 12"/>
                    <a:gd name="T23" fmla="*/ 2147483647 h 15"/>
                    <a:gd name="T24" fmla="*/ 2147483647 w 12"/>
                    <a:gd name="T25" fmla="*/ 2147483647 h 15"/>
                    <a:gd name="T26" fmla="*/ 2147483647 w 12"/>
                    <a:gd name="T27" fmla="*/ 2147483647 h 15"/>
                    <a:gd name="T28" fmla="*/ 2147483647 w 12"/>
                    <a:gd name="T29" fmla="*/ 2147483647 h 15"/>
                    <a:gd name="T30" fmla="*/ 2147483647 w 12"/>
                    <a:gd name="T31" fmla="*/ 2147483647 h 15"/>
                    <a:gd name="T32" fmla="*/ 2147483647 w 12"/>
                    <a:gd name="T33" fmla="*/ 2147483647 h 15"/>
                    <a:gd name="T34" fmla="*/ 2147483647 w 12"/>
                    <a:gd name="T35" fmla="*/ 2147483647 h 1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2"/>
                    <a:gd name="T55" fmla="*/ 0 h 15"/>
                    <a:gd name="T56" fmla="*/ 12 w 12"/>
                    <a:gd name="T57" fmla="*/ 15 h 1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2" h="15">
                      <a:moveTo>
                        <a:pt x="5" y="7"/>
                      </a:moveTo>
                      <a:lnTo>
                        <a:pt x="5" y="7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11" y="7"/>
                      </a:lnTo>
                      <a:lnTo>
                        <a:pt x="12" y="12"/>
                      </a:lnTo>
                      <a:lnTo>
                        <a:pt x="12" y="13"/>
                      </a:lnTo>
                      <a:lnTo>
                        <a:pt x="11" y="15"/>
                      </a:lnTo>
                      <a:lnTo>
                        <a:pt x="8" y="10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5" name="Freeform 544">
                  <a:extLst>
                    <a:ext uri="{FF2B5EF4-FFF2-40B4-BE49-F238E27FC236}">
                      <a16:creationId xmlns:a16="http://schemas.microsoft.com/office/drawing/2014/main" id="{2D4203F3-1A79-6347-BAB4-C385A9B6A7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0514" y="3902106"/>
                  <a:ext cx="11839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2147483647 w 9"/>
                    <a:gd name="T3" fmla="*/ 2147483647 h 12"/>
                    <a:gd name="T4" fmla="*/ 0 w 9"/>
                    <a:gd name="T5" fmla="*/ 0 h 12"/>
                    <a:gd name="T6" fmla="*/ 0 w 9"/>
                    <a:gd name="T7" fmla="*/ 0 h 12"/>
                    <a:gd name="T8" fmla="*/ 2147483647 w 9"/>
                    <a:gd name="T9" fmla="*/ 0 h 12"/>
                    <a:gd name="T10" fmla="*/ 2147483647 w 9"/>
                    <a:gd name="T11" fmla="*/ 2147483647 h 12"/>
                    <a:gd name="T12" fmla="*/ 2147483647 w 9"/>
                    <a:gd name="T13" fmla="*/ 2147483647 h 12"/>
                    <a:gd name="T14" fmla="*/ 2147483647 w 9"/>
                    <a:gd name="T15" fmla="*/ 2147483647 h 12"/>
                    <a:gd name="T16" fmla="*/ 2147483647 w 9"/>
                    <a:gd name="T17" fmla="*/ 2147483647 h 12"/>
                    <a:gd name="T18" fmla="*/ 2147483647 w 9"/>
                    <a:gd name="T19" fmla="*/ 2147483647 h 12"/>
                    <a:gd name="T20" fmla="*/ 2147483647 w 9"/>
                    <a:gd name="T21" fmla="*/ 2147483647 h 12"/>
                    <a:gd name="T22" fmla="*/ 2147483647 w 9"/>
                    <a:gd name="T23" fmla="*/ 2147483647 h 12"/>
                    <a:gd name="T24" fmla="*/ 2147483647 w 9"/>
                    <a:gd name="T25" fmla="*/ 2147483647 h 12"/>
                    <a:gd name="T26" fmla="*/ 2147483647 w 9"/>
                    <a:gd name="T27" fmla="*/ 2147483647 h 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2"/>
                    <a:gd name="T44" fmla="*/ 9 w 9"/>
                    <a:gd name="T45" fmla="*/ 12 h 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2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8" y="5"/>
                      </a:lnTo>
                      <a:lnTo>
                        <a:pt x="9" y="8"/>
                      </a:lnTo>
                      <a:lnTo>
                        <a:pt x="8" y="11"/>
                      </a:lnTo>
                      <a:lnTo>
                        <a:pt x="5" y="12"/>
                      </a:lnTo>
                      <a:lnTo>
                        <a:pt x="4" y="11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6" name="Freeform 545">
                  <a:extLst>
                    <a:ext uri="{FF2B5EF4-FFF2-40B4-BE49-F238E27FC236}">
                      <a16:creationId xmlns:a16="http://schemas.microsoft.com/office/drawing/2014/main" id="{B452CB48-9B06-D245-9D9F-4685AFE3F4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3565" y="3836990"/>
                  <a:ext cx="28118" cy="16278"/>
                </a:xfrm>
                <a:custGeom>
                  <a:avLst/>
                  <a:gdLst>
                    <a:gd name="T0" fmla="*/ 2147483647 w 21"/>
                    <a:gd name="T1" fmla="*/ 2147483647 h 11"/>
                    <a:gd name="T2" fmla="*/ 2147483647 w 21"/>
                    <a:gd name="T3" fmla="*/ 2147483647 h 11"/>
                    <a:gd name="T4" fmla="*/ 2147483647 w 21"/>
                    <a:gd name="T5" fmla="*/ 2147483647 h 11"/>
                    <a:gd name="T6" fmla="*/ 2147483647 w 21"/>
                    <a:gd name="T7" fmla="*/ 2147483647 h 11"/>
                    <a:gd name="T8" fmla="*/ 2147483647 w 21"/>
                    <a:gd name="T9" fmla="*/ 2147483647 h 11"/>
                    <a:gd name="T10" fmla="*/ 0 w 21"/>
                    <a:gd name="T11" fmla="*/ 2147483647 h 11"/>
                    <a:gd name="T12" fmla="*/ 0 w 21"/>
                    <a:gd name="T13" fmla="*/ 2147483647 h 11"/>
                    <a:gd name="T14" fmla="*/ 2147483647 w 21"/>
                    <a:gd name="T15" fmla="*/ 2147483647 h 11"/>
                    <a:gd name="T16" fmla="*/ 2147483647 w 21"/>
                    <a:gd name="T17" fmla="*/ 2147483647 h 11"/>
                    <a:gd name="T18" fmla="*/ 2147483647 w 21"/>
                    <a:gd name="T19" fmla="*/ 0 h 11"/>
                    <a:gd name="T20" fmla="*/ 2147483647 w 21"/>
                    <a:gd name="T21" fmla="*/ 2147483647 h 11"/>
                    <a:gd name="T22" fmla="*/ 2147483647 w 21"/>
                    <a:gd name="T23" fmla="*/ 2147483647 h 11"/>
                    <a:gd name="T24" fmla="*/ 2147483647 w 21"/>
                    <a:gd name="T25" fmla="*/ 2147483647 h 11"/>
                    <a:gd name="T26" fmla="*/ 2147483647 w 21"/>
                    <a:gd name="T27" fmla="*/ 2147483647 h 11"/>
                    <a:gd name="T28" fmla="*/ 2147483647 w 21"/>
                    <a:gd name="T29" fmla="*/ 2147483647 h 1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1"/>
                    <a:gd name="T46" fmla="*/ 0 h 11"/>
                    <a:gd name="T47" fmla="*/ 21 w 21"/>
                    <a:gd name="T48" fmla="*/ 11 h 1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1" h="11">
                      <a:moveTo>
                        <a:pt x="16" y="8"/>
                      </a:moveTo>
                      <a:lnTo>
                        <a:pt x="13" y="11"/>
                      </a:lnTo>
                      <a:lnTo>
                        <a:pt x="10" y="11"/>
                      </a:lnTo>
                      <a:lnTo>
                        <a:pt x="4" y="9"/>
                      </a:lnTo>
                      <a:lnTo>
                        <a:pt x="2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2" y="4"/>
                      </a:lnTo>
                      <a:lnTo>
                        <a:pt x="7" y="1"/>
                      </a:lnTo>
                      <a:lnTo>
                        <a:pt x="12" y="0"/>
                      </a:lnTo>
                      <a:lnTo>
                        <a:pt x="17" y="1"/>
                      </a:lnTo>
                      <a:lnTo>
                        <a:pt x="21" y="5"/>
                      </a:lnTo>
                      <a:lnTo>
                        <a:pt x="21" y="6"/>
                      </a:lnTo>
                      <a:lnTo>
                        <a:pt x="19" y="7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7" name="Freeform 546">
                  <a:extLst>
                    <a:ext uri="{FF2B5EF4-FFF2-40B4-BE49-F238E27FC236}">
                      <a16:creationId xmlns:a16="http://schemas.microsoft.com/office/drawing/2014/main" id="{52169A1A-C55B-7D4A-82EA-688DC927CC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9080" y="3834030"/>
                  <a:ext cx="22199" cy="39956"/>
                </a:xfrm>
                <a:custGeom>
                  <a:avLst/>
                  <a:gdLst>
                    <a:gd name="T0" fmla="*/ 2147483647 w 16"/>
                    <a:gd name="T1" fmla="*/ 2147483647 h 27"/>
                    <a:gd name="T2" fmla="*/ 2147483647 w 16"/>
                    <a:gd name="T3" fmla="*/ 2147483647 h 27"/>
                    <a:gd name="T4" fmla="*/ 2147483647 w 16"/>
                    <a:gd name="T5" fmla="*/ 2147483647 h 27"/>
                    <a:gd name="T6" fmla="*/ 0 w 16"/>
                    <a:gd name="T7" fmla="*/ 2147483647 h 27"/>
                    <a:gd name="T8" fmla="*/ 0 w 16"/>
                    <a:gd name="T9" fmla="*/ 0 h 27"/>
                    <a:gd name="T10" fmla="*/ 2147483647 w 16"/>
                    <a:gd name="T11" fmla="*/ 2147483647 h 27"/>
                    <a:gd name="T12" fmla="*/ 2147483647 w 16"/>
                    <a:gd name="T13" fmla="*/ 2147483647 h 27"/>
                    <a:gd name="T14" fmla="*/ 2147483647 w 16"/>
                    <a:gd name="T15" fmla="*/ 2147483647 h 27"/>
                    <a:gd name="T16" fmla="*/ 2147483647 w 16"/>
                    <a:gd name="T17" fmla="*/ 2147483647 h 27"/>
                    <a:gd name="T18" fmla="*/ 2147483647 w 16"/>
                    <a:gd name="T19" fmla="*/ 2147483647 h 27"/>
                    <a:gd name="T20" fmla="*/ 2147483647 w 16"/>
                    <a:gd name="T21" fmla="*/ 2147483647 h 27"/>
                    <a:gd name="T22" fmla="*/ 2147483647 w 16"/>
                    <a:gd name="T23" fmla="*/ 2147483647 h 27"/>
                    <a:gd name="T24" fmla="*/ 2147483647 w 16"/>
                    <a:gd name="T25" fmla="*/ 2147483647 h 27"/>
                    <a:gd name="T26" fmla="*/ 2147483647 w 16"/>
                    <a:gd name="T27" fmla="*/ 2147483647 h 27"/>
                    <a:gd name="T28" fmla="*/ 2147483647 w 16"/>
                    <a:gd name="T29" fmla="*/ 2147483647 h 27"/>
                    <a:gd name="T30" fmla="*/ 2147483647 w 16"/>
                    <a:gd name="T31" fmla="*/ 2147483647 h 27"/>
                    <a:gd name="T32" fmla="*/ 2147483647 w 16"/>
                    <a:gd name="T33" fmla="*/ 2147483647 h 27"/>
                    <a:gd name="T34" fmla="*/ 2147483647 w 16"/>
                    <a:gd name="T35" fmla="*/ 2147483647 h 27"/>
                    <a:gd name="T36" fmla="*/ 2147483647 w 16"/>
                    <a:gd name="T37" fmla="*/ 2147483647 h 2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"/>
                    <a:gd name="T58" fmla="*/ 0 h 27"/>
                    <a:gd name="T59" fmla="*/ 16 w 16"/>
                    <a:gd name="T60" fmla="*/ 27 h 2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" h="27">
                      <a:moveTo>
                        <a:pt x="5" y="11"/>
                      </a:moveTo>
                      <a:lnTo>
                        <a:pt x="3" y="9"/>
                      </a:lnTo>
                      <a:lnTo>
                        <a:pt x="2" y="6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6" y="3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15" y="13"/>
                      </a:lnTo>
                      <a:lnTo>
                        <a:pt x="16" y="15"/>
                      </a:lnTo>
                      <a:lnTo>
                        <a:pt x="15" y="19"/>
                      </a:lnTo>
                      <a:lnTo>
                        <a:pt x="12" y="25"/>
                      </a:lnTo>
                      <a:lnTo>
                        <a:pt x="11" y="26"/>
                      </a:lnTo>
                      <a:lnTo>
                        <a:pt x="7" y="27"/>
                      </a:lnTo>
                      <a:lnTo>
                        <a:pt x="5" y="27"/>
                      </a:lnTo>
                      <a:lnTo>
                        <a:pt x="3" y="26"/>
                      </a:lnTo>
                      <a:lnTo>
                        <a:pt x="2" y="23"/>
                      </a:lnTo>
                      <a:lnTo>
                        <a:pt x="2" y="22"/>
                      </a:lnTo>
                      <a:lnTo>
                        <a:pt x="5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8" name="Freeform 547">
                  <a:extLst>
                    <a:ext uri="{FF2B5EF4-FFF2-40B4-BE49-F238E27FC236}">
                      <a16:creationId xmlns:a16="http://schemas.microsoft.com/office/drawing/2014/main" id="{31715832-8E47-7A44-A9C6-4DEDA05B08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2083" y="3835511"/>
                  <a:ext cx="26637" cy="14799"/>
                </a:xfrm>
                <a:custGeom>
                  <a:avLst/>
                  <a:gdLst>
                    <a:gd name="T0" fmla="*/ 2147483647 w 20"/>
                    <a:gd name="T1" fmla="*/ 2147483647 h 10"/>
                    <a:gd name="T2" fmla="*/ 2147483647 w 20"/>
                    <a:gd name="T3" fmla="*/ 2147483647 h 10"/>
                    <a:gd name="T4" fmla="*/ 2147483647 w 20"/>
                    <a:gd name="T5" fmla="*/ 2147483647 h 10"/>
                    <a:gd name="T6" fmla="*/ 2147483647 w 20"/>
                    <a:gd name="T7" fmla="*/ 2147483647 h 10"/>
                    <a:gd name="T8" fmla="*/ 2147483647 w 20"/>
                    <a:gd name="T9" fmla="*/ 2147483647 h 10"/>
                    <a:gd name="T10" fmla="*/ 2147483647 w 20"/>
                    <a:gd name="T11" fmla="*/ 2147483647 h 10"/>
                    <a:gd name="T12" fmla="*/ 2147483647 w 20"/>
                    <a:gd name="T13" fmla="*/ 2147483647 h 10"/>
                    <a:gd name="T14" fmla="*/ 0 w 20"/>
                    <a:gd name="T15" fmla="*/ 2147483647 h 10"/>
                    <a:gd name="T16" fmla="*/ 0 w 20"/>
                    <a:gd name="T17" fmla="*/ 2147483647 h 10"/>
                    <a:gd name="T18" fmla="*/ 2147483647 w 20"/>
                    <a:gd name="T19" fmla="*/ 2147483647 h 10"/>
                    <a:gd name="T20" fmla="*/ 2147483647 w 20"/>
                    <a:gd name="T21" fmla="*/ 2147483647 h 10"/>
                    <a:gd name="T22" fmla="*/ 2147483647 w 20"/>
                    <a:gd name="T23" fmla="*/ 2147483647 h 10"/>
                    <a:gd name="T24" fmla="*/ 2147483647 w 20"/>
                    <a:gd name="T25" fmla="*/ 0 h 10"/>
                    <a:gd name="T26" fmla="*/ 2147483647 w 20"/>
                    <a:gd name="T27" fmla="*/ 2147483647 h 10"/>
                    <a:gd name="T28" fmla="*/ 2147483647 w 20"/>
                    <a:gd name="T29" fmla="*/ 2147483647 h 10"/>
                    <a:gd name="T30" fmla="*/ 2147483647 w 20"/>
                    <a:gd name="T31" fmla="*/ 2147483647 h 10"/>
                    <a:gd name="T32" fmla="*/ 2147483647 w 20"/>
                    <a:gd name="T33" fmla="*/ 2147483647 h 10"/>
                    <a:gd name="T34" fmla="*/ 2147483647 w 20"/>
                    <a:gd name="T35" fmla="*/ 2147483647 h 10"/>
                    <a:gd name="T36" fmla="*/ 2147483647 w 20"/>
                    <a:gd name="T37" fmla="*/ 2147483647 h 10"/>
                    <a:gd name="T38" fmla="*/ 2147483647 w 20"/>
                    <a:gd name="T39" fmla="*/ 2147483647 h 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"/>
                    <a:gd name="T61" fmla="*/ 0 h 10"/>
                    <a:gd name="T62" fmla="*/ 20 w 20"/>
                    <a:gd name="T63" fmla="*/ 10 h 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" h="10">
                      <a:moveTo>
                        <a:pt x="15" y="8"/>
                      </a:moveTo>
                      <a:lnTo>
                        <a:pt x="15" y="8"/>
                      </a:lnTo>
                      <a:lnTo>
                        <a:pt x="13" y="10"/>
                      </a:lnTo>
                      <a:lnTo>
                        <a:pt x="10" y="10"/>
                      </a:lnTo>
                      <a:lnTo>
                        <a:pt x="4" y="9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17" y="1"/>
                      </a:lnTo>
                      <a:lnTo>
                        <a:pt x="20" y="5"/>
                      </a:lnTo>
                      <a:lnTo>
                        <a:pt x="20" y="6"/>
                      </a:lnTo>
                      <a:lnTo>
                        <a:pt x="19" y="7"/>
                      </a:lnTo>
                      <a:lnTo>
                        <a:pt x="15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9" name="Freeform 548">
                  <a:extLst>
                    <a:ext uri="{FF2B5EF4-FFF2-40B4-BE49-F238E27FC236}">
                      <a16:creationId xmlns:a16="http://schemas.microsoft.com/office/drawing/2014/main" id="{3BB28825-0B37-3F40-92BC-9D4AB8F24B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6119" y="3831070"/>
                  <a:ext cx="23678" cy="41436"/>
                </a:xfrm>
                <a:custGeom>
                  <a:avLst/>
                  <a:gdLst>
                    <a:gd name="T0" fmla="*/ 2147483647 w 17"/>
                    <a:gd name="T1" fmla="*/ 2147483647 h 28"/>
                    <a:gd name="T2" fmla="*/ 2147483647 w 17"/>
                    <a:gd name="T3" fmla="*/ 2147483647 h 28"/>
                    <a:gd name="T4" fmla="*/ 2147483647 w 17"/>
                    <a:gd name="T5" fmla="*/ 2147483647 h 28"/>
                    <a:gd name="T6" fmla="*/ 2147483647 w 17"/>
                    <a:gd name="T7" fmla="*/ 2147483647 h 28"/>
                    <a:gd name="T8" fmla="*/ 0 w 17"/>
                    <a:gd name="T9" fmla="*/ 2147483647 h 28"/>
                    <a:gd name="T10" fmla="*/ 0 w 17"/>
                    <a:gd name="T11" fmla="*/ 0 h 28"/>
                    <a:gd name="T12" fmla="*/ 0 w 17"/>
                    <a:gd name="T13" fmla="*/ 0 h 28"/>
                    <a:gd name="T14" fmla="*/ 2147483647 w 17"/>
                    <a:gd name="T15" fmla="*/ 2147483647 h 28"/>
                    <a:gd name="T16" fmla="*/ 2147483647 w 17"/>
                    <a:gd name="T17" fmla="*/ 2147483647 h 28"/>
                    <a:gd name="T18" fmla="*/ 2147483647 w 17"/>
                    <a:gd name="T19" fmla="*/ 2147483647 h 28"/>
                    <a:gd name="T20" fmla="*/ 2147483647 w 17"/>
                    <a:gd name="T21" fmla="*/ 2147483647 h 28"/>
                    <a:gd name="T22" fmla="*/ 2147483647 w 17"/>
                    <a:gd name="T23" fmla="*/ 2147483647 h 28"/>
                    <a:gd name="T24" fmla="*/ 2147483647 w 17"/>
                    <a:gd name="T25" fmla="*/ 2147483647 h 28"/>
                    <a:gd name="T26" fmla="*/ 2147483647 w 17"/>
                    <a:gd name="T27" fmla="*/ 2147483647 h 28"/>
                    <a:gd name="T28" fmla="*/ 2147483647 w 17"/>
                    <a:gd name="T29" fmla="*/ 2147483647 h 28"/>
                    <a:gd name="T30" fmla="*/ 2147483647 w 17"/>
                    <a:gd name="T31" fmla="*/ 2147483647 h 28"/>
                    <a:gd name="T32" fmla="*/ 2147483647 w 17"/>
                    <a:gd name="T33" fmla="*/ 2147483647 h 28"/>
                    <a:gd name="T34" fmla="*/ 2147483647 w 17"/>
                    <a:gd name="T35" fmla="*/ 2147483647 h 28"/>
                    <a:gd name="T36" fmla="*/ 2147483647 w 17"/>
                    <a:gd name="T37" fmla="*/ 2147483647 h 28"/>
                    <a:gd name="T38" fmla="*/ 2147483647 w 17"/>
                    <a:gd name="T39" fmla="*/ 2147483647 h 28"/>
                    <a:gd name="T40" fmla="*/ 2147483647 w 17"/>
                    <a:gd name="T41" fmla="*/ 2147483647 h 28"/>
                    <a:gd name="T42" fmla="*/ 2147483647 w 17"/>
                    <a:gd name="T43" fmla="*/ 2147483647 h 28"/>
                    <a:gd name="T44" fmla="*/ 2147483647 w 17"/>
                    <a:gd name="T45" fmla="*/ 2147483647 h 28"/>
                    <a:gd name="T46" fmla="*/ 2147483647 w 17"/>
                    <a:gd name="T47" fmla="*/ 2147483647 h 2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7"/>
                    <a:gd name="T73" fmla="*/ 0 h 28"/>
                    <a:gd name="T74" fmla="*/ 17 w 17"/>
                    <a:gd name="T75" fmla="*/ 28 h 2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7" h="28">
                      <a:moveTo>
                        <a:pt x="5" y="12"/>
                      </a:moveTo>
                      <a:lnTo>
                        <a:pt x="5" y="12"/>
                      </a:lnTo>
                      <a:lnTo>
                        <a:pt x="4" y="10"/>
                      </a:lnTo>
                      <a:lnTo>
                        <a:pt x="3" y="6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7" y="4"/>
                      </a:lnTo>
                      <a:lnTo>
                        <a:pt x="12" y="8"/>
                      </a:lnTo>
                      <a:lnTo>
                        <a:pt x="14" y="10"/>
                      </a:lnTo>
                      <a:lnTo>
                        <a:pt x="16" y="13"/>
                      </a:lnTo>
                      <a:lnTo>
                        <a:pt x="17" y="16"/>
                      </a:lnTo>
                      <a:lnTo>
                        <a:pt x="16" y="19"/>
                      </a:lnTo>
                      <a:lnTo>
                        <a:pt x="13" y="25"/>
                      </a:lnTo>
                      <a:lnTo>
                        <a:pt x="12" y="27"/>
                      </a:lnTo>
                      <a:lnTo>
                        <a:pt x="8" y="28"/>
                      </a:lnTo>
                      <a:lnTo>
                        <a:pt x="5" y="28"/>
                      </a:lnTo>
                      <a:lnTo>
                        <a:pt x="4" y="27"/>
                      </a:lnTo>
                      <a:lnTo>
                        <a:pt x="3" y="24"/>
                      </a:lnTo>
                      <a:lnTo>
                        <a:pt x="3" y="23"/>
                      </a:lnTo>
                      <a:lnTo>
                        <a:pt x="5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0" name="Freeform 549">
                  <a:extLst>
                    <a:ext uri="{FF2B5EF4-FFF2-40B4-BE49-F238E27FC236}">
                      <a16:creationId xmlns:a16="http://schemas.microsoft.com/office/drawing/2014/main" id="{1FE415EC-1069-4A44-8C09-8462A6D5E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5400" y="3878427"/>
                  <a:ext cx="29597" cy="47356"/>
                </a:xfrm>
                <a:custGeom>
                  <a:avLst/>
                  <a:gdLst>
                    <a:gd name="T0" fmla="*/ 2147483647 w 22"/>
                    <a:gd name="T1" fmla="*/ 2147483647 h 32"/>
                    <a:gd name="T2" fmla="*/ 2147483647 w 22"/>
                    <a:gd name="T3" fmla="*/ 2147483647 h 32"/>
                    <a:gd name="T4" fmla="*/ 2147483647 w 22"/>
                    <a:gd name="T5" fmla="*/ 0 h 32"/>
                    <a:gd name="T6" fmla="*/ 2147483647 w 22"/>
                    <a:gd name="T7" fmla="*/ 2147483647 h 32"/>
                    <a:gd name="T8" fmla="*/ 2147483647 w 22"/>
                    <a:gd name="T9" fmla="*/ 2147483647 h 32"/>
                    <a:gd name="T10" fmla="*/ 2147483647 w 22"/>
                    <a:gd name="T11" fmla="*/ 2147483647 h 32"/>
                    <a:gd name="T12" fmla="*/ 2147483647 w 22"/>
                    <a:gd name="T13" fmla="*/ 2147483647 h 32"/>
                    <a:gd name="T14" fmla="*/ 2147483647 w 22"/>
                    <a:gd name="T15" fmla="*/ 2147483647 h 32"/>
                    <a:gd name="T16" fmla="*/ 0 w 22"/>
                    <a:gd name="T17" fmla="*/ 2147483647 h 32"/>
                    <a:gd name="T18" fmla="*/ 0 w 22"/>
                    <a:gd name="T19" fmla="*/ 2147483647 h 32"/>
                    <a:gd name="T20" fmla="*/ 2147483647 w 22"/>
                    <a:gd name="T21" fmla="*/ 2147483647 h 32"/>
                    <a:gd name="T22" fmla="*/ 2147483647 w 22"/>
                    <a:gd name="T23" fmla="*/ 2147483647 h 32"/>
                    <a:gd name="T24" fmla="*/ 2147483647 w 22"/>
                    <a:gd name="T25" fmla="*/ 2147483647 h 32"/>
                    <a:gd name="T26" fmla="*/ 2147483647 w 22"/>
                    <a:gd name="T27" fmla="*/ 2147483647 h 32"/>
                    <a:gd name="T28" fmla="*/ 2147483647 w 22"/>
                    <a:gd name="T29" fmla="*/ 2147483647 h 32"/>
                    <a:gd name="T30" fmla="*/ 2147483647 w 22"/>
                    <a:gd name="T31" fmla="*/ 2147483647 h 32"/>
                    <a:gd name="T32" fmla="*/ 2147483647 w 22"/>
                    <a:gd name="T33" fmla="*/ 2147483647 h 32"/>
                    <a:gd name="T34" fmla="*/ 2147483647 w 22"/>
                    <a:gd name="T35" fmla="*/ 2147483647 h 32"/>
                    <a:gd name="T36" fmla="*/ 2147483647 w 22"/>
                    <a:gd name="T37" fmla="*/ 2147483647 h 32"/>
                    <a:gd name="T38" fmla="*/ 2147483647 w 22"/>
                    <a:gd name="T39" fmla="*/ 2147483647 h 32"/>
                    <a:gd name="T40" fmla="*/ 2147483647 w 22"/>
                    <a:gd name="T41" fmla="*/ 2147483647 h 32"/>
                    <a:gd name="T42" fmla="*/ 2147483647 w 22"/>
                    <a:gd name="T43" fmla="*/ 2147483647 h 32"/>
                    <a:gd name="T44" fmla="*/ 2147483647 w 22"/>
                    <a:gd name="T45" fmla="*/ 2147483647 h 32"/>
                    <a:gd name="T46" fmla="*/ 2147483647 w 22"/>
                    <a:gd name="T47" fmla="*/ 2147483647 h 32"/>
                    <a:gd name="T48" fmla="*/ 2147483647 w 22"/>
                    <a:gd name="T49" fmla="*/ 2147483647 h 32"/>
                    <a:gd name="T50" fmla="*/ 2147483647 w 22"/>
                    <a:gd name="T51" fmla="*/ 2147483647 h 32"/>
                    <a:gd name="T52" fmla="*/ 2147483647 w 22"/>
                    <a:gd name="T53" fmla="*/ 2147483647 h 32"/>
                    <a:gd name="T54" fmla="*/ 2147483647 w 22"/>
                    <a:gd name="T55" fmla="*/ 2147483647 h 32"/>
                    <a:gd name="T56" fmla="*/ 2147483647 w 22"/>
                    <a:gd name="T57" fmla="*/ 2147483647 h 3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"/>
                    <a:gd name="T88" fmla="*/ 0 h 32"/>
                    <a:gd name="T89" fmla="*/ 22 w 22"/>
                    <a:gd name="T90" fmla="*/ 32 h 3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" h="32">
                      <a:moveTo>
                        <a:pt x="13" y="3"/>
                      </a:move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4" y="5"/>
                      </a:lnTo>
                      <a:lnTo>
                        <a:pt x="4" y="10"/>
                      </a:lnTo>
                      <a:lnTo>
                        <a:pt x="3" y="13"/>
                      </a:lnTo>
                      <a:lnTo>
                        <a:pt x="3" y="16"/>
                      </a:lnTo>
                      <a:lnTo>
                        <a:pt x="0" y="18"/>
                      </a:lnTo>
                      <a:lnTo>
                        <a:pt x="0" y="21"/>
                      </a:lnTo>
                      <a:lnTo>
                        <a:pt x="3" y="22"/>
                      </a:lnTo>
                      <a:lnTo>
                        <a:pt x="8" y="23"/>
                      </a:lnTo>
                      <a:lnTo>
                        <a:pt x="12" y="24"/>
                      </a:lnTo>
                      <a:lnTo>
                        <a:pt x="15" y="28"/>
                      </a:lnTo>
                      <a:lnTo>
                        <a:pt x="18" y="31"/>
                      </a:lnTo>
                      <a:lnTo>
                        <a:pt x="19" y="32"/>
                      </a:lnTo>
                      <a:lnTo>
                        <a:pt x="22" y="31"/>
                      </a:lnTo>
                      <a:lnTo>
                        <a:pt x="22" y="29"/>
                      </a:lnTo>
                      <a:lnTo>
                        <a:pt x="18" y="25"/>
                      </a:lnTo>
                      <a:lnTo>
                        <a:pt x="17" y="24"/>
                      </a:lnTo>
                      <a:lnTo>
                        <a:pt x="17" y="22"/>
                      </a:lnTo>
                      <a:lnTo>
                        <a:pt x="15" y="16"/>
                      </a:lnTo>
                      <a:lnTo>
                        <a:pt x="13" y="11"/>
                      </a:lnTo>
                      <a:lnTo>
                        <a:pt x="13" y="10"/>
                      </a:lnTo>
                      <a:lnTo>
                        <a:pt x="14" y="10"/>
                      </a:lnTo>
                      <a:lnTo>
                        <a:pt x="15" y="8"/>
                      </a:lnTo>
                      <a:lnTo>
                        <a:pt x="15" y="5"/>
                      </a:lnTo>
                      <a:lnTo>
                        <a:pt x="14" y="4"/>
                      </a:lnTo>
                      <a:lnTo>
                        <a:pt x="13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1" name="Freeform 550">
                  <a:extLst>
                    <a:ext uri="{FF2B5EF4-FFF2-40B4-BE49-F238E27FC236}">
                      <a16:creationId xmlns:a16="http://schemas.microsoft.com/office/drawing/2014/main" id="{88E67F68-54FB-4041-A788-AA7E31149D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1452" y="3987937"/>
                  <a:ext cx="19238" cy="16278"/>
                </a:xfrm>
                <a:custGeom>
                  <a:avLst/>
                  <a:gdLst>
                    <a:gd name="T0" fmla="*/ 2147483647 w 14"/>
                    <a:gd name="T1" fmla="*/ 2147483647 h 11"/>
                    <a:gd name="T2" fmla="*/ 2147483647 w 14"/>
                    <a:gd name="T3" fmla="*/ 2147483647 h 11"/>
                    <a:gd name="T4" fmla="*/ 2147483647 w 14"/>
                    <a:gd name="T5" fmla="*/ 2147483647 h 11"/>
                    <a:gd name="T6" fmla="*/ 0 w 14"/>
                    <a:gd name="T7" fmla="*/ 2147483647 h 11"/>
                    <a:gd name="T8" fmla="*/ 0 w 14"/>
                    <a:gd name="T9" fmla="*/ 2147483647 h 11"/>
                    <a:gd name="T10" fmla="*/ 2147483647 w 14"/>
                    <a:gd name="T11" fmla="*/ 2147483647 h 11"/>
                    <a:gd name="T12" fmla="*/ 2147483647 w 14"/>
                    <a:gd name="T13" fmla="*/ 2147483647 h 11"/>
                    <a:gd name="T14" fmla="*/ 2147483647 w 14"/>
                    <a:gd name="T15" fmla="*/ 0 h 11"/>
                    <a:gd name="T16" fmla="*/ 2147483647 w 14"/>
                    <a:gd name="T17" fmla="*/ 0 h 11"/>
                    <a:gd name="T18" fmla="*/ 2147483647 w 14"/>
                    <a:gd name="T19" fmla="*/ 2147483647 h 11"/>
                    <a:gd name="T20" fmla="*/ 2147483647 w 14"/>
                    <a:gd name="T21" fmla="*/ 2147483647 h 11"/>
                    <a:gd name="T22" fmla="*/ 2147483647 w 14"/>
                    <a:gd name="T23" fmla="*/ 2147483647 h 11"/>
                    <a:gd name="T24" fmla="*/ 2147483647 w 14"/>
                    <a:gd name="T25" fmla="*/ 2147483647 h 11"/>
                    <a:gd name="T26" fmla="*/ 2147483647 w 14"/>
                    <a:gd name="T27" fmla="*/ 2147483647 h 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4"/>
                    <a:gd name="T43" fmla="*/ 0 h 11"/>
                    <a:gd name="T44" fmla="*/ 14 w 14"/>
                    <a:gd name="T45" fmla="*/ 11 h 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4" h="11">
                      <a:moveTo>
                        <a:pt x="9" y="9"/>
                      </a:move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0"/>
                      </a:lnTo>
                      <a:lnTo>
                        <a:pt x="14" y="2"/>
                      </a:lnTo>
                      <a:lnTo>
                        <a:pt x="14" y="4"/>
                      </a:lnTo>
                      <a:lnTo>
                        <a:pt x="14" y="5"/>
                      </a:lnTo>
                      <a:lnTo>
                        <a:pt x="12" y="7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2" name="Freeform 551">
                  <a:extLst>
                    <a:ext uri="{FF2B5EF4-FFF2-40B4-BE49-F238E27FC236}">
                      <a16:creationId xmlns:a16="http://schemas.microsoft.com/office/drawing/2014/main" id="{A62B1695-6B83-934B-8164-43BA9CC486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3922" y="3876948"/>
                  <a:ext cx="29597" cy="47356"/>
                </a:xfrm>
                <a:custGeom>
                  <a:avLst/>
                  <a:gdLst>
                    <a:gd name="T0" fmla="*/ 2147483647 w 21"/>
                    <a:gd name="T1" fmla="*/ 2147483647 h 32"/>
                    <a:gd name="T2" fmla="*/ 2147483647 w 21"/>
                    <a:gd name="T3" fmla="*/ 2147483647 h 32"/>
                    <a:gd name="T4" fmla="*/ 2147483647 w 21"/>
                    <a:gd name="T5" fmla="*/ 2147483647 h 32"/>
                    <a:gd name="T6" fmla="*/ 2147483647 w 21"/>
                    <a:gd name="T7" fmla="*/ 0 h 32"/>
                    <a:gd name="T8" fmla="*/ 2147483647 w 21"/>
                    <a:gd name="T9" fmla="*/ 2147483647 h 32"/>
                    <a:gd name="T10" fmla="*/ 2147483647 w 21"/>
                    <a:gd name="T11" fmla="*/ 2147483647 h 32"/>
                    <a:gd name="T12" fmla="*/ 2147483647 w 21"/>
                    <a:gd name="T13" fmla="*/ 2147483647 h 32"/>
                    <a:gd name="T14" fmla="*/ 2147483647 w 21"/>
                    <a:gd name="T15" fmla="*/ 2147483647 h 32"/>
                    <a:gd name="T16" fmla="*/ 2147483647 w 21"/>
                    <a:gd name="T17" fmla="*/ 2147483647 h 32"/>
                    <a:gd name="T18" fmla="*/ 2147483647 w 21"/>
                    <a:gd name="T19" fmla="*/ 2147483647 h 32"/>
                    <a:gd name="T20" fmla="*/ 0 w 21"/>
                    <a:gd name="T21" fmla="*/ 2147483647 h 32"/>
                    <a:gd name="T22" fmla="*/ 0 w 21"/>
                    <a:gd name="T23" fmla="*/ 2147483647 h 32"/>
                    <a:gd name="T24" fmla="*/ 0 w 21"/>
                    <a:gd name="T25" fmla="*/ 2147483647 h 32"/>
                    <a:gd name="T26" fmla="*/ 0 w 21"/>
                    <a:gd name="T27" fmla="*/ 2147483647 h 32"/>
                    <a:gd name="T28" fmla="*/ 2147483647 w 21"/>
                    <a:gd name="T29" fmla="*/ 2147483647 h 32"/>
                    <a:gd name="T30" fmla="*/ 2147483647 w 21"/>
                    <a:gd name="T31" fmla="*/ 2147483647 h 32"/>
                    <a:gd name="T32" fmla="*/ 2147483647 w 21"/>
                    <a:gd name="T33" fmla="*/ 2147483647 h 32"/>
                    <a:gd name="T34" fmla="*/ 2147483647 w 21"/>
                    <a:gd name="T35" fmla="*/ 2147483647 h 32"/>
                    <a:gd name="T36" fmla="*/ 2147483647 w 21"/>
                    <a:gd name="T37" fmla="*/ 2147483647 h 32"/>
                    <a:gd name="T38" fmla="*/ 2147483647 w 21"/>
                    <a:gd name="T39" fmla="*/ 2147483647 h 32"/>
                    <a:gd name="T40" fmla="*/ 2147483647 w 21"/>
                    <a:gd name="T41" fmla="*/ 2147483647 h 32"/>
                    <a:gd name="T42" fmla="*/ 2147483647 w 21"/>
                    <a:gd name="T43" fmla="*/ 2147483647 h 32"/>
                    <a:gd name="T44" fmla="*/ 2147483647 w 21"/>
                    <a:gd name="T45" fmla="*/ 2147483647 h 32"/>
                    <a:gd name="T46" fmla="*/ 2147483647 w 21"/>
                    <a:gd name="T47" fmla="*/ 2147483647 h 32"/>
                    <a:gd name="T48" fmla="*/ 2147483647 w 21"/>
                    <a:gd name="T49" fmla="*/ 2147483647 h 32"/>
                    <a:gd name="T50" fmla="*/ 2147483647 w 21"/>
                    <a:gd name="T51" fmla="*/ 2147483647 h 32"/>
                    <a:gd name="T52" fmla="*/ 2147483647 w 21"/>
                    <a:gd name="T53" fmla="*/ 2147483647 h 32"/>
                    <a:gd name="T54" fmla="*/ 2147483647 w 21"/>
                    <a:gd name="T55" fmla="*/ 2147483647 h 32"/>
                    <a:gd name="T56" fmla="*/ 2147483647 w 21"/>
                    <a:gd name="T57" fmla="*/ 2147483647 h 32"/>
                    <a:gd name="T58" fmla="*/ 2147483647 w 21"/>
                    <a:gd name="T59" fmla="*/ 2147483647 h 32"/>
                    <a:gd name="T60" fmla="*/ 2147483647 w 21"/>
                    <a:gd name="T61" fmla="*/ 2147483647 h 32"/>
                    <a:gd name="T62" fmla="*/ 2147483647 w 21"/>
                    <a:gd name="T63" fmla="*/ 2147483647 h 32"/>
                    <a:gd name="T64" fmla="*/ 2147483647 w 21"/>
                    <a:gd name="T65" fmla="*/ 2147483647 h 32"/>
                    <a:gd name="T66" fmla="*/ 2147483647 w 21"/>
                    <a:gd name="T67" fmla="*/ 2147483647 h 32"/>
                    <a:gd name="T68" fmla="*/ 2147483647 w 21"/>
                    <a:gd name="T69" fmla="*/ 2147483647 h 32"/>
                    <a:gd name="T70" fmla="*/ 2147483647 w 21"/>
                    <a:gd name="T71" fmla="*/ 2147483647 h 32"/>
                    <a:gd name="T72" fmla="*/ 2147483647 w 21"/>
                    <a:gd name="T73" fmla="*/ 2147483647 h 32"/>
                    <a:gd name="T74" fmla="*/ 2147483647 w 21"/>
                    <a:gd name="T75" fmla="*/ 2147483647 h 32"/>
                    <a:gd name="T76" fmla="*/ 2147483647 w 21"/>
                    <a:gd name="T77" fmla="*/ 2147483647 h 32"/>
                    <a:gd name="T78" fmla="*/ 2147483647 w 21"/>
                    <a:gd name="T79" fmla="*/ 2147483647 h 32"/>
                    <a:gd name="T80" fmla="*/ 2147483647 w 21"/>
                    <a:gd name="T81" fmla="*/ 2147483647 h 3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1"/>
                    <a:gd name="T124" fmla="*/ 0 h 32"/>
                    <a:gd name="T125" fmla="*/ 21 w 21"/>
                    <a:gd name="T126" fmla="*/ 32 h 3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1" h="32">
                      <a:moveTo>
                        <a:pt x="13" y="3"/>
                      </a:moveTo>
                      <a:lnTo>
                        <a:pt x="13" y="3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4" y="5"/>
                      </a:lnTo>
                      <a:lnTo>
                        <a:pt x="4" y="10"/>
                      </a:lnTo>
                      <a:lnTo>
                        <a:pt x="2" y="13"/>
                      </a:lnTo>
                      <a:lnTo>
                        <a:pt x="2" y="16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8" y="23"/>
                      </a:lnTo>
                      <a:lnTo>
                        <a:pt x="11" y="24"/>
                      </a:lnTo>
                      <a:lnTo>
                        <a:pt x="15" y="28"/>
                      </a:lnTo>
                      <a:lnTo>
                        <a:pt x="18" y="31"/>
                      </a:lnTo>
                      <a:lnTo>
                        <a:pt x="19" y="32"/>
                      </a:lnTo>
                      <a:lnTo>
                        <a:pt x="21" y="31"/>
                      </a:lnTo>
                      <a:lnTo>
                        <a:pt x="21" y="29"/>
                      </a:lnTo>
                      <a:lnTo>
                        <a:pt x="18" y="25"/>
                      </a:lnTo>
                      <a:lnTo>
                        <a:pt x="16" y="24"/>
                      </a:lnTo>
                      <a:lnTo>
                        <a:pt x="16" y="22"/>
                      </a:lnTo>
                      <a:lnTo>
                        <a:pt x="15" y="16"/>
                      </a:lnTo>
                      <a:lnTo>
                        <a:pt x="13" y="11"/>
                      </a:lnTo>
                      <a:lnTo>
                        <a:pt x="13" y="10"/>
                      </a:lnTo>
                      <a:lnTo>
                        <a:pt x="14" y="10"/>
                      </a:ln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4" y="4"/>
                      </a:lnTo>
                      <a:lnTo>
                        <a:pt x="13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3" name="Freeform 552">
                  <a:extLst>
                    <a:ext uri="{FF2B5EF4-FFF2-40B4-BE49-F238E27FC236}">
                      <a16:creationId xmlns:a16="http://schemas.microsoft.com/office/drawing/2014/main" id="{0129C56D-C8E4-CA4A-B4E9-83A29960E1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9970" y="3986460"/>
                  <a:ext cx="19239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2147483647 h 10"/>
                    <a:gd name="T6" fmla="*/ 2147483647 w 14"/>
                    <a:gd name="T7" fmla="*/ 2147483647 h 10"/>
                    <a:gd name="T8" fmla="*/ 0 w 14"/>
                    <a:gd name="T9" fmla="*/ 2147483647 h 10"/>
                    <a:gd name="T10" fmla="*/ 0 w 14"/>
                    <a:gd name="T11" fmla="*/ 2147483647 h 10"/>
                    <a:gd name="T12" fmla="*/ 0 w 14"/>
                    <a:gd name="T13" fmla="*/ 2147483647 h 10"/>
                    <a:gd name="T14" fmla="*/ 2147483647 w 14"/>
                    <a:gd name="T15" fmla="*/ 2147483647 h 10"/>
                    <a:gd name="T16" fmla="*/ 2147483647 w 14"/>
                    <a:gd name="T17" fmla="*/ 2147483647 h 10"/>
                    <a:gd name="T18" fmla="*/ 2147483647 w 14"/>
                    <a:gd name="T19" fmla="*/ 0 h 10"/>
                    <a:gd name="T20" fmla="*/ 2147483647 w 14"/>
                    <a:gd name="T21" fmla="*/ 0 h 10"/>
                    <a:gd name="T22" fmla="*/ 2147483647 w 14"/>
                    <a:gd name="T23" fmla="*/ 0 h 10"/>
                    <a:gd name="T24" fmla="*/ 2147483647 w 14"/>
                    <a:gd name="T25" fmla="*/ 2147483647 h 10"/>
                    <a:gd name="T26" fmla="*/ 2147483647 w 14"/>
                    <a:gd name="T27" fmla="*/ 2147483647 h 10"/>
                    <a:gd name="T28" fmla="*/ 2147483647 w 14"/>
                    <a:gd name="T29" fmla="*/ 2147483647 h 10"/>
                    <a:gd name="T30" fmla="*/ 2147483647 w 14"/>
                    <a:gd name="T31" fmla="*/ 2147483647 h 10"/>
                    <a:gd name="T32" fmla="*/ 2147483647 w 14"/>
                    <a:gd name="T33" fmla="*/ 2147483647 h 10"/>
                    <a:gd name="T34" fmla="*/ 2147483647 w 14"/>
                    <a:gd name="T35" fmla="*/ 2147483647 h 10"/>
                    <a:gd name="T36" fmla="*/ 2147483647 w 14"/>
                    <a:gd name="T37" fmla="*/ 2147483647 h 1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"/>
                    <a:gd name="T58" fmla="*/ 0 h 10"/>
                    <a:gd name="T59" fmla="*/ 14 w 14"/>
                    <a:gd name="T60" fmla="*/ 10 h 1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" h="10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1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4" y="2"/>
                      </a:lnTo>
                      <a:lnTo>
                        <a:pt x="14" y="3"/>
                      </a:lnTo>
                      <a:lnTo>
                        <a:pt x="14" y="5"/>
                      </a:lnTo>
                      <a:lnTo>
                        <a:pt x="12" y="7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4" name="Freeform 553">
                  <a:extLst>
                    <a:ext uri="{FF2B5EF4-FFF2-40B4-BE49-F238E27FC236}">
                      <a16:creationId xmlns:a16="http://schemas.microsoft.com/office/drawing/2014/main" id="{CC221588-66DB-2844-9C34-49CDA1CD2E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2976" y="3953902"/>
                  <a:ext cx="250098" cy="93232"/>
                </a:xfrm>
                <a:custGeom>
                  <a:avLst/>
                  <a:gdLst>
                    <a:gd name="T0" fmla="*/ 2147483647 w 183"/>
                    <a:gd name="T1" fmla="*/ 2147483647 h 63"/>
                    <a:gd name="T2" fmla="*/ 2147483647 w 183"/>
                    <a:gd name="T3" fmla="*/ 2147483647 h 63"/>
                    <a:gd name="T4" fmla="*/ 2147483647 w 183"/>
                    <a:gd name="T5" fmla="*/ 2147483647 h 63"/>
                    <a:gd name="T6" fmla="*/ 2147483647 w 183"/>
                    <a:gd name="T7" fmla="*/ 2147483647 h 63"/>
                    <a:gd name="T8" fmla="*/ 2147483647 w 183"/>
                    <a:gd name="T9" fmla="*/ 0 h 63"/>
                    <a:gd name="T10" fmla="*/ 2147483647 w 183"/>
                    <a:gd name="T11" fmla="*/ 0 h 63"/>
                    <a:gd name="T12" fmla="*/ 2147483647 w 183"/>
                    <a:gd name="T13" fmla="*/ 2147483647 h 63"/>
                    <a:gd name="T14" fmla="*/ 2147483647 w 183"/>
                    <a:gd name="T15" fmla="*/ 2147483647 h 63"/>
                    <a:gd name="T16" fmla="*/ 2147483647 w 183"/>
                    <a:gd name="T17" fmla="*/ 2147483647 h 63"/>
                    <a:gd name="T18" fmla="*/ 2147483647 w 183"/>
                    <a:gd name="T19" fmla="*/ 2147483647 h 63"/>
                    <a:gd name="T20" fmla="*/ 2147483647 w 183"/>
                    <a:gd name="T21" fmla="*/ 2147483647 h 63"/>
                    <a:gd name="T22" fmla="*/ 2147483647 w 183"/>
                    <a:gd name="T23" fmla="*/ 2147483647 h 63"/>
                    <a:gd name="T24" fmla="*/ 2147483647 w 183"/>
                    <a:gd name="T25" fmla="*/ 2147483647 h 63"/>
                    <a:gd name="T26" fmla="*/ 2147483647 w 183"/>
                    <a:gd name="T27" fmla="*/ 2147483647 h 63"/>
                    <a:gd name="T28" fmla="*/ 0 w 183"/>
                    <a:gd name="T29" fmla="*/ 2147483647 h 63"/>
                    <a:gd name="T30" fmla="*/ 2147483647 w 183"/>
                    <a:gd name="T31" fmla="*/ 2147483647 h 63"/>
                    <a:gd name="T32" fmla="*/ 2147483647 w 183"/>
                    <a:gd name="T33" fmla="*/ 2147483647 h 63"/>
                    <a:gd name="T34" fmla="*/ 2147483647 w 183"/>
                    <a:gd name="T35" fmla="*/ 2147483647 h 63"/>
                    <a:gd name="T36" fmla="*/ 2147483647 w 183"/>
                    <a:gd name="T37" fmla="*/ 2147483647 h 63"/>
                    <a:gd name="T38" fmla="*/ 2147483647 w 183"/>
                    <a:gd name="T39" fmla="*/ 2147483647 h 63"/>
                    <a:gd name="T40" fmla="*/ 2147483647 w 183"/>
                    <a:gd name="T41" fmla="*/ 2147483647 h 63"/>
                    <a:gd name="T42" fmla="*/ 2147483647 w 183"/>
                    <a:gd name="T43" fmla="*/ 2147483647 h 63"/>
                    <a:gd name="T44" fmla="*/ 2147483647 w 183"/>
                    <a:gd name="T45" fmla="*/ 2147483647 h 63"/>
                    <a:gd name="T46" fmla="*/ 2147483647 w 183"/>
                    <a:gd name="T47" fmla="*/ 2147483647 h 63"/>
                    <a:gd name="T48" fmla="*/ 2147483647 w 183"/>
                    <a:gd name="T49" fmla="*/ 2147483647 h 63"/>
                    <a:gd name="T50" fmla="*/ 2147483647 w 183"/>
                    <a:gd name="T51" fmla="*/ 2147483647 h 63"/>
                    <a:gd name="T52" fmla="*/ 2147483647 w 183"/>
                    <a:gd name="T53" fmla="*/ 2147483647 h 63"/>
                    <a:gd name="T54" fmla="*/ 2147483647 w 183"/>
                    <a:gd name="T55" fmla="*/ 2147483647 h 63"/>
                    <a:gd name="T56" fmla="*/ 2147483647 w 183"/>
                    <a:gd name="T57" fmla="*/ 2147483647 h 63"/>
                    <a:gd name="T58" fmla="*/ 2147483647 w 183"/>
                    <a:gd name="T59" fmla="*/ 2147483647 h 63"/>
                    <a:gd name="T60" fmla="*/ 2147483647 w 183"/>
                    <a:gd name="T61" fmla="*/ 2147483647 h 63"/>
                    <a:gd name="T62" fmla="*/ 2147483647 w 183"/>
                    <a:gd name="T63" fmla="*/ 2147483647 h 63"/>
                    <a:gd name="T64" fmla="*/ 2147483647 w 183"/>
                    <a:gd name="T65" fmla="*/ 2147483647 h 63"/>
                    <a:gd name="T66" fmla="*/ 2147483647 w 183"/>
                    <a:gd name="T67" fmla="*/ 2147483647 h 63"/>
                    <a:gd name="T68" fmla="*/ 2147483647 w 183"/>
                    <a:gd name="T69" fmla="*/ 2147483647 h 63"/>
                    <a:gd name="T70" fmla="*/ 2147483647 w 183"/>
                    <a:gd name="T71" fmla="*/ 2147483647 h 63"/>
                    <a:gd name="T72" fmla="*/ 2147483647 w 183"/>
                    <a:gd name="T73" fmla="*/ 2147483647 h 63"/>
                    <a:gd name="T74" fmla="*/ 2147483647 w 183"/>
                    <a:gd name="T75" fmla="*/ 2147483647 h 63"/>
                    <a:gd name="T76" fmla="*/ 2147483647 w 183"/>
                    <a:gd name="T77" fmla="*/ 2147483647 h 63"/>
                    <a:gd name="T78" fmla="*/ 2147483647 w 183"/>
                    <a:gd name="T79" fmla="*/ 2147483647 h 63"/>
                    <a:gd name="T80" fmla="*/ 2147483647 w 183"/>
                    <a:gd name="T81" fmla="*/ 2147483647 h 63"/>
                    <a:gd name="T82" fmla="*/ 2147483647 w 183"/>
                    <a:gd name="T83" fmla="*/ 2147483647 h 63"/>
                    <a:gd name="T84" fmla="*/ 2147483647 w 183"/>
                    <a:gd name="T85" fmla="*/ 2147483647 h 6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83"/>
                    <a:gd name="T130" fmla="*/ 0 h 63"/>
                    <a:gd name="T131" fmla="*/ 183 w 183"/>
                    <a:gd name="T132" fmla="*/ 63 h 6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83" h="63">
                      <a:moveTo>
                        <a:pt x="135" y="30"/>
                      </a:moveTo>
                      <a:lnTo>
                        <a:pt x="129" y="27"/>
                      </a:lnTo>
                      <a:lnTo>
                        <a:pt x="126" y="24"/>
                      </a:lnTo>
                      <a:lnTo>
                        <a:pt x="124" y="24"/>
                      </a:lnTo>
                      <a:lnTo>
                        <a:pt x="117" y="23"/>
                      </a:lnTo>
                      <a:lnTo>
                        <a:pt x="112" y="22"/>
                      </a:lnTo>
                      <a:lnTo>
                        <a:pt x="108" y="19"/>
                      </a:lnTo>
                      <a:lnTo>
                        <a:pt x="105" y="16"/>
                      </a:lnTo>
                      <a:lnTo>
                        <a:pt x="97" y="8"/>
                      </a:lnTo>
                      <a:lnTo>
                        <a:pt x="89" y="0"/>
                      </a:lnTo>
                      <a:lnTo>
                        <a:pt x="87" y="0"/>
                      </a:lnTo>
                      <a:lnTo>
                        <a:pt x="85" y="0"/>
                      </a:lnTo>
                      <a:lnTo>
                        <a:pt x="80" y="3"/>
                      </a:lnTo>
                      <a:lnTo>
                        <a:pt x="77" y="4"/>
                      </a:lnTo>
                      <a:lnTo>
                        <a:pt x="73" y="5"/>
                      </a:lnTo>
                      <a:lnTo>
                        <a:pt x="65" y="3"/>
                      </a:lnTo>
                      <a:lnTo>
                        <a:pt x="63" y="3"/>
                      </a:lnTo>
                      <a:lnTo>
                        <a:pt x="59" y="2"/>
                      </a:lnTo>
                      <a:lnTo>
                        <a:pt x="51" y="3"/>
                      </a:lnTo>
                      <a:lnTo>
                        <a:pt x="44" y="4"/>
                      </a:lnTo>
                      <a:lnTo>
                        <a:pt x="39" y="3"/>
                      </a:lnTo>
                      <a:lnTo>
                        <a:pt x="35" y="2"/>
                      </a:lnTo>
                      <a:lnTo>
                        <a:pt x="28" y="2"/>
                      </a:lnTo>
                      <a:lnTo>
                        <a:pt x="22" y="4"/>
                      </a:lnTo>
                      <a:lnTo>
                        <a:pt x="17" y="8"/>
                      </a:lnTo>
                      <a:lnTo>
                        <a:pt x="11" y="13"/>
                      </a:lnTo>
                      <a:lnTo>
                        <a:pt x="9" y="15"/>
                      </a:lnTo>
                      <a:lnTo>
                        <a:pt x="5" y="16"/>
                      </a:lnTo>
                      <a:lnTo>
                        <a:pt x="3" y="18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4" y="23"/>
                      </a:lnTo>
                      <a:lnTo>
                        <a:pt x="9" y="23"/>
                      </a:lnTo>
                      <a:lnTo>
                        <a:pt x="18" y="23"/>
                      </a:lnTo>
                      <a:lnTo>
                        <a:pt x="39" y="11"/>
                      </a:lnTo>
                      <a:lnTo>
                        <a:pt x="42" y="10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5"/>
                      </a:lnTo>
                      <a:lnTo>
                        <a:pt x="59" y="17"/>
                      </a:lnTo>
                      <a:lnTo>
                        <a:pt x="63" y="17"/>
                      </a:lnTo>
                      <a:lnTo>
                        <a:pt x="69" y="15"/>
                      </a:lnTo>
                      <a:lnTo>
                        <a:pt x="72" y="13"/>
                      </a:lnTo>
                      <a:lnTo>
                        <a:pt x="74" y="13"/>
                      </a:lnTo>
                      <a:lnTo>
                        <a:pt x="77" y="15"/>
                      </a:lnTo>
                      <a:lnTo>
                        <a:pt x="78" y="16"/>
                      </a:lnTo>
                      <a:lnTo>
                        <a:pt x="82" y="22"/>
                      </a:lnTo>
                      <a:lnTo>
                        <a:pt x="87" y="25"/>
                      </a:lnTo>
                      <a:lnTo>
                        <a:pt x="91" y="28"/>
                      </a:lnTo>
                      <a:lnTo>
                        <a:pt x="96" y="28"/>
                      </a:lnTo>
                      <a:lnTo>
                        <a:pt x="103" y="29"/>
                      </a:lnTo>
                      <a:lnTo>
                        <a:pt x="107" y="30"/>
                      </a:lnTo>
                      <a:lnTo>
                        <a:pt x="108" y="31"/>
                      </a:lnTo>
                      <a:lnTo>
                        <a:pt x="116" y="38"/>
                      </a:lnTo>
                      <a:lnTo>
                        <a:pt x="121" y="43"/>
                      </a:lnTo>
                      <a:lnTo>
                        <a:pt x="127" y="45"/>
                      </a:lnTo>
                      <a:lnTo>
                        <a:pt x="136" y="49"/>
                      </a:lnTo>
                      <a:lnTo>
                        <a:pt x="138" y="50"/>
                      </a:lnTo>
                      <a:lnTo>
                        <a:pt x="136" y="53"/>
                      </a:lnTo>
                      <a:lnTo>
                        <a:pt x="134" y="55"/>
                      </a:lnTo>
                      <a:lnTo>
                        <a:pt x="131" y="57"/>
                      </a:lnTo>
                      <a:lnTo>
                        <a:pt x="131" y="60"/>
                      </a:lnTo>
                      <a:lnTo>
                        <a:pt x="131" y="61"/>
                      </a:lnTo>
                      <a:lnTo>
                        <a:pt x="134" y="61"/>
                      </a:lnTo>
                      <a:lnTo>
                        <a:pt x="146" y="62"/>
                      </a:lnTo>
                      <a:lnTo>
                        <a:pt x="160" y="63"/>
                      </a:lnTo>
                      <a:lnTo>
                        <a:pt x="168" y="63"/>
                      </a:lnTo>
                      <a:lnTo>
                        <a:pt x="173" y="62"/>
                      </a:lnTo>
                      <a:lnTo>
                        <a:pt x="179" y="61"/>
                      </a:lnTo>
                      <a:lnTo>
                        <a:pt x="183" y="56"/>
                      </a:lnTo>
                      <a:lnTo>
                        <a:pt x="183" y="55"/>
                      </a:lnTo>
                      <a:lnTo>
                        <a:pt x="183" y="54"/>
                      </a:lnTo>
                      <a:lnTo>
                        <a:pt x="179" y="51"/>
                      </a:lnTo>
                      <a:lnTo>
                        <a:pt x="174" y="50"/>
                      </a:lnTo>
                      <a:lnTo>
                        <a:pt x="169" y="50"/>
                      </a:lnTo>
                      <a:lnTo>
                        <a:pt x="168" y="50"/>
                      </a:lnTo>
                      <a:lnTo>
                        <a:pt x="167" y="49"/>
                      </a:lnTo>
                      <a:lnTo>
                        <a:pt x="163" y="43"/>
                      </a:lnTo>
                      <a:lnTo>
                        <a:pt x="160" y="41"/>
                      </a:lnTo>
                      <a:lnTo>
                        <a:pt x="157" y="40"/>
                      </a:lnTo>
                      <a:lnTo>
                        <a:pt x="152" y="40"/>
                      </a:lnTo>
                      <a:lnTo>
                        <a:pt x="145" y="41"/>
                      </a:lnTo>
                      <a:lnTo>
                        <a:pt x="144" y="40"/>
                      </a:lnTo>
                      <a:lnTo>
                        <a:pt x="143" y="40"/>
                      </a:lnTo>
                      <a:lnTo>
                        <a:pt x="140" y="36"/>
                      </a:lnTo>
                      <a:lnTo>
                        <a:pt x="138" y="32"/>
                      </a:lnTo>
                      <a:lnTo>
                        <a:pt x="135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5" name="Freeform 554">
                  <a:extLst>
                    <a:ext uri="{FF2B5EF4-FFF2-40B4-BE49-F238E27FC236}">
                      <a16:creationId xmlns:a16="http://schemas.microsoft.com/office/drawing/2014/main" id="{BEE17770-7EA8-A34B-BF66-B8A9B98C21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2453" y="3654968"/>
                  <a:ext cx="14799" cy="14799"/>
                </a:xfrm>
                <a:custGeom>
                  <a:avLst/>
                  <a:gdLst>
                    <a:gd name="T0" fmla="*/ 2147483647 w 11"/>
                    <a:gd name="T1" fmla="*/ 2147483647 h 10"/>
                    <a:gd name="T2" fmla="*/ 2147483647 w 11"/>
                    <a:gd name="T3" fmla="*/ 2147483647 h 10"/>
                    <a:gd name="T4" fmla="*/ 2147483647 w 11"/>
                    <a:gd name="T5" fmla="*/ 0 h 10"/>
                    <a:gd name="T6" fmla="*/ 2147483647 w 11"/>
                    <a:gd name="T7" fmla="*/ 0 h 10"/>
                    <a:gd name="T8" fmla="*/ 2147483647 w 11"/>
                    <a:gd name="T9" fmla="*/ 2147483647 h 10"/>
                    <a:gd name="T10" fmla="*/ 2147483647 w 11"/>
                    <a:gd name="T11" fmla="*/ 2147483647 h 10"/>
                    <a:gd name="T12" fmla="*/ 2147483647 w 11"/>
                    <a:gd name="T13" fmla="*/ 2147483647 h 10"/>
                    <a:gd name="T14" fmla="*/ 2147483647 w 11"/>
                    <a:gd name="T15" fmla="*/ 2147483647 h 10"/>
                    <a:gd name="T16" fmla="*/ 2147483647 w 11"/>
                    <a:gd name="T17" fmla="*/ 2147483647 h 10"/>
                    <a:gd name="T18" fmla="*/ 2147483647 w 11"/>
                    <a:gd name="T19" fmla="*/ 2147483647 h 10"/>
                    <a:gd name="T20" fmla="*/ 0 w 11"/>
                    <a:gd name="T21" fmla="*/ 2147483647 h 10"/>
                    <a:gd name="T22" fmla="*/ 2147483647 w 11"/>
                    <a:gd name="T23" fmla="*/ 2147483647 h 10"/>
                    <a:gd name="T24" fmla="*/ 2147483647 w 11"/>
                    <a:gd name="T25" fmla="*/ 2147483647 h 10"/>
                    <a:gd name="T26" fmla="*/ 2147483647 w 11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"/>
                    <a:gd name="T43" fmla="*/ 0 h 10"/>
                    <a:gd name="T44" fmla="*/ 11 w 11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" h="10">
                      <a:moveTo>
                        <a:pt x="6" y="2"/>
                      </a:move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9" y="8"/>
                      </a:lnTo>
                      <a:lnTo>
                        <a:pt x="5" y="10"/>
                      </a:lnTo>
                      <a:lnTo>
                        <a:pt x="4" y="10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1" y="6"/>
                      </a:lnTo>
                      <a:lnTo>
                        <a:pt x="2" y="3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6" name="Freeform 555">
                  <a:extLst>
                    <a:ext uri="{FF2B5EF4-FFF2-40B4-BE49-F238E27FC236}">
                      <a16:creationId xmlns:a16="http://schemas.microsoft.com/office/drawing/2014/main" id="{EE556B05-4919-2643-BBC4-B6FB5A22FF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1493" y="3952420"/>
                  <a:ext cx="250099" cy="93231"/>
                </a:xfrm>
                <a:custGeom>
                  <a:avLst/>
                  <a:gdLst>
                    <a:gd name="T0" fmla="*/ 2147483647 w 183"/>
                    <a:gd name="T1" fmla="*/ 2147483647 h 63"/>
                    <a:gd name="T2" fmla="*/ 2147483647 w 183"/>
                    <a:gd name="T3" fmla="*/ 2147483647 h 63"/>
                    <a:gd name="T4" fmla="*/ 2147483647 w 183"/>
                    <a:gd name="T5" fmla="*/ 2147483647 h 63"/>
                    <a:gd name="T6" fmla="*/ 2147483647 w 183"/>
                    <a:gd name="T7" fmla="*/ 2147483647 h 63"/>
                    <a:gd name="T8" fmla="*/ 2147483647 w 183"/>
                    <a:gd name="T9" fmla="*/ 2147483647 h 63"/>
                    <a:gd name="T10" fmla="*/ 2147483647 w 183"/>
                    <a:gd name="T11" fmla="*/ 0 h 63"/>
                    <a:gd name="T12" fmla="*/ 2147483647 w 183"/>
                    <a:gd name="T13" fmla="*/ 0 h 63"/>
                    <a:gd name="T14" fmla="*/ 2147483647 w 183"/>
                    <a:gd name="T15" fmla="*/ 2147483647 h 63"/>
                    <a:gd name="T16" fmla="*/ 2147483647 w 183"/>
                    <a:gd name="T17" fmla="*/ 2147483647 h 63"/>
                    <a:gd name="T18" fmla="*/ 2147483647 w 183"/>
                    <a:gd name="T19" fmla="*/ 2147483647 h 63"/>
                    <a:gd name="T20" fmla="*/ 2147483647 w 183"/>
                    <a:gd name="T21" fmla="*/ 2147483647 h 63"/>
                    <a:gd name="T22" fmla="*/ 2147483647 w 183"/>
                    <a:gd name="T23" fmla="*/ 2147483647 h 63"/>
                    <a:gd name="T24" fmla="*/ 2147483647 w 183"/>
                    <a:gd name="T25" fmla="*/ 2147483647 h 63"/>
                    <a:gd name="T26" fmla="*/ 2147483647 w 183"/>
                    <a:gd name="T27" fmla="*/ 2147483647 h 63"/>
                    <a:gd name="T28" fmla="*/ 2147483647 w 183"/>
                    <a:gd name="T29" fmla="*/ 2147483647 h 63"/>
                    <a:gd name="T30" fmla="*/ 2147483647 w 183"/>
                    <a:gd name="T31" fmla="*/ 2147483647 h 63"/>
                    <a:gd name="T32" fmla="*/ 2147483647 w 183"/>
                    <a:gd name="T33" fmla="*/ 2147483647 h 63"/>
                    <a:gd name="T34" fmla="*/ 2147483647 w 183"/>
                    <a:gd name="T35" fmla="*/ 2147483647 h 63"/>
                    <a:gd name="T36" fmla="*/ 2147483647 w 183"/>
                    <a:gd name="T37" fmla="*/ 2147483647 h 63"/>
                    <a:gd name="T38" fmla="*/ 0 w 183"/>
                    <a:gd name="T39" fmla="*/ 2147483647 h 63"/>
                    <a:gd name="T40" fmla="*/ 0 w 183"/>
                    <a:gd name="T41" fmla="*/ 2147483647 h 63"/>
                    <a:gd name="T42" fmla="*/ 2147483647 w 183"/>
                    <a:gd name="T43" fmla="*/ 2147483647 h 63"/>
                    <a:gd name="T44" fmla="*/ 2147483647 w 183"/>
                    <a:gd name="T45" fmla="*/ 2147483647 h 63"/>
                    <a:gd name="T46" fmla="*/ 2147483647 w 183"/>
                    <a:gd name="T47" fmla="*/ 2147483647 h 63"/>
                    <a:gd name="T48" fmla="*/ 2147483647 w 183"/>
                    <a:gd name="T49" fmla="*/ 2147483647 h 63"/>
                    <a:gd name="T50" fmla="*/ 2147483647 w 183"/>
                    <a:gd name="T51" fmla="*/ 2147483647 h 63"/>
                    <a:gd name="T52" fmla="*/ 2147483647 w 183"/>
                    <a:gd name="T53" fmla="*/ 2147483647 h 63"/>
                    <a:gd name="T54" fmla="*/ 2147483647 w 183"/>
                    <a:gd name="T55" fmla="*/ 2147483647 h 63"/>
                    <a:gd name="T56" fmla="*/ 2147483647 w 183"/>
                    <a:gd name="T57" fmla="*/ 2147483647 h 63"/>
                    <a:gd name="T58" fmla="*/ 2147483647 w 183"/>
                    <a:gd name="T59" fmla="*/ 2147483647 h 63"/>
                    <a:gd name="T60" fmla="*/ 2147483647 w 183"/>
                    <a:gd name="T61" fmla="*/ 2147483647 h 63"/>
                    <a:gd name="T62" fmla="*/ 2147483647 w 183"/>
                    <a:gd name="T63" fmla="*/ 2147483647 h 63"/>
                    <a:gd name="T64" fmla="*/ 2147483647 w 183"/>
                    <a:gd name="T65" fmla="*/ 2147483647 h 63"/>
                    <a:gd name="T66" fmla="*/ 2147483647 w 183"/>
                    <a:gd name="T67" fmla="*/ 2147483647 h 63"/>
                    <a:gd name="T68" fmla="*/ 2147483647 w 183"/>
                    <a:gd name="T69" fmla="*/ 2147483647 h 63"/>
                    <a:gd name="T70" fmla="*/ 2147483647 w 183"/>
                    <a:gd name="T71" fmla="*/ 2147483647 h 63"/>
                    <a:gd name="T72" fmla="*/ 2147483647 w 183"/>
                    <a:gd name="T73" fmla="*/ 2147483647 h 63"/>
                    <a:gd name="T74" fmla="*/ 2147483647 w 183"/>
                    <a:gd name="T75" fmla="*/ 2147483647 h 63"/>
                    <a:gd name="T76" fmla="*/ 2147483647 w 183"/>
                    <a:gd name="T77" fmla="*/ 2147483647 h 63"/>
                    <a:gd name="T78" fmla="*/ 2147483647 w 183"/>
                    <a:gd name="T79" fmla="*/ 2147483647 h 63"/>
                    <a:gd name="T80" fmla="*/ 2147483647 w 183"/>
                    <a:gd name="T81" fmla="*/ 2147483647 h 63"/>
                    <a:gd name="T82" fmla="*/ 2147483647 w 183"/>
                    <a:gd name="T83" fmla="*/ 2147483647 h 63"/>
                    <a:gd name="T84" fmla="*/ 2147483647 w 183"/>
                    <a:gd name="T85" fmla="*/ 2147483647 h 63"/>
                    <a:gd name="T86" fmla="*/ 2147483647 w 183"/>
                    <a:gd name="T87" fmla="*/ 2147483647 h 63"/>
                    <a:gd name="T88" fmla="*/ 2147483647 w 183"/>
                    <a:gd name="T89" fmla="*/ 2147483647 h 63"/>
                    <a:gd name="T90" fmla="*/ 2147483647 w 183"/>
                    <a:gd name="T91" fmla="*/ 2147483647 h 63"/>
                    <a:gd name="T92" fmla="*/ 2147483647 w 183"/>
                    <a:gd name="T93" fmla="*/ 2147483647 h 63"/>
                    <a:gd name="T94" fmla="*/ 2147483647 w 183"/>
                    <a:gd name="T95" fmla="*/ 2147483647 h 63"/>
                    <a:gd name="T96" fmla="*/ 2147483647 w 183"/>
                    <a:gd name="T97" fmla="*/ 2147483647 h 63"/>
                    <a:gd name="T98" fmla="*/ 2147483647 w 183"/>
                    <a:gd name="T99" fmla="*/ 2147483647 h 63"/>
                    <a:gd name="T100" fmla="*/ 2147483647 w 183"/>
                    <a:gd name="T101" fmla="*/ 2147483647 h 63"/>
                    <a:gd name="T102" fmla="*/ 2147483647 w 183"/>
                    <a:gd name="T103" fmla="*/ 2147483647 h 63"/>
                    <a:gd name="T104" fmla="*/ 2147483647 w 183"/>
                    <a:gd name="T105" fmla="*/ 2147483647 h 63"/>
                    <a:gd name="T106" fmla="*/ 2147483647 w 183"/>
                    <a:gd name="T107" fmla="*/ 2147483647 h 63"/>
                    <a:gd name="T108" fmla="*/ 2147483647 w 183"/>
                    <a:gd name="T109" fmla="*/ 2147483647 h 63"/>
                    <a:gd name="T110" fmla="*/ 2147483647 w 183"/>
                    <a:gd name="T111" fmla="*/ 2147483647 h 63"/>
                    <a:gd name="T112" fmla="*/ 2147483647 w 183"/>
                    <a:gd name="T113" fmla="*/ 2147483647 h 6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83"/>
                    <a:gd name="T172" fmla="*/ 0 h 63"/>
                    <a:gd name="T173" fmla="*/ 183 w 183"/>
                    <a:gd name="T174" fmla="*/ 63 h 63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83" h="63">
                      <a:moveTo>
                        <a:pt x="135" y="30"/>
                      </a:moveTo>
                      <a:lnTo>
                        <a:pt x="135" y="30"/>
                      </a:lnTo>
                      <a:lnTo>
                        <a:pt x="128" y="26"/>
                      </a:lnTo>
                      <a:lnTo>
                        <a:pt x="126" y="24"/>
                      </a:lnTo>
                      <a:lnTo>
                        <a:pt x="123" y="24"/>
                      </a:lnTo>
                      <a:lnTo>
                        <a:pt x="117" y="23"/>
                      </a:lnTo>
                      <a:lnTo>
                        <a:pt x="112" y="22"/>
                      </a:lnTo>
                      <a:lnTo>
                        <a:pt x="108" y="19"/>
                      </a:lnTo>
                      <a:lnTo>
                        <a:pt x="104" y="16"/>
                      </a:lnTo>
                      <a:lnTo>
                        <a:pt x="97" y="7"/>
                      </a:lnTo>
                      <a:lnTo>
                        <a:pt x="89" y="0"/>
                      </a:lnTo>
                      <a:lnTo>
                        <a:pt x="86" y="0"/>
                      </a:lnTo>
                      <a:lnTo>
                        <a:pt x="85" y="0"/>
                      </a:lnTo>
                      <a:lnTo>
                        <a:pt x="80" y="3"/>
                      </a:lnTo>
                      <a:lnTo>
                        <a:pt x="76" y="4"/>
                      </a:lnTo>
                      <a:lnTo>
                        <a:pt x="73" y="5"/>
                      </a:lnTo>
                      <a:lnTo>
                        <a:pt x="65" y="3"/>
                      </a:lnTo>
                      <a:lnTo>
                        <a:pt x="62" y="3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4"/>
                      </a:lnTo>
                      <a:lnTo>
                        <a:pt x="38" y="3"/>
                      </a:lnTo>
                      <a:lnTo>
                        <a:pt x="34" y="1"/>
                      </a:lnTo>
                      <a:lnTo>
                        <a:pt x="28" y="1"/>
                      </a:lnTo>
                      <a:lnTo>
                        <a:pt x="22" y="4"/>
                      </a:lnTo>
                      <a:lnTo>
                        <a:pt x="17" y="7"/>
                      </a:lnTo>
                      <a:lnTo>
                        <a:pt x="10" y="13"/>
                      </a:lnTo>
                      <a:lnTo>
                        <a:pt x="9" y="14"/>
                      </a:lnTo>
                      <a:lnTo>
                        <a:pt x="5" y="16"/>
                      </a:lnTo>
                      <a:lnTo>
                        <a:pt x="3" y="18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4" y="23"/>
                      </a:lnTo>
                      <a:lnTo>
                        <a:pt x="9" y="23"/>
                      </a:lnTo>
                      <a:lnTo>
                        <a:pt x="18" y="23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4"/>
                      </a:lnTo>
                      <a:lnTo>
                        <a:pt x="59" y="17"/>
                      </a:lnTo>
                      <a:lnTo>
                        <a:pt x="62" y="17"/>
                      </a:lnTo>
                      <a:lnTo>
                        <a:pt x="69" y="14"/>
                      </a:lnTo>
                      <a:lnTo>
                        <a:pt x="71" y="13"/>
                      </a:lnTo>
                      <a:lnTo>
                        <a:pt x="74" y="13"/>
                      </a:lnTo>
                      <a:lnTo>
                        <a:pt x="76" y="14"/>
                      </a:lnTo>
                      <a:lnTo>
                        <a:pt x="78" y="16"/>
                      </a:lnTo>
                      <a:lnTo>
                        <a:pt x="81" y="22"/>
                      </a:lnTo>
                      <a:lnTo>
                        <a:pt x="86" y="25"/>
                      </a:lnTo>
                      <a:lnTo>
                        <a:pt x="90" y="28"/>
                      </a:lnTo>
                      <a:lnTo>
                        <a:pt x="95" y="28"/>
                      </a:lnTo>
                      <a:lnTo>
                        <a:pt x="103" y="29"/>
                      </a:lnTo>
                      <a:lnTo>
                        <a:pt x="107" y="30"/>
                      </a:lnTo>
                      <a:lnTo>
                        <a:pt x="108" y="31"/>
                      </a:lnTo>
                      <a:lnTo>
                        <a:pt x="116" y="38"/>
                      </a:lnTo>
                      <a:lnTo>
                        <a:pt x="121" y="43"/>
                      </a:lnTo>
                      <a:lnTo>
                        <a:pt x="127" y="45"/>
                      </a:lnTo>
                      <a:lnTo>
                        <a:pt x="136" y="49"/>
                      </a:lnTo>
                      <a:lnTo>
                        <a:pt x="137" y="50"/>
                      </a:lnTo>
                      <a:lnTo>
                        <a:pt x="136" y="52"/>
                      </a:lnTo>
                      <a:lnTo>
                        <a:pt x="133" y="55"/>
                      </a:lnTo>
                      <a:lnTo>
                        <a:pt x="131" y="57"/>
                      </a:lnTo>
                      <a:lnTo>
                        <a:pt x="131" y="60"/>
                      </a:lnTo>
                      <a:lnTo>
                        <a:pt x="131" y="61"/>
                      </a:lnTo>
                      <a:lnTo>
                        <a:pt x="133" y="61"/>
                      </a:lnTo>
                      <a:lnTo>
                        <a:pt x="146" y="62"/>
                      </a:lnTo>
                      <a:lnTo>
                        <a:pt x="160" y="63"/>
                      </a:lnTo>
                      <a:lnTo>
                        <a:pt x="168" y="63"/>
                      </a:lnTo>
                      <a:lnTo>
                        <a:pt x="173" y="62"/>
                      </a:lnTo>
                      <a:lnTo>
                        <a:pt x="179" y="61"/>
                      </a:lnTo>
                      <a:lnTo>
                        <a:pt x="183" y="56"/>
                      </a:lnTo>
                      <a:lnTo>
                        <a:pt x="183" y="55"/>
                      </a:lnTo>
                      <a:lnTo>
                        <a:pt x="183" y="54"/>
                      </a:lnTo>
                      <a:lnTo>
                        <a:pt x="179" y="51"/>
                      </a:lnTo>
                      <a:lnTo>
                        <a:pt x="174" y="50"/>
                      </a:lnTo>
                      <a:lnTo>
                        <a:pt x="169" y="50"/>
                      </a:lnTo>
                      <a:lnTo>
                        <a:pt x="168" y="50"/>
                      </a:lnTo>
                      <a:lnTo>
                        <a:pt x="166" y="49"/>
                      </a:lnTo>
                      <a:lnTo>
                        <a:pt x="163" y="43"/>
                      </a:lnTo>
                      <a:lnTo>
                        <a:pt x="160" y="41"/>
                      </a:lnTo>
                      <a:lnTo>
                        <a:pt x="156" y="39"/>
                      </a:lnTo>
                      <a:lnTo>
                        <a:pt x="151" y="39"/>
                      </a:lnTo>
                      <a:lnTo>
                        <a:pt x="145" y="41"/>
                      </a:lnTo>
                      <a:lnTo>
                        <a:pt x="144" y="39"/>
                      </a:lnTo>
                      <a:lnTo>
                        <a:pt x="142" y="39"/>
                      </a:lnTo>
                      <a:lnTo>
                        <a:pt x="140" y="36"/>
                      </a:lnTo>
                      <a:lnTo>
                        <a:pt x="137" y="32"/>
                      </a:lnTo>
                      <a:lnTo>
                        <a:pt x="135" y="3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7" name="Freeform 556">
                  <a:extLst>
                    <a:ext uri="{FF2B5EF4-FFF2-40B4-BE49-F238E27FC236}">
                      <a16:creationId xmlns:a16="http://schemas.microsoft.com/office/drawing/2014/main" id="{C41DA746-4E08-C54A-B305-A3A9BDB526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0972" y="3653489"/>
                  <a:ext cx="14799" cy="14799"/>
                </a:xfrm>
                <a:custGeom>
                  <a:avLst/>
                  <a:gdLst>
                    <a:gd name="T0" fmla="*/ 2147483647 w 11"/>
                    <a:gd name="T1" fmla="*/ 2147483647 h 10"/>
                    <a:gd name="T2" fmla="*/ 2147483647 w 11"/>
                    <a:gd name="T3" fmla="*/ 2147483647 h 10"/>
                    <a:gd name="T4" fmla="*/ 2147483647 w 11"/>
                    <a:gd name="T5" fmla="*/ 2147483647 h 10"/>
                    <a:gd name="T6" fmla="*/ 2147483647 w 11"/>
                    <a:gd name="T7" fmla="*/ 0 h 10"/>
                    <a:gd name="T8" fmla="*/ 2147483647 w 11"/>
                    <a:gd name="T9" fmla="*/ 0 h 10"/>
                    <a:gd name="T10" fmla="*/ 2147483647 w 11"/>
                    <a:gd name="T11" fmla="*/ 0 h 10"/>
                    <a:gd name="T12" fmla="*/ 2147483647 w 11"/>
                    <a:gd name="T13" fmla="*/ 2147483647 h 10"/>
                    <a:gd name="T14" fmla="*/ 2147483647 w 11"/>
                    <a:gd name="T15" fmla="*/ 2147483647 h 10"/>
                    <a:gd name="T16" fmla="*/ 2147483647 w 11"/>
                    <a:gd name="T17" fmla="*/ 2147483647 h 10"/>
                    <a:gd name="T18" fmla="*/ 2147483647 w 11"/>
                    <a:gd name="T19" fmla="*/ 2147483647 h 10"/>
                    <a:gd name="T20" fmla="*/ 2147483647 w 11"/>
                    <a:gd name="T21" fmla="*/ 2147483647 h 10"/>
                    <a:gd name="T22" fmla="*/ 2147483647 w 11"/>
                    <a:gd name="T23" fmla="*/ 2147483647 h 10"/>
                    <a:gd name="T24" fmla="*/ 2147483647 w 11"/>
                    <a:gd name="T25" fmla="*/ 2147483647 h 10"/>
                    <a:gd name="T26" fmla="*/ 0 w 11"/>
                    <a:gd name="T27" fmla="*/ 2147483647 h 10"/>
                    <a:gd name="T28" fmla="*/ 2147483647 w 11"/>
                    <a:gd name="T29" fmla="*/ 2147483647 h 10"/>
                    <a:gd name="T30" fmla="*/ 2147483647 w 11"/>
                    <a:gd name="T31" fmla="*/ 2147483647 h 10"/>
                    <a:gd name="T32" fmla="*/ 2147483647 w 11"/>
                    <a:gd name="T33" fmla="*/ 2147483647 h 10"/>
                    <a:gd name="T34" fmla="*/ 2147483647 w 11"/>
                    <a:gd name="T35" fmla="*/ 2147483647 h 1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1"/>
                    <a:gd name="T55" fmla="*/ 0 h 10"/>
                    <a:gd name="T56" fmla="*/ 11 w 11"/>
                    <a:gd name="T57" fmla="*/ 10 h 1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1" h="10"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1" y="2"/>
                      </a:lnTo>
                      <a:lnTo>
                        <a:pt x="11" y="4"/>
                      </a:lnTo>
                      <a:lnTo>
                        <a:pt x="9" y="8"/>
                      </a:lnTo>
                      <a:lnTo>
                        <a:pt x="5" y="10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1" y="5"/>
                      </a:lnTo>
                      <a:lnTo>
                        <a:pt x="2" y="3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8" name="Freeform 557">
                  <a:extLst>
                    <a:ext uri="{FF2B5EF4-FFF2-40B4-BE49-F238E27FC236}">
                      <a16:creationId xmlns:a16="http://schemas.microsoft.com/office/drawing/2014/main" id="{9E82F249-0A5C-EB46-B613-87497DB849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8057" y="4064892"/>
                  <a:ext cx="4439" cy="5919"/>
                </a:xfrm>
                <a:custGeom>
                  <a:avLst/>
                  <a:gdLst>
                    <a:gd name="T0" fmla="*/ 0 w 3"/>
                    <a:gd name="T1" fmla="*/ 2147483647 h 4"/>
                    <a:gd name="T2" fmla="*/ 2147483647 w 3"/>
                    <a:gd name="T3" fmla="*/ 0 h 4"/>
                    <a:gd name="T4" fmla="*/ 2147483647 w 3"/>
                    <a:gd name="T5" fmla="*/ 2147483647 h 4"/>
                    <a:gd name="T6" fmla="*/ 2147483647 w 3"/>
                    <a:gd name="T7" fmla="*/ 2147483647 h 4"/>
                    <a:gd name="T8" fmla="*/ 0 w 3"/>
                    <a:gd name="T9" fmla="*/ 2147483647 h 4"/>
                    <a:gd name="T10" fmla="*/ 0 w 3"/>
                    <a:gd name="T11" fmla="*/ 2147483647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"/>
                    <a:gd name="T19" fmla="*/ 0 h 4"/>
                    <a:gd name="T20" fmla="*/ 3 w 3"/>
                    <a:gd name="T21" fmla="*/ 4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" h="4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9" name="Freeform 558">
                  <a:extLst>
                    <a:ext uri="{FF2B5EF4-FFF2-40B4-BE49-F238E27FC236}">
                      <a16:creationId xmlns:a16="http://schemas.microsoft.com/office/drawing/2014/main" id="{235043FA-D8FA-C546-9F6C-44C2711A4F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7587" y="4627245"/>
                  <a:ext cx="17758" cy="14799"/>
                </a:xfrm>
                <a:custGeom>
                  <a:avLst/>
                  <a:gdLst>
                    <a:gd name="T0" fmla="*/ 2147483647 w 13"/>
                    <a:gd name="T1" fmla="*/ 2147483647 h 10"/>
                    <a:gd name="T2" fmla="*/ 2147483647 w 13"/>
                    <a:gd name="T3" fmla="*/ 2147483647 h 10"/>
                    <a:gd name="T4" fmla="*/ 2147483647 w 13"/>
                    <a:gd name="T5" fmla="*/ 2147483647 h 10"/>
                    <a:gd name="T6" fmla="*/ 2147483647 w 13"/>
                    <a:gd name="T7" fmla="*/ 2147483647 h 10"/>
                    <a:gd name="T8" fmla="*/ 2147483647 w 13"/>
                    <a:gd name="T9" fmla="*/ 0 h 10"/>
                    <a:gd name="T10" fmla="*/ 2147483647 w 13"/>
                    <a:gd name="T11" fmla="*/ 0 h 10"/>
                    <a:gd name="T12" fmla="*/ 2147483647 w 13"/>
                    <a:gd name="T13" fmla="*/ 2147483647 h 10"/>
                    <a:gd name="T14" fmla="*/ 0 w 13"/>
                    <a:gd name="T15" fmla="*/ 2147483647 h 10"/>
                    <a:gd name="T16" fmla="*/ 0 w 13"/>
                    <a:gd name="T17" fmla="*/ 2147483647 h 10"/>
                    <a:gd name="T18" fmla="*/ 2147483647 w 13"/>
                    <a:gd name="T19" fmla="*/ 2147483647 h 10"/>
                    <a:gd name="T20" fmla="*/ 2147483647 w 13"/>
                    <a:gd name="T21" fmla="*/ 2147483647 h 10"/>
                    <a:gd name="T22" fmla="*/ 2147483647 w 13"/>
                    <a:gd name="T23" fmla="*/ 2147483647 h 10"/>
                    <a:gd name="T24" fmla="*/ 2147483647 w 13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"/>
                    <a:gd name="T40" fmla="*/ 0 h 10"/>
                    <a:gd name="T41" fmla="*/ 13 w 13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" h="10">
                      <a:moveTo>
                        <a:pt x="8" y="8"/>
                      </a:moveTo>
                      <a:lnTo>
                        <a:pt x="12" y="5"/>
                      </a:lnTo>
                      <a:lnTo>
                        <a:pt x="13" y="4"/>
                      </a:lnTo>
                      <a:lnTo>
                        <a:pt x="13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5" y="9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0" name="Freeform 559">
                  <a:extLst>
                    <a:ext uri="{FF2B5EF4-FFF2-40B4-BE49-F238E27FC236}">
                      <a16:creationId xmlns:a16="http://schemas.microsoft.com/office/drawing/2014/main" id="{DF732B6D-985D-5B45-8A0C-75D13E165B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579" y="4063412"/>
                  <a:ext cx="2960" cy="4440"/>
                </a:xfrm>
                <a:custGeom>
                  <a:avLst/>
                  <a:gdLst>
                    <a:gd name="T0" fmla="*/ 0 w 2"/>
                    <a:gd name="T1" fmla="*/ 2147483647 h 3"/>
                    <a:gd name="T2" fmla="*/ 0 w 2"/>
                    <a:gd name="T3" fmla="*/ 2147483647 h 3"/>
                    <a:gd name="T4" fmla="*/ 2147483647 w 2"/>
                    <a:gd name="T5" fmla="*/ 0 h 3"/>
                    <a:gd name="T6" fmla="*/ 2147483647 w 2"/>
                    <a:gd name="T7" fmla="*/ 0 h 3"/>
                    <a:gd name="T8" fmla="*/ 2147483647 w 2"/>
                    <a:gd name="T9" fmla="*/ 2147483647 h 3"/>
                    <a:gd name="T10" fmla="*/ 2147483647 w 2"/>
                    <a:gd name="T11" fmla="*/ 2147483647 h 3"/>
                    <a:gd name="T12" fmla="*/ 2147483647 w 2"/>
                    <a:gd name="T13" fmla="*/ 2147483647 h 3"/>
                    <a:gd name="T14" fmla="*/ 2147483647 w 2"/>
                    <a:gd name="T15" fmla="*/ 2147483647 h 3"/>
                    <a:gd name="T16" fmla="*/ 2147483647 w 2"/>
                    <a:gd name="T17" fmla="*/ 2147483647 h 3"/>
                    <a:gd name="T18" fmla="*/ 0 w 2"/>
                    <a:gd name="T19" fmla="*/ 2147483647 h 3"/>
                    <a:gd name="T20" fmla="*/ 0 w 2"/>
                    <a:gd name="T21" fmla="*/ 2147483647 h 3"/>
                    <a:gd name="T22" fmla="*/ 0 w 2"/>
                    <a:gd name="T23" fmla="*/ 2147483647 h 3"/>
                    <a:gd name="T24" fmla="*/ 0 w 2"/>
                    <a:gd name="T25" fmla="*/ 2147483647 h 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"/>
                    <a:gd name="T40" fmla="*/ 0 h 3"/>
                    <a:gd name="T41" fmla="*/ 2 w 2"/>
                    <a:gd name="T42" fmla="*/ 3 h 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" h="3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1" name="Freeform 560">
                  <a:extLst>
                    <a:ext uri="{FF2B5EF4-FFF2-40B4-BE49-F238E27FC236}">
                      <a16:creationId xmlns:a16="http://schemas.microsoft.com/office/drawing/2014/main" id="{A5300130-687B-D848-B5E5-382FA087EE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7587" y="4624281"/>
                  <a:ext cx="17758" cy="16278"/>
                </a:xfrm>
                <a:custGeom>
                  <a:avLst/>
                  <a:gdLst>
                    <a:gd name="T0" fmla="*/ 2147483647 w 13"/>
                    <a:gd name="T1" fmla="*/ 2147483647 h 11"/>
                    <a:gd name="T2" fmla="*/ 2147483647 w 13"/>
                    <a:gd name="T3" fmla="*/ 2147483647 h 11"/>
                    <a:gd name="T4" fmla="*/ 2147483647 w 13"/>
                    <a:gd name="T5" fmla="*/ 2147483647 h 11"/>
                    <a:gd name="T6" fmla="*/ 2147483647 w 13"/>
                    <a:gd name="T7" fmla="*/ 2147483647 h 11"/>
                    <a:gd name="T8" fmla="*/ 2147483647 w 13"/>
                    <a:gd name="T9" fmla="*/ 2147483647 h 11"/>
                    <a:gd name="T10" fmla="*/ 2147483647 w 13"/>
                    <a:gd name="T11" fmla="*/ 2147483647 h 11"/>
                    <a:gd name="T12" fmla="*/ 2147483647 w 13"/>
                    <a:gd name="T13" fmla="*/ 0 h 11"/>
                    <a:gd name="T14" fmla="*/ 2147483647 w 13"/>
                    <a:gd name="T15" fmla="*/ 0 h 11"/>
                    <a:gd name="T16" fmla="*/ 2147483647 w 13"/>
                    <a:gd name="T17" fmla="*/ 2147483647 h 11"/>
                    <a:gd name="T18" fmla="*/ 0 w 13"/>
                    <a:gd name="T19" fmla="*/ 2147483647 h 11"/>
                    <a:gd name="T20" fmla="*/ 0 w 13"/>
                    <a:gd name="T21" fmla="*/ 2147483647 h 11"/>
                    <a:gd name="T22" fmla="*/ 0 w 13"/>
                    <a:gd name="T23" fmla="*/ 2147483647 h 11"/>
                    <a:gd name="T24" fmla="*/ 2147483647 w 13"/>
                    <a:gd name="T25" fmla="*/ 2147483647 h 11"/>
                    <a:gd name="T26" fmla="*/ 2147483647 w 13"/>
                    <a:gd name="T27" fmla="*/ 2147483647 h 11"/>
                    <a:gd name="T28" fmla="*/ 2147483647 w 13"/>
                    <a:gd name="T29" fmla="*/ 2147483647 h 11"/>
                    <a:gd name="T30" fmla="*/ 2147483647 w 13"/>
                    <a:gd name="T31" fmla="*/ 2147483647 h 11"/>
                    <a:gd name="T32" fmla="*/ 2147483647 w 13"/>
                    <a:gd name="T33" fmla="*/ 2147483647 h 11"/>
                    <a:gd name="T34" fmla="*/ 2147483647 w 13"/>
                    <a:gd name="T35" fmla="*/ 2147483647 h 1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11"/>
                    <a:gd name="T56" fmla="*/ 13 w 13"/>
                    <a:gd name="T57" fmla="*/ 11 h 1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11">
                      <a:moveTo>
                        <a:pt x="8" y="9"/>
                      </a:moveTo>
                      <a:lnTo>
                        <a:pt x="8" y="9"/>
                      </a:lnTo>
                      <a:lnTo>
                        <a:pt x="12" y="6"/>
                      </a:lnTo>
                      <a:lnTo>
                        <a:pt x="13" y="5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1" y="2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1" y="10"/>
                      </a:lnTo>
                      <a:lnTo>
                        <a:pt x="3" y="11"/>
                      </a:lnTo>
                      <a:lnTo>
                        <a:pt x="5" y="10"/>
                      </a:lnTo>
                      <a:lnTo>
                        <a:pt x="8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2" name="Freeform 561">
                  <a:extLst>
                    <a:ext uri="{FF2B5EF4-FFF2-40B4-BE49-F238E27FC236}">
                      <a16:creationId xmlns:a16="http://schemas.microsoft.com/office/drawing/2014/main" id="{2532790F-36F8-BA4B-8EA5-01C8F7A134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62028" y="4646479"/>
                  <a:ext cx="19238" cy="13319"/>
                </a:xfrm>
                <a:custGeom>
                  <a:avLst/>
                  <a:gdLst>
                    <a:gd name="T0" fmla="*/ 2147483647 w 14"/>
                    <a:gd name="T1" fmla="*/ 2147483647 h 9"/>
                    <a:gd name="T2" fmla="*/ 2147483647 w 14"/>
                    <a:gd name="T3" fmla="*/ 2147483647 h 9"/>
                    <a:gd name="T4" fmla="*/ 2147483647 w 14"/>
                    <a:gd name="T5" fmla="*/ 2147483647 h 9"/>
                    <a:gd name="T6" fmla="*/ 2147483647 w 14"/>
                    <a:gd name="T7" fmla="*/ 2147483647 h 9"/>
                    <a:gd name="T8" fmla="*/ 2147483647 w 14"/>
                    <a:gd name="T9" fmla="*/ 0 h 9"/>
                    <a:gd name="T10" fmla="*/ 2147483647 w 14"/>
                    <a:gd name="T11" fmla="*/ 2147483647 h 9"/>
                    <a:gd name="T12" fmla="*/ 0 w 14"/>
                    <a:gd name="T13" fmla="*/ 2147483647 h 9"/>
                    <a:gd name="T14" fmla="*/ 0 w 14"/>
                    <a:gd name="T15" fmla="*/ 2147483647 h 9"/>
                    <a:gd name="T16" fmla="*/ 0 w 14"/>
                    <a:gd name="T17" fmla="*/ 2147483647 h 9"/>
                    <a:gd name="T18" fmla="*/ 2147483647 w 14"/>
                    <a:gd name="T19" fmla="*/ 2147483647 h 9"/>
                    <a:gd name="T20" fmla="*/ 2147483647 w 14"/>
                    <a:gd name="T21" fmla="*/ 2147483647 h 9"/>
                    <a:gd name="T22" fmla="*/ 2147483647 w 14"/>
                    <a:gd name="T23" fmla="*/ 2147483647 h 9"/>
                    <a:gd name="T24" fmla="*/ 2147483647 w 14"/>
                    <a:gd name="T25" fmla="*/ 2147483647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"/>
                    <a:gd name="T40" fmla="*/ 0 h 9"/>
                    <a:gd name="T41" fmla="*/ 14 w 14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" h="9">
                      <a:moveTo>
                        <a:pt x="9" y="5"/>
                      </a:move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3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4" y="9"/>
                      </a:lnTo>
                      <a:lnTo>
                        <a:pt x="5" y="8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3" name="Freeform 562">
                  <a:extLst>
                    <a:ext uri="{FF2B5EF4-FFF2-40B4-BE49-F238E27FC236}">
                      <a16:creationId xmlns:a16="http://schemas.microsoft.com/office/drawing/2014/main" id="{ADB71B9E-61BA-0B4F-9A8F-D6459CEDC2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60546" y="4643523"/>
                  <a:ext cx="19239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2147483647 h 10"/>
                    <a:gd name="T6" fmla="*/ 2147483647 w 14"/>
                    <a:gd name="T7" fmla="*/ 2147483647 h 10"/>
                    <a:gd name="T8" fmla="*/ 2147483647 w 14"/>
                    <a:gd name="T9" fmla="*/ 2147483647 h 10"/>
                    <a:gd name="T10" fmla="*/ 2147483647 w 14"/>
                    <a:gd name="T11" fmla="*/ 2147483647 h 10"/>
                    <a:gd name="T12" fmla="*/ 2147483647 w 14"/>
                    <a:gd name="T13" fmla="*/ 0 h 10"/>
                    <a:gd name="T14" fmla="*/ 2147483647 w 14"/>
                    <a:gd name="T15" fmla="*/ 2147483647 h 10"/>
                    <a:gd name="T16" fmla="*/ 0 w 14"/>
                    <a:gd name="T17" fmla="*/ 2147483647 h 10"/>
                    <a:gd name="T18" fmla="*/ 0 w 14"/>
                    <a:gd name="T19" fmla="*/ 2147483647 h 10"/>
                    <a:gd name="T20" fmla="*/ 0 w 14"/>
                    <a:gd name="T21" fmla="*/ 2147483647 h 10"/>
                    <a:gd name="T22" fmla="*/ 0 w 14"/>
                    <a:gd name="T23" fmla="*/ 2147483647 h 10"/>
                    <a:gd name="T24" fmla="*/ 2147483647 w 14"/>
                    <a:gd name="T25" fmla="*/ 2147483647 h 10"/>
                    <a:gd name="T26" fmla="*/ 2147483647 w 14"/>
                    <a:gd name="T27" fmla="*/ 2147483647 h 10"/>
                    <a:gd name="T28" fmla="*/ 2147483647 w 14"/>
                    <a:gd name="T29" fmla="*/ 2147483647 h 10"/>
                    <a:gd name="T30" fmla="*/ 2147483647 w 14"/>
                    <a:gd name="T31" fmla="*/ 2147483647 h 10"/>
                    <a:gd name="T32" fmla="*/ 2147483647 w 14"/>
                    <a:gd name="T33" fmla="*/ 2147483647 h 10"/>
                    <a:gd name="T34" fmla="*/ 2147483647 w 14"/>
                    <a:gd name="T35" fmla="*/ 2147483647 h 1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"/>
                    <a:gd name="T55" fmla="*/ 0 h 10"/>
                    <a:gd name="T56" fmla="*/ 14 w 14"/>
                    <a:gd name="T57" fmla="*/ 10 h 1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" h="10">
                      <a:moveTo>
                        <a:pt x="9" y="6"/>
                      </a:moveTo>
                      <a:lnTo>
                        <a:pt x="9" y="6"/>
                      </a:lnTo>
                      <a:lnTo>
                        <a:pt x="12" y="4"/>
                      </a:lnTo>
                      <a:lnTo>
                        <a:pt x="14" y="3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5" y="9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4" name="Freeform 563">
                  <a:extLst>
                    <a:ext uri="{FF2B5EF4-FFF2-40B4-BE49-F238E27FC236}">
                      <a16:creationId xmlns:a16="http://schemas.microsoft.com/office/drawing/2014/main" id="{386021FC-92C8-CA44-9336-150546E607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6808" y="6218103"/>
                  <a:ext cx="38477" cy="36997"/>
                </a:xfrm>
                <a:custGeom>
                  <a:avLst/>
                  <a:gdLst>
                    <a:gd name="T0" fmla="*/ 2147483647 w 28"/>
                    <a:gd name="T1" fmla="*/ 2147483647 h 25"/>
                    <a:gd name="T2" fmla="*/ 2147483647 w 28"/>
                    <a:gd name="T3" fmla="*/ 2147483647 h 25"/>
                    <a:gd name="T4" fmla="*/ 0 w 28"/>
                    <a:gd name="T5" fmla="*/ 2147483647 h 25"/>
                    <a:gd name="T6" fmla="*/ 0 w 28"/>
                    <a:gd name="T7" fmla="*/ 2147483647 h 25"/>
                    <a:gd name="T8" fmla="*/ 0 w 28"/>
                    <a:gd name="T9" fmla="*/ 2147483647 h 25"/>
                    <a:gd name="T10" fmla="*/ 2147483647 w 28"/>
                    <a:gd name="T11" fmla="*/ 2147483647 h 25"/>
                    <a:gd name="T12" fmla="*/ 2147483647 w 28"/>
                    <a:gd name="T13" fmla="*/ 2147483647 h 25"/>
                    <a:gd name="T14" fmla="*/ 2147483647 w 28"/>
                    <a:gd name="T15" fmla="*/ 2147483647 h 25"/>
                    <a:gd name="T16" fmla="*/ 2147483647 w 28"/>
                    <a:gd name="T17" fmla="*/ 2147483647 h 25"/>
                    <a:gd name="T18" fmla="*/ 2147483647 w 28"/>
                    <a:gd name="T19" fmla="*/ 2147483647 h 25"/>
                    <a:gd name="T20" fmla="*/ 2147483647 w 28"/>
                    <a:gd name="T21" fmla="*/ 2147483647 h 25"/>
                    <a:gd name="T22" fmla="*/ 2147483647 w 28"/>
                    <a:gd name="T23" fmla="*/ 2147483647 h 25"/>
                    <a:gd name="T24" fmla="*/ 2147483647 w 28"/>
                    <a:gd name="T25" fmla="*/ 2147483647 h 25"/>
                    <a:gd name="T26" fmla="*/ 2147483647 w 28"/>
                    <a:gd name="T27" fmla="*/ 2147483647 h 25"/>
                    <a:gd name="T28" fmla="*/ 2147483647 w 28"/>
                    <a:gd name="T29" fmla="*/ 0 h 25"/>
                    <a:gd name="T30" fmla="*/ 2147483647 w 28"/>
                    <a:gd name="T31" fmla="*/ 0 h 25"/>
                    <a:gd name="T32" fmla="*/ 2147483647 w 28"/>
                    <a:gd name="T33" fmla="*/ 0 h 25"/>
                    <a:gd name="T34" fmla="*/ 2147483647 w 28"/>
                    <a:gd name="T35" fmla="*/ 2147483647 h 25"/>
                    <a:gd name="T36" fmla="*/ 2147483647 w 28"/>
                    <a:gd name="T37" fmla="*/ 2147483647 h 25"/>
                    <a:gd name="T38" fmla="*/ 2147483647 w 28"/>
                    <a:gd name="T39" fmla="*/ 2147483647 h 25"/>
                    <a:gd name="T40" fmla="*/ 2147483647 w 28"/>
                    <a:gd name="T41" fmla="*/ 2147483647 h 25"/>
                    <a:gd name="T42" fmla="*/ 2147483647 w 28"/>
                    <a:gd name="T43" fmla="*/ 2147483647 h 2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8"/>
                    <a:gd name="T67" fmla="*/ 0 h 25"/>
                    <a:gd name="T68" fmla="*/ 28 w 28"/>
                    <a:gd name="T69" fmla="*/ 25 h 2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8" h="25">
                      <a:moveTo>
                        <a:pt x="5" y="16"/>
                      </a:moveTo>
                      <a:lnTo>
                        <a:pt x="1" y="19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0" y="25"/>
                      </a:lnTo>
                      <a:lnTo>
                        <a:pt x="3" y="25"/>
                      </a:lnTo>
                      <a:lnTo>
                        <a:pt x="5" y="25"/>
                      </a:lnTo>
                      <a:lnTo>
                        <a:pt x="6" y="25"/>
                      </a:lnTo>
                      <a:lnTo>
                        <a:pt x="8" y="24"/>
                      </a:lnTo>
                      <a:lnTo>
                        <a:pt x="12" y="20"/>
                      </a:lnTo>
                      <a:lnTo>
                        <a:pt x="18" y="16"/>
                      </a:lnTo>
                      <a:lnTo>
                        <a:pt x="22" y="12"/>
                      </a:lnTo>
                      <a:lnTo>
                        <a:pt x="26" y="7"/>
                      </a:lnTo>
                      <a:lnTo>
                        <a:pt x="28" y="2"/>
                      </a:lnTo>
                      <a:lnTo>
                        <a:pt x="26" y="0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3"/>
                      </a:lnTo>
                      <a:lnTo>
                        <a:pt x="15" y="6"/>
                      </a:lnTo>
                      <a:lnTo>
                        <a:pt x="13" y="8"/>
                      </a:lnTo>
                      <a:lnTo>
                        <a:pt x="8" y="15"/>
                      </a:lnTo>
                      <a:lnTo>
                        <a:pt x="5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5" name="Freeform 564">
                  <a:extLst>
                    <a:ext uri="{FF2B5EF4-FFF2-40B4-BE49-F238E27FC236}">
                      <a16:creationId xmlns:a16="http://schemas.microsoft.com/office/drawing/2014/main" id="{095FEB0A-17E2-CE4A-8AB4-3BFDA7071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741" y="3937620"/>
                  <a:ext cx="8879" cy="5919"/>
                </a:xfrm>
                <a:custGeom>
                  <a:avLst/>
                  <a:gdLst>
                    <a:gd name="T0" fmla="*/ 2147483647 w 6"/>
                    <a:gd name="T1" fmla="*/ 2147483647 h 4"/>
                    <a:gd name="T2" fmla="*/ 2147483647 w 6"/>
                    <a:gd name="T3" fmla="*/ 2147483647 h 4"/>
                    <a:gd name="T4" fmla="*/ 2147483647 w 6"/>
                    <a:gd name="T5" fmla="*/ 2147483647 h 4"/>
                    <a:gd name="T6" fmla="*/ 2147483647 w 6"/>
                    <a:gd name="T7" fmla="*/ 2147483647 h 4"/>
                    <a:gd name="T8" fmla="*/ 2147483647 w 6"/>
                    <a:gd name="T9" fmla="*/ 2147483647 h 4"/>
                    <a:gd name="T10" fmla="*/ 0 w 6"/>
                    <a:gd name="T11" fmla="*/ 2147483647 h 4"/>
                    <a:gd name="T12" fmla="*/ 0 w 6"/>
                    <a:gd name="T13" fmla="*/ 2147483647 h 4"/>
                    <a:gd name="T14" fmla="*/ 2147483647 w 6"/>
                    <a:gd name="T15" fmla="*/ 2147483647 h 4"/>
                    <a:gd name="T16" fmla="*/ 2147483647 w 6"/>
                    <a:gd name="T17" fmla="*/ 0 h 4"/>
                    <a:gd name="T18" fmla="*/ 2147483647 w 6"/>
                    <a:gd name="T19" fmla="*/ 2147483647 h 4"/>
                    <a:gd name="T20" fmla="*/ 2147483647 w 6"/>
                    <a:gd name="T21" fmla="*/ 2147483647 h 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4"/>
                    <a:gd name="T35" fmla="*/ 6 w 6"/>
                    <a:gd name="T36" fmla="*/ 4 h 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4">
                      <a:moveTo>
                        <a:pt x="5" y="2"/>
                      </a:move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6" name="Freeform 565">
                  <a:extLst>
                    <a:ext uri="{FF2B5EF4-FFF2-40B4-BE49-F238E27FC236}">
                      <a16:creationId xmlns:a16="http://schemas.microsoft.com/office/drawing/2014/main" id="{0FE95B2E-D9A2-2F4B-8FA0-6EED2EA538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740" y="3934665"/>
                  <a:ext cx="7400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2147483647 w 6"/>
                    <a:gd name="T9" fmla="*/ 2147483647 h 5"/>
                    <a:gd name="T10" fmla="*/ 2147483647 w 6"/>
                    <a:gd name="T11" fmla="*/ 2147483647 h 5"/>
                    <a:gd name="T12" fmla="*/ 2147483647 w 6"/>
                    <a:gd name="T13" fmla="*/ 2147483647 h 5"/>
                    <a:gd name="T14" fmla="*/ 0 w 6"/>
                    <a:gd name="T15" fmla="*/ 2147483647 h 5"/>
                    <a:gd name="T16" fmla="*/ 0 w 6"/>
                    <a:gd name="T17" fmla="*/ 2147483647 h 5"/>
                    <a:gd name="T18" fmla="*/ 2147483647 w 6"/>
                    <a:gd name="T19" fmla="*/ 2147483647 h 5"/>
                    <a:gd name="T20" fmla="*/ 2147483647 w 6"/>
                    <a:gd name="T21" fmla="*/ 2147483647 h 5"/>
                    <a:gd name="T22" fmla="*/ 2147483647 w 6"/>
                    <a:gd name="T23" fmla="*/ 0 h 5"/>
                    <a:gd name="T24" fmla="*/ 2147483647 w 6"/>
                    <a:gd name="T25" fmla="*/ 2147483647 h 5"/>
                    <a:gd name="T26" fmla="*/ 2147483647 w 6"/>
                    <a:gd name="T27" fmla="*/ 2147483647 h 5"/>
                    <a:gd name="T28" fmla="*/ 2147483647 w 6"/>
                    <a:gd name="T29" fmla="*/ 2147483647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5"/>
                    <a:gd name="T47" fmla="*/ 6 w 6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5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7" name="Freeform 566">
                  <a:extLst>
                    <a:ext uri="{FF2B5EF4-FFF2-40B4-BE49-F238E27FC236}">
                      <a16:creationId xmlns:a16="http://schemas.microsoft.com/office/drawing/2014/main" id="{BCAB627C-0AF6-F542-BC78-66C8519293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136" y="3937621"/>
                  <a:ext cx="7400" cy="4439"/>
                </a:xfrm>
                <a:custGeom>
                  <a:avLst/>
                  <a:gdLst>
                    <a:gd name="T0" fmla="*/ 2147483647 w 5"/>
                    <a:gd name="T1" fmla="*/ 2147483647 h 3"/>
                    <a:gd name="T2" fmla="*/ 0 w 5"/>
                    <a:gd name="T3" fmla="*/ 2147483647 h 3"/>
                    <a:gd name="T4" fmla="*/ 0 w 5"/>
                    <a:gd name="T5" fmla="*/ 2147483647 h 3"/>
                    <a:gd name="T6" fmla="*/ 2147483647 w 5"/>
                    <a:gd name="T7" fmla="*/ 0 h 3"/>
                    <a:gd name="T8" fmla="*/ 2147483647 w 5"/>
                    <a:gd name="T9" fmla="*/ 0 h 3"/>
                    <a:gd name="T10" fmla="*/ 2147483647 w 5"/>
                    <a:gd name="T11" fmla="*/ 2147483647 h 3"/>
                    <a:gd name="T12" fmla="*/ 2147483647 w 5"/>
                    <a:gd name="T13" fmla="*/ 2147483647 h 3"/>
                    <a:gd name="T14" fmla="*/ 2147483647 w 5"/>
                    <a:gd name="T15" fmla="*/ 2147483647 h 3"/>
                    <a:gd name="T16" fmla="*/ 2147483647 w 5"/>
                    <a:gd name="T17" fmla="*/ 2147483647 h 3"/>
                    <a:gd name="T18" fmla="*/ 2147483647 w 5"/>
                    <a:gd name="T19" fmla="*/ 2147483647 h 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3"/>
                    <a:gd name="T32" fmla="*/ 5 w 5"/>
                    <a:gd name="T33" fmla="*/ 3 h 3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3">
                      <a:moveTo>
                        <a:pt x="1" y="3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8" name="Freeform 567">
                  <a:extLst>
                    <a:ext uri="{FF2B5EF4-FFF2-40B4-BE49-F238E27FC236}">
                      <a16:creationId xmlns:a16="http://schemas.microsoft.com/office/drawing/2014/main" id="{D5CD536E-20A7-3849-90B6-273F435FD9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9773" y="3965738"/>
                  <a:ext cx="8879" cy="5919"/>
                </a:xfrm>
                <a:custGeom>
                  <a:avLst/>
                  <a:gdLst>
                    <a:gd name="T0" fmla="*/ 2147483647 w 6"/>
                    <a:gd name="T1" fmla="*/ 2147483647 h 4"/>
                    <a:gd name="T2" fmla="*/ 2147483647 w 6"/>
                    <a:gd name="T3" fmla="*/ 2147483647 h 4"/>
                    <a:gd name="T4" fmla="*/ 2147483647 w 6"/>
                    <a:gd name="T5" fmla="*/ 2147483647 h 4"/>
                    <a:gd name="T6" fmla="*/ 2147483647 w 6"/>
                    <a:gd name="T7" fmla="*/ 2147483647 h 4"/>
                    <a:gd name="T8" fmla="*/ 0 w 6"/>
                    <a:gd name="T9" fmla="*/ 2147483647 h 4"/>
                    <a:gd name="T10" fmla="*/ 0 w 6"/>
                    <a:gd name="T11" fmla="*/ 2147483647 h 4"/>
                    <a:gd name="T12" fmla="*/ 2147483647 w 6"/>
                    <a:gd name="T13" fmla="*/ 0 h 4"/>
                    <a:gd name="T14" fmla="*/ 2147483647 w 6"/>
                    <a:gd name="T15" fmla="*/ 2147483647 h 4"/>
                    <a:gd name="T16" fmla="*/ 2147483647 w 6"/>
                    <a:gd name="T17" fmla="*/ 2147483647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4"/>
                    <a:gd name="T29" fmla="*/ 6 w 6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4">
                      <a:moveTo>
                        <a:pt x="6" y="2"/>
                      </a:moveTo>
                      <a:lnTo>
                        <a:pt x="6" y="3"/>
                      </a:lnTo>
                      <a:lnTo>
                        <a:pt x="5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9" name="Freeform 568">
                  <a:extLst>
                    <a:ext uri="{FF2B5EF4-FFF2-40B4-BE49-F238E27FC236}">
                      <a16:creationId xmlns:a16="http://schemas.microsoft.com/office/drawing/2014/main" id="{16B5CD93-A242-BB49-ABDE-AEF985BB90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4661" y="3934664"/>
                  <a:ext cx="7399" cy="5919"/>
                </a:xfrm>
                <a:custGeom>
                  <a:avLst/>
                  <a:gdLst>
                    <a:gd name="T0" fmla="*/ 2147483647 w 5"/>
                    <a:gd name="T1" fmla="*/ 2147483647 h 4"/>
                    <a:gd name="T2" fmla="*/ 2147483647 w 5"/>
                    <a:gd name="T3" fmla="*/ 2147483647 h 4"/>
                    <a:gd name="T4" fmla="*/ 0 w 5"/>
                    <a:gd name="T5" fmla="*/ 2147483647 h 4"/>
                    <a:gd name="T6" fmla="*/ 0 w 5"/>
                    <a:gd name="T7" fmla="*/ 2147483647 h 4"/>
                    <a:gd name="T8" fmla="*/ 0 w 5"/>
                    <a:gd name="T9" fmla="*/ 2147483647 h 4"/>
                    <a:gd name="T10" fmla="*/ 2147483647 w 5"/>
                    <a:gd name="T11" fmla="*/ 0 h 4"/>
                    <a:gd name="T12" fmla="*/ 2147483647 w 5"/>
                    <a:gd name="T13" fmla="*/ 0 h 4"/>
                    <a:gd name="T14" fmla="*/ 2147483647 w 5"/>
                    <a:gd name="T15" fmla="*/ 2147483647 h 4"/>
                    <a:gd name="T16" fmla="*/ 2147483647 w 5"/>
                    <a:gd name="T17" fmla="*/ 2147483647 h 4"/>
                    <a:gd name="T18" fmla="*/ 2147483647 w 5"/>
                    <a:gd name="T19" fmla="*/ 2147483647 h 4"/>
                    <a:gd name="T20" fmla="*/ 2147483647 w 5"/>
                    <a:gd name="T21" fmla="*/ 2147483647 h 4"/>
                    <a:gd name="T22" fmla="*/ 2147483647 w 5"/>
                    <a:gd name="T23" fmla="*/ 2147483647 h 4"/>
                    <a:gd name="T24" fmla="*/ 2147483647 w 5"/>
                    <a:gd name="T25" fmla="*/ 2147483647 h 4"/>
                    <a:gd name="T26" fmla="*/ 2147483647 w 5"/>
                    <a:gd name="T27" fmla="*/ 2147483647 h 4"/>
                    <a:gd name="T28" fmla="*/ 2147483647 w 5"/>
                    <a:gd name="T29" fmla="*/ 2147483647 h 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4"/>
                    <a:gd name="T47" fmla="*/ 5 w 5"/>
                    <a:gd name="T48" fmla="*/ 4 h 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4">
                      <a:moveTo>
                        <a:pt x="1" y="4"/>
                      </a:move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0" name="Freeform 569">
                  <a:extLst>
                    <a:ext uri="{FF2B5EF4-FFF2-40B4-BE49-F238E27FC236}">
                      <a16:creationId xmlns:a16="http://schemas.microsoft.com/office/drawing/2014/main" id="{55F0BC27-D12D-754E-AF35-4754F58F36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292" y="3962778"/>
                  <a:ext cx="887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2147483647 w 6"/>
                    <a:gd name="T9" fmla="*/ 2147483647 h 5"/>
                    <a:gd name="T10" fmla="*/ 2147483647 w 6"/>
                    <a:gd name="T11" fmla="*/ 2147483647 h 5"/>
                    <a:gd name="T12" fmla="*/ 2147483647 w 6"/>
                    <a:gd name="T13" fmla="*/ 2147483647 h 5"/>
                    <a:gd name="T14" fmla="*/ 0 w 6"/>
                    <a:gd name="T15" fmla="*/ 2147483647 h 5"/>
                    <a:gd name="T16" fmla="*/ 0 w 6"/>
                    <a:gd name="T17" fmla="*/ 2147483647 h 5"/>
                    <a:gd name="T18" fmla="*/ 0 w 6"/>
                    <a:gd name="T19" fmla="*/ 2147483647 h 5"/>
                    <a:gd name="T20" fmla="*/ 2147483647 w 6"/>
                    <a:gd name="T21" fmla="*/ 0 h 5"/>
                    <a:gd name="T22" fmla="*/ 2147483647 w 6"/>
                    <a:gd name="T23" fmla="*/ 2147483647 h 5"/>
                    <a:gd name="T24" fmla="*/ 2147483647 w 6"/>
                    <a:gd name="T25" fmla="*/ 2147483647 h 5"/>
                    <a:gd name="T26" fmla="*/ 2147483647 w 6"/>
                    <a:gd name="T27" fmla="*/ 2147483647 h 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5"/>
                    <a:gd name="T44" fmla="*/ 6 w 6"/>
                    <a:gd name="T45" fmla="*/ 5 h 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5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5" y="2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1" name="Freeform 570">
                  <a:extLst>
                    <a:ext uri="{FF2B5EF4-FFF2-40B4-BE49-F238E27FC236}">
                      <a16:creationId xmlns:a16="http://schemas.microsoft.com/office/drawing/2014/main" id="{9FC77787-8230-1443-8E70-3F1BCDA632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329" y="3982018"/>
                  <a:ext cx="35517" cy="22198"/>
                </a:xfrm>
                <a:custGeom>
                  <a:avLst/>
                  <a:gdLst>
                    <a:gd name="T0" fmla="*/ 2147483647 w 26"/>
                    <a:gd name="T1" fmla="*/ 2147483647 h 15"/>
                    <a:gd name="T2" fmla="*/ 2147483647 w 26"/>
                    <a:gd name="T3" fmla="*/ 2147483647 h 15"/>
                    <a:gd name="T4" fmla="*/ 2147483647 w 26"/>
                    <a:gd name="T5" fmla="*/ 2147483647 h 15"/>
                    <a:gd name="T6" fmla="*/ 2147483647 w 26"/>
                    <a:gd name="T7" fmla="*/ 2147483647 h 15"/>
                    <a:gd name="T8" fmla="*/ 2147483647 w 26"/>
                    <a:gd name="T9" fmla="*/ 2147483647 h 15"/>
                    <a:gd name="T10" fmla="*/ 0 w 26"/>
                    <a:gd name="T11" fmla="*/ 2147483647 h 15"/>
                    <a:gd name="T12" fmla="*/ 0 w 26"/>
                    <a:gd name="T13" fmla="*/ 2147483647 h 15"/>
                    <a:gd name="T14" fmla="*/ 2147483647 w 26"/>
                    <a:gd name="T15" fmla="*/ 2147483647 h 15"/>
                    <a:gd name="T16" fmla="*/ 2147483647 w 26"/>
                    <a:gd name="T17" fmla="*/ 2147483647 h 15"/>
                    <a:gd name="T18" fmla="*/ 2147483647 w 26"/>
                    <a:gd name="T19" fmla="*/ 2147483647 h 15"/>
                    <a:gd name="T20" fmla="*/ 2147483647 w 26"/>
                    <a:gd name="T21" fmla="*/ 2147483647 h 15"/>
                    <a:gd name="T22" fmla="*/ 2147483647 w 26"/>
                    <a:gd name="T23" fmla="*/ 0 h 15"/>
                    <a:gd name="T24" fmla="*/ 2147483647 w 26"/>
                    <a:gd name="T25" fmla="*/ 2147483647 h 15"/>
                    <a:gd name="T26" fmla="*/ 2147483647 w 26"/>
                    <a:gd name="T27" fmla="*/ 2147483647 h 15"/>
                    <a:gd name="T28" fmla="*/ 2147483647 w 26"/>
                    <a:gd name="T29" fmla="*/ 2147483647 h 15"/>
                    <a:gd name="T30" fmla="*/ 2147483647 w 26"/>
                    <a:gd name="T31" fmla="*/ 2147483647 h 15"/>
                    <a:gd name="T32" fmla="*/ 2147483647 w 26"/>
                    <a:gd name="T33" fmla="*/ 2147483647 h 15"/>
                    <a:gd name="T34" fmla="*/ 2147483647 w 26"/>
                    <a:gd name="T35" fmla="*/ 2147483647 h 15"/>
                    <a:gd name="T36" fmla="*/ 2147483647 w 26"/>
                    <a:gd name="T37" fmla="*/ 2147483647 h 15"/>
                    <a:gd name="T38" fmla="*/ 2147483647 w 26"/>
                    <a:gd name="T39" fmla="*/ 2147483647 h 15"/>
                    <a:gd name="T40" fmla="*/ 2147483647 w 26"/>
                    <a:gd name="T41" fmla="*/ 2147483647 h 15"/>
                    <a:gd name="T42" fmla="*/ 2147483647 w 26"/>
                    <a:gd name="T43" fmla="*/ 2147483647 h 1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6"/>
                    <a:gd name="T67" fmla="*/ 0 h 15"/>
                    <a:gd name="T68" fmla="*/ 26 w 26"/>
                    <a:gd name="T69" fmla="*/ 15 h 1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6" h="15">
                      <a:moveTo>
                        <a:pt x="14" y="12"/>
                      </a:moveTo>
                      <a:lnTo>
                        <a:pt x="9" y="13"/>
                      </a:lnTo>
                      <a:lnTo>
                        <a:pt x="3" y="15"/>
                      </a:lnTo>
                      <a:lnTo>
                        <a:pt x="2" y="15"/>
                      </a:lnTo>
                      <a:lnTo>
                        <a:pt x="1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1" y="6"/>
                      </a:lnTo>
                      <a:lnTo>
                        <a:pt x="3" y="4"/>
                      </a:lnTo>
                      <a:lnTo>
                        <a:pt x="6" y="3"/>
                      </a:lnTo>
                      <a:lnTo>
                        <a:pt x="9" y="2"/>
                      </a:lnTo>
                      <a:lnTo>
                        <a:pt x="16" y="0"/>
                      </a:lnTo>
                      <a:lnTo>
                        <a:pt x="23" y="2"/>
                      </a:lnTo>
                      <a:lnTo>
                        <a:pt x="25" y="3"/>
                      </a:lnTo>
                      <a:lnTo>
                        <a:pt x="26" y="5"/>
                      </a:lnTo>
                      <a:lnTo>
                        <a:pt x="26" y="8"/>
                      </a:lnTo>
                      <a:lnTo>
                        <a:pt x="26" y="10"/>
                      </a:lnTo>
                      <a:lnTo>
                        <a:pt x="25" y="12"/>
                      </a:lnTo>
                      <a:lnTo>
                        <a:pt x="24" y="12"/>
                      </a:lnTo>
                      <a:lnTo>
                        <a:pt x="20" y="12"/>
                      </a:lnTo>
                      <a:lnTo>
                        <a:pt x="17" y="12"/>
                      </a:lnTo>
                      <a:lnTo>
                        <a:pt x="14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2" name="Freeform 571">
                  <a:extLst>
                    <a:ext uri="{FF2B5EF4-FFF2-40B4-BE49-F238E27FC236}">
                      <a16:creationId xmlns:a16="http://schemas.microsoft.com/office/drawing/2014/main" id="{963E6A54-13A3-C640-BA0C-A13E414A34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8208" y="3999775"/>
                  <a:ext cx="20718" cy="23678"/>
                </a:xfrm>
                <a:custGeom>
                  <a:avLst/>
                  <a:gdLst>
                    <a:gd name="T0" fmla="*/ 2147483647 w 15"/>
                    <a:gd name="T1" fmla="*/ 2147483647 h 16"/>
                    <a:gd name="T2" fmla="*/ 2147483647 w 15"/>
                    <a:gd name="T3" fmla="*/ 2147483647 h 16"/>
                    <a:gd name="T4" fmla="*/ 2147483647 w 15"/>
                    <a:gd name="T5" fmla="*/ 2147483647 h 16"/>
                    <a:gd name="T6" fmla="*/ 2147483647 w 15"/>
                    <a:gd name="T7" fmla="*/ 2147483647 h 16"/>
                    <a:gd name="T8" fmla="*/ 2147483647 w 15"/>
                    <a:gd name="T9" fmla="*/ 2147483647 h 16"/>
                    <a:gd name="T10" fmla="*/ 2147483647 w 15"/>
                    <a:gd name="T11" fmla="*/ 2147483647 h 16"/>
                    <a:gd name="T12" fmla="*/ 2147483647 w 15"/>
                    <a:gd name="T13" fmla="*/ 2147483647 h 16"/>
                    <a:gd name="T14" fmla="*/ 2147483647 w 15"/>
                    <a:gd name="T15" fmla="*/ 2147483647 h 16"/>
                    <a:gd name="T16" fmla="*/ 0 w 15"/>
                    <a:gd name="T17" fmla="*/ 2147483647 h 16"/>
                    <a:gd name="T18" fmla="*/ 0 w 15"/>
                    <a:gd name="T19" fmla="*/ 2147483647 h 16"/>
                    <a:gd name="T20" fmla="*/ 2147483647 w 15"/>
                    <a:gd name="T21" fmla="*/ 2147483647 h 16"/>
                    <a:gd name="T22" fmla="*/ 2147483647 w 15"/>
                    <a:gd name="T23" fmla="*/ 2147483647 h 16"/>
                    <a:gd name="T24" fmla="*/ 2147483647 w 15"/>
                    <a:gd name="T25" fmla="*/ 0 h 16"/>
                    <a:gd name="T26" fmla="*/ 2147483647 w 15"/>
                    <a:gd name="T27" fmla="*/ 0 h 16"/>
                    <a:gd name="T28" fmla="*/ 2147483647 w 15"/>
                    <a:gd name="T29" fmla="*/ 2147483647 h 16"/>
                    <a:gd name="T30" fmla="*/ 2147483647 w 15"/>
                    <a:gd name="T31" fmla="*/ 2147483647 h 16"/>
                    <a:gd name="T32" fmla="*/ 2147483647 w 15"/>
                    <a:gd name="T33" fmla="*/ 2147483647 h 1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5"/>
                    <a:gd name="T52" fmla="*/ 0 h 16"/>
                    <a:gd name="T53" fmla="*/ 15 w 15"/>
                    <a:gd name="T54" fmla="*/ 16 h 1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5" h="16">
                      <a:moveTo>
                        <a:pt x="15" y="9"/>
                      </a:moveTo>
                      <a:lnTo>
                        <a:pt x="15" y="12"/>
                      </a:lnTo>
                      <a:lnTo>
                        <a:pt x="15" y="13"/>
                      </a:lnTo>
                      <a:lnTo>
                        <a:pt x="15" y="14"/>
                      </a:lnTo>
                      <a:lnTo>
                        <a:pt x="11" y="16"/>
                      </a:lnTo>
                      <a:lnTo>
                        <a:pt x="8" y="14"/>
                      </a:lnTo>
                      <a:lnTo>
                        <a:pt x="4" y="12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14" y="4"/>
                      </a:lnTo>
                      <a:lnTo>
                        <a:pt x="15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3" name="Freeform 572">
                  <a:extLst>
                    <a:ext uri="{FF2B5EF4-FFF2-40B4-BE49-F238E27FC236}">
                      <a16:creationId xmlns:a16="http://schemas.microsoft.com/office/drawing/2014/main" id="{E7E35593-DF64-D448-8E53-A56843DCB1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370" y="3980541"/>
                  <a:ext cx="36996" cy="20718"/>
                </a:xfrm>
                <a:custGeom>
                  <a:avLst/>
                  <a:gdLst>
                    <a:gd name="T0" fmla="*/ 2147483647 w 27"/>
                    <a:gd name="T1" fmla="*/ 2147483647 h 14"/>
                    <a:gd name="T2" fmla="*/ 2147483647 w 27"/>
                    <a:gd name="T3" fmla="*/ 2147483647 h 14"/>
                    <a:gd name="T4" fmla="*/ 2147483647 w 27"/>
                    <a:gd name="T5" fmla="*/ 2147483647 h 14"/>
                    <a:gd name="T6" fmla="*/ 2147483647 w 27"/>
                    <a:gd name="T7" fmla="*/ 2147483647 h 14"/>
                    <a:gd name="T8" fmla="*/ 2147483647 w 27"/>
                    <a:gd name="T9" fmla="*/ 2147483647 h 14"/>
                    <a:gd name="T10" fmla="*/ 2147483647 w 27"/>
                    <a:gd name="T11" fmla="*/ 2147483647 h 14"/>
                    <a:gd name="T12" fmla="*/ 0 w 27"/>
                    <a:gd name="T13" fmla="*/ 2147483647 h 14"/>
                    <a:gd name="T14" fmla="*/ 0 w 27"/>
                    <a:gd name="T15" fmla="*/ 2147483647 h 14"/>
                    <a:gd name="T16" fmla="*/ 0 w 27"/>
                    <a:gd name="T17" fmla="*/ 2147483647 h 14"/>
                    <a:gd name="T18" fmla="*/ 2147483647 w 27"/>
                    <a:gd name="T19" fmla="*/ 2147483647 h 14"/>
                    <a:gd name="T20" fmla="*/ 2147483647 w 27"/>
                    <a:gd name="T21" fmla="*/ 2147483647 h 14"/>
                    <a:gd name="T22" fmla="*/ 2147483647 w 27"/>
                    <a:gd name="T23" fmla="*/ 2147483647 h 14"/>
                    <a:gd name="T24" fmla="*/ 2147483647 w 27"/>
                    <a:gd name="T25" fmla="*/ 2147483647 h 14"/>
                    <a:gd name="T26" fmla="*/ 2147483647 w 27"/>
                    <a:gd name="T27" fmla="*/ 0 h 14"/>
                    <a:gd name="T28" fmla="*/ 2147483647 w 27"/>
                    <a:gd name="T29" fmla="*/ 2147483647 h 14"/>
                    <a:gd name="T30" fmla="*/ 2147483647 w 27"/>
                    <a:gd name="T31" fmla="*/ 2147483647 h 14"/>
                    <a:gd name="T32" fmla="*/ 2147483647 w 27"/>
                    <a:gd name="T33" fmla="*/ 2147483647 h 14"/>
                    <a:gd name="T34" fmla="*/ 2147483647 w 27"/>
                    <a:gd name="T35" fmla="*/ 2147483647 h 14"/>
                    <a:gd name="T36" fmla="*/ 2147483647 w 27"/>
                    <a:gd name="T37" fmla="*/ 2147483647 h 14"/>
                    <a:gd name="T38" fmla="*/ 2147483647 w 27"/>
                    <a:gd name="T39" fmla="*/ 2147483647 h 14"/>
                    <a:gd name="T40" fmla="*/ 2147483647 w 27"/>
                    <a:gd name="T41" fmla="*/ 2147483647 h 14"/>
                    <a:gd name="T42" fmla="*/ 2147483647 w 27"/>
                    <a:gd name="T43" fmla="*/ 2147483647 h 14"/>
                    <a:gd name="T44" fmla="*/ 2147483647 w 27"/>
                    <a:gd name="T45" fmla="*/ 2147483647 h 14"/>
                    <a:gd name="T46" fmla="*/ 2147483647 w 27"/>
                    <a:gd name="T47" fmla="*/ 2147483647 h 14"/>
                    <a:gd name="T48" fmla="*/ 2147483647 w 27"/>
                    <a:gd name="T49" fmla="*/ 2147483647 h 14"/>
                    <a:gd name="T50" fmla="*/ 2147483647 w 27"/>
                    <a:gd name="T51" fmla="*/ 2147483647 h 14"/>
                    <a:gd name="T52" fmla="*/ 2147483647 w 27"/>
                    <a:gd name="T53" fmla="*/ 2147483647 h 1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7"/>
                    <a:gd name="T82" fmla="*/ 0 h 14"/>
                    <a:gd name="T83" fmla="*/ 27 w 27"/>
                    <a:gd name="T84" fmla="*/ 14 h 1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7" h="14">
                      <a:moveTo>
                        <a:pt x="14" y="12"/>
                      </a:moveTo>
                      <a:lnTo>
                        <a:pt x="14" y="12"/>
                      </a:lnTo>
                      <a:lnTo>
                        <a:pt x="9" y="13"/>
                      </a:lnTo>
                      <a:lnTo>
                        <a:pt x="4" y="14"/>
                      </a:lnTo>
                      <a:lnTo>
                        <a:pt x="3" y="14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17" y="0"/>
                      </a:lnTo>
                      <a:lnTo>
                        <a:pt x="23" y="1"/>
                      </a:lnTo>
                      <a:lnTo>
                        <a:pt x="26" y="3"/>
                      </a:lnTo>
                      <a:lnTo>
                        <a:pt x="27" y="5"/>
                      </a:lnTo>
                      <a:lnTo>
                        <a:pt x="27" y="7"/>
                      </a:lnTo>
                      <a:lnTo>
                        <a:pt x="27" y="10"/>
                      </a:lnTo>
                      <a:lnTo>
                        <a:pt x="26" y="12"/>
                      </a:lnTo>
                      <a:lnTo>
                        <a:pt x="25" y="12"/>
                      </a:lnTo>
                      <a:lnTo>
                        <a:pt x="21" y="12"/>
                      </a:lnTo>
                      <a:lnTo>
                        <a:pt x="18" y="12"/>
                      </a:lnTo>
                      <a:lnTo>
                        <a:pt x="14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4" name="Freeform 573">
                  <a:extLst>
                    <a:ext uri="{FF2B5EF4-FFF2-40B4-BE49-F238E27FC236}">
                      <a16:creationId xmlns:a16="http://schemas.microsoft.com/office/drawing/2014/main" id="{50740D27-370D-1349-AF9F-5BF2860BCB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6728" y="3998296"/>
                  <a:ext cx="20718" cy="22199"/>
                </a:xfrm>
                <a:custGeom>
                  <a:avLst/>
                  <a:gdLst>
                    <a:gd name="T0" fmla="*/ 2147483647 w 15"/>
                    <a:gd name="T1" fmla="*/ 2147483647 h 15"/>
                    <a:gd name="T2" fmla="*/ 2147483647 w 15"/>
                    <a:gd name="T3" fmla="*/ 2147483647 h 15"/>
                    <a:gd name="T4" fmla="*/ 2147483647 w 15"/>
                    <a:gd name="T5" fmla="*/ 2147483647 h 15"/>
                    <a:gd name="T6" fmla="*/ 2147483647 w 15"/>
                    <a:gd name="T7" fmla="*/ 2147483647 h 15"/>
                    <a:gd name="T8" fmla="*/ 2147483647 w 15"/>
                    <a:gd name="T9" fmla="*/ 2147483647 h 15"/>
                    <a:gd name="T10" fmla="*/ 2147483647 w 15"/>
                    <a:gd name="T11" fmla="*/ 2147483647 h 15"/>
                    <a:gd name="T12" fmla="*/ 2147483647 w 15"/>
                    <a:gd name="T13" fmla="*/ 2147483647 h 15"/>
                    <a:gd name="T14" fmla="*/ 2147483647 w 15"/>
                    <a:gd name="T15" fmla="*/ 2147483647 h 15"/>
                    <a:gd name="T16" fmla="*/ 2147483647 w 15"/>
                    <a:gd name="T17" fmla="*/ 2147483647 h 15"/>
                    <a:gd name="T18" fmla="*/ 2147483647 w 15"/>
                    <a:gd name="T19" fmla="*/ 2147483647 h 15"/>
                    <a:gd name="T20" fmla="*/ 2147483647 w 15"/>
                    <a:gd name="T21" fmla="*/ 2147483647 h 15"/>
                    <a:gd name="T22" fmla="*/ 0 w 15"/>
                    <a:gd name="T23" fmla="*/ 2147483647 h 15"/>
                    <a:gd name="T24" fmla="*/ 0 w 15"/>
                    <a:gd name="T25" fmla="*/ 2147483647 h 15"/>
                    <a:gd name="T26" fmla="*/ 2147483647 w 15"/>
                    <a:gd name="T27" fmla="*/ 2147483647 h 15"/>
                    <a:gd name="T28" fmla="*/ 2147483647 w 15"/>
                    <a:gd name="T29" fmla="*/ 2147483647 h 15"/>
                    <a:gd name="T30" fmla="*/ 2147483647 w 15"/>
                    <a:gd name="T31" fmla="*/ 2147483647 h 15"/>
                    <a:gd name="T32" fmla="*/ 2147483647 w 15"/>
                    <a:gd name="T33" fmla="*/ 0 h 15"/>
                    <a:gd name="T34" fmla="*/ 2147483647 w 15"/>
                    <a:gd name="T35" fmla="*/ 0 h 15"/>
                    <a:gd name="T36" fmla="*/ 2147483647 w 15"/>
                    <a:gd name="T37" fmla="*/ 0 h 15"/>
                    <a:gd name="T38" fmla="*/ 2147483647 w 15"/>
                    <a:gd name="T39" fmla="*/ 2147483647 h 15"/>
                    <a:gd name="T40" fmla="*/ 2147483647 w 15"/>
                    <a:gd name="T41" fmla="*/ 2147483647 h 15"/>
                    <a:gd name="T42" fmla="*/ 2147483647 w 15"/>
                    <a:gd name="T43" fmla="*/ 2147483647 h 15"/>
                    <a:gd name="T44" fmla="*/ 2147483647 w 15"/>
                    <a:gd name="T45" fmla="*/ 2147483647 h 15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5"/>
                    <a:gd name="T70" fmla="*/ 0 h 15"/>
                    <a:gd name="T71" fmla="*/ 15 w 15"/>
                    <a:gd name="T72" fmla="*/ 15 h 15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5" h="15">
                      <a:moveTo>
                        <a:pt x="15" y="8"/>
                      </a:moveTo>
                      <a:lnTo>
                        <a:pt x="15" y="8"/>
                      </a:lnTo>
                      <a:lnTo>
                        <a:pt x="15" y="12"/>
                      </a:lnTo>
                      <a:lnTo>
                        <a:pt x="15" y="13"/>
                      </a:lnTo>
                      <a:lnTo>
                        <a:pt x="15" y="14"/>
                      </a:lnTo>
                      <a:lnTo>
                        <a:pt x="11" y="15"/>
                      </a:lnTo>
                      <a:lnTo>
                        <a:pt x="7" y="14"/>
                      </a:lnTo>
                      <a:lnTo>
                        <a:pt x="3" y="12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12" y="1"/>
                      </a:lnTo>
                      <a:lnTo>
                        <a:pt x="14" y="4"/>
                      </a:lnTo>
                      <a:lnTo>
                        <a:pt x="15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5" name="Freeform 574">
                  <a:extLst>
                    <a:ext uri="{FF2B5EF4-FFF2-40B4-BE49-F238E27FC236}">
                      <a16:creationId xmlns:a16="http://schemas.microsoft.com/office/drawing/2014/main" id="{0470E5E9-722D-DC4B-9EDC-05196EC49E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0761" y="4013094"/>
                  <a:ext cx="31078" cy="23678"/>
                </a:xfrm>
                <a:custGeom>
                  <a:avLst/>
                  <a:gdLst>
                    <a:gd name="T0" fmla="*/ 2147483647 w 23"/>
                    <a:gd name="T1" fmla="*/ 2147483647 h 16"/>
                    <a:gd name="T2" fmla="*/ 2147483647 w 23"/>
                    <a:gd name="T3" fmla="*/ 2147483647 h 16"/>
                    <a:gd name="T4" fmla="*/ 2147483647 w 23"/>
                    <a:gd name="T5" fmla="*/ 2147483647 h 16"/>
                    <a:gd name="T6" fmla="*/ 2147483647 w 23"/>
                    <a:gd name="T7" fmla="*/ 2147483647 h 16"/>
                    <a:gd name="T8" fmla="*/ 2147483647 w 23"/>
                    <a:gd name="T9" fmla="*/ 2147483647 h 16"/>
                    <a:gd name="T10" fmla="*/ 2147483647 w 23"/>
                    <a:gd name="T11" fmla="*/ 2147483647 h 16"/>
                    <a:gd name="T12" fmla="*/ 2147483647 w 23"/>
                    <a:gd name="T13" fmla="*/ 2147483647 h 16"/>
                    <a:gd name="T14" fmla="*/ 2147483647 w 23"/>
                    <a:gd name="T15" fmla="*/ 2147483647 h 16"/>
                    <a:gd name="T16" fmla="*/ 2147483647 w 23"/>
                    <a:gd name="T17" fmla="*/ 2147483647 h 16"/>
                    <a:gd name="T18" fmla="*/ 2147483647 w 23"/>
                    <a:gd name="T19" fmla="*/ 2147483647 h 16"/>
                    <a:gd name="T20" fmla="*/ 0 w 23"/>
                    <a:gd name="T21" fmla="*/ 2147483647 h 16"/>
                    <a:gd name="T22" fmla="*/ 2147483647 w 23"/>
                    <a:gd name="T23" fmla="*/ 2147483647 h 16"/>
                    <a:gd name="T24" fmla="*/ 2147483647 w 23"/>
                    <a:gd name="T25" fmla="*/ 0 h 16"/>
                    <a:gd name="T26" fmla="*/ 2147483647 w 23"/>
                    <a:gd name="T27" fmla="*/ 0 h 16"/>
                    <a:gd name="T28" fmla="*/ 2147483647 w 23"/>
                    <a:gd name="T29" fmla="*/ 0 h 16"/>
                    <a:gd name="T30" fmla="*/ 2147483647 w 23"/>
                    <a:gd name="T31" fmla="*/ 2147483647 h 16"/>
                    <a:gd name="T32" fmla="*/ 2147483647 w 23"/>
                    <a:gd name="T33" fmla="*/ 2147483647 h 16"/>
                    <a:gd name="T34" fmla="*/ 2147483647 w 23"/>
                    <a:gd name="T35" fmla="*/ 2147483647 h 1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3"/>
                    <a:gd name="T55" fmla="*/ 0 h 16"/>
                    <a:gd name="T56" fmla="*/ 23 w 23"/>
                    <a:gd name="T57" fmla="*/ 16 h 1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3" h="16">
                      <a:moveTo>
                        <a:pt x="15" y="5"/>
                      </a:moveTo>
                      <a:lnTo>
                        <a:pt x="19" y="8"/>
                      </a:lnTo>
                      <a:lnTo>
                        <a:pt x="23" y="11"/>
                      </a:lnTo>
                      <a:lnTo>
                        <a:pt x="23" y="14"/>
                      </a:lnTo>
                      <a:lnTo>
                        <a:pt x="22" y="15"/>
                      </a:lnTo>
                      <a:lnTo>
                        <a:pt x="15" y="16"/>
                      </a:lnTo>
                      <a:lnTo>
                        <a:pt x="12" y="16"/>
                      </a:lnTo>
                      <a:lnTo>
                        <a:pt x="8" y="15"/>
                      </a:lnTo>
                      <a:lnTo>
                        <a:pt x="5" y="11"/>
                      </a:lnTo>
                      <a:lnTo>
                        <a:pt x="1" y="8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2" y="3"/>
                      </a:lnTo>
                      <a:lnTo>
                        <a:pt x="1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6" name="Freeform 575">
                  <a:extLst>
                    <a:ext uri="{FF2B5EF4-FFF2-40B4-BE49-F238E27FC236}">
                      <a16:creationId xmlns:a16="http://schemas.microsoft.com/office/drawing/2014/main" id="{02B7CD1A-1FFF-AE48-AC2B-B8AE2AAF35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8879" y="4044175"/>
                  <a:ext cx="29597" cy="36996"/>
                </a:xfrm>
                <a:custGeom>
                  <a:avLst/>
                  <a:gdLst>
                    <a:gd name="T0" fmla="*/ 2147483647 w 22"/>
                    <a:gd name="T1" fmla="*/ 2147483647 h 25"/>
                    <a:gd name="T2" fmla="*/ 2147483647 w 22"/>
                    <a:gd name="T3" fmla="*/ 2147483647 h 25"/>
                    <a:gd name="T4" fmla="*/ 2147483647 w 22"/>
                    <a:gd name="T5" fmla="*/ 0 h 25"/>
                    <a:gd name="T6" fmla="*/ 2147483647 w 22"/>
                    <a:gd name="T7" fmla="*/ 0 h 25"/>
                    <a:gd name="T8" fmla="*/ 2147483647 w 22"/>
                    <a:gd name="T9" fmla="*/ 2147483647 h 25"/>
                    <a:gd name="T10" fmla="*/ 2147483647 w 22"/>
                    <a:gd name="T11" fmla="*/ 2147483647 h 25"/>
                    <a:gd name="T12" fmla="*/ 0 w 22"/>
                    <a:gd name="T13" fmla="*/ 2147483647 h 25"/>
                    <a:gd name="T14" fmla="*/ 0 w 22"/>
                    <a:gd name="T15" fmla="*/ 2147483647 h 25"/>
                    <a:gd name="T16" fmla="*/ 2147483647 w 22"/>
                    <a:gd name="T17" fmla="*/ 2147483647 h 25"/>
                    <a:gd name="T18" fmla="*/ 2147483647 w 22"/>
                    <a:gd name="T19" fmla="*/ 2147483647 h 25"/>
                    <a:gd name="T20" fmla="*/ 2147483647 w 22"/>
                    <a:gd name="T21" fmla="*/ 2147483647 h 25"/>
                    <a:gd name="T22" fmla="*/ 2147483647 w 22"/>
                    <a:gd name="T23" fmla="*/ 2147483647 h 25"/>
                    <a:gd name="T24" fmla="*/ 2147483647 w 22"/>
                    <a:gd name="T25" fmla="*/ 2147483647 h 25"/>
                    <a:gd name="T26" fmla="*/ 2147483647 w 22"/>
                    <a:gd name="T27" fmla="*/ 2147483647 h 25"/>
                    <a:gd name="T28" fmla="*/ 2147483647 w 22"/>
                    <a:gd name="T29" fmla="*/ 2147483647 h 25"/>
                    <a:gd name="T30" fmla="*/ 2147483647 w 22"/>
                    <a:gd name="T31" fmla="*/ 2147483647 h 25"/>
                    <a:gd name="T32" fmla="*/ 2147483647 w 22"/>
                    <a:gd name="T33" fmla="*/ 2147483647 h 25"/>
                    <a:gd name="T34" fmla="*/ 2147483647 w 22"/>
                    <a:gd name="T35" fmla="*/ 2147483647 h 25"/>
                    <a:gd name="T36" fmla="*/ 2147483647 w 22"/>
                    <a:gd name="T37" fmla="*/ 2147483647 h 25"/>
                    <a:gd name="T38" fmla="*/ 2147483647 w 22"/>
                    <a:gd name="T39" fmla="*/ 2147483647 h 25"/>
                    <a:gd name="T40" fmla="*/ 2147483647 w 22"/>
                    <a:gd name="T41" fmla="*/ 2147483647 h 25"/>
                    <a:gd name="T42" fmla="*/ 2147483647 w 22"/>
                    <a:gd name="T43" fmla="*/ 2147483647 h 25"/>
                    <a:gd name="T44" fmla="*/ 2147483647 w 22"/>
                    <a:gd name="T45" fmla="*/ 2147483647 h 25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2"/>
                    <a:gd name="T70" fmla="*/ 0 h 25"/>
                    <a:gd name="T71" fmla="*/ 22 w 22"/>
                    <a:gd name="T72" fmla="*/ 25 h 25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2" h="25">
                      <a:moveTo>
                        <a:pt x="12" y="3"/>
                      </a:move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4" y="1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22"/>
                      </a:lnTo>
                      <a:lnTo>
                        <a:pt x="4" y="24"/>
                      </a:lnTo>
                      <a:lnTo>
                        <a:pt x="5" y="25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18" y="16"/>
                      </a:lnTo>
                      <a:lnTo>
                        <a:pt x="22" y="14"/>
                      </a:lnTo>
                      <a:lnTo>
                        <a:pt x="22" y="12"/>
                      </a:lnTo>
                      <a:lnTo>
                        <a:pt x="21" y="11"/>
                      </a:lnTo>
                      <a:lnTo>
                        <a:pt x="19" y="9"/>
                      </a:lnTo>
                      <a:lnTo>
                        <a:pt x="17" y="8"/>
                      </a:lnTo>
                      <a:lnTo>
                        <a:pt x="14" y="6"/>
                      </a:lnTo>
                      <a:lnTo>
                        <a:pt x="12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7" name="Freeform 576">
                  <a:extLst>
                    <a:ext uri="{FF2B5EF4-FFF2-40B4-BE49-F238E27FC236}">
                      <a16:creationId xmlns:a16="http://schemas.microsoft.com/office/drawing/2014/main" id="{283B4D6B-6069-9545-96CC-93DB3146D0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9285" y="4010134"/>
                  <a:ext cx="31077" cy="25158"/>
                </a:xfrm>
                <a:custGeom>
                  <a:avLst/>
                  <a:gdLst>
                    <a:gd name="T0" fmla="*/ 2147483647 w 23"/>
                    <a:gd name="T1" fmla="*/ 2147483647 h 17"/>
                    <a:gd name="T2" fmla="*/ 2147483647 w 23"/>
                    <a:gd name="T3" fmla="*/ 2147483647 h 17"/>
                    <a:gd name="T4" fmla="*/ 2147483647 w 23"/>
                    <a:gd name="T5" fmla="*/ 2147483647 h 17"/>
                    <a:gd name="T6" fmla="*/ 2147483647 w 23"/>
                    <a:gd name="T7" fmla="*/ 2147483647 h 17"/>
                    <a:gd name="T8" fmla="*/ 2147483647 w 23"/>
                    <a:gd name="T9" fmla="*/ 2147483647 h 17"/>
                    <a:gd name="T10" fmla="*/ 2147483647 w 23"/>
                    <a:gd name="T11" fmla="*/ 2147483647 h 17"/>
                    <a:gd name="T12" fmla="*/ 2147483647 w 23"/>
                    <a:gd name="T13" fmla="*/ 2147483647 h 17"/>
                    <a:gd name="T14" fmla="*/ 2147483647 w 23"/>
                    <a:gd name="T15" fmla="*/ 2147483647 h 17"/>
                    <a:gd name="T16" fmla="*/ 2147483647 w 23"/>
                    <a:gd name="T17" fmla="*/ 2147483647 h 17"/>
                    <a:gd name="T18" fmla="*/ 2147483647 w 23"/>
                    <a:gd name="T19" fmla="*/ 2147483647 h 17"/>
                    <a:gd name="T20" fmla="*/ 2147483647 w 23"/>
                    <a:gd name="T21" fmla="*/ 2147483647 h 17"/>
                    <a:gd name="T22" fmla="*/ 2147483647 w 23"/>
                    <a:gd name="T23" fmla="*/ 2147483647 h 17"/>
                    <a:gd name="T24" fmla="*/ 2147483647 w 23"/>
                    <a:gd name="T25" fmla="*/ 2147483647 h 17"/>
                    <a:gd name="T26" fmla="*/ 2147483647 w 23"/>
                    <a:gd name="T27" fmla="*/ 2147483647 h 17"/>
                    <a:gd name="T28" fmla="*/ 2147483647 w 23"/>
                    <a:gd name="T29" fmla="*/ 2147483647 h 17"/>
                    <a:gd name="T30" fmla="*/ 0 w 23"/>
                    <a:gd name="T31" fmla="*/ 2147483647 h 17"/>
                    <a:gd name="T32" fmla="*/ 2147483647 w 23"/>
                    <a:gd name="T33" fmla="*/ 2147483647 h 17"/>
                    <a:gd name="T34" fmla="*/ 2147483647 w 23"/>
                    <a:gd name="T35" fmla="*/ 0 h 17"/>
                    <a:gd name="T36" fmla="*/ 2147483647 w 23"/>
                    <a:gd name="T37" fmla="*/ 0 h 17"/>
                    <a:gd name="T38" fmla="*/ 2147483647 w 23"/>
                    <a:gd name="T39" fmla="*/ 0 h 17"/>
                    <a:gd name="T40" fmla="*/ 2147483647 w 23"/>
                    <a:gd name="T41" fmla="*/ 0 h 17"/>
                    <a:gd name="T42" fmla="*/ 2147483647 w 23"/>
                    <a:gd name="T43" fmla="*/ 2147483647 h 17"/>
                    <a:gd name="T44" fmla="*/ 2147483647 w 23"/>
                    <a:gd name="T45" fmla="*/ 2147483647 h 17"/>
                    <a:gd name="T46" fmla="*/ 2147483647 w 23"/>
                    <a:gd name="T47" fmla="*/ 2147483647 h 17"/>
                    <a:gd name="T48" fmla="*/ 2147483647 w 23"/>
                    <a:gd name="T49" fmla="*/ 2147483647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3"/>
                    <a:gd name="T76" fmla="*/ 0 h 17"/>
                    <a:gd name="T77" fmla="*/ 23 w 23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3" h="17">
                      <a:moveTo>
                        <a:pt x="15" y="6"/>
                      </a:moveTo>
                      <a:lnTo>
                        <a:pt x="15" y="6"/>
                      </a:lnTo>
                      <a:lnTo>
                        <a:pt x="19" y="9"/>
                      </a:lnTo>
                      <a:lnTo>
                        <a:pt x="23" y="12"/>
                      </a:lnTo>
                      <a:lnTo>
                        <a:pt x="23" y="15"/>
                      </a:lnTo>
                      <a:lnTo>
                        <a:pt x="21" y="16"/>
                      </a:lnTo>
                      <a:lnTo>
                        <a:pt x="15" y="17"/>
                      </a:lnTo>
                      <a:lnTo>
                        <a:pt x="11" y="17"/>
                      </a:lnTo>
                      <a:lnTo>
                        <a:pt x="7" y="16"/>
                      </a:lnTo>
                      <a:lnTo>
                        <a:pt x="5" y="12"/>
                      </a:lnTo>
                      <a:lnTo>
                        <a:pt x="1" y="9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4"/>
                      </a:lnTo>
                      <a:lnTo>
                        <a:pt x="1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8" name="Freeform 577">
                  <a:extLst>
                    <a:ext uri="{FF2B5EF4-FFF2-40B4-BE49-F238E27FC236}">
                      <a16:creationId xmlns:a16="http://schemas.microsoft.com/office/drawing/2014/main" id="{40A7671E-4D1A-3749-875B-801B236110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399" y="4042691"/>
                  <a:ext cx="29597" cy="36997"/>
                </a:xfrm>
                <a:custGeom>
                  <a:avLst/>
                  <a:gdLst>
                    <a:gd name="T0" fmla="*/ 2147483647 w 22"/>
                    <a:gd name="T1" fmla="*/ 2147483647 h 25"/>
                    <a:gd name="T2" fmla="*/ 2147483647 w 22"/>
                    <a:gd name="T3" fmla="*/ 2147483647 h 25"/>
                    <a:gd name="T4" fmla="*/ 2147483647 w 22"/>
                    <a:gd name="T5" fmla="*/ 2147483647 h 25"/>
                    <a:gd name="T6" fmla="*/ 2147483647 w 22"/>
                    <a:gd name="T7" fmla="*/ 0 h 25"/>
                    <a:gd name="T8" fmla="*/ 2147483647 w 22"/>
                    <a:gd name="T9" fmla="*/ 0 h 25"/>
                    <a:gd name="T10" fmla="*/ 2147483647 w 22"/>
                    <a:gd name="T11" fmla="*/ 0 h 25"/>
                    <a:gd name="T12" fmla="*/ 2147483647 w 22"/>
                    <a:gd name="T13" fmla="*/ 2147483647 h 25"/>
                    <a:gd name="T14" fmla="*/ 2147483647 w 22"/>
                    <a:gd name="T15" fmla="*/ 2147483647 h 25"/>
                    <a:gd name="T16" fmla="*/ 0 w 22"/>
                    <a:gd name="T17" fmla="*/ 2147483647 h 25"/>
                    <a:gd name="T18" fmla="*/ 0 w 22"/>
                    <a:gd name="T19" fmla="*/ 2147483647 h 25"/>
                    <a:gd name="T20" fmla="*/ 0 w 22"/>
                    <a:gd name="T21" fmla="*/ 2147483647 h 25"/>
                    <a:gd name="T22" fmla="*/ 2147483647 w 22"/>
                    <a:gd name="T23" fmla="*/ 2147483647 h 25"/>
                    <a:gd name="T24" fmla="*/ 2147483647 w 22"/>
                    <a:gd name="T25" fmla="*/ 2147483647 h 25"/>
                    <a:gd name="T26" fmla="*/ 2147483647 w 22"/>
                    <a:gd name="T27" fmla="*/ 2147483647 h 25"/>
                    <a:gd name="T28" fmla="*/ 2147483647 w 22"/>
                    <a:gd name="T29" fmla="*/ 2147483647 h 25"/>
                    <a:gd name="T30" fmla="*/ 2147483647 w 22"/>
                    <a:gd name="T31" fmla="*/ 2147483647 h 25"/>
                    <a:gd name="T32" fmla="*/ 2147483647 w 22"/>
                    <a:gd name="T33" fmla="*/ 2147483647 h 25"/>
                    <a:gd name="T34" fmla="*/ 2147483647 w 22"/>
                    <a:gd name="T35" fmla="*/ 2147483647 h 25"/>
                    <a:gd name="T36" fmla="*/ 2147483647 w 22"/>
                    <a:gd name="T37" fmla="*/ 2147483647 h 25"/>
                    <a:gd name="T38" fmla="*/ 2147483647 w 22"/>
                    <a:gd name="T39" fmla="*/ 2147483647 h 25"/>
                    <a:gd name="T40" fmla="*/ 2147483647 w 22"/>
                    <a:gd name="T41" fmla="*/ 2147483647 h 25"/>
                    <a:gd name="T42" fmla="*/ 2147483647 w 22"/>
                    <a:gd name="T43" fmla="*/ 2147483647 h 25"/>
                    <a:gd name="T44" fmla="*/ 2147483647 w 22"/>
                    <a:gd name="T45" fmla="*/ 2147483647 h 25"/>
                    <a:gd name="T46" fmla="*/ 2147483647 w 22"/>
                    <a:gd name="T47" fmla="*/ 2147483647 h 25"/>
                    <a:gd name="T48" fmla="*/ 2147483647 w 22"/>
                    <a:gd name="T49" fmla="*/ 2147483647 h 25"/>
                    <a:gd name="T50" fmla="*/ 2147483647 w 22"/>
                    <a:gd name="T51" fmla="*/ 2147483647 h 25"/>
                    <a:gd name="T52" fmla="*/ 2147483647 w 22"/>
                    <a:gd name="T53" fmla="*/ 2147483647 h 25"/>
                    <a:gd name="T54" fmla="*/ 2147483647 w 22"/>
                    <a:gd name="T55" fmla="*/ 2147483647 h 25"/>
                    <a:gd name="T56" fmla="*/ 2147483647 w 22"/>
                    <a:gd name="T57" fmla="*/ 2147483647 h 25"/>
                    <a:gd name="T58" fmla="*/ 2147483647 w 22"/>
                    <a:gd name="T59" fmla="*/ 2147483647 h 25"/>
                    <a:gd name="T60" fmla="*/ 2147483647 w 22"/>
                    <a:gd name="T61" fmla="*/ 2147483647 h 2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2"/>
                    <a:gd name="T94" fmla="*/ 0 h 25"/>
                    <a:gd name="T95" fmla="*/ 22 w 22"/>
                    <a:gd name="T96" fmla="*/ 25 h 2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2" h="25">
                      <a:moveTo>
                        <a:pt x="12" y="3"/>
                      </a:move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5" y="25"/>
                      </a:lnTo>
                      <a:lnTo>
                        <a:pt x="8" y="25"/>
                      </a:lnTo>
                      <a:lnTo>
                        <a:pt x="9" y="25"/>
                      </a:lnTo>
                      <a:lnTo>
                        <a:pt x="10" y="22"/>
                      </a:lnTo>
                      <a:lnTo>
                        <a:pt x="10" y="20"/>
                      </a:lnTo>
                      <a:lnTo>
                        <a:pt x="18" y="16"/>
                      </a:lnTo>
                      <a:lnTo>
                        <a:pt x="22" y="14"/>
                      </a:lnTo>
                      <a:lnTo>
                        <a:pt x="22" y="12"/>
                      </a:lnTo>
                      <a:lnTo>
                        <a:pt x="20" y="10"/>
                      </a:lnTo>
                      <a:lnTo>
                        <a:pt x="19" y="9"/>
                      </a:lnTo>
                      <a:lnTo>
                        <a:pt x="17" y="8"/>
                      </a:lnTo>
                      <a:lnTo>
                        <a:pt x="14" y="6"/>
                      </a:lnTo>
                      <a:lnTo>
                        <a:pt x="12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9" name="Freeform 578">
                  <a:extLst>
                    <a:ext uri="{FF2B5EF4-FFF2-40B4-BE49-F238E27FC236}">
                      <a16:creationId xmlns:a16="http://schemas.microsoft.com/office/drawing/2014/main" id="{7083D375-F537-0C4F-9B9F-071A41369D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3808" y="4489616"/>
                  <a:ext cx="7400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2147483647 w 6"/>
                    <a:gd name="T13" fmla="*/ 0 h 6"/>
                    <a:gd name="T14" fmla="*/ 2147483647 w 6"/>
                    <a:gd name="T15" fmla="*/ 0 h 6"/>
                    <a:gd name="T16" fmla="*/ 2147483647 w 6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6"/>
                    <a:gd name="T29" fmla="*/ 6 w 6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6">
                      <a:moveTo>
                        <a:pt x="5" y="2"/>
                      </a:move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0" name="Freeform 579">
                  <a:extLst>
                    <a:ext uri="{FF2B5EF4-FFF2-40B4-BE49-F238E27FC236}">
                      <a16:creationId xmlns:a16="http://schemas.microsoft.com/office/drawing/2014/main" id="{91178868-9B7C-2247-B5A6-6528816410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7487" y="4520694"/>
                  <a:ext cx="8879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2147483647 w 6"/>
                    <a:gd name="T9" fmla="*/ 2147483647 h 5"/>
                    <a:gd name="T10" fmla="*/ 0 w 6"/>
                    <a:gd name="T11" fmla="*/ 2147483647 h 5"/>
                    <a:gd name="T12" fmla="*/ 2147483647 w 6"/>
                    <a:gd name="T13" fmla="*/ 0 h 5"/>
                    <a:gd name="T14" fmla="*/ 2147483647 w 6"/>
                    <a:gd name="T15" fmla="*/ 0 h 5"/>
                    <a:gd name="T16" fmla="*/ 2147483647 w 6"/>
                    <a:gd name="T17" fmla="*/ 2147483647 h 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5"/>
                    <a:gd name="T29" fmla="*/ 6 w 6"/>
                    <a:gd name="T30" fmla="*/ 5 h 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5">
                      <a:moveTo>
                        <a:pt x="6" y="2"/>
                      </a:moveTo>
                      <a:lnTo>
                        <a:pt x="6" y="4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5" y="0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1" name="Freeform 580">
                  <a:extLst>
                    <a:ext uri="{FF2B5EF4-FFF2-40B4-BE49-F238E27FC236}">
                      <a16:creationId xmlns:a16="http://schemas.microsoft.com/office/drawing/2014/main" id="{A3512590-77E0-8A46-AFBB-83B705EB38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332" y="4488137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2147483647 w 6"/>
                    <a:gd name="T11" fmla="*/ 2147483647 h 6"/>
                    <a:gd name="T12" fmla="*/ 0 w 6"/>
                    <a:gd name="T13" fmla="*/ 2147483647 h 6"/>
                    <a:gd name="T14" fmla="*/ 0 w 6"/>
                    <a:gd name="T15" fmla="*/ 2147483647 h 6"/>
                    <a:gd name="T16" fmla="*/ 0 w 6"/>
                    <a:gd name="T17" fmla="*/ 2147483647 h 6"/>
                    <a:gd name="T18" fmla="*/ 2147483647 w 6"/>
                    <a:gd name="T19" fmla="*/ 0 h 6"/>
                    <a:gd name="T20" fmla="*/ 2147483647 w 6"/>
                    <a:gd name="T21" fmla="*/ 0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6"/>
                    <a:gd name="T41" fmla="*/ 6 w 6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6" y="6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2" name="Freeform 581">
                  <a:extLst>
                    <a:ext uri="{FF2B5EF4-FFF2-40B4-BE49-F238E27FC236}">
                      <a16:creationId xmlns:a16="http://schemas.microsoft.com/office/drawing/2014/main" id="{66E56EC6-13F1-1640-95C8-81EAF64C3E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530" y="4519210"/>
                  <a:ext cx="10360" cy="7400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2147483647 h 5"/>
                    <a:gd name="T4" fmla="*/ 2147483647 w 7"/>
                    <a:gd name="T5" fmla="*/ 2147483647 h 5"/>
                    <a:gd name="T6" fmla="*/ 2147483647 w 7"/>
                    <a:gd name="T7" fmla="*/ 2147483647 h 5"/>
                    <a:gd name="T8" fmla="*/ 2147483647 w 7"/>
                    <a:gd name="T9" fmla="*/ 2147483647 h 5"/>
                    <a:gd name="T10" fmla="*/ 2147483647 w 7"/>
                    <a:gd name="T11" fmla="*/ 2147483647 h 5"/>
                    <a:gd name="T12" fmla="*/ 2147483647 w 7"/>
                    <a:gd name="T13" fmla="*/ 2147483647 h 5"/>
                    <a:gd name="T14" fmla="*/ 0 w 7"/>
                    <a:gd name="T15" fmla="*/ 2147483647 h 5"/>
                    <a:gd name="T16" fmla="*/ 2147483647 w 7"/>
                    <a:gd name="T17" fmla="*/ 0 h 5"/>
                    <a:gd name="T18" fmla="*/ 2147483647 w 7"/>
                    <a:gd name="T19" fmla="*/ 0 h 5"/>
                    <a:gd name="T20" fmla="*/ 2147483647 w 7"/>
                    <a:gd name="T21" fmla="*/ 0 h 5"/>
                    <a:gd name="T22" fmla="*/ 2147483647 w 7"/>
                    <a:gd name="T23" fmla="*/ 2147483647 h 5"/>
                    <a:gd name="T24" fmla="*/ 2147483647 w 7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"/>
                    <a:gd name="T40" fmla="*/ 0 h 5"/>
                    <a:gd name="T41" fmla="*/ 7 w 7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" h="5">
                      <a:moveTo>
                        <a:pt x="7" y="1"/>
                      </a:moveTo>
                      <a:lnTo>
                        <a:pt x="7" y="1"/>
                      </a:lnTo>
                      <a:lnTo>
                        <a:pt x="7" y="4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4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3" name="Freeform 582">
                  <a:extLst>
                    <a:ext uri="{FF2B5EF4-FFF2-40B4-BE49-F238E27FC236}">
                      <a16:creationId xmlns:a16="http://schemas.microsoft.com/office/drawing/2014/main" id="{D7A68A9E-353D-5C44-A55B-7235F6A19E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3366" y="4566569"/>
                  <a:ext cx="13318" cy="14799"/>
                </a:xfrm>
                <a:custGeom>
                  <a:avLst/>
                  <a:gdLst>
                    <a:gd name="T0" fmla="*/ 2147483647 w 10"/>
                    <a:gd name="T1" fmla="*/ 2147483647 h 10"/>
                    <a:gd name="T2" fmla="*/ 2147483647 w 10"/>
                    <a:gd name="T3" fmla="*/ 2147483647 h 10"/>
                    <a:gd name="T4" fmla="*/ 2147483647 w 10"/>
                    <a:gd name="T5" fmla="*/ 2147483647 h 10"/>
                    <a:gd name="T6" fmla="*/ 2147483647 w 10"/>
                    <a:gd name="T7" fmla="*/ 2147483647 h 10"/>
                    <a:gd name="T8" fmla="*/ 2147483647 w 10"/>
                    <a:gd name="T9" fmla="*/ 2147483647 h 10"/>
                    <a:gd name="T10" fmla="*/ 2147483647 w 10"/>
                    <a:gd name="T11" fmla="*/ 2147483647 h 10"/>
                    <a:gd name="T12" fmla="*/ 0 w 10"/>
                    <a:gd name="T13" fmla="*/ 2147483647 h 10"/>
                    <a:gd name="T14" fmla="*/ 0 w 10"/>
                    <a:gd name="T15" fmla="*/ 2147483647 h 10"/>
                    <a:gd name="T16" fmla="*/ 2147483647 w 10"/>
                    <a:gd name="T17" fmla="*/ 2147483647 h 10"/>
                    <a:gd name="T18" fmla="*/ 2147483647 w 10"/>
                    <a:gd name="T19" fmla="*/ 0 h 10"/>
                    <a:gd name="T20" fmla="*/ 2147483647 w 10"/>
                    <a:gd name="T21" fmla="*/ 0 h 10"/>
                    <a:gd name="T22" fmla="*/ 2147483647 w 10"/>
                    <a:gd name="T23" fmla="*/ 2147483647 h 10"/>
                    <a:gd name="T24" fmla="*/ 2147483647 w 10"/>
                    <a:gd name="T25" fmla="*/ 2147483647 h 10"/>
                    <a:gd name="T26" fmla="*/ 2147483647 w 10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"/>
                    <a:gd name="T43" fmla="*/ 0 h 10"/>
                    <a:gd name="T44" fmla="*/ 10 w 10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" h="10">
                      <a:moveTo>
                        <a:pt x="9" y="6"/>
                      </a:moveTo>
                      <a:lnTo>
                        <a:pt x="9" y="7"/>
                      </a:lnTo>
                      <a:lnTo>
                        <a:pt x="10" y="8"/>
                      </a:lnTo>
                      <a:lnTo>
                        <a:pt x="7" y="10"/>
                      </a:lnTo>
                      <a:lnTo>
                        <a:pt x="4" y="10"/>
                      </a:lnTo>
                      <a:lnTo>
                        <a:pt x="1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7" y="3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4" name="Freeform 583">
                  <a:extLst>
                    <a:ext uri="{FF2B5EF4-FFF2-40B4-BE49-F238E27FC236}">
                      <a16:creationId xmlns:a16="http://schemas.microsoft.com/office/drawing/2014/main" id="{3A56239C-47F6-4E47-B70F-8FD57A6A9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7273" y="5133360"/>
                  <a:ext cx="7399" cy="10359"/>
                </a:xfrm>
                <a:custGeom>
                  <a:avLst/>
                  <a:gdLst>
                    <a:gd name="T0" fmla="*/ 2147483647 w 5"/>
                    <a:gd name="T1" fmla="*/ 0 h 7"/>
                    <a:gd name="T2" fmla="*/ 2147483647 w 5"/>
                    <a:gd name="T3" fmla="*/ 2147483647 h 7"/>
                    <a:gd name="T4" fmla="*/ 2147483647 w 5"/>
                    <a:gd name="T5" fmla="*/ 2147483647 h 7"/>
                    <a:gd name="T6" fmla="*/ 2147483647 w 5"/>
                    <a:gd name="T7" fmla="*/ 2147483647 h 7"/>
                    <a:gd name="T8" fmla="*/ 2147483647 w 5"/>
                    <a:gd name="T9" fmla="*/ 2147483647 h 7"/>
                    <a:gd name="T10" fmla="*/ 2147483647 w 5"/>
                    <a:gd name="T11" fmla="*/ 2147483647 h 7"/>
                    <a:gd name="T12" fmla="*/ 2147483647 w 5"/>
                    <a:gd name="T13" fmla="*/ 2147483647 h 7"/>
                    <a:gd name="T14" fmla="*/ 0 w 5"/>
                    <a:gd name="T15" fmla="*/ 2147483647 h 7"/>
                    <a:gd name="T16" fmla="*/ 0 w 5"/>
                    <a:gd name="T17" fmla="*/ 0 h 7"/>
                    <a:gd name="T18" fmla="*/ 2147483647 w 5"/>
                    <a:gd name="T19" fmla="*/ 0 h 7"/>
                    <a:gd name="T20" fmla="*/ 2147483647 w 5"/>
                    <a:gd name="T21" fmla="*/ 0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7"/>
                    <a:gd name="T35" fmla="*/ 5 w 5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7">
                      <a:moveTo>
                        <a:pt x="4" y="0"/>
                      </a:move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5" name="Freeform 584">
                  <a:extLst>
                    <a:ext uri="{FF2B5EF4-FFF2-40B4-BE49-F238E27FC236}">
                      <a16:creationId xmlns:a16="http://schemas.microsoft.com/office/drawing/2014/main" id="{3BC8A427-20EF-654D-8703-699A126B2D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403" y="4565087"/>
                  <a:ext cx="14799" cy="13319"/>
                </a:xfrm>
                <a:custGeom>
                  <a:avLst/>
                  <a:gdLst>
                    <a:gd name="T0" fmla="*/ 2147483647 w 11"/>
                    <a:gd name="T1" fmla="*/ 2147483647 h 9"/>
                    <a:gd name="T2" fmla="*/ 2147483647 w 11"/>
                    <a:gd name="T3" fmla="*/ 2147483647 h 9"/>
                    <a:gd name="T4" fmla="*/ 2147483647 w 11"/>
                    <a:gd name="T5" fmla="*/ 2147483647 h 9"/>
                    <a:gd name="T6" fmla="*/ 2147483647 w 11"/>
                    <a:gd name="T7" fmla="*/ 2147483647 h 9"/>
                    <a:gd name="T8" fmla="*/ 2147483647 w 11"/>
                    <a:gd name="T9" fmla="*/ 2147483647 h 9"/>
                    <a:gd name="T10" fmla="*/ 2147483647 w 11"/>
                    <a:gd name="T11" fmla="*/ 2147483647 h 9"/>
                    <a:gd name="T12" fmla="*/ 2147483647 w 11"/>
                    <a:gd name="T13" fmla="*/ 2147483647 h 9"/>
                    <a:gd name="T14" fmla="*/ 2147483647 w 11"/>
                    <a:gd name="T15" fmla="*/ 2147483647 h 9"/>
                    <a:gd name="T16" fmla="*/ 0 w 11"/>
                    <a:gd name="T17" fmla="*/ 2147483647 h 9"/>
                    <a:gd name="T18" fmla="*/ 0 w 11"/>
                    <a:gd name="T19" fmla="*/ 2147483647 h 9"/>
                    <a:gd name="T20" fmla="*/ 0 w 11"/>
                    <a:gd name="T21" fmla="*/ 2147483647 h 9"/>
                    <a:gd name="T22" fmla="*/ 2147483647 w 11"/>
                    <a:gd name="T23" fmla="*/ 2147483647 h 9"/>
                    <a:gd name="T24" fmla="*/ 2147483647 w 11"/>
                    <a:gd name="T25" fmla="*/ 0 h 9"/>
                    <a:gd name="T26" fmla="*/ 2147483647 w 11"/>
                    <a:gd name="T27" fmla="*/ 0 h 9"/>
                    <a:gd name="T28" fmla="*/ 2147483647 w 11"/>
                    <a:gd name="T29" fmla="*/ 0 h 9"/>
                    <a:gd name="T30" fmla="*/ 2147483647 w 11"/>
                    <a:gd name="T31" fmla="*/ 2147483647 h 9"/>
                    <a:gd name="T32" fmla="*/ 2147483647 w 11"/>
                    <a:gd name="T33" fmla="*/ 2147483647 h 9"/>
                    <a:gd name="T34" fmla="*/ 2147483647 w 11"/>
                    <a:gd name="T35" fmla="*/ 2147483647 h 9"/>
                    <a:gd name="T36" fmla="*/ 2147483647 w 11"/>
                    <a:gd name="T37" fmla="*/ 2147483647 h 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1"/>
                    <a:gd name="T58" fmla="*/ 0 h 9"/>
                    <a:gd name="T59" fmla="*/ 11 w 11"/>
                    <a:gd name="T60" fmla="*/ 9 h 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1" h="9">
                      <a:moveTo>
                        <a:pt x="9" y="6"/>
                      </a:move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11" y="8"/>
                      </a:lnTo>
                      <a:lnTo>
                        <a:pt x="8" y="9"/>
                      </a:lnTo>
                      <a:lnTo>
                        <a:pt x="4" y="9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8" y="2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6" name="Freeform 585">
                  <a:extLst>
                    <a:ext uri="{FF2B5EF4-FFF2-40B4-BE49-F238E27FC236}">
                      <a16:creationId xmlns:a16="http://schemas.microsoft.com/office/drawing/2014/main" id="{4B1C3F0E-0B0E-9B45-9DE8-6D6394DFE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4311" y="5131880"/>
                  <a:ext cx="8879" cy="10360"/>
                </a:xfrm>
                <a:custGeom>
                  <a:avLst/>
                  <a:gdLst>
                    <a:gd name="T0" fmla="*/ 2147483647 w 6"/>
                    <a:gd name="T1" fmla="*/ 0 h 7"/>
                    <a:gd name="T2" fmla="*/ 2147483647 w 6"/>
                    <a:gd name="T3" fmla="*/ 0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0 w 6"/>
                    <a:gd name="T21" fmla="*/ 2147483647 h 7"/>
                    <a:gd name="T22" fmla="*/ 0 w 6"/>
                    <a:gd name="T23" fmla="*/ 0 h 7"/>
                    <a:gd name="T24" fmla="*/ 0 w 6"/>
                    <a:gd name="T25" fmla="*/ 0 h 7"/>
                    <a:gd name="T26" fmla="*/ 2147483647 w 6"/>
                    <a:gd name="T27" fmla="*/ 0 h 7"/>
                    <a:gd name="T28" fmla="*/ 2147483647 w 6"/>
                    <a:gd name="T29" fmla="*/ 0 h 7"/>
                    <a:gd name="T30" fmla="*/ 2147483647 w 6"/>
                    <a:gd name="T31" fmla="*/ 0 h 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7"/>
                    <a:gd name="T50" fmla="*/ 6 w 6"/>
                    <a:gd name="T51" fmla="*/ 7 h 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7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7" name="Freeform 586">
                  <a:extLst>
                    <a:ext uri="{FF2B5EF4-FFF2-40B4-BE49-F238E27FC236}">
                      <a16:creationId xmlns:a16="http://schemas.microsoft.com/office/drawing/2014/main" id="{7BCE57C9-5352-B941-88D0-07DC59151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460" y="5068246"/>
                  <a:ext cx="17758" cy="13319"/>
                </a:xfrm>
                <a:custGeom>
                  <a:avLst/>
                  <a:gdLst>
                    <a:gd name="T0" fmla="*/ 2147483647 w 14"/>
                    <a:gd name="T1" fmla="*/ 2147483647 h 9"/>
                    <a:gd name="T2" fmla="*/ 2147483647 w 14"/>
                    <a:gd name="T3" fmla="*/ 2147483647 h 9"/>
                    <a:gd name="T4" fmla="*/ 0 w 14"/>
                    <a:gd name="T5" fmla="*/ 2147483647 h 9"/>
                    <a:gd name="T6" fmla="*/ 2147483647 w 14"/>
                    <a:gd name="T7" fmla="*/ 0 h 9"/>
                    <a:gd name="T8" fmla="*/ 2147483647 w 14"/>
                    <a:gd name="T9" fmla="*/ 2147483647 h 9"/>
                    <a:gd name="T10" fmla="*/ 2147483647 w 14"/>
                    <a:gd name="T11" fmla="*/ 2147483647 h 9"/>
                    <a:gd name="T12" fmla="*/ 2147483647 w 14"/>
                    <a:gd name="T13" fmla="*/ 2147483647 h 9"/>
                    <a:gd name="T14" fmla="*/ 2147483647 w 14"/>
                    <a:gd name="T15" fmla="*/ 2147483647 h 9"/>
                    <a:gd name="T16" fmla="*/ 2147483647 w 14"/>
                    <a:gd name="T17" fmla="*/ 2147483647 h 9"/>
                    <a:gd name="T18" fmla="*/ 2147483647 w 14"/>
                    <a:gd name="T19" fmla="*/ 2147483647 h 9"/>
                    <a:gd name="T20" fmla="*/ 2147483647 w 14"/>
                    <a:gd name="T21" fmla="*/ 2147483647 h 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4"/>
                    <a:gd name="T34" fmla="*/ 0 h 9"/>
                    <a:gd name="T35" fmla="*/ 14 w 14"/>
                    <a:gd name="T36" fmla="*/ 9 h 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4" h="9">
                      <a:moveTo>
                        <a:pt x="6" y="6"/>
                      </a:moveTo>
                      <a:lnTo>
                        <a:pt x="2" y="4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7" y="1"/>
                      </a:lnTo>
                      <a:lnTo>
                        <a:pt x="14" y="6"/>
                      </a:lnTo>
                      <a:lnTo>
                        <a:pt x="14" y="7"/>
                      </a:lnTo>
                      <a:lnTo>
                        <a:pt x="14" y="9"/>
                      </a:lnTo>
                      <a:lnTo>
                        <a:pt x="11" y="9"/>
                      </a:lnTo>
                      <a:lnTo>
                        <a:pt x="10" y="7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8" name="Freeform 587">
                  <a:extLst>
                    <a:ext uri="{FF2B5EF4-FFF2-40B4-BE49-F238E27FC236}">
                      <a16:creationId xmlns:a16="http://schemas.microsoft.com/office/drawing/2014/main" id="{DC1EE2C9-C2DA-9C49-8EC3-E62E0D2E01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8532" y="5105243"/>
                  <a:ext cx="17758" cy="16279"/>
                </a:xfrm>
                <a:custGeom>
                  <a:avLst/>
                  <a:gdLst>
                    <a:gd name="T0" fmla="*/ 2147483647 w 13"/>
                    <a:gd name="T1" fmla="*/ 2147483647 h 11"/>
                    <a:gd name="T2" fmla="*/ 0 w 13"/>
                    <a:gd name="T3" fmla="*/ 2147483647 h 11"/>
                    <a:gd name="T4" fmla="*/ 0 w 13"/>
                    <a:gd name="T5" fmla="*/ 2147483647 h 11"/>
                    <a:gd name="T6" fmla="*/ 2147483647 w 13"/>
                    <a:gd name="T7" fmla="*/ 0 h 11"/>
                    <a:gd name="T8" fmla="*/ 2147483647 w 13"/>
                    <a:gd name="T9" fmla="*/ 0 h 11"/>
                    <a:gd name="T10" fmla="*/ 2147483647 w 13"/>
                    <a:gd name="T11" fmla="*/ 0 h 11"/>
                    <a:gd name="T12" fmla="*/ 2147483647 w 13"/>
                    <a:gd name="T13" fmla="*/ 2147483647 h 11"/>
                    <a:gd name="T14" fmla="*/ 2147483647 w 13"/>
                    <a:gd name="T15" fmla="*/ 2147483647 h 11"/>
                    <a:gd name="T16" fmla="*/ 2147483647 w 13"/>
                    <a:gd name="T17" fmla="*/ 2147483647 h 11"/>
                    <a:gd name="T18" fmla="*/ 2147483647 w 13"/>
                    <a:gd name="T19" fmla="*/ 2147483647 h 11"/>
                    <a:gd name="T20" fmla="*/ 2147483647 w 13"/>
                    <a:gd name="T21" fmla="*/ 2147483647 h 11"/>
                    <a:gd name="T22" fmla="*/ 2147483647 w 13"/>
                    <a:gd name="T23" fmla="*/ 2147483647 h 11"/>
                    <a:gd name="T24" fmla="*/ 2147483647 w 13"/>
                    <a:gd name="T25" fmla="*/ 2147483647 h 11"/>
                    <a:gd name="T26" fmla="*/ 2147483647 w 13"/>
                    <a:gd name="T27" fmla="*/ 2147483647 h 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11"/>
                    <a:gd name="T44" fmla="*/ 13 w 13"/>
                    <a:gd name="T45" fmla="*/ 11 h 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11">
                      <a:moveTo>
                        <a:pt x="5" y="7"/>
                      </a:move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10" y="5"/>
                      </a:lnTo>
                      <a:lnTo>
                        <a:pt x="11" y="8"/>
                      </a:lnTo>
                      <a:lnTo>
                        <a:pt x="13" y="10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8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9" name="Freeform 588">
                  <a:extLst>
                    <a:ext uri="{FF2B5EF4-FFF2-40B4-BE49-F238E27FC236}">
                      <a16:creationId xmlns:a16="http://schemas.microsoft.com/office/drawing/2014/main" id="{B10EE1E8-8FBF-E041-9A94-49D51D918D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0500" y="5066762"/>
                  <a:ext cx="19239" cy="11839"/>
                </a:xfrm>
                <a:custGeom>
                  <a:avLst/>
                  <a:gdLst>
                    <a:gd name="T0" fmla="*/ 2147483647 w 14"/>
                    <a:gd name="T1" fmla="*/ 2147483647 h 8"/>
                    <a:gd name="T2" fmla="*/ 2147483647 w 14"/>
                    <a:gd name="T3" fmla="*/ 2147483647 h 8"/>
                    <a:gd name="T4" fmla="*/ 2147483647 w 14"/>
                    <a:gd name="T5" fmla="*/ 2147483647 h 8"/>
                    <a:gd name="T6" fmla="*/ 0 w 14"/>
                    <a:gd name="T7" fmla="*/ 2147483647 h 8"/>
                    <a:gd name="T8" fmla="*/ 0 w 14"/>
                    <a:gd name="T9" fmla="*/ 2147483647 h 8"/>
                    <a:gd name="T10" fmla="*/ 2147483647 w 14"/>
                    <a:gd name="T11" fmla="*/ 0 h 8"/>
                    <a:gd name="T12" fmla="*/ 2147483647 w 14"/>
                    <a:gd name="T13" fmla="*/ 2147483647 h 8"/>
                    <a:gd name="T14" fmla="*/ 2147483647 w 14"/>
                    <a:gd name="T15" fmla="*/ 2147483647 h 8"/>
                    <a:gd name="T16" fmla="*/ 2147483647 w 14"/>
                    <a:gd name="T17" fmla="*/ 2147483647 h 8"/>
                    <a:gd name="T18" fmla="*/ 2147483647 w 14"/>
                    <a:gd name="T19" fmla="*/ 2147483647 h 8"/>
                    <a:gd name="T20" fmla="*/ 2147483647 w 14"/>
                    <a:gd name="T21" fmla="*/ 2147483647 h 8"/>
                    <a:gd name="T22" fmla="*/ 2147483647 w 14"/>
                    <a:gd name="T23" fmla="*/ 2147483647 h 8"/>
                    <a:gd name="T24" fmla="*/ 2147483647 w 14"/>
                    <a:gd name="T25" fmla="*/ 2147483647 h 8"/>
                    <a:gd name="T26" fmla="*/ 2147483647 w 14"/>
                    <a:gd name="T27" fmla="*/ 2147483647 h 8"/>
                    <a:gd name="T28" fmla="*/ 2147483647 w 14"/>
                    <a:gd name="T29" fmla="*/ 2147483647 h 8"/>
                    <a:gd name="T30" fmla="*/ 2147483647 w 14"/>
                    <a:gd name="T31" fmla="*/ 2147483647 h 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"/>
                    <a:gd name="T49" fmla="*/ 0 h 8"/>
                    <a:gd name="T50" fmla="*/ 14 w 14"/>
                    <a:gd name="T51" fmla="*/ 8 h 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" h="8">
                      <a:moveTo>
                        <a:pt x="7" y="6"/>
                      </a:moveTo>
                      <a:lnTo>
                        <a:pt x="7" y="6"/>
                      </a:lnTo>
                      <a:lnTo>
                        <a:pt x="3" y="4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8" y="1"/>
                      </a:lnTo>
                      <a:lnTo>
                        <a:pt x="14" y="6"/>
                      </a:lnTo>
                      <a:lnTo>
                        <a:pt x="14" y="7"/>
                      </a:lnTo>
                      <a:lnTo>
                        <a:pt x="14" y="8"/>
                      </a:lnTo>
                      <a:lnTo>
                        <a:pt x="12" y="8"/>
                      </a:lnTo>
                      <a:lnTo>
                        <a:pt x="10" y="7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0" name="Freeform 589">
                  <a:extLst>
                    <a:ext uri="{FF2B5EF4-FFF2-40B4-BE49-F238E27FC236}">
                      <a16:creationId xmlns:a16="http://schemas.microsoft.com/office/drawing/2014/main" id="{CB8D8D60-037B-694E-805F-AE39E4082C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7054" y="5103760"/>
                  <a:ext cx="16279" cy="16278"/>
                </a:xfrm>
                <a:custGeom>
                  <a:avLst/>
                  <a:gdLst>
                    <a:gd name="T0" fmla="*/ 2147483647 w 12"/>
                    <a:gd name="T1" fmla="*/ 2147483647 h 11"/>
                    <a:gd name="T2" fmla="*/ 2147483647 w 12"/>
                    <a:gd name="T3" fmla="*/ 2147483647 h 11"/>
                    <a:gd name="T4" fmla="*/ 0 w 12"/>
                    <a:gd name="T5" fmla="*/ 2147483647 h 11"/>
                    <a:gd name="T6" fmla="*/ 0 w 12"/>
                    <a:gd name="T7" fmla="*/ 2147483647 h 11"/>
                    <a:gd name="T8" fmla="*/ 2147483647 w 12"/>
                    <a:gd name="T9" fmla="*/ 0 h 11"/>
                    <a:gd name="T10" fmla="*/ 2147483647 w 12"/>
                    <a:gd name="T11" fmla="*/ 0 h 11"/>
                    <a:gd name="T12" fmla="*/ 2147483647 w 12"/>
                    <a:gd name="T13" fmla="*/ 0 h 11"/>
                    <a:gd name="T14" fmla="*/ 2147483647 w 12"/>
                    <a:gd name="T15" fmla="*/ 0 h 11"/>
                    <a:gd name="T16" fmla="*/ 2147483647 w 12"/>
                    <a:gd name="T17" fmla="*/ 2147483647 h 11"/>
                    <a:gd name="T18" fmla="*/ 2147483647 w 12"/>
                    <a:gd name="T19" fmla="*/ 2147483647 h 11"/>
                    <a:gd name="T20" fmla="*/ 2147483647 w 12"/>
                    <a:gd name="T21" fmla="*/ 2147483647 h 11"/>
                    <a:gd name="T22" fmla="*/ 2147483647 w 12"/>
                    <a:gd name="T23" fmla="*/ 2147483647 h 11"/>
                    <a:gd name="T24" fmla="*/ 2147483647 w 12"/>
                    <a:gd name="T25" fmla="*/ 2147483647 h 11"/>
                    <a:gd name="T26" fmla="*/ 2147483647 w 12"/>
                    <a:gd name="T27" fmla="*/ 2147483647 h 11"/>
                    <a:gd name="T28" fmla="*/ 2147483647 w 12"/>
                    <a:gd name="T29" fmla="*/ 2147483647 h 11"/>
                    <a:gd name="T30" fmla="*/ 2147483647 w 12"/>
                    <a:gd name="T31" fmla="*/ 2147483647 h 11"/>
                    <a:gd name="T32" fmla="*/ 2147483647 w 12"/>
                    <a:gd name="T33" fmla="*/ 2147483647 h 11"/>
                    <a:gd name="T34" fmla="*/ 2147483647 w 12"/>
                    <a:gd name="T35" fmla="*/ 2147483647 h 11"/>
                    <a:gd name="T36" fmla="*/ 2147483647 w 12"/>
                    <a:gd name="T37" fmla="*/ 2147483647 h 11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2"/>
                    <a:gd name="T58" fmla="*/ 0 h 11"/>
                    <a:gd name="T59" fmla="*/ 12 w 12"/>
                    <a:gd name="T60" fmla="*/ 11 h 11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2" h="11">
                      <a:moveTo>
                        <a:pt x="5" y="7"/>
                      </a:moveTo>
                      <a:lnTo>
                        <a:pt x="5" y="7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10" y="5"/>
                      </a:lnTo>
                      <a:lnTo>
                        <a:pt x="11" y="8"/>
                      </a:lnTo>
                      <a:lnTo>
                        <a:pt x="12" y="9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7" y="8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1" name="Freeform 590">
                  <a:extLst>
                    <a:ext uri="{FF2B5EF4-FFF2-40B4-BE49-F238E27FC236}">
                      <a16:creationId xmlns:a16="http://schemas.microsoft.com/office/drawing/2014/main" id="{36B1A9F3-2E9B-4E44-B492-6602D32FE8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287" y="5142240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2147483647 w 6"/>
                    <a:gd name="T13" fmla="*/ 0 h 6"/>
                    <a:gd name="T14" fmla="*/ 2147483647 w 6"/>
                    <a:gd name="T15" fmla="*/ 0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6" y="4"/>
                      </a:move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2" name="Freeform 591">
                  <a:extLst>
                    <a:ext uri="{FF2B5EF4-FFF2-40B4-BE49-F238E27FC236}">
                      <a16:creationId xmlns:a16="http://schemas.microsoft.com/office/drawing/2014/main" id="{9D785E55-0EC2-944B-8188-3C6A73F0A5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57" y="5112642"/>
                  <a:ext cx="11839" cy="10359"/>
                </a:xfrm>
                <a:custGeom>
                  <a:avLst/>
                  <a:gdLst>
                    <a:gd name="T0" fmla="*/ 2147483647 w 9"/>
                    <a:gd name="T1" fmla="*/ 2147483647 h 7"/>
                    <a:gd name="T2" fmla="*/ 0 w 9"/>
                    <a:gd name="T3" fmla="*/ 2147483647 h 7"/>
                    <a:gd name="T4" fmla="*/ 0 w 9"/>
                    <a:gd name="T5" fmla="*/ 0 h 7"/>
                    <a:gd name="T6" fmla="*/ 2147483647 w 9"/>
                    <a:gd name="T7" fmla="*/ 0 h 7"/>
                    <a:gd name="T8" fmla="*/ 2147483647 w 9"/>
                    <a:gd name="T9" fmla="*/ 0 h 7"/>
                    <a:gd name="T10" fmla="*/ 2147483647 w 9"/>
                    <a:gd name="T11" fmla="*/ 2147483647 h 7"/>
                    <a:gd name="T12" fmla="*/ 2147483647 w 9"/>
                    <a:gd name="T13" fmla="*/ 2147483647 h 7"/>
                    <a:gd name="T14" fmla="*/ 2147483647 w 9"/>
                    <a:gd name="T15" fmla="*/ 2147483647 h 7"/>
                    <a:gd name="T16" fmla="*/ 2147483647 w 9"/>
                    <a:gd name="T17" fmla="*/ 2147483647 h 7"/>
                    <a:gd name="T18" fmla="*/ 2147483647 w 9"/>
                    <a:gd name="T19" fmla="*/ 2147483647 h 7"/>
                    <a:gd name="T20" fmla="*/ 2147483647 w 9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7"/>
                    <a:gd name="T35" fmla="*/ 9 w 9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7">
                      <a:moveTo>
                        <a:pt x="1" y="3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7" y="3"/>
                      </a:lnTo>
                      <a:lnTo>
                        <a:pt x="9" y="6"/>
                      </a:lnTo>
                      <a:lnTo>
                        <a:pt x="7" y="6"/>
                      </a:lnTo>
                      <a:lnTo>
                        <a:pt x="5" y="7"/>
                      </a:lnTo>
                      <a:lnTo>
                        <a:pt x="3" y="6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3" name="Freeform 592">
                  <a:extLst>
                    <a:ext uri="{FF2B5EF4-FFF2-40B4-BE49-F238E27FC236}">
                      <a16:creationId xmlns:a16="http://schemas.microsoft.com/office/drawing/2014/main" id="{4BFEBBB1-FE08-2046-98E4-7AB1B8EE8F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1810" y="5140760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0 w 7"/>
                    <a:gd name="T11" fmla="*/ 2147483647 h 6"/>
                    <a:gd name="T12" fmla="*/ 0 w 7"/>
                    <a:gd name="T13" fmla="*/ 2147483647 h 6"/>
                    <a:gd name="T14" fmla="*/ 0 w 7"/>
                    <a:gd name="T15" fmla="*/ 2147483647 h 6"/>
                    <a:gd name="T16" fmla="*/ 2147483647 w 7"/>
                    <a:gd name="T17" fmla="*/ 0 h 6"/>
                    <a:gd name="T18" fmla="*/ 2147483647 w 7"/>
                    <a:gd name="T19" fmla="*/ 0 h 6"/>
                    <a:gd name="T20" fmla="*/ 2147483647 w 7"/>
                    <a:gd name="T21" fmla="*/ 0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2147483647 w 7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"/>
                    <a:gd name="T43" fmla="*/ 0 h 6"/>
                    <a:gd name="T44" fmla="*/ 7 w 7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4" name="Freeform 593">
                  <a:extLst>
                    <a:ext uri="{FF2B5EF4-FFF2-40B4-BE49-F238E27FC236}">
                      <a16:creationId xmlns:a16="http://schemas.microsoft.com/office/drawing/2014/main" id="{E0D2790E-4AFE-8A44-AE68-4E9AECD691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2296" y="5111158"/>
                  <a:ext cx="11839" cy="10360"/>
                </a:xfrm>
                <a:custGeom>
                  <a:avLst/>
                  <a:gdLst>
                    <a:gd name="T0" fmla="*/ 2147483647 w 9"/>
                    <a:gd name="T1" fmla="*/ 2147483647 h 7"/>
                    <a:gd name="T2" fmla="*/ 2147483647 w 9"/>
                    <a:gd name="T3" fmla="*/ 2147483647 h 7"/>
                    <a:gd name="T4" fmla="*/ 0 w 9"/>
                    <a:gd name="T5" fmla="*/ 2147483647 h 7"/>
                    <a:gd name="T6" fmla="*/ 0 w 9"/>
                    <a:gd name="T7" fmla="*/ 0 h 7"/>
                    <a:gd name="T8" fmla="*/ 0 w 9"/>
                    <a:gd name="T9" fmla="*/ 0 h 7"/>
                    <a:gd name="T10" fmla="*/ 0 w 9"/>
                    <a:gd name="T11" fmla="*/ 0 h 7"/>
                    <a:gd name="T12" fmla="*/ 2147483647 w 9"/>
                    <a:gd name="T13" fmla="*/ 0 h 7"/>
                    <a:gd name="T14" fmla="*/ 2147483647 w 9"/>
                    <a:gd name="T15" fmla="*/ 0 h 7"/>
                    <a:gd name="T16" fmla="*/ 2147483647 w 9"/>
                    <a:gd name="T17" fmla="*/ 2147483647 h 7"/>
                    <a:gd name="T18" fmla="*/ 2147483647 w 9"/>
                    <a:gd name="T19" fmla="*/ 2147483647 h 7"/>
                    <a:gd name="T20" fmla="*/ 2147483647 w 9"/>
                    <a:gd name="T21" fmla="*/ 2147483647 h 7"/>
                    <a:gd name="T22" fmla="*/ 2147483647 w 9"/>
                    <a:gd name="T23" fmla="*/ 2147483647 h 7"/>
                    <a:gd name="T24" fmla="*/ 2147483647 w 9"/>
                    <a:gd name="T25" fmla="*/ 2147483647 h 7"/>
                    <a:gd name="T26" fmla="*/ 2147483647 w 9"/>
                    <a:gd name="T27" fmla="*/ 2147483647 h 7"/>
                    <a:gd name="T28" fmla="*/ 2147483647 w 9"/>
                    <a:gd name="T29" fmla="*/ 2147483647 h 7"/>
                    <a:gd name="T30" fmla="*/ 2147483647 w 9"/>
                    <a:gd name="T31" fmla="*/ 2147483647 h 7"/>
                    <a:gd name="T32" fmla="*/ 2147483647 w 9"/>
                    <a:gd name="T33" fmla="*/ 2147483647 h 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9"/>
                    <a:gd name="T52" fmla="*/ 0 h 7"/>
                    <a:gd name="T53" fmla="*/ 9 w 9"/>
                    <a:gd name="T54" fmla="*/ 7 h 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9" h="7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8" y="3"/>
                      </a:lnTo>
                      <a:lnTo>
                        <a:pt x="9" y="6"/>
                      </a:lnTo>
                      <a:lnTo>
                        <a:pt x="8" y="6"/>
                      </a:lnTo>
                      <a:lnTo>
                        <a:pt x="5" y="7"/>
                      </a:lnTo>
                      <a:lnTo>
                        <a:pt x="4" y="6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5" name="Freeform 594">
                  <a:extLst>
                    <a:ext uri="{FF2B5EF4-FFF2-40B4-BE49-F238E27FC236}">
                      <a16:creationId xmlns:a16="http://schemas.microsoft.com/office/drawing/2014/main" id="{AEC948A7-601C-014E-9EE6-EFAA456D42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7586" y="5151115"/>
                  <a:ext cx="887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0 w 6"/>
                    <a:gd name="T3" fmla="*/ 2147483647 h 7"/>
                    <a:gd name="T4" fmla="*/ 0 w 6"/>
                    <a:gd name="T5" fmla="*/ 2147483647 h 7"/>
                    <a:gd name="T6" fmla="*/ 2147483647 w 6"/>
                    <a:gd name="T7" fmla="*/ 0 h 7"/>
                    <a:gd name="T8" fmla="*/ 2147483647 w 6"/>
                    <a:gd name="T9" fmla="*/ 0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7"/>
                    <a:gd name="T38" fmla="*/ 6 w 6"/>
                    <a:gd name="T39" fmla="*/ 7 h 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7">
                      <a:moveTo>
                        <a:pt x="1" y="6"/>
                      </a:move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6" name="Freeform 595">
                  <a:extLst>
                    <a:ext uri="{FF2B5EF4-FFF2-40B4-BE49-F238E27FC236}">
                      <a16:creationId xmlns:a16="http://schemas.microsoft.com/office/drawing/2014/main" id="{C69D3C8E-DC26-5040-8857-06119B93D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0590" y="5128917"/>
                  <a:ext cx="2960" cy="5919"/>
                </a:xfrm>
                <a:custGeom>
                  <a:avLst/>
                  <a:gdLst>
                    <a:gd name="T0" fmla="*/ 2147483647 w 2"/>
                    <a:gd name="T1" fmla="*/ 2147483647 h 4"/>
                    <a:gd name="T2" fmla="*/ 2147483647 w 2"/>
                    <a:gd name="T3" fmla="*/ 0 h 4"/>
                    <a:gd name="T4" fmla="*/ 2147483647 w 2"/>
                    <a:gd name="T5" fmla="*/ 0 h 4"/>
                    <a:gd name="T6" fmla="*/ 0 w 2"/>
                    <a:gd name="T7" fmla="*/ 0 h 4"/>
                    <a:gd name="T8" fmla="*/ 0 w 2"/>
                    <a:gd name="T9" fmla="*/ 2147483647 h 4"/>
                    <a:gd name="T10" fmla="*/ 0 w 2"/>
                    <a:gd name="T11" fmla="*/ 2147483647 h 4"/>
                    <a:gd name="T12" fmla="*/ 2147483647 w 2"/>
                    <a:gd name="T13" fmla="*/ 2147483647 h 4"/>
                    <a:gd name="T14" fmla="*/ 2147483647 w 2"/>
                    <a:gd name="T15" fmla="*/ 2147483647 h 4"/>
                    <a:gd name="T16" fmla="*/ 2147483647 w 2"/>
                    <a:gd name="T17" fmla="*/ 2147483647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"/>
                    <a:gd name="T28" fmla="*/ 0 h 4"/>
                    <a:gd name="T29" fmla="*/ 2 w 2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" h="4">
                      <a:moveTo>
                        <a:pt x="2" y="3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7" name="Freeform 596">
                  <a:extLst>
                    <a:ext uri="{FF2B5EF4-FFF2-40B4-BE49-F238E27FC236}">
                      <a16:creationId xmlns:a16="http://schemas.microsoft.com/office/drawing/2014/main" id="{F3E83DE1-29A7-9445-A537-8CDAB2FC8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4625" y="5149635"/>
                  <a:ext cx="10359" cy="10360"/>
                </a:xfrm>
                <a:custGeom>
                  <a:avLst/>
                  <a:gdLst>
                    <a:gd name="T0" fmla="*/ 2147483647 w 7"/>
                    <a:gd name="T1" fmla="*/ 2147483647 h 7"/>
                    <a:gd name="T2" fmla="*/ 2147483647 w 7"/>
                    <a:gd name="T3" fmla="*/ 2147483647 h 7"/>
                    <a:gd name="T4" fmla="*/ 0 w 7"/>
                    <a:gd name="T5" fmla="*/ 2147483647 h 7"/>
                    <a:gd name="T6" fmla="*/ 0 w 7"/>
                    <a:gd name="T7" fmla="*/ 2147483647 h 7"/>
                    <a:gd name="T8" fmla="*/ 0 w 7"/>
                    <a:gd name="T9" fmla="*/ 2147483647 h 7"/>
                    <a:gd name="T10" fmla="*/ 2147483647 w 7"/>
                    <a:gd name="T11" fmla="*/ 0 h 7"/>
                    <a:gd name="T12" fmla="*/ 2147483647 w 7"/>
                    <a:gd name="T13" fmla="*/ 0 h 7"/>
                    <a:gd name="T14" fmla="*/ 2147483647 w 7"/>
                    <a:gd name="T15" fmla="*/ 0 h 7"/>
                    <a:gd name="T16" fmla="*/ 2147483647 w 7"/>
                    <a:gd name="T17" fmla="*/ 2147483647 h 7"/>
                    <a:gd name="T18" fmla="*/ 2147483647 w 7"/>
                    <a:gd name="T19" fmla="*/ 2147483647 h 7"/>
                    <a:gd name="T20" fmla="*/ 2147483647 w 7"/>
                    <a:gd name="T21" fmla="*/ 2147483647 h 7"/>
                    <a:gd name="T22" fmla="*/ 2147483647 w 7"/>
                    <a:gd name="T23" fmla="*/ 2147483647 h 7"/>
                    <a:gd name="T24" fmla="*/ 2147483647 w 7"/>
                    <a:gd name="T25" fmla="*/ 2147483647 h 7"/>
                    <a:gd name="T26" fmla="*/ 2147483647 w 7"/>
                    <a:gd name="T27" fmla="*/ 2147483647 h 7"/>
                    <a:gd name="T28" fmla="*/ 2147483647 w 7"/>
                    <a:gd name="T29" fmla="*/ 2147483647 h 7"/>
                    <a:gd name="T30" fmla="*/ 2147483647 w 7"/>
                    <a:gd name="T31" fmla="*/ 2147483647 h 7"/>
                    <a:gd name="T32" fmla="*/ 2147483647 w 7"/>
                    <a:gd name="T33" fmla="*/ 2147483647 h 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"/>
                    <a:gd name="T52" fmla="*/ 0 h 7"/>
                    <a:gd name="T53" fmla="*/ 7 w 7"/>
                    <a:gd name="T54" fmla="*/ 7 h 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" h="7">
                      <a:moveTo>
                        <a:pt x="2" y="6"/>
                      </a:moveTo>
                      <a:lnTo>
                        <a:pt x="2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7" y="3"/>
                      </a:lnTo>
                      <a:lnTo>
                        <a:pt x="7" y="6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8" name="Freeform 597">
                  <a:extLst>
                    <a:ext uri="{FF2B5EF4-FFF2-40B4-BE49-F238E27FC236}">
                      <a16:creationId xmlns:a16="http://schemas.microsoft.com/office/drawing/2014/main" id="{C81806A3-4410-AA4B-B6A8-5FB60A4826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9112" y="5125957"/>
                  <a:ext cx="2960" cy="7400"/>
                </a:xfrm>
                <a:custGeom>
                  <a:avLst/>
                  <a:gdLst>
                    <a:gd name="T0" fmla="*/ 2147483647 w 2"/>
                    <a:gd name="T1" fmla="*/ 2147483647 h 5"/>
                    <a:gd name="T2" fmla="*/ 2147483647 w 2"/>
                    <a:gd name="T3" fmla="*/ 2147483647 h 5"/>
                    <a:gd name="T4" fmla="*/ 2147483647 w 2"/>
                    <a:gd name="T5" fmla="*/ 0 h 5"/>
                    <a:gd name="T6" fmla="*/ 2147483647 w 2"/>
                    <a:gd name="T7" fmla="*/ 0 h 5"/>
                    <a:gd name="T8" fmla="*/ 0 w 2"/>
                    <a:gd name="T9" fmla="*/ 0 h 5"/>
                    <a:gd name="T10" fmla="*/ 0 w 2"/>
                    <a:gd name="T11" fmla="*/ 0 h 5"/>
                    <a:gd name="T12" fmla="*/ 0 w 2"/>
                    <a:gd name="T13" fmla="*/ 0 h 5"/>
                    <a:gd name="T14" fmla="*/ 0 w 2"/>
                    <a:gd name="T15" fmla="*/ 2147483647 h 5"/>
                    <a:gd name="T16" fmla="*/ 0 w 2"/>
                    <a:gd name="T17" fmla="*/ 2147483647 h 5"/>
                    <a:gd name="T18" fmla="*/ 2147483647 w 2"/>
                    <a:gd name="T19" fmla="*/ 2147483647 h 5"/>
                    <a:gd name="T20" fmla="*/ 2147483647 w 2"/>
                    <a:gd name="T21" fmla="*/ 2147483647 h 5"/>
                    <a:gd name="T22" fmla="*/ 2147483647 w 2"/>
                    <a:gd name="T23" fmla="*/ 2147483647 h 5"/>
                    <a:gd name="T24" fmla="*/ 2147483647 w 2"/>
                    <a:gd name="T25" fmla="*/ 2147483647 h 5"/>
                    <a:gd name="T26" fmla="*/ 2147483647 w 2"/>
                    <a:gd name="T27" fmla="*/ 2147483647 h 5"/>
                    <a:gd name="T28" fmla="*/ 2147483647 w 2"/>
                    <a:gd name="T29" fmla="*/ 2147483647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"/>
                    <a:gd name="T46" fmla="*/ 0 h 5"/>
                    <a:gd name="T47" fmla="*/ 2 w 2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" h="5"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9" name="Freeform 598">
                  <a:extLst>
                    <a:ext uri="{FF2B5EF4-FFF2-40B4-BE49-F238E27FC236}">
                      <a16:creationId xmlns:a16="http://schemas.microsoft.com/office/drawing/2014/main" id="{128163D7-A4C2-E843-A583-0D9AC0D4DA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2070" y="5117082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0 h 6"/>
                    <a:gd name="T4" fmla="*/ 0 w 4"/>
                    <a:gd name="T5" fmla="*/ 2147483647 h 6"/>
                    <a:gd name="T6" fmla="*/ 0 w 4"/>
                    <a:gd name="T7" fmla="*/ 2147483647 h 6"/>
                    <a:gd name="T8" fmla="*/ 0 w 4"/>
                    <a:gd name="T9" fmla="*/ 2147483647 h 6"/>
                    <a:gd name="T10" fmla="*/ 2147483647 w 4"/>
                    <a:gd name="T11" fmla="*/ 2147483647 h 6"/>
                    <a:gd name="T12" fmla="*/ 2147483647 w 4"/>
                    <a:gd name="T13" fmla="*/ 2147483647 h 6"/>
                    <a:gd name="T14" fmla="*/ 2147483647 w 4"/>
                    <a:gd name="T15" fmla="*/ 2147483647 h 6"/>
                    <a:gd name="T16" fmla="*/ 2147483647 w 4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6"/>
                    <a:gd name="T29" fmla="*/ 4 w 4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6">
                      <a:moveTo>
                        <a:pt x="4" y="2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0" name="Freeform 599">
                  <a:extLst>
                    <a:ext uri="{FF2B5EF4-FFF2-40B4-BE49-F238E27FC236}">
                      <a16:creationId xmlns:a16="http://schemas.microsoft.com/office/drawing/2014/main" id="{9DBA1B48-AAA8-9645-997B-369ABBB088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5039" y="5244351"/>
                  <a:ext cx="1331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0 h 10"/>
                    <a:gd name="T8" fmla="*/ 2147483647 w 9"/>
                    <a:gd name="T9" fmla="*/ 2147483647 h 10"/>
                    <a:gd name="T10" fmla="*/ 0 w 9"/>
                    <a:gd name="T11" fmla="*/ 2147483647 h 10"/>
                    <a:gd name="T12" fmla="*/ 0 w 9"/>
                    <a:gd name="T13" fmla="*/ 2147483647 h 10"/>
                    <a:gd name="T14" fmla="*/ 2147483647 w 9"/>
                    <a:gd name="T15" fmla="*/ 2147483647 h 10"/>
                    <a:gd name="T16" fmla="*/ 2147483647 w 9"/>
                    <a:gd name="T17" fmla="*/ 2147483647 h 10"/>
                    <a:gd name="T18" fmla="*/ 2147483647 w 9"/>
                    <a:gd name="T19" fmla="*/ 2147483647 h 10"/>
                    <a:gd name="T20" fmla="*/ 2147483647 w 9"/>
                    <a:gd name="T21" fmla="*/ 2147483647 h 10"/>
                    <a:gd name="T22" fmla="*/ 2147483647 w 9"/>
                    <a:gd name="T23" fmla="*/ 2147483647 h 10"/>
                    <a:gd name="T24" fmla="*/ 2147483647 w 9"/>
                    <a:gd name="T25" fmla="*/ 2147483647 h 10"/>
                    <a:gd name="T26" fmla="*/ 2147483647 w 9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0"/>
                    <a:gd name="T44" fmla="*/ 9 w 9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0">
                      <a:moveTo>
                        <a:pt x="9" y="8"/>
                      </a:move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3" y="9"/>
                      </a:lnTo>
                      <a:lnTo>
                        <a:pt x="5" y="10"/>
                      </a:lnTo>
                      <a:lnTo>
                        <a:pt x="6" y="10"/>
                      </a:lnTo>
                      <a:lnTo>
                        <a:pt x="8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1" name="Freeform 600">
                  <a:extLst>
                    <a:ext uri="{FF2B5EF4-FFF2-40B4-BE49-F238E27FC236}">
                      <a16:creationId xmlns:a16="http://schemas.microsoft.com/office/drawing/2014/main" id="{7F06BD28-6919-4949-A5E7-49E6A64B5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0589" y="5115603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0 h 6"/>
                    <a:gd name="T6" fmla="*/ 0 w 4"/>
                    <a:gd name="T7" fmla="*/ 2147483647 h 6"/>
                    <a:gd name="T8" fmla="*/ 0 w 4"/>
                    <a:gd name="T9" fmla="*/ 2147483647 h 6"/>
                    <a:gd name="T10" fmla="*/ 0 w 4"/>
                    <a:gd name="T11" fmla="*/ 2147483647 h 6"/>
                    <a:gd name="T12" fmla="*/ 0 w 4"/>
                    <a:gd name="T13" fmla="*/ 2147483647 h 6"/>
                    <a:gd name="T14" fmla="*/ 2147483647 w 4"/>
                    <a:gd name="T15" fmla="*/ 2147483647 h 6"/>
                    <a:gd name="T16" fmla="*/ 2147483647 w 4"/>
                    <a:gd name="T17" fmla="*/ 2147483647 h 6"/>
                    <a:gd name="T18" fmla="*/ 2147483647 w 4"/>
                    <a:gd name="T19" fmla="*/ 2147483647 h 6"/>
                    <a:gd name="T20" fmla="*/ 2147483647 w 4"/>
                    <a:gd name="T21" fmla="*/ 2147483647 h 6"/>
                    <a:gd name="T22" fmla="*/ 2147483647 w 4"/>
                    <a:gd name="T23" fmla="*/ 2147483647 h 6"/>
                    <a:gd name="T24" fmla="*/ 2147483647 w 4"/>
                    <a:gd name="T25" fmla="*/ 2147483647 h 6"/>
                    <a:gd name="T26" fmla="*/ 2147483647 w 4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"/>
                    <a:gd name="T43" fmla="*/ 0 h 6"/>
                    <a:gd name="T44" fmla="*/ 4 w 4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" h="6">
                      <a:moveTo>
                        <a:pt x="4" y="1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2" name="Freeform 601">
                  <a:extLst>
                    <a:ext uri="{FF2B5EF4-FFF2-40B4-BE49-F238E27FC236}">
                      <a16:creationId xmlns:a16="http://schemas.microsoft.com/office/drawing/2014/main" id="{3E94DD77-C1D5-3A42-96DC-9974C2D25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3563" y="5242868"/>
                  <a:ext cx="13318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2147483647 h 10"/>
                    <a:gd name="T8" fmla="*/ 2147483647 w 9"/>
                    <a:gd name="T9" fmla="*/ 0 h 10"/>
                    <a:gd name="T10" fmla="*/ 2147483647 w 9"/>
                    <a:gd name="T11" fmla="*/ 0 h 10"/>
                    <a:gd name="T12" fmla="*/ 2147483647 w 9"/>
                    <a:gd name="T13" fmla="*/ 2147483647 h 10"/>
                    <a:gd name="T14" fmla="*/ 0 w 9"/>
                    <a:gd name="T15" fmla="*/ 2147483647 h 10"/>
                    <a:gd name="T16" fmla="*/ 0 w 9"/>
                    <a:gd name="T17" fmla="*/ 2147483647 h 10"/>
                    <a:gd name="T18" fmla="*/ 0 w 9"/>
                    <a:gd name="T19" fmla="*/ 2147483647 h 10"/>
                    <a:gd name="T20" fmla="*/ 2147483647 w 9"/>
                    <a:gd name="T21" fmla="*/ 2147483647 h 10"/>
                    <a:gd name="T22" fmla="*/ 2147483647 w 9"/>
                    <a:gd name="T23" fmla="*/ 2147483647 h 10"/>
                    <a:gd name="T24" fmla="*/ 2147483647 w 9"/>
                    <a:gd name="T25" fmla="*/ 2147483647 h 10"/>
                    <a:gd name="T26" fmla="*/ 2147483647 w 9"/>
                    <a:gd name="T27" fmla="*/ 2147483647 h 10"/>
                    <a:gd name="T28" fmla="*/ 2147483647 w 9"/>
                    <a:gd name="T29" fmla="*/ 2147483647 h 10"/>
                    <a:gd name="T30" fmla="*/ 2147483647 w 9"/>
                    <a:gd name="T31" fmla="*/ 2147483647 h 10"/>
                    <a:gd name="T32" fmla="*/ 2147483647 w 9"/>
                    <a:gd name="T33" fmla="*/ 2147483647 h 10"/>
                    <a:gd name="T34" fmla="*/ 2147483647 w 9"/>
                    <a:gd name="T35" fmla="*/ 2147483647 h 10"/>
                    <a:gd name="T36" fmla="*/ 2147483647 w 9"/>
                    <a:gd name="T37" fmla="*/ 2147483647 h 1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9"/>
                    <a:gd name="T58" fmla="*/ 0 h 10"/>
                    <a:gd name="T59" fmla="*/ 9 w 9"/>
                    <a:gd name="T60" fmla="*/ 10 h 1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9" h="10">
                      <a:moveTo>
                        <a:pt x="9" y="8"/>
                      </a:moveTo>
                      <a:lnTo>
                        <a:pt x="9" y="8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2" y="9"/>
                      </a:lnTo>
                      <a:lnTo>
                        <a:pt x="5" y="10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9" y="9"/>
                      </a:lnTo>
                      <a:lnTo>
                        <a:pt x="9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3" name="Freeform 856">
                  <a:extLst>
                    <a:ext uri="{FF2B5EF4-FFF2-40B4-BE49-F238E27FC236}">
                      <a16:creationId xmlns:a16="http://schemas.microsoft.com/office/drawing/2014/main" id="{15CB7EAD-A5B0-CB4C-9B9D-11973E71AE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8959" y="5519604"/>
                  <a:ext cx="130229" cy="153907"/>
                </a:xfrm>
                <a:custGeom>
                  <a:avLst/>
                  <a:gdLst>
                    <a:gd name="T0" fmla="*/ 0 w 95"/>
                    <a:gd name="T1" fmla="*/ 2147483647 h 104"/>
                    <a:gd name="T2" fmla="*/ 2147483647 w 95"/>
                    <a:gd name="T3" fmla="*/ 2147483647 h 104"/>
                    <a:gd name="T4" fmla="*/ 2147483647 w 95"/>
                    <a:gd name="T5" fmla="*/ 2147483647 h 104"/>
                    <a:gd name="T6" fmla="*/ 2147483647 w 95"/>
                    <a:gd name="T7" fmla="*/ 2147483647 h 104"/>
                    <a:gd name="T8" fmla="*/ 2147483647 w 95"/>
                    <a:gd name="T9" fmla="*/ 2147483647 h 104"/>
                    <a:gd name="T10" fmla="*/ 2147483647 w 95"/>
                    <a:gd name="T11" fmla="*/ 2147483647 h 104"/>
                    <a:gd name="T12" fmla="*/ 2147483647 w 95"/>
                    <a:gd name="T13" fmla="*/ 2147483647 h 104"/>
                    <a:gd name="T14" fmla="*/ 2147483647 w 95"/>
                    <a:gd name="T15" fmla="*/ 2147483647 h 104"/>
                    <a:gd name="T16" fmla="*/ 2147483647 w 95"/>
                    <a:gd name="T17" fmla="*/ 0 h 104"/>
                    <a:gd name="T18" fmla="*/ 2147483647 w 95"/>
                    <a:gd name="T19" fmla="*/ 2147483647 h 104"/>
                    <a:gd name="T20" fmla="*/ 2147483647 w 95"/>
                    <a:gd name="T21" fmla="*/ 2147483647 h 104"/>
                    <a:gd name="T22" fmla="*/ 2147483647 w 95"/>
                    <a:gd name="T23" fmla="*/ 2147483647 h 104"/>
                    <a:gd name="T24" fmla="*/ 2147483647 w 95"/>
                    <a:gd name="T25" fmla="*/ 2147483647 h 104"/>
                    <a:gd name="T26" fmla="*/ 2147483647 w 95"/>
                    <a:gd name="T27" fmla="*/ 2147483647 h 104"/>
                    <a:gd name="T28" fmla="*/ 2147483647 w 95"/>
                    <a:gd name="T29" fmla="*/ 2147483647 h 104"/>
                    <a:gd name="T30" fmla="*/ 2147483647 w 95"/>
                    <a:gd name="T31" fmla="*/ 2147483647 h 104"/>
                    <a:gd name="T32" fmla="*/ 2147483647 w 95"/>
                    <a:gd name="T33" fmla="*/ 2147483647 h 104"/>
                    <a:gd name="T34" fmla="*/ 2147483647 w 95"/>
                    <a:gd name="T35" fmla="*/ 2147483647 h 104"/>
                    <a:gd name="T36" fmla="*/ 2147483647 w 95"/>
                    <a:gd name="T37" fmla="*/ 2147483647 h 104"/>
                    <a:gd name="T38" fmla="*/ 2147483647 w 95"/>
                    <a:gd name="T39" fmla="*/ 2147483647 h 104"/>
                    <a:gd name="T40" fmla="*/ 2147483647 w 95"/>
                    <a:gd name="T41" fmla="*/ 2147483647 h 104"/>
                    <a:gd name="T42" fmla="*/ 2147483647 w 95"/>
                    <a:gd name="T43" fmla="*/ 2147483647 h 104"/>
                    <a:gd name="T44" fmla="*/ 2147483647 w 95"/>
                    <a:gd name="T45" fmla="*/ 2147483647 h 104"/>
                    <a:gd name="T46" fmla="*/ 2147483647 w 95"/>
                    <a:gd name="T47" fmla="*/ 2147483647 h 104"/>
                    <a:gd name="T48" fmla="*/ 2147483647 w 95"/>
                    <a:gd name="T49" fmla="*/ 2147483647 h 104"/>
                    <a:gd name="T50" fmla="*/ 2147483647 w 95"/>
                    <a:gd name="T51" fmla="*/ 2147483647 h 104"/>
                    <a:gd name="T52" fmla="*/ 2147483647 w 95"/>
                    <a:gd name="T53" fmla="*/ 2147483647 h 104"/>
                    <a:gd name="T54" fmla="*/ 2147483647 w 95"/>
                    <a:gd name="T55" fmla="*/ 2147483647 h 104"/>
                    <a:gd name="T56" fmla="*/ 2147483647 w 95"/>
                    <a:gd name="T57" fmla="*/ 2147483647 h 104"/>
                    <a:gd name="T58" fmla="*/ 2147483647 w 95"/>
                    <a:gd name="T59" fmla="*/ 2147483647 h 104"/>
                    <a:gd name="T60" fmla="*/ 2147483647 w 95"/>
                    <a:gd name="T61" fmla="*/ 2147483647 h 104"/>
                    <a:gd name="T62" fmla="*/ 2147483647 w 95"/>
                    <a:gd name="T63" fmla="*/ 2147483647 h 104"/>
                    <a:gd name="T64" fmla="*/ 2147483647 w 95"/>
                    <a:gd name="T65" fmla="*/ 2147483647 h 104"/>
                    <a:gd name="T66" fmla="*/ 2147483647 w 95"/>
                    <a:gd name="T67" fmla="*/ 2147483647 h 104"/>
                    <a:gd name="T68" fmla="*/ 2147483647 w 95"/>
                    <a:gd name="T69" fmla="*/ 2147483647 h 104"/>
                    <a:gd name="T70" fmla="*/ 2147483647 w 95"/>
                    <a:gd name="T71" fmla="*/ 2147483647 h 104"/>
                    <a:gd name="T72" fmla="*/ 2147483647 w 95"/>
                    <a:gd name="T73" fmla="*/ 2147483647 h 104"/>
                    <a:gd name="T74" fmla="*/ 0 w 95"/>
                    <a:gd name="T75" fmla="*/ 2147483647 h 104"/>
                    <a:gd name="T76" fmla="*/ 0 w 95"/>
                    <a:gd name="T77" fmla="*/ 2147483647 h 10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5"/>
                    <a:gd name="T118" fmla="*/ 0 h 104"/>
                    <a:gd name="T119" fmla="*/ 95 w 95"/>
                    <a:gd name="T120" fmla="*/ 104 h 10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5" h="104">
                      <a:moveTo>
                        <a:pt x="0" y="62"/>
                      </a:moveTo>
                      <a:lnTo>
                        <a:pt x="2" y="56"/>
                      </a:lnTo>
                      <a:lnTo>
                        <a:pt x="4" y="53"/>
                      </a:lnTo>
                      <a:lnTo>
                        <a:pt x="5" y="51"/>
                      </a:lnTo>
                      <a:lnTo>
                        <a:pt x="5" y="31"/>
                      </a:lnTo>
                      <a:lnTo>
                        <a:pt x="5" y="21"/>
                      </a:lnTo>
                      <a:lnTo>
                        <a:pt x="7" y="12"/>
                      </a:lnTo>
                      <a:lnTo>
                        <a:pt x="11" y="6"/>
                      </a:lnTo>
                      <a:lnTo>
                        <a:pt x="14" y="0"/>
                      </a:lnTo>
                      <a:lnTo>
                        <a:pt x="16" y="1"/>
                      </a:lnTo>
                      <a:lnTo>
                        <a:pt x="18" y="2"/>
                      </a:lnTo>
                      <a:lnTo>
                        <a:pt x="23" y="2"/>
                      </a:lnTo>
                      <a:lnTo>
                        <a:pt x="26" y="2"/>
                      </a:lnTo>
                      <a:lnTo>
                        <a:pt x="28" y="4"/>
                      </a:lnTo>
                      <a:lnTo>
                        <a:pt x="37" y="13"/>
                      </a:lnTo>
                      <a:lnTo>
                        <a:pt x="44" y="20"/>
                      </a:lnTo>
                      <a:lnTo>
                        <a:pt x="54" y="26"/>
                      </a:lnTo>
                      <a:lnTo>
                        <a:pt x="70" y="33"/>
                      </a:lnTo>
                      <a:lnTo>
                        <a:pt x="76" y="38"/>
                      </a:lnTo>
                      <a:lnTo>
                        <a:pt x="82" y="44"/>
                      </a:lnTo>
                      <a:lnTo>
                        <a:pt x="86" y="58"/>
                      </a:lnTo>
                      <a:lnTo>
                        <a:pt x="89" y="64"/>
                      </a:lnTo>
                      <a:lnTo>
                        <a:pt x="95" y="71"/>
                      </a:lnTo>
                      <a:lnTo>
                        <a:pt x="84" y="82"/>
                      </a:lnTo>
                      <a:lnTo>
                        <a:pt x="75" y="95"/>
                      </a:lnTo>
                      <a:lnTo>
                        <a:pt x="70" y="100"/>
                      </a:lnTo>
                      <a:lnTo>
                        <a:pt x="65" y="102"/>
                      </a:lnTo>
                      <a:lnTo>
                        <a:pt x="58" y="104"/>
                      </a:lnTo>
                      <a:lnTo>
                        <a:pt x="52" y="103"/>
                      </a:lnTo>
                      <a:lnTo>
                        <a:pt x="46" y="102"/>
                      </a:lnTo>
                      <a:lnTo>
                        <a:pt x="38" y="101"/>
                      </a:lnTo>
                      <a:lnTo>
                        <a:pt x="26" y="96"/>
                      </a:lnTo>
                      <a:lnTo>
                        <a:pt x="13" y="91"/>
                      </a:lnTo>
                      <a:lnTo>
                        <a:pt x="9" y="88"/>
                      </a:lnTo>
                      <a:lnTo>
                        <a:pt x="5" y="85"/>
                      </a:lnTo>
                      <a:lnTo>
                        <a:pt x="4" y="82"/>
                      </a:lnTo>
                      <a:lnTo>
                        <a:pt x="1" y="78"/>
                      </a:lnTo>
                      <a:lnTo>
                        <a:pt x="0" y="70"/>
                      </a:lnTo>
                      <a:lnTo>
                        <a:pt x="0" y="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4" name="Freeform 858">
                  <a:extLst>
                    <a:ext uri="{FF2B5EF4-FFF2-40B4-BE49-F238E27FC236}">
                      <a16:creationId xmlns:a16="http://schemas.microsoft.com/office/drawing/2014/main" id="{FF2DC072-0CA9-DB43-A5A1-9D182B2E1B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8959" y="5518125"/>
                  <a:ext cx="128749" cy="153907"/>
                </a:xfrm>
                <a:custGeom>
                  <a:avLst/>
                  <a:gdLst>
                    <a:gd name="T0" fmla="*/ 0 w 95"/>
                    <a:gd name="T1" fmla="*/ 2147483647 h 104"/>
                    <a:gd name="T2" fmla="*/ 0 w 95"/>
                    <a:gd name="T3" fmla="*/ 2147483647 h 104"/>
                    <a:gd name="T4" fmla="*/ 2147483647 w 95"/>
                    <a:gd name="T5" fmla="*/ 2147483647 h 104"/>
                    <a:gd name="T6" fmla="*/ 2147483647 w 95"/>
                    <a:gd name="T7" fmla="*/ 2147483647 h 104"/>
                    <a:gd name="T8" fmla="*/ 2147483647 w 95"/>
                    <a:gd name="T9" fmla="*/ 2147483647 h 104"/>
                    <a:gd name="T10" fmla="*/ 2147483647 w 95"/>
                    <a:gd name="T11" fmla="*/ 2147483647 h 104"/>
                    <a:gd name="T12" fmla="*/ 2147483647 w 95"/>
                    <a:gd name="T13" fmla="*/ 2147483647 h 104"/>
                    <a:gd name="T14" fmla="*/ 2147483647 w 95"/>
                    <a:gd name="T15" fmla="*/ 2147483647 h 104"/>
                    <a:gd name="T16" fmla="*/ 2147483647 w 95"/>
                    <a:gd name="T17" fmla="*/ 2147483647 h 104"/>
                    <a:gd name="T18" fmla="*/ 2147483647 w 95"/>
                    <a:gd name="T19" fmla="*/ 2147483647 h 104"/>
                    <a:gd name="T20" fmla="*/ 2147483647 w 95"/>
                    <a:gd name="T21" fmla="*/ 2147483647 h 104"/>
                    <a:gd name="T22" fmla="*/ 2147483647 w 95"/>
                    <a:gd name="T23" fmla="*/ 2147483647 h 104"/>
                    <a:gd name="T24" fmla="*/ 2147483647 w 95"/>
                    <a:gd name="T25" fmla="*/ 0 h 104"/>
                    <a:gd name="T26" fmla="*/ 2147483647 w 95"/>
                    <a:gd name="T27" fmla="*/ 0 h 104"/>
                    <a:gd name="T28" fmla="*/ 2147483647 w 95"/>
                    <a:gd name="T29" fmla="*/ 2147483647 h 104"/>
                    <a:gd name="T30" fmla="*/ 2147483647 w 95"/>
                    <a:gd name="T31" fmla="*/ 2147483647 h 104"/>
                    <a:gd name="T32" fmla="*/ 2147483647 w 95"/>
                    <a:gd name="T33" fmla="*/ 2147483647 h 104"/>
                    <a:gd name="T34" fmla="*/ 2147483647 w 95"/>
                    <a:gd name="T35" fmla="*/ 2147483647 h 104"/>
                    <a:gd name="T36" fmla="*/ 2147483647 w 95"/>
                    <a:gd name="T37" fmla="*/ 2147483647 h 104"/>
                    <a:gd name="T38" fmla="*/ 2147483647 w 95"/>
                    <a:gd name="T39" fmla="*/ 2147483647 h 104"/>
                    <a:gd name="T40" fmla="*/ 2147483647 w 95"/>
                    <a:gd name="T41" fmla="*/ 2147483647 h 104"/>
                    <a:gd name="T42" fmla="*/ 2147483647 w 95"/>
                    <a:gd name="T43" fmla="*/ 2147483647 h 104"/>
                    <a:gd name="T44" fmla="*/ 2147483647 w 95"/>
                    <a:gd name="T45" fmla="*/ 2147483647 h 104"/>
                    <a:gd name="T46" fmla="*/ 2147483647 w 95"/>
                    <a:gd name="T47" fmla="*/ 2147483647 h 104"/>
                    <a:gd name="T48" fmla="*/ 2147483647 w 95"/>
                    <a:gd name="T49" fmla="*/ 2147483647 h 104"/>
                    <a:gd name="T50" fmla="*/ 2147483647 w 95"/>
                    <a:gd name="T51" fmla="*/ 2147483647 h 104"/>
                    <a:gd name="T52" fmla="*/ 2147483647 w 95"/>
                    <a:gd name="T53" fmla="*/ 2147483647 h 104"/>
                    <a:gd name="T54" fmla="*/ 2147483647 w 95"/>
                    <a:gd name="T55" fmla="*/ 2147483647 h 104"/>
                    <a:gd name="T56" fmla="*/ 2147483647 w 95"/>
                    <a:gd name="T57" fmla="*/ 2147483647 h 104"/>
                    <a:gd name="T58" fmla="*/ 2147483647 w 95"/>
                    <a:gd name="T59" fmla="*/ 2147483647 h 104"/>
                    <a:gd name="T60" fmla="*/ 2147483647 w 95"/>
                    <a:gd name="T61" fmla="*/ 2147483647 h 104"/>
                    <a:gd name="T62" fmla="*/ 2147483647 w 95"/>
                    <a:gd name="T63" fmla="*/ 2147483647 h 104"/>
                    <a:gd name="T64" fmla="*/ 2147483647 w 95"/>
                    <a:gd name="T65" fmla="*/ 2147483647 h 104"/>
                    <a:gd name="T66" fmla="*/ 2147483647 w 95"/>
                    <a:gd name="T67" fmla="*/ 2147483647 h 104"/>
                    <a:gd name="T68" fmla="*/ 2147483647 w 95"/>
                    <a:gd name="T69" fmla="*/ 2147483647 h 104"/>
                    <a:gd name="T70" fmla="*/ 2147483647 w 95"/>
                    <a:gd name="T71" fmla="*/ 2147483647 h 104"/>
                    <a:gd name="T72" fmla="*/ 2147483647 w 95"/>
                    <a:gd name="T73" fmla="*/ 2147483647 h 104"/>
                    <a:gd name="T74" fmla="*/ 2147483647 w 95"/>
                    <a:gd name="T75" fmla="*/ 2147483647 h 104"/>
                    <a:gd name="T76" fmla="*/ 2147483647 w 95"/>
                    <a:gd name="T77" fmla="*/ 2147483647 h 104"/>
                    <a:gd name="T78" fmla="*/ 2147483647 w 95"/>
                    <a:gd name="T79" fmla="*/ 2147483647 h 104"/>
                    <a:gd name="T80" fmla="*/ 2147483647 w 95"/>
                    <a:gd name="T81" fmla="*/ 2147483647 h 104"/>
                    <a:gd name="T82" fmla="*/ 2147483647 w 95"/>
                    <a:gd name="T83" fmla="*/ 2147483647 h 104"/>
                    <a:gd name="T84" fmla="*/ 2147483647 w 95"/>
                    <a:gd name="T85" fmla="*/ 2147483647 h 104"/>
                    <a:gd name="T86" fmla="*/ 2147483647 w 95"/>
                    <a:gd name="T87" fmla="*/ 2147483647 h 104"/>
                    <a:gd name="T88" fmla="*/ 2147483647 w 95"/>
                    <a:gd name="T89" fmla="*/ 2147483647 h 104"/>
                    <a:gd name="T90" fmla="*/ 2147483647 w 95"/>
                    <a:gd name="T91" fmla="*/ 2147483647 h 104"/>
                    <a:gd name="T92" fmla="*/ 2147483647 w 95"/>
                    <a:gd name="T93" fmla="*/ 2147483647 h 104"/>
                    <a:gd name="T94" fmla="*/ 2147483647 w 95"/>
                    <a:gd name="T95" fmla="*/ 2147483647 h 104"/>
                    <a:gd name="T96" fmla="*/ 2147483647 w 95"/>
                    <a:gd name="T97" fmla="*/ 2147483647 h 104"/>
                    <a:gd name="T98" fmla="*/ 2147483647 w 95"/>
                    <a:gd name="T99" fmla="*/ 2147483647 h 104"/>
                    <a:gd name="T100" fmla="*/ 0 w 95"/>
                    <a:gd name="T101" fmla="*/ 2147483647 h 104"/>
                    <a:gd name="T102" fmla="*/ 0 w 95"/>
                    <a:gd name="T103" fmla="*/ 2147483647 h 104"/>
                    <a:gd name="T104" fmla="*/ 0 w 95"/>
                    <a:gd name="T105" fmla="*/ 2147483647 h 10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95"/>
                    <a:gd name="T160" fmla="*/ 0 h 104"/>
                    <a:gd name="T161" fmla="*/ 95 w 95"/>
                    <a:gd name="T162" fmla="*/ 104 h 10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95" h="104">
                      <a:moveTo>
                        <a:pt x="0" y="61"/>
                      </a:moveTo>
                      <a:lnTo>
                        <a:pt x="0" y="61"/>
                      </a:lnTo>
                      <a:lnTo>
                        <a:pt x="2" y="55"/>
                      </a:lnTo>
                      <a:lnTo>
                        <a:pt x="3" y="53"/>
                      </a:lnTo>
                      <a:lnTo>
                        <a:pt x="5" y="51"/>
                      </a:lnTo>
                      <a:lnTo>
                        <a:pt x="5" y="31"/>
                      </a:lnTo>
                      <a:lnTo>
                        <a:pt x="5" y="21"/>
                      </a:lnTo>
                      <a:lnTo>
                        <a:pt x="7" y="12"/>
                      </a:lnTo>
                      <a:lnTo>
                        <a:pt x="11" y="6"/>
                      </a:lnTo>
                      <a:lnTo>
                        <a:pt x="14" y="0"/>
                      </a:lnTo>
                      <a:lnTo>
                        <a:pt x="16" y="1"/>
                      </a:lnTo>
                      <a:lnTo>
                        <a:pt x="17" y="2"/>
                      </a:lnTo>
                      <a:lnTo>
                        <a:pt x="22" y="2"/>
                      </a:lnTo>
                      <a:lnTo>
                        <a:pt x="26" y="2"/>
                      </a:lnTo>
                      <a:lnTo>
                        <a:pt x="27" y="3"/>
                      </a:lnTo>
                      <a:lnTo>
                        <a:pt x="36" y="13"/>
                      </a:lnTo>
                      <a:lnTo>
                        <a:pt x="44" y="20"/>
                      </a:lnTo>
                      <a:lnTo>
                        <a:pt x="54" y="26"/>
                      </a:lnTo>
                      <a:lnTo>
                        <a:pt x="69" y="33"/>
                      </a:lnTo>
                      <a:lnTo>
                        <a:pt x="76" y="38"/>
                      </a:lnTo>
                      <a:lnTo>
                        <a:pt x="82" y="44"/>
                      </a:lnTo>
                      <a:lnTo>
                        <a:pt x="86" y="58"/>
                      </a:lnTo>
                      <a:lnTo>
                        <a:pt x="88" y="64"/>
                      </a:lnTo>
                      <a:lnTo>
                        <a:pt x="95" y="71"/>
                      </a:lnTo>
                      <a:lnTo>
                        <a:pt x="83" y="82"/>
                      </a:lnTo>
                      <a:lnTo>
                        <a:pt x="74" y="95"/>
                      </a:lnTo>
                      <a:lnTo>
                        <a:pt x="69" y="99"/>
                      </a:lnTo>
                      <a:lnTo>
                        <a:pt x="64" y="102"/>
                      </a:lnTo>
                      <a:lnTo>
                        <a:pt x="58" y="104"/>
                      </a:lnTo>
                      <a:lnTo>
                        <a:pt x="52" y="103"/>
                      </a:lnTo>
                      <a:lnTo>
                        <a:pt x="45" y="102"/>
                      </a:lnTo>
                      <a:lnTo>
                        <a:pt x="38" y="101"/>
                      </a:lnTo>
                      <a:lnTo>
                        <a:pt x="26" y="96"/>
                      </a:lnTo>
                      <a:lnTo>
                        <a:pt x="12" y="91"/>
                      </a:lnTo>
                      <a:lnTo>
                        <a:pt x="8" y="88"/>
                      </a:lnTo>
                      <a:lnTo>
                        <a:pt x="5" y="85"/>
                      </a:lnTo>
                      <a:lnTo>
                        <a:pt x="3" y="82"/>
                      </a:lnTo>
                      <a:lnTo>
                        <a:pt x="1" y="78"/>
                      </a:lnTo>
                      <a:lnTo>
                        <a:pt x="0" y="70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5" name="Freeform 859">
                  <a:extLst>
                    <a:ext uri="{FF2B5EF4-FFF2-40B4-BE49-F238E27FC236}">
                      <a16:creationId xmlns:a16="http://schemas.microsoft.com/office/drawing/2014/main" id="{CAF036E9-21B4-2C44-AA2A-6F039848BA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0987" y="4609486"/>
                  <a:ext cx="25157" cy="25157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2147483647 w 18"/>
                    <a:gd name="T9" fmla="*/ 2147483647 h 17"/>
                    <a:gd name="T10" fmla="*/ 2147483647 w 18"/>
                    <a:gd name="T11" fmla="*/ 0 h 17"/>
                    <a:gd name="T12" fmla="*/ 2147483647 w 18"/>
                    <a:gd name="T13" fmla="*/ 2147483647 h 17"/>
                    <a:gd name="T14" fmla="*/ 2147483647 w 18"/>
                    <a:gd name="T15" fmla="*/ 2147483647 h 17"/>
                    <a:gd name="T16" fmla="*/ 2147483647 w 18"/>
                    <a:gd name="T17" fmla="*/ 2147483647 h 17"/>
                    <a:gd name="T18" fmla="*/ 2147483647 w 18"/>
                    <a:gd name="T19" fmla="*/ 2147483647 h 17"/>
                    <a:gd name="T20" fmla="*/ 0 w 18"/>
                    <a:gd name="T21" fmla="*/ 2147483647 h 17"/>
                    <a:gd name="T22" fmla="*/ 0 w 18"/>
                    <a:gd name="T23" fmla="*/ 2147483647 h 17"/>
                    <a:gd name="T24" fmla="*/ 2147483647 w 18"/>
                    <a:gd name="T25" fmla="*/ 2147483647 h 17"/>
                    <a:gd name="T26" fmla="*/ 2147483647 w 18"/>
                    <a:gd name="T27" fmla="*/ 2147483647 h 17"/>
                    <a:gd name="T28" fmla="*/ 2147483647 w 18"/>
                    <a:gd name="T29" fmla="*/ 2147483647 h 17"/>
                    <a:gd name="T30" fmla="*/ 2147483647 w 18"/>
                    <a:gd name="T31" fmla="*/ 2147483647 h 17"/>
                    <a:gd name="T32" fmla="*/ 2147483647 w 18"/>
                    <a:gd name="T33" fmla="*/ 2147483647 h 1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"/>
                    <a:gd name="T52" fmla="*/ 0 h 17"/>
                    <a:gd name="T53" fmla="*/ 18 w 18"/>
                    <a:gd name="T54" fmla="*/ 17 h 1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" h="17">
                      <a:moveTo>
                        <a:pt x="9" y="13"/>
                      </a:moveTo>
                      <a:lnTo>
                        <a:pt x="14" y="10"/>
                      </a:lnTo>
                      <a:lnTo>
                        <a:pt x="18" y="8"/>
                      </a:lnTo>
                      <a:lnTo>
                        <a:pt x="18" y="6"/>
                      </a:lnTo>
                      <a:lnTo>
                        <a:pt x="17" y="1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3"/>
                      </a:lnTo>
                      <a:lnTo>
                        <a:pt x="5" y="8"/>
                      </a:lnTo>
                      <a:lnTo>
                        <a:pt x="1" y="13"/>
                      </a:lnTo>
                      <a:lnTo>
                        <a:pt x="0" y="15"/>
                      </a:lnTo>
                      <a:lnTo>
                        <a:pt x="0" y="16"/>
                      </a:lnTo>
                      <a:lnTo>
                        <a:pt x="1" y="17"/>
                      </a:lnTo>
                      <a:lnTo>
                        <a:pt x="3" y="17"/>
                      </a:lnTo>
                      <a:lnTo>
                        <a:pt x="5" y="16"/>
                      </a:lnTo>
                      <a:lnTo>
                        <a:pt x="7" y="14"/>
                      </a:lnTo>
                      <a:lnTo>
                        <a:pt x="9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6" name="Freeform 860">
                  <a:extLst>
                    <a:ext uri="{FF2B5EF4-FFF2-40B4-BE49-F238E27FC236}">
                      <a16:creationId xmlns:a16="http://schemas.microsoft.com/office/drawing/2014/main" id="{6C3274B4-D200-8442-A78C-C4705829BC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0267" y="4642039"/>
                  <a:ext cx="14799" cy="23678"/>
                </a:xfrm>
                <a:custGeom>
                  <a:avLst/>
                  <a:gdLst>
                    <a:gd name="T0" fmla="*/ 2147483647 w 10"/>
                    <a:gd name="T1" fmla="*/ 2147483647 h 16"/>
                    <a:gd name="T2" fmla="*/ 2147483647 w 10"/>
                    <a:gd name="T3" fmla="*/ 2147483647 h 16"/>
                    <a:gd name="T4" fmla="*/ 2147483647 w 10"/>
                    <a:gd name="T5" fmla="*/ 2147483647 h 16"/>
                    <a:gd name="T6" fmla="*/ 2147483647 w 10"/>
                    <a:gd name="T7" fmla="*/ 2147483647 h 16"/>
                    <a:gd name="T8" fmla="*/ 0 w 10"/>
                    <a:gd name="T9" fmla="*/ 2147483647 h 16"/>
                    <a:gd name="T10" fmla="*/ 0 w 10"/>
                    <a:gd name="T11" fmla="*/ 2147483647 h 16"/>
                    <a:gd name="T12" fmla="*/ 0 w 10"/>
                    <a:gd name="T13" fmla="*/ 2147483647 h 16"/>
                    <a:gd name="T14" fmla="*/ 2147483647 w 10"/>
                    <a:gd name="T15" fmla="*/ 2147483647 h 16"/>
                    <a:gd name="T16" fmla="*/ 2147483647 w 10"/>
                    <a:gd name="T17" fmla="*/ 2147483647 h 16"/>
                    <a:gd name="T18" fmla="*/ 2147483647 w 10"/>
                    <a:gd name="T19" fmla="*/ 0 h 16"/>
                    <a:gd name="T20" fmla="*/ 2147483647 w 10"/>
                    <a:gd name="T21" fmla="*/ 2147483647 h 16"/>
                    <a:gd name="T22" fmla="*/ 2147483647 w 10"/>
                    <a:gd name="T23" fmla="*/ 2147483647 h 16"/>
                    <a:gd name="T24" fmla="*/ 2147483647 w 10"/>
                    <a:gd name="T25" fmla="*/ 2147483647 h 16"/>
                    <a:gd name="T26" fmla="*/ 2147483647 w 10"/>
                    <a:gd name="T27" fmla="*/ 2147483647 h 16"/>
                    <a:gd name="T28" fmla="*/ 2147483647 w 10"/>
                    <a:gd name="T29" fmla="*/ 2147483647 h 1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0"/>
                    <a:gd name="T46" fmla="*/ 0 h 16"/>
                    <a:gd name="T47" fmla="*/ 10 w 10"/>
                    <a:gd name="T48" fmla="*/ 16 h 1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0" h="16">
                      <a:moveTo>
                        <a:pt x="6" y="12"/>
                      </a:moveTo>
                      <a:lnTo>
                        <a:pt x="6" y="13"/>
                      </a:lnTo>
                      <a:lnTo>
                        <a:pt x="4" y="14"/>
                      </a:lnTo>
                      <a:lnTo>
                        <a:pt x="2" y="16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6" y="3"/>
                      </a:lnTo>
                      <a:lnTo>
                        <a:pt x="10" y="0"/>
                      </a:lnTo>
                      <a:lnTo>
                        <a:pt x="9" y="3"/>
                      </a:lnTo>
                      <a:lnTo>
                        <a:pt x="9" y="6"/>
                      </a:lnTo>
                      <a:lnTo>
                        <a:pt x="9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7" name="Freeform 861">
                  <a:extLst>
                    <a:ext uri="{FF2B5EF4-FFF2-40B4-BE49-F238E27FC236}">
                      <a16:creationId xmlns:a16="http://schemas.microsoft.com/office/drawing/2014/main" id="{63A9C32A-CB23-6347-89DD-3E7CECBF8C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9505" y="4606524"/>
                  <a:ext cx="25158" cy="26638"/>
                </a:xfrm>
                <a:custGeom>
                  <a:avLst/>
                  <a:gdLst>
                    <a:gd name="T0" fmla="*/ 2147483647 w 18"/>
                    <a:gd name="T1" fmla="*/ 2147483647 h 18"/>
                    <a:gd name="T2" fmla="*/ 2147483647 w 18"/>
                    <a:gd name="T3" fmla="*/ 2147483647 h 18"/>
                    <a:gd name="T4" fmla="*/ 2147483647 w 18"/>
                    <a:gd name="T5" fmla="*/ 2147483647 h 18"/>
                    <a:gd name="T6" fmla="*/ 2147483647 w 18"/>
                    <a:gd name="T7" fmla="*/ 2147483647 h 18"/>
                    <a:gd name="T8" fmla="*/ 2147483647 w 18"/>
                    <a:gd name="T9" fmla="*/ 2147483647 h 18"/>
                    <a:gd name="T10" fmla="*/ 2147483647 w 18"/>
                    <a:gd name="T11" fmla="*/ 2147483647 h 18"/>
                    <a:gd name="T12" fmla="*/ 2147483647 w 18"/>
                    <a:gd name="T13" fmla="*/ 2147483647 h 18"/>
                    <a:gd name="T14" fmla="*/ 2147483647 w 18"/>
                    <a:gd name="T15" fmla="*/ 0 h 18"/>
                    <a:gd name="T16" fmla="*/ 2147483647 w 18"/>
                    <a:gd name="T17" fmla="*/ 2147483647 h 18"/>
                    <a:gd name="T18" fmla="*/ 2147483647 w 18"/>
                    <a:gd name="T19" fmla="*/ 2147483647 h 18"/>
                    <a:gd name="T20" fmla="*/ 2147483647 w 18"/>
                    <a:gd name="T21" fmla="*/ 2147483647 h 18"/>
                    <a:gd name="T22" fmla="*/ 2147483647 w 18"/>
                    <a:gd name="T23" fmla="*/ 2147483647 h 18"/>
                    <a:gd name="T24" fmla="*/ 2147483647 w 18"/>
                    <a:gd name="T25" fmla="*/ 2147483647 h 18"/>
                    <a:gd name="T26" fmla="*/ 2147483647 w 18"/>
                    <a:gd name="T27" fmla="*/ 2147483647 h 18"/>
                    <a:gd name="T28" fmla="*/ 0 w 18"/>
                    <a:gd name="T29" fmla="*/ 2147483647 h 18"/>
                    <a:gd name="T30" fmla="*/ 0 w 18"/>
                    <a:gd name="T31" fmla="*/ 2147483647 h 18"/>
                    <a:gd name="T32" fmla="*/ 0 w 18"/>
                    <a:gd name="T33" fmla="*/ 2147483647 h 18"/>
                    <a:gd name="T34" fmla="*/ 2147483647 w 18"/>
                    <a:gd name="T35" fmla="*/ 2147483647 h 18"/>
                    <a:gd name="T36" fmla="*/ 2147483647 w 18"/>
                    <a:gd name="T37" fmla="*/ 2147483647 h 18"/>
                    <a:gd name="T38" fmla="*/ 2147483647 w 18"/>
                    <a:gd name="T39" fmla="*/ 2147483647 h 18"/>
                    <a:gd name="T40" fmla="*/ 2147483647 w 18"/>
                    <a:gd name="T41" fmla="*/ 2147483647 h 18"/>
                    <a:gd name="T42" fmla="*/ 2147483647 w 18"/>
                    <a:gd name="T43" fmla="*/ 2147483647 h 18"/>
                    <a:gd name="T44" fmla="*/ 2147483647 w 18"/>
                    <a:gd name="T45" fmla="*/ 2147483647 h 18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"/>
                    <a:gd name="T70" fmla="*/ 0 h 18"/>
                    <a:gd name="T71" fmla="*/ 18 w 18"/>
                    <a:gd name="T72" fmla="*/ 18 h 18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" h="18">
                      <a:moveTo>
                        <a:pt x="9" y="14"/>
                      </a:moveTo>
                      <a:lnTo>
                        <a:pt x="9" y="14"/>
                      </a:lnTo>
                      <a:lnTo>
                        <a:pt x="14" y="11"/>
                      </a:lnTo>
                      <a:lnTo>
                        <a:pt x="18" y="9"/>
                      </a:lnTo>
                      <a:lnTo>
                        <a:pt x="18" y="6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3" y="2"/>
                      </a:lnTo>
                      <a:lnTo>
                        <a:pt x="10" y="4"/>
                      </a:lnTo>
                      <a:lnTo>
                        <a:pt x="5" y="9"/>
                      </a:lnTo>
                      <a:lnTo>
                        <a:pt x="1" y="14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1" y="18"/>
                      </a:lnTo>
                      <a:lnTo>
                        <a:pt x="2" y="18"/>
                      </a:lnTo>
                      <a:lnTo>
                        <a:pt x="5" y="17"/>
                      </a:lnTo>
                      <a:lnTo>
                        <a:pt x="6" y="15"/>
                      </a:lnTo>
                      <a:lnTo>
                        <a:pt x="9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8" name="Freeform 862">
                  <a:extLst>
                    <a:ext uri="{FF2B5EF4-FFF2-40B4-BE49-F238E27FC236}">
                      <a16:creationId xmlns:a16="http://schemas.microsoft.com/office/drawing/2014/main" id="{344569AC-28C5-7146-A264-C728E3E4FE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8786" y="4640562"/>
                  <a:ext cx="14799" cy="22199"/>
                </a:xfrm>
                <a:custGeom>
                  <a:avLst/>
                  <a:gdLst>
                    <a:gd name="T0" fmla="*/ 2147483647 w 10"/>
                    <a:gd name="T1" fmla="*/ 2147483647 h 15"/>
                    <a:gd name="T2" fmla="*/ 2147483647 w 10"/>
                    <a:gd name="T3" fmla="*/ 2147483647 h 15"/>
                    <a:gd name="T4" fmla="*/ 2147483647 w 10"/>
                    <a:gd name="T5" fmla="*/ 2147483647 h 15"/>
                    <a:gd name="T6" fmla="*/ 2147483647 w 10"/>
                    <a:gd name="T7" fmla="*/ 2147483647 h 15"/>
                    <a:gd name="T8" fmla="*/ 2147483647 w 10"/>
                    <a:gd name="T9" fmla="*/ 2147483647 h 15"/>
                    <a:gd name="T10" fmla="*/ 0 w 10"/>
                    <a:gd name="T11" fmla="*/ 2147483647 h 15"/>
                    <a:gd name="T12" fmla="*/ 0 w 10"/>
                    <a:gd name="T13" fmla="*/ 2147483647 h 15"/>
                    <a:gd name="T14" fmla="*/ 0 w 10"/>
                    <a:gd name="T15" fmla="*/ 2147483647 h 15"/>
                    <a:gd name="T16" fmla="*/ 0 w 10"/>
                    <a:gd name="T17" fmla="*/ 2147483647 h 15"/>
                    <a:gd name="T18" fmla="*/ 2147483647 w 10"/>
                    <a:gd name="T19" fmla="*/ 2147483647 h 15"/>
                    <a:gd name="T20" fmla="*/ 2147483647 w 10"/>
                    <a:gd name="T21" fmla="*/ 2147483647 h 15"/>
                    <a:gd name="T22" fmla="*/ 2147483647 w 10"/>
                    <a:gd name="T23" fmla="*/ 0 h 15"/>
                    <a:gd name="T24" fmla="*/ 2147483647 w 10"/>
                    <a:gd name="T25" fmla="*/ 0 h 15"/>
                    <a:gd name="T26" fmla="*/ 2147483647 w 10"/>
                    <a:gd name="T27" fmla="*/ 2147483647 h 15"/>
                    <a:gd name="T28" fmla="*/ 2147483647 w 10"/>
                    <a:gd name="T29" fmla="*/ 2147483647 h 15"/>
                    <a:gd name="T30" fmla="*/ 2147483647 w 10"/>
                    <a:gd name="T31" fmla="*/ 2147483647 h 15"/>
                    <a:gd name="T32" fmla="*/ 2147483647 w 10"/>
                    <a:gd name="T33" fmla="*/ 2147483647 h 15"/>
                    <a:gd name="T34" fmla="*/ 2147483647 w 10"/>
                    <a:gd name="T35" fmla="*/ 2147483647 h 15"/>
                    <a:gd name="T36" fmla="*/ 2147483647 w 10"/>
                    <a:gd name="T37" fmla="*/ 2147483647 h 15"/>
                    <a:gd name="T38" fmla="*/ 2147483647 w 10"/>
                    <a:gd name="T39" fmla="*/ 2147483647 h 15"/>
                    <a:gd name="T40" fmla="*/ 2147483647 w 10"/>
                    <a:gd name="T41" fmla="*/ 2147483647 h 1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0"/>
                    <a:gd name="T64" fmla="*/ 0 h 15"/>
                    <a:gd name="T65" fmla="*/ 10 w 10"/>
                    <a:gd name="T66" fmla="*/ 15 h 1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0" h="15">
                      <a:moveTo>
                        <a:pt x="6" y="12"/>
                      </a:moveTo>
                      <a:lnTo>
                        <a:pt x="6" y="12"/>
                      </a:lnTo>
                      <a:lnTo>
                        <a:pt x="6" y="13"/>
                      </a:lnTo>
                      <a:lnTo>
                        <a:pt x="3" y="14"/>
                      </a:lnTo>
                      <a:lnTo>
                        <a:pt x="2" y="15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2" y="6"/>
                      </a:lnTo>
                      <a:lnTo>
                        <a:pt x="6" y="2"/>
                      </a:lnTo>
                      <a:lnTo>
                        <a:pt x="10" y="0"/>
                      </a:lnTo>
                      <a:lnTo>
                        <a:pt x="9" y="2"/>
                      </a:lnTo>
                      <a:lnTo>
                        <a:pt x="9" y="6"/>
                      </a:lnTo>
                      <a:lnTo>
                        <a:pt x="9" y="9"/>
                      </a:lnTo>
                      <a:lnTo>
                        <a:pt x="7" y="11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9" name="Freeform 864">
                  <a:extLst>
                    <a:ext uri="{FF2B5EF4-FFF2-40B4-BE49-F238E27FC236}">
                      <a16:creationId xmlns:a16="http://schemas.microsoft.com/office/drawing/2014/main" id="{BE1CBD14-5CB2-8743-B693-B4A81BC3F9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4248" y="5191073"/>
                  <a:ext cx="193864" cy="244177"/>
                </a:xfrm>
                <a:custGeom>
                  <a:avLst/>
                  <a:gdLst>
                    <a:gd name="T0" fmla="*/ 2147483647 w 142"/>
                    <a:gd name="T1" fmla="*/ 2147483647 h 165"/>
                    <a:gd name="T2" fmla="*/ 2147483647 w 142"/>
                    <a:gd name="T3" fmla="*/ 2147483647 h 165"/>
                    <a:gd name="T4" fmla="*/ 2147483647 w 142"/>
                    <a:gd name="T5" fmla="*/ 2147483647 h 165"/>
                    <a:gd name="T6" fmla="*/ 2147483647 w 142"/>
                    <a:gd name="T7" fmla="*/ 2147483647 h 165"/>
                    <a:gd name="T8" fmla="*/ 2147483647 w 142"/>
                    <a:gd name="T9" fmla="*/ 2147483647 h 165"/>
                    <a:gd name="T10" fmla="*/ 2147483647 w 142"/>
                    <a:gd name="T11" fmla="*/ 2147483647 h 165"/>
                    <a:gd name="T12" fmla="*/ 2147483647 w 142"/>
                    <a:gd name="T13" fmla="*/ 2147483647 h 165"/>
                    <a:gd name="T14" fmla="*/ 2147483647 w 142"/>
                    <a:gd name="T15" fmla="*/ 2147483647 h 165"/>
                    <a:gd name="T16" fmla="*/ 2147483647 w 142"/>
                    <a:gd name="T17" fmla="*/ 2147483647 h 165"/>
                    <a:gd name="T18" fmla="*/ 2147483647 w 142"/>
                    <a:gd name="T19" fmla="*/ 2147483647 h 165"/>
                    <a:gd name="T20" fmla="*/ 2147483647 w 142"/>
                    <a:gd name="T21" fmla="*/ 2147483647 h 165"/>
                    <a:gd name="T22" fmla="*/ 2147483647 w 142"/>
                    <a:gd name="T23" fmla="*/ 2147483647 h 165"/>
                    <a:gd name="T24" fmla="*/ 2147483647 w 142"/>
                    <a:gd name="T25" fmla="*/ 2147483647 h 165"/>
                    <a:gd name="T26" fmla="*/ 2147483647 w 142"/>
                    <a:gd name="T27" fmla="*/ 2147483647 h 165"/>
                    <a:gd name="T28" fmla="*/ 2147483647 w 142"/>
                    <a:gd name="T29" fmla="*/ 2147483647 h 165"/>
                    <a:gd name="T30" fmla="*/ 2147483647 w 142"/>
                    <a:gd name="T31" fmla="*/ 2147483647 h 165"/>
                    <a:gd name="T32" fmla="*/ 2147483647 w 142"/>
                    <a:gd name="T33" fmla="*/ 2147483647 h 165"/>
                    <a:gd name="T34" fmla="*/ 2147483647 w 142"/>
                    <a:gd name="T35" fmla="*/ 2147483647 h 165"/>
                    <a:gd name="T36" fmla="*/ 2147483647 w 142"/>
                    <a:gd name="T37" fmla="*/ 2147483647 h 165"/>
                    <a:gd name="T38" fmla="*/ 2147483647 w 142"/>
                    <a:gd name="T39" fmla="*/ 2147483647 h 165"/>
                    <a:gd name="T40" fmla="*/ 2147483647 w 142"/>
                    <a:gd name="T41" fmla="*/ 2147483647 h 165"/>
                    <a:gd name="T42" fmla="*/ 2147483647 w 142"/>
                    <a:gd name="T43" fmla="*/ 2147483647 h 165"/>
                    <a:gd name="T44" fmla="*/ 2147483647 w 142"/>
                    <a:gd name="T45" fmla="*/ 2147483647 h 165"/>
                    <a:gd name="T46" fmla="*/ 2147483647 w 142"/>
                    <a:gd name="T47" fmla="*/ 2147483647 h 165"/>
                    <a:gd name="T48" fmla="*/ 2147483647 w 142"/>
                    <a:gd name="T49" fmla="*/ 2147483647 h 165"/>
                    <a:gd name="T50" fmla="*/ 0 w 142"/>
                    <a:gd name="T51" fmla="*/ 2147483647 h 165"/>
                    <a:gd name="T52" fmla="*/ 2147483647 w 142"/>
                    <a:gd name="T53" fmla="*/ 2147483647 h 165"/>
                    <a:gd name="T54" fmla="*/ 2147483647 w 142"/>
                    <a:gd name="T55" fmla="*/ 2147483647 h 165"/>
                    <a:gd name="T56" fmla="*/ 2147483647 w 142"/>
                    <a:gd name="T57" fmla="*/ 2147483647 h 165"/>
                    <a:gd name="T58" fmla="*/ 2147483647 w 142"/>
                    <a:gd name="T59" fmla="*/ 2147483647 h 165"/>
                    <a:gd name="T60" fmla="*/ 2147483647 w 142"/>
                    <a:gd name="T61" fmla="*/ 2147483647 h 165"/>
                    <a:gd name="T62" fmla="*/ 2147483647 w 142"/>
                    <a:gd name="T63" fmla="*/ 0 h 165"/>
                    <a:gd name="T64" fmla="*/ 2147483647 w 142"/>
                    <a:gd name="T65" fmla="*/ 0 h 165"/>
                    <a:gd name="T66" fmla="*/ 2147483647 w 142"/>
                    <a:gd name="T67" fmla="*/ 2147483647 h 165"/>
                    <a:gd name="T68" fmla="*/ 2147483647 w 142"/>
                    <a:gd name="T69" fmla="*/ 2147483647 h 165"/>
                    <a:gd name="T70" fmla="*/ 2147483647 w 142"/>
                    <a:gd name="T71" fmla="*/ 2147483647 h 165"/>
                    <a:gd name="T72" fmla="*/ 2147483647 w 142"/>
                    <a:gd name="T73" fmla="*/ 2147483647 h 165"/>
                    <a:gd name="T74" fmla="*/ 2147483647 w 142"/>
                    <a:gd name="T75" fmla="*/ 2147483647 h 165"/>
                    <a:gd name="T76" fmla="*/ 2147483647 w 142"/>
                    <a:gd name="T77" fmla="*/ 2147483647 h 165"/>
                    <a:gd name="T78" fmla="*/ 2147483647 w 142"/>
                    <a:gd name="T79" fmla="*/ 2147483647 h 165"/>
                    <a:gd name="T80" fmla="*/ 2147483647 w 142"/>
                    <a:gd name="T81" fmla="*/ 2147483647 h 165"/>
                    <a:gd name="T82" fmla="*/ 2147483647 w 142"/>
                    <a:gd name="T83" fmla="*/ 2147483647 h 165"/>
                    <a:gd name="T84" fmla="*/ 2147483647 w 142"/>
                    <a:gd name="T85" fmla="*/ 2147483647 h 165"/>
                    <a:gd name="T86" fmla="*/ 2147483647 w 142"/>
                    <a:gd name="T87" fmla="*/ 2147483647 h 165"/>
                    <a:gd name="T88" fmla="*/ 2147483647 w 142"/>
                    <a:gd name="T89" fmla="*/ 2147483647 h 165"/>
                    <a:gd name="T90" fmla="*/ 2147483647 w 142"/>
                    <a:gd name="T91" fmla="*/ 2147483647 h 165"/>
                    <a:gd name="T92" fmla="*/ 2147483647 w 142"/>
                    <a:gd name="T93" fmla="*/ 2147483647 h 165"/>
                    <a:gd name="T94" fmla="*/ 2147483647 w 142"/>
                    <a:gd name="T95" fmla="*/ 2147483647 h 16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42"/>
                    <a:gd name="T145" fmla="*/ 0 h 165"/>
                    <a:gd name="T146" fmla="*/ 142 w 142"/>
                    <a:gd name="T147" fmla="*/ 165 h 16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42" h="165">
                      <a:moveTo>
                        <a:pt x="132" y="127"/>
                      </a:moveTo>
                      <a:lnTo>
                        <a:pt x="133" y="133"/>
                      </a:lnTo>
                      <a:lnTo>
                        <a:pt x="135" y="140"/>
                      </a:lnTo>
                      <a:lnTo>
                        <a:pt x="133" y="144"/>
                      </a:lnTo>
                      <a:lnTo>
                        <a:pt x="131" y="146"/>
                      </a:lnTo>
                      <a:lnTo>
                        <a:pt x="128" y="147"/>
                      </a:lnTo>
                      <a:lnTo>
                        <a:pt x="126" y="150"/>
                      </a:lnTo>
                      <a:lnTo>
                        <a:pt x="121" y="156"/>
                      </a:lnTo>
                      <a:lnTo>
                        <a:pt x="117" y="161"/>
                      </a:lnTo>
                      <a:lnTo>
                        <a:pt x="113" y="164"/>
                      </a:lnTo>
                      <a:lnTo>
                        <a:pt x="109" y="164"/>
                      </a:lnTo>
                      <a:lnTo>
                        <a:pt x="105" y="161"/>
                      </a:lnTo>
                      <a:lnTo>
                        <a:pt x="102" y="159"/>
                      </a:lnTo>
                      <a:lnTo>
                        <a:pt x="99" y="161"/>
                      </a:lnTo>
                      <a:lnTo>
                        <a:pt x="95" y="164"/>
                      </a:lnTo>
                      <a:lnTo>
                        <a:pt x="93" y="165"/>
                      </a:lnTo>
                      <a:lnTo>
                        <a:pt x="91" y="165"/>
                      </a:lnTo>
                      <a:lnTo>
                        <a:pt x="90" y="164"/>
                      </a:lnTo>
                      <a:lnTo>
                        <a:pt x="84" y="163"/>
                      </a:lnTo>
                      <a:lnTo>
                        <a:pt x="80" y="163"/>
                      </a:lnTo>
                      <a:lnTo>
                        <a:pt x="77" y="161"/>
                      </a:lnTo>
                      <a:lnTo>
                        <a:pt x="75" y="161"/>
                      </a:lnTo>
                      <a:lnTo>
                        <a:pt x="72" y="161"/>
                      </a:lnTo>
                      <a:lnTo>
                        <a:pt x="70" y="160"/>
                      </a:lnTo>
                      <a:lnTo>
                        <a:pt x="69" y="160"/>
                      </a:lnTo>
                      <a:lnTo>
                        <a:pt x="69" y="158"/>
                      </a:lnTo>
                      <a:lnTo>
                        <a:pt x="69" y="156"/>
                      </a:lnTo>
                      <a:lnTo>
                        <a:pt x="71" y="151"/>
                      </a:lnTo>
                      <a:lnTo>
                        <a:pt x="75" y="145"/>
                      </a:lnTo>
                      <a:lnTo>
                        <a:pt x="77" y="140"/>
                      </a:lnTo>
                      <a:lnTo>
                        <a:pt x="79" y="132"/>
                      </a:lnTo>
                      <a:lnTo>
                        <a:pt x="80" y="125"/>
                      </a:lnTo>
                      <a:lnTo>
                        <a:pt x="79" y="121"/>
                      </a:lnTo>
                      <a:lnTo>
                        <a:pt x="77" y="118"/>
                      </a:lnTo>
                      <a:lnTo>
                        <a:pt x="75" y="114"/>
                      </a:lnTo>
                      <a:lnTo>
                        <a:pt x="72" y="112"/>
                      </a:lnTo>
                      <a:lnTo>
                        <a:pt x="62" y="107"/>
                      </a:lnTo>
                      <a:lnTo>
                        <a:pt x="53" y="102"/>
                      </a:lnTo>
                      <a:lnTo>
                        <a:pt x="43" y="97"/>
                      </a:lnTo>
                      <a:lnTo>
                        <a:pt x="34" y="90"/>
                      </a:lnTo>
                      <a:lnTo>
                        <a:pt x="33" y="89"/>
                      </a:lnTo>
                      <a:lnTo>
                        <a:pt x="33" y="87"/>
                      </a:lnTo>
                      <a:lnTo>
                        <a:pt x="32" y="82"/>
                      </a:lnTo>
                      <a:lnTo>
                        <a:pt x="32" y="77"/>
                      </a:lnTo>
                      <a:lnTo>
                        <a:pt x="30" y="76"/>
                      </a:lnTo>
                      <a:lnTo>
                        <a:pt x="29" y="75"/>
                      </a:lnTo>
                      <a:lnTo>
                        <a:pt x="22" y="70"/>
                      </a:lnTo>
                      <a:lnTo>
                        <a:pt x="15" y="65"/>
                      </a:lnTo>
                      <a:lnTo>
                        <a:pt x="11" y="62"/>
                      </a:lnTo>
                      <a:lnTo>
                        <a:pt x="9" y="58"/>
                      </a:lnTo>
                      <a:lnTo>
                        <a:pt x="5" y="54"/>
                      </a:lnTo>
                      <a:lnTo>
                        <a:pt x="0" y="51"/>
                      </a:lnTo>
                      <a:lnTo>
                        <a:pt x="4" y="49"/>
                      </a:lnTo>
                      <a:lnTo>
                        <a:pt x="5" y="46"/>
                      </a:lnTo>
                      <a:lnTo>
                        <a:pt x="8" y="39"/>
                      </a:lnTo>
                      <a:lnTo>
                        <a:pt x="10" y="35"/>
                      </a:lnTo>
                      <a:lnTo>
                        <a:pt x="11" y="29"/>
                      </a:lnTo>
                      <a:lnTo>
                        <a:pt x="14" y="17"/>
                      </a:lnTo>
                      <a:lnTo>
                        <a:pt x="16" y="11"/>
                      </a:lnTo>
                      <a:lnTo>
                        <a:pt x="19" y="6"/>
                      </a:lnTo>
                      <a:lnTo>
                        <a:pt x="23" y="4"/>
                      </a:lnTo>
                      <a:lnTo>
                        <a:pt x="29" y="3"/>
                      </a:lnTo>
                      <a:lnTo>
                        <a:pt x="37" y="1"/>
                      </a:lnTo>
                      <a:lnTo>
                        <a:pt x="43" y="0"/>
                      </a:lnTo>
                      <a:lnTo>
                        <a:pt x="50" y="0"/>
                      </a:lnTo>
                      <a:lnTo>
                        <a:pt x="52" y="0"/>
                      </a:lnTo>
                      <a:lnTo>
                        <a:pt x="56" y="1"/>
                      </a:lnTo>
                      <a:lnTo>
                        <a:pt x="65" y="5"/>
                      </a:lnTo>
                      <a:lnTo>
                        <a:pt x="69" y="6"/>
                      </a:lnTo>
                      <a:lnTo>
                        <a:pt x="71" y="9"/>
                      </a:lnTo>
                      <a:lnTo>
                        <a:pt x="75" y="13"/>
                      </a:lnTo>
                      <a:lnTo>
                        <a:pt x="77" y="18"/>
                      </a:lnTo>
                      <a:lnTo>
                        <a:pt x="79" y="24"/>
                      </a:lnTo>
                      <a:lnTo>
                        <a:pt x="79" y="29"/>
                      </a:lnTo>
                      <a:lnTo>
                        <a:pt x="79" y="39"/>
                      </a:lnTo>
                      <a:lnTo>
                        <a:pt x="79" y="46"/>
                      </a:lnTo>
                      <a:lnTo>
                        <a:pt x="80" y="48"/>
                      </a:lnTo>
                      <a:lnTo>
                        <a:pt x="83" y="49"/>
                      </a:lnTo>
                      <a:lnTo>
                        <a:pt x="94" y="51"/>
                      </a:lnTo>
                      <a:lnTo>
                        <a:pt x="105" y="54"/>
                      </a:lnTo>
                      <a:lnTo>
                        <a:pt x="112" y="56"/>
                      </a:lnTo>
                      <a:lnTo>
                        <a:pt x="117" y="58"/>
                      </a:lnTo>
                      <a:lnTo>
                        <a:pt x="119" y="61"/>
                      </a:lnTo>
                      <a:lnTo>
                        <a:pt x="122" y="64"/>
                      </a:lnTo>
                      <a:lnTo>
                        <a:pt x="123" y="71"/>
                      </a:lnTo>
                      <a:lnTo>
                        <a:pt x="122" y="86"/>
                      </a:lnTo>
                      <a:lnTo>
                        <a:pt x="123" y="89"/>
                      </a:lnTo>
                      <a:lnTo>
                        <a:pt x="126" y="90"/>
                      </a:lnTo>
                      <a:lnTo>
                        <a:pt x="128" y="92"/>
                      </a:lnTo>
                      <a:lnTo>
                        <a:pt x="132" y="90"/>
                      </a:lnTo>
                      <a:lnTo>
                        <a:pt x="138" y="89"/>
                      </a:lnTo>
                      <a:lnTo>
                        <a:pt x="142" y="87"/>
                      </a:lnTo>
                      <a:lnTo>
                        <a:pt x="140" y="97"/>
                      </a:lnTo>
                      <a:lnTo>
                        <a:pt x="136" y="107"/>
                      </a:lnTo>
                      <a:lnTo>
                        <a:pt x="133" y="118"/>
                      </a:lnTo>
                      <a:lnTo>
                        <a:pt x="132" y="12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0" name="Freeform 866">
                  <a:extLst>
                    <a:ext uri="{FF2B5EF4-FFF2-40B4-BE49-F238E27FC236}">
                      <a16:creationId xmlns:a16="http://schemas.microsoft.com/office/drawing/2014/main" id="{051DC79B-A0B5-E84E-BB58-F00A99F642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2770" y="5189597"/>
                  <a:ext cx="193863" cy="244177"/>
                </a:xfrm>
                <a:custGeom>
                  <a:avLst/>
                  <a:gdLst>
                    <a:gd name="T0" fmla="*/ 2147483647 w 142"/>
                    <a:gd name="T1" fmla="*/ 2147483647 h 165"/>
                    <a:gd name="T2" fmla="*/ 2147483647 w 142"/>
                    <a:gd name="T3" fmla="*/ 2147483647 h 165"/>
                    <a:gd name="T4" fmla="*/ 2147483647 w 142"/>
                    <a:gd name="T5" fmla="*/ 2147483647 h 165"/>
                    <a:gd name="T6" fmla="*/ 2147483647 w 142"/>
                    <a:gd name="T7" fmla="*/ 2147483647 h 165"/>
                    <a:gd name="T8" fmla="*/ 2147483647 w 142"/>
                    <a:gd name="T9" fmla="*/ 2147483647 h 165"/>
                    <a:gd name="T10" fmla="*/ 2147483647 w 142"/>
                    <a:gd name="T11" fmla="*/ 2147483647 h 165"/>
                    <a:gd name="T12" fmla="*/ 2147483647 w 142"/>
                    <a:gd name="T13" fmla="*/ 2147483647 h 165"/>
                    <a:gd name="T14" fmla="*/ 2147483647 w 142"/>
                    <a:gd name="T15" fmla="*/ 2147483647 h 165"/>
                    <a:gd name="T16" fmla="*/ 2147483647 w 142"/>
                    <a:gd name="T17" fmla="*/ 2147483647 h 165"/>
                    <a:gd name="T18" fmla="*/ 2147483647 w 142"/>
                    <a:gd name="T19" fmla="*/ 2147483647 h 165"/>
                    <a:gd name="T20" fmla="*/ 2147483647 w 142"/>
                    <a:gd name="T21" fmla="*/ 2147483647 h 165"/>
                    <a:gd name="T22" fmla="*/ 2147483647 w 142"/>
                    <a:gd name="T23" fmla="*/ 2147483647 h 165"/>
                    <a:gd name="T24" fmla="*/ 2147483647 w 142"/>
                    <a:gd name="T25" fmla="*/ 2147483647 h 165"/>
                    <a:gd name="T26" fmla="*/ 2147483647 w 142"/>
                    <a:gd name="T27" fmla="*/ 2147483647 h 165"/>
                    <a:gd name="T28" fmla="*/ 2147483647 w 142"/>
                    <a:gd name="T29" fmla="*/ 2147483647 h 165"/>
                    <a:gd name="T30" fmla="*/ 2147483647 w 142"/>
                    <a:gd name="T31" fmla="*/ 2147483647 h 165"/>
                    <a:gd name="T32" fmla="*/ 2147483647 w 142"/>
                    <a:gd name="T33" fmla="*/ 2147483647 h 165"/>
                    <a:gd name="T34" fmla="*/ 2147483647 w 142"/>
                    <a:gd name="T35" fmla="*/ 2147483647 h 165"/>
                    <a:gd name="T36" fmla="*/ 2147483647 w 142"/>
                    <a:gd name="T37" fmla="*/ 2147483647 h 165"/>
                    <a:gd name="T38" fmla="*/ 2147483647 w 142"/>
                    <a:gd name="T39" fmla="*/ 2147483647 h 165"/>
                    <a:gd name="T40" fmla="*/ 2147483647 w 142"/>
                    <a:gd name="T41" fmla="*/ 2147483647 h 165"/>
                    <a:gd name="T42" fmla="*/ 2147483647 w 142"/>
                    <a:gd name="T43" fmla="*/ 2147483647 h 165"/>
                    <a:gd name="T44" fmla="*/ 2147483647 w 142"/>
                    <a:gd name="T45" fmla="*/ 2147483647 h 165"/>
                    <a:gd name="T46" fmla="*/ 2147483647 w 142"/>
                    <a:gd name="T47" fmla="*/ 2147483647 h 165"/>
                    <a:gd name="T48" fmla="*/ 2147483647 w 142"/>
                    <a:gd name="T49" fmla="*/ 2147483647 h 165"/>
                    <a:gd name="T50" fmla="*/ 2147483647 w 142"/>
                    <a:gd name="T51" fmla="*/ 2147483647 h 165"/>
                    <a:gd name="T52" fmla="*/ 2147483647 w 142"/>
                    <a:gd name="T53" fmla="*/ 2147483647 h 165"/>
                    <a:gd name="T54" fmla="*/ 2147483647 w 142"/>
                    <a:gd name="T55" fmla="*/ 2147483647 h 165"/>
                    <a:gd name="T56" fmla="*/ 2147483647 w 142"/>
                    <a:gd name="T57" fmla="*/ 2147483647 h 165"/>
                    <a:gd name="T58" fmla="*/ 2147483647 w 142"/>
                    <a:gd name="T59" fmla="*/ 2147483647 h 165"/>
                    <a:gd name="T60" fmla="*/ 2147483647 w 142"/>
                    <a:gd name="T61" fmla="*/ 2147483647 h 165"/>
                    <a:gd name="T62" fmla="*/ 2147483647 w 142"/>
                    <a:gd name="T63" fmla="*/ 2147483647 h 165"/>
                    <a:gd name="T64" fmla="*/ 2147483647 w 142"/>
                    <a:gd name="T65" fmla="*/ 2147483647 h 165"/>
                    <a:gd name="T66" fmla="*/ 2147483647 w 142"/>
                    <a:gd name="T67" fmla="*/ 2147483647 h 165"/>
                    <a:gd name="T68" fmla="*/ 0 w 142"/>
                    <a:gd name="T69" fmla="*/ 2147483647 h 165"/>
                    <a:gd name="T70" fmla="*/ 2147483647 w 142"/>
                    <a:gd name="T71" fmla="*/ 2147483647 h 165"/>
                    <a:gd name="T72" fmla="*/ 2147483647 w 142"/>
                    <a:gd name="T73" fmla="*/ 2147483647 h 165"/>
                    <a:gd name="T74" fmla="*/ 2147483647 w 142"/>
                    <a:gd name="T75" fmla="*/ 2147483647 h 165"/>
                    <a:gd name="T76" fmla="*/ 2147483647 w 142"/>
                    <a:gd name="T77" fmla="*/ 2147483647 h 165"/>
                    <a:gd name="T78" fmla="*/ 2147483647 w 142"/>
                    <a:gd name="T79" fmla="*/ 2147483647 h 165"/>
                    <a:gd name="T80" fmla="*/ 2147483647 w 142"/>
                    <a:gd name="T81" fmla="*/ 2147483647 h 165"/>
                    <a:gd name="T82" fmla="*/ 2147483647 w 142"/>
                    <a:gd name="T83" fmla="*/ 0 h 165"/>
                    <a:gd name="T84" fmla="*/ 2147483647 w 142"/>
                    <a:gd name="T85" fmla="*/ 0 h 165"/>
                    <a:gd name="T86" fmla="*/ 2147483647 w 142"/>
                    <a:gd name="T87" fmla="*/ 2147483647 h 165"/>
                    <a:gd name="T88" fmla="*/ 2147483647 w 142"/>
                    <a:gd name="T89" fmla="*/ 2147483647 h 165"/>
                    <a:gd name="T90" fmla="*/ 2147483647 w 142"/>
                    <a:gd name="T91" fmla="*/ 2147483647 h 165"/>
                    <a:gd name="T92" fmla="*/ 2147483647 w 142"/>
                    <a:gd name="T93" fmla="*/ 2147483647 h 165"/>
                    <a:gd name="T94" fmla="*/ 2147483647 w 142"/>
                    <a:gd name="T95" fmla="*/ 2147483647 h 165"/>
                    <a:gd name="T96" fmla="*/ 2147483647 w 142"/>
                    <a:gd name="T97" fmla="*/ 2147483647 h 165"/>
                    <a:gd name="T98" fmla="*/ 2147483647 w 142"/>
                    <a:gd name="T99" fmla="*/ 2147483647 h 165"/>
                    <a:gd name="T100" fmla="*/ 2147483647 w 142"/>
                    <a:gd name="T101" fmla="*/ 2147483647 h 165"/>
                    <a:gd name="T102" fmla="*/ 2147483647 w 142"/>
                    <a:gd name="T103" fmla="*/ 2147483647 h 165"/>
                    <a:gd name="T104" fmla="*/ 2147483647 w 142"/>
                    <a:gd name="T105" fmla="*/ 2147483647 h 165"/>
                    <a:gd name="T106" fmla="*/ 2147483647 w 142"/>
                    <a:gd name="T107" fmla="*/ 2147483647 h 165"/>
                    <a:gd name="T108" fmla="*/ 2147483647 w 142"/>
                    <a:gd name="T109" fmla="*/ 2147483647 h 165"/>
                    <a:gd name="T110" fmla="*/ 2147483647 w 142"/>
                    <a:gd name="T111" fmla="*/ 2147483647 h 165"/>
                    <a:gd name="T112" fmla="*/ 2147483647 w 142"/>
                    <a:gd name="T113" fmla="*/ 2147483647 h 165"/>
                    <a:gd name="T114" fmla="*/ 2147483647 w 142"/>
                    <a:gd name="T115" fmla="*/ 2147483647 h 165"/>
                    <a:gd name="T116" fmla="*/ 2147483647 w 142"/>
                    <a:gd name="T117" fmla="*/ 2147483647 h 165"/>
                    <a:gd name="T118" fmla="*/ 2147483647 w 142"/>
                    <a:gd name="T119" fmla="*/ 2147483647 h 165"/>
                    <a:gd name="T120" fmla="*/ 2147483647 w 142"/>
                    <a:gd name="T121" fmla="*/ 2147483647 h 16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42"/>
                    <a:gd name="T184" fmla="*/ 0 h 165"/>
                    <a:gd name="T185" fmla="*/ 142 w 142"/>
                    <a:gd name="T186" fmla="*/ 165 h 16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42" h="165">
                      <a:moveTo>
                        <a:pt x="132" y="127"/>
                      </a:moveTo>
                      <a:lnTo>
                        <a:pt x="132" y="127"/>
                      </a:lnTo>
                      <a:lnTo>
                        <a:pt x="133" y="133"/>
                      </a:lnTo>
                      <a:lnTo>
                        <a:pt x="134" y="140"/>
                      </a:lnTo>
                      <a:lnTo>
                        <a:pt x="133" y="144"/>
                      </a:lnTo>
                      <a:lnTo>
                        <a:pt x="131" y="146"/>
                      </a:lnTo>
                      <a:lnTo>
                        <a:pt x="128" y="147"/>
                      </a:lnTo>
                      <a:lnTo>
                        <a:pt x="125" y="149"/>
                      </a:lnTo>
                      <a:lnTo>
                        <a:pt x="120" y="155"/>
                      </a:lnTo>
                      <a:lnTo>
                        <a:pt x="117" y="161"/>
                      </a:lnTo>
                      <a:lnTo>
                        <a:pt x="113" y="164"/>
                      </a:lnTo>
                      <a:lnTo>
                        <a:pt x="109" y="164"/>
                      </a:lnTo>
                      <a:lnTo>
                        <a:pt x="105" y="161"/>
                      </a:lnTo>
                      <a:lnTo>
                        <a:pt x="101" y="159"/>
                      </a:lnTo>
                      <a:lnTo>
                        <a:pt x="99" y="161"/>
                      </a:lnTo>
                      <a:lnTo>
                        <a:pt x="95" y="164"/>
                      </a:lnTo>
                      <a:lnTo>
                        <a:pt x="92" y="165"/>
                      </a:lnTo>
                      <a:lnTo>
                        <a:pt x="91" y="165"/>
                      </a:lnTo>
                      <a:lnTo>
                        <a:pt x="90" y="164"/>
                      </a:lnTo>
                      <a:lnTo>
                        <a:pt x="84" y="162"/>
                      </a:lnTo>
                      <a:lnTo>
                        <a:pt x="80" y="162"/>
                      </a:lnTo>
                      <a:lnTo>
                        <a:pt x="77" y="161"/>
                      </a:lnTo>
                      <a:lnTo>
                        <a:pt x="75" y="161"/>
                      </a:lnTo>
                      <a:lnTo>
                        <a:pt x="72" y="161"/>
                      </a:lnTo>
                      <a:lnTo>
                        <a:pt x="70" y="160"/>
                      </a:lnTo>
                      <a:lnTo>
                        <a:pt x="68" y="160"/>
                      </a:lnTo>
                      <a:lnTo>
                        <a:pt x="68" y="158"/>
                      </a:lnTo>
                      <a:lnTo>
                        <a:pt x="68" y="155"/>
                      </a:lnTo>
                      <a:lnTo>
                        <a:pt x="71" y="151"/>
                      </a:lnTo>
                      <a:lnTo>
                        <a:pt x="75" y="145"/>
                      </a:lnTo>
                      <a:lnTo>
                        <a:pt x="77" y="140"/>
                      </a:lnTo>
                      <a:lnTo>
                        <a:pt x="78" y="132"/>
                      </a:lnTo>
                      <a:lnTo>
                        <a:pt x="80" y="125"/>
                      </a:lnTo>
                      <a:lnTo>
                        <a:pt x="78" y="121"/>
                      </a:lnTo>
                      <a:lnTo>
                        <a:pt x="77" y="117"/>
                      </a:lnTo>
                      <a:lnTo>
                        <a:pt x="75" y="114"/>
                      </a:lnTo>
                      <a:lnTo>
                        <a:pt x="72" y="112"/>
                      </a:lnTo>
                      <a:lnTo>
                        <a:pt x="62" y="107"/>
                      </a:lnTo>
                      <a:lnTo>
                        <a:pt x="53" y="102"/>
                      </a:lnTo>
                      <a:lnTo>
                        <a:pt x="43" y="97"/>
                      </a:lnTo>
                      <a:lnTo>
                        <a:pt x="34" y="90"/>
                      </a:lnTo>
                      <a:lnTo>
                        <a:pt x="33" y="89"/>
                      </a:lnTo>
                      <a:lnTo>
                        <a:pt x="33" y="87"/>
                      </a:lnTo>
                      <a:lnTo>
                        <a:pt x="31" y="82"/>
                      </a:lnTo>
                      <a:lnTo>
                        <a:pt x="31" y="77"/>
                      </a:lnTo>
                      <a:lnTo>
                        <a:pt x="30" y="76"/>
                      </a:lnTo>
                      <a:lnTo>
                        <a:pt x="29" y="75"/>
                      </a:lnTo>
                      <a:lnTo>
                        <a:pt x="21" y="70"/>
                      </a:lnTo>
                      <a:lnTo>
                        <a:pt x="15" y="65"/>
                      </a:lnTo>
                      <a:lnTo>
                        <a:pt x="11" y="62"/>
                      </a:lnTo>
                      <a:lnTo>
                        <a:pt x="9" y="58"/>
                      </a:lnTo>
                      <a:lnTo>
                        <a:pt x="5" y="53"/>
                      </a:lnTo>
                      <a:lnTo>
                        <a:pt x="0" y="51"/>
                      </a:lnTo>
                      <a:lnTo>
                        <a:pt x="4" y="49"/>
                      </a:lnTo>
                      <a:lnTo>
                        <a:pt x="5" y="46"/>
                      </a:lnTo>
                      <a:lnTo>
                        <a:pt x="7" y="39"/>
                      </a:lnTo>
                      <a:lnTo>
                        <a:pt x="10" y="34"/>
                      </a:lnTo>
                      <a:lnTo>
                        <a:pt x="11" y="29"/>
                      </a:lnTo>
                      <a:lnTo>
                        <a:pt x="14" y="17"/>
                      </a:lnTo>
                      <a:lnTo>
                        <a:pt x="16" y="11"/>
                      </a:lnTo>
                      <a:lnTo>
                        <a:pt x="19" y="6"/>
                      </a:lnTo>
                      <a:lnTo>
                        <a:pt x="23" y="4"/>
                      </a:lnTo>
                      <a:lnTo>
                        <a:pt x="29" y="2"/>
                      </a:lnTo>
                      <a:lnTo>
                        <a:pt x="37" y="1"/>
                      </a:lnTo>
                      <a:lnTo>
                        <a:pt x="43" y="0"/>
                      </a:lnTo>
                      <a:lnTo>
                        <a:pt x="49" y="0"/>
                      </a:lnTo>
                      <a:lnTo>
                        <a:pt x="52" y="0"/>
                      </a:lnTo>
                      <a:lnTo>
                        <a:pt x="56" y="1"/>
                      </a:lnTo>
                      <a:lnTo>
                        <a:pt x="64" y="5"/>
                      </a:lnTo>
                      <a:lnTo>
                        <a:pt x="68" y="6"/>
                      </a:lnTo>
                      <a:lnTo>
                        <a:pt x="71" y="8"/>
                      </a:lnTo>
                      <a:lnTo>
                        <a:pt x="75" y="13"/>
                      </a:lnTo>
                      <a:lnTo>
                        <a:pt x="77" y="18"/>
                      </a:lnTo>
                      <a:lnTo>
                        <a:pt x="78" y="24"/>
                      </a:lnTo>
                      <a:lnTo>
                        <a:pt x="78" y="29"/>
                      </a:lnTo>
                      <a:lnTo>
                        <a:pt x="78" y="39"/>
                      </a:lnTo>
                      <a:lnTo>
                        <a:pt x="78" y="46"/>
                      </a:lnTo>
                      <a:lnTo>
                        <a:pt x="80" y="47"/>
                      </a:lnTo>
                      <a:lnTo>
                        <a:pt x="82" y="49"/>
                      </a:lnTo>
                      <a:lnTo>
                        <a:pt x="94" y="51"/>
                      </a:lnTo>
                      <a:lnTo>
                        <a:pt x="105" y="53"/>
                      </a:lnTo>
                      <a:lnTo>
                        <a:pt x="111" y="56"/>
                      </a:lnTo>
                      <a:lnTo>
                        <a:pt x="117" y="58"/>
                      </a:lnTo>
                      <a:lnTo>
                        <a:pt x="119" y="61"/>
                      </a:lnTo>
                      <a:lnTo>
                        <a:pt x="122" y="64"/>
                      </a:lnTo>
                      <a:lnTo>
                        <a:pt x="123" y="71"/>
                      </a:lnTo>
                      <a:lnTo>
                        <a:pt x="122" y="85"/>
                      </a:lnTo>
                      <a:lnTo>
                        <a:pt x="123" y="89"/>
                      </a:lnTo>
                      <a:lnTo>
                        <a:pt x="125" y="90"/>
                      </a:lnTo>
                      <a:lnTo>
                        <a:pt x="128" y="91"/>
                      </a:lnTo>
                      <a:lnTo>
                        <a:pt x="132" y="90"/>
                      </a:lnTo>
                      <a:lnTo>
                        <a:pt x="138" y="89"/>
                      </a:lnTo>
                      <a:lnTo>
                        <a:pt x="142" y="87"/>
                      </a:lnTo>
                      <a:lnTo>
                        <a:pt x="139" y="97"/>
                      </a:lnTo>
                      <a:lnTo>
                        <a:pt x="136" y="107"/>
                      </a:lnTo>
                      <a:lnTo>
                        <a:pt x="133" y="117"/>
                      </a:lnTo>
                      <a:lnTo>
                        <a:pt x="132" y="12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1" name="Freeform 867">
                  <a:extLst>
                    <a:ext uri="{FF2B5EF4-FFF2-40B4-BE49-F238E27FC236}">
                      <a16:creationId xmlns:a16="http://schemas.microsoft.com/office/drawing/2014/main" id="{A184DA55-8D67-A74F-A93E-B8112141FE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7026" y="4933578"/>
                  <a:ext cx="275256" cy="352210"/>
                </a:xfrm>
                <a:custGeom>
                  <a:avLst/>
                  <a:gdLst>
                    <a:gd name="T0" fmla="*/ 2147483647 w 201"/>
                    <a:gd name="T1" fmla="*/ 2147483647 h 238"/>
                    <a:gd name="T2" fmla="*/ 2147483647 w 201"/>
                    <a:gd name="T3" fmla="*/ 2147483647 h 238"/>
                    <a:gd name="T4" fmla="*/ 2147483647 w 201"/>
                    <a:gd name="T5" fmla="*/ 2147483647 h 238"/>
                    <a:gd name="T6" fmla="*/ 2147483647 w 201"/>
                    <a:gd name="T7" fmla="*/ 2147483647 h 238"/>
                    <a:gd name="T8" fmla="*/ 2147483647 w 201"/>
                    <a:gd name="T9" fmla="*/ 2147483647 h 238"/>
                    <a:gd name="T10" fmla="*/ 2147483647 w 201"/>
                    <a:gd name="T11" fmla="*/ 2147483647 h 238"/>
                    <a:gd name="T12" fmla="*/ 2147483647 w 201"/>
                    <a:gd name="T13" fmla="*/ 2147483647 h 238"/>
                    <a:gd name="T14" fmla="*/ 2147483647 w 201"/>
                    <a:gd name="T15" fmla="*/ 2147483647 h 238"/>
                    <a:gd name="T16" fmla="*/ 2147483647 w 201"/>
                    <a:gd name="T17" fmla="*/ 2147483647 h 238"/>
                    <a:gd name="T18" fmla="*/ 2147483647 w 201"/>
                    <a:gd name="T19" fmla="*/ 2147483647 h 238"/>
                    <a:gd name="T20" fmla="*/ 2147483647 w 201"/>
                    <a:gd name="T21" fmla="*/ 2147483647 h 238"/>
                    <a:gd name="T22" fmla="*/ 2147483647 w 201"/>
                    <a:gd name="T23" fmla="*/ 2147483647 h 238"/>
                    <a:gd name="T24" fmla="*/ 2147483647 w 201"/>
                    <a:gd name="T25" fmla="*/ 2147483647 h 238"/>
                    <a:gd name="T26" fmla="*/ 2147483647 w 201"/>
                    <a:gd name="T27" fmla="*/ 2147483647 h 238"/>
                    <a:gd name="T28" fmla="*/ 2147483647 w 201"/>
                    <a:gd name="T29" fmla="*/ 2147483647 h 238"/>
                    <a:gd name="T30" fmla="*/ 2147483647 w 201"/>
                    <a:gd name="T31" fmla="*/ 2147483647 h 238"/>
                    <a:gd name="T32" fmla="*/ 2147483647 w 201"/>
                    <a:gd name="T33" fmla="*/ 2147483647 h 238"/>
                    <a:gd name="T34" fmla="*/ 2147483647 w 201"/>
                    <a:gd name="T35" fmla="*/ 2147483647 h 238"/>
                    <a:gd name="T36" fmla="*/ 2147483647 w 201"/>
                    <a:gd name="T37" fmla="*/ 2147483647 h 238"/>
                    <a:gd name="T38" fmla="*/ 2147483647 w 201"/>
                    <a:gd name="T39" fmla="*/ 2147483647 h 238"/>
                    <a:gd name="T40" fmla="*/ 2147483647 w 201"/>
                    <a:gd name="T41" fmla="*/ 2147483647 h 238"/>
                    <a:gd name="T42" fmla="*/ 2147483647 w 201"/>
                    <a:gd name="T43" fmla="*/ 2147483647 h 238"/>
                    <a:gd name="T44" fmla="*/ 2147483647 w 201"/>
                    <a:gd name="T45" fmla="*/ 2147483647 h 238"/>
                    <a:gd name="T46" fmla="*/ 2147483647 w 201"/>
                    <a:gd name="T47" fmla="*/ 2147483647 h 238"/>
                    <a:gd name="T48" fmla="*/ 2147483647 w 201"/>
                    <a:gd name="T49" fmla="*/ 2147483647 h 238"/>
                    <a:gd name="T50" fmla="*/ 2147483647 w 201"/>
                    <a:gd name="T51" fmla="*/ 2147483647 h 238"/>
                    <a:gd name="T52" fmla="*/ 2147483647 w 201"/>
                    <a:gd name="T53" fmla="*/ 2147483647 h 238"/>
                    <a:gd name="T54" fmla="*/ 2147483647 w 201"/>
                    <a:gd name="T55" fmla="*/ 2147483647 h 238"/>
                    <a:gd name="T56" fmla="*/ 2147483647 w 201"/>
                    <a:gd name="T57" fmla="*/ 2147483647 h 238"/>
                    <a:gd name="T58" fmla="*/ 2147483647 w 201"/>
                    <a:gd name="T59" fmla="*/ 2147483647 h 238"/>
                    <a:gd name="T60" fmla="*/ 2147483647 w 201"/>
                    <a:gd name="T61" fmla="*/ 2147483647 h 238"/>
                    <a:gd name="T62" fmla="*/ 0 w 201"/>
                    <a:gd name="T63" fmla="*/ 2147483647 h 238"/>
                    <a:gd name="T64" fmla="*/ 2147483647 w 201"/>
                    <a:gd name="T65" fmla="*/ 2147483647 h 238"/>
                    <a:gd name="T66" fmla="*/ 2147483647 w 201"/>
                    <a:gd name="T67" fmla="*/ 2147483647 h 238"/>
                    <a:gd name="T68" fmla="*/ 2147483647 w 201"/>
                    <a:gd name="T69" fmla="*/ 2147483647 h 238"/>
                    <a:gd name="T70" fmla="*/ 2147483647 w 201"/>
                    <a:gd name="T71" fmla="*/ 2147483647 h 238"/>
                    <a:gd name="T72" fmla="*/ 2147483647 w 201"/>
                    <a:gd name="T73" fmla="*/ 2147483647 h 238"/>
                    <a:gd name="T74" fmla="*/ 2147483647 w 201"/>
                    <a:gd name="T75" fmla="*/ 2147483647 h 238"/>
                    <a:gd name="T76" fmla="*/ 2147483647 w 201"/>
                    <a:gd name="T77" fmla="*/ 2147483647 h 238"/>
                    <a:gd name="T78" fmla="*/ 2147483647 w 201"/>
                    <a:gd name="T79" fmla="*/ 2147483647 h 238"/>
                    <a:gd name="T80" fmla="*/ 2147483647 w 201"/>
                    <a:gd name="T81" fmla="*/ 2147483647 h 238"/>
                    <a:gd name="T82" fmla="*/ 2147483647 w 201"/>
                    <a:gd name="T83" fmla="*/ 2147483647 h 238"/>
                    <a:gd name="T84" fmla="*/ 2147483647 w 201"/>
                    <a:gd name="T85" fmla="*/ 2147483647 h 238"/>
                    <a:gd name="T86" fmla="*/ 2147483647 w 201"/>
                    <a:gd name="T87" fmla="*/ 2147483647 h 238"/>
                    <a:gd name="T88" fmla="*/ 2147483647 w 201"/>
                    <a:gd name="T89" fmla="*/ 2147483647 h 238"/>
                    <a:gd name="T90" fmla="*/ 2147483647 w 201"/>
                    <a:gd name="T91" fmla="*/ 2147483647 h 238"/>
                    <a:gd name="T92" fmla="*/ 2147483647 w 201"/>
                    <a:gd name="T93" fmla="*/ 2147483647 h 238"/>
                    <a:gd name="T94" fmla="*/ 2147483647 w 201"/>
                    <a:gd name="T95" fmla="*/ 2147483647 h 238"/>
                    <a:gd name="T96" fmla="*/ 2147483647 w 201"/>
                    <a:gd name="T97" fmla="*/ 2147483647 h 238"/>
                    <a:gd name="T98" fmla="*/ 2147483647 w 201"/>
                    <a:gd name="T99" fmla="*/ 2147483647 h 238"/>
                    <a:gd name="T100" fmla="*/ 2147483647 w 201"/>
                    <a:gd name="T101" fmla="*/ 2147483647 h 238"/>
                    <a:gd name="T102" fmla="*/ 2147483647 w 201"/>
                    <a:gd name="T103" fmla="*/ 2147483647 h 238"/>
                    <a:gd name="T104" fmla="*/ 2147483647 w 201"/>
                    <a:gd name="T105" fmla="*/ 2147483647 h 238"/>
                    <a:gd name="T106" fmla="*/ 2147483647 w 201"/>
                    <a:gd name="T107" fmla="*/ 2147483647 h 238"/>
                    <a:gd name="T108" fmla="*/ 2147483647 w 201"/>
                    <a:gd name="T109" fmla="*/ 2147483647 h 238"/>
                    <a:gd name="T110" fmla="*/ 2147483647 w 201"/>
                    <a:gd name="T111" fmla="*/ 2147483647 h 238"/>
                    <a:gd name="T112" fmla="*/ 2147483647 w 201"/>
                    <a:gd name="T113" fmla="*/ 2147483647 h 238"/>
                    <a:gd name="T114" fmla="*/ 2147483647 w 201"/>
                    <a:gd name="T115" fmla="*/ 2147483647 h 238"/>
                    <a:gd name="T116" fmla="*/ 2147483647 w 201"/>
                    <a:gd name="T117" fmla="*/ 2147483647 h 238"/>
                    <a:gd name="T118" fmla="*/ 2147483647 w 201"/>
                    <a:gd name="T119" fmla="*/ 2147483647 h 238"/>
                    <a:gd name="T120" fmla="*/ 2147483647 w 201"/>
                    <a:gd name="T121" fmla="*/ 2147483647 h 238"/>
                    <a:gd name="T122" fmla="*/ 2147483647 w 201"/>
                    <a:gd name="T123" fmla="*/ 2147483647 h 238"/>
                    <a:gd name="T124" fmla="*/ 2147483647 w 201"/>
                    <a:gd name="T125" fmla="*/ 2147483647 h 23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01"/>
                    <a:gd name="T190" fmla="*/ 0 h 238"/>
                    <a:gd name="T191" fmla="*/ 201 w 201"/>
                    <a:gd name="T192" fmla="*/ 238 h 23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01" h="238">
                      <a:moveTo>
                        <a:pt x="193" y="183"/>
                      </a:moveTo>
                      <a:lnTo>
                        <a:pt x="194" y="177"/>
                      </a:lnTo>
                      <a:lnTo>
                        <a:pt x="196" y="171"/>
                      </a:lnTo>
                      <a:lnTo>
                        <a:pt x="198" y="165"/>
                      </a:lnTo>
                      <a:lnTo>
                        <a:pt x="199" y="160"/>
                      </a:lnTo>
                      <a:lnTo>
                        <a:pt x="201" y="154"/>
                      </a:lnTo>
                      <a:lnTo>
                        <a:pt x="201" y="148"/>
                      </a:lnTo>
                      <a:lnTo>
                        <a:pt x="199" y="143"/>
                      </a:lnTo>
                      <a:lnTo>
                        <a:pt x="197" y="138"/>
                      </a:lnTo>
                      <a:lnTo>
                        <a:pt x="193" y="133"/>
                      </a:lnTo>
                      <a:lnTo>
                        <a:pt x="188" y="129"/>
                      </a:lnTo>
                      <a:lnTo>
                        <a:pt x="187" y="128"/>
                      </a:lnTo>
                      <a:lnTo>
                        <a:pt x="188" y="126"/>
                      </a:lnTo>
                      <a:lnTo>
                        <a:pt x="191" y="122"/>
                      </a:lnTo>
                      <a:lnTo>
                        <a:pt x="191" y="117"/>
                      </a:lnTo>
                      <a:lnTo>
                        <a:pt x="188" y="115"/>
                      </a:lnTo>
                      <a:lnTo>
                        <a:pt x="185" y="113"/>
                      </a:lnTo>
                      <a:lnTo>
                        <a:pt x="182" y="111"/>
                      </a:lnTo>
                      <a:lnTo>
                        <a:pt x="173" y="110"/>
                      </a:lnTo>
                      <a:lnTo>
                        <a:pt x="164" y="109"/>
                      </a:lnTo>
                      <a:lnTo>
                        <a:pt x="161" y="107"/>
                      </a:lnTo>
                      <a:lnTo>
                        <a:pt x="160" y="105"/>
                      </a:lnTo>
                      <a:lnTo>
                        <a:pt x="158" y="100"/>
                      </a:lnTo>
                      <a:lnTo>
                        <a:pt x="156" y="94"/>
                      </a:lnTo>
                      <a:lnTo>
                        <a:pt x="158" y="88"/>
                      </a:lnTo>
                      <a:lnTo>
                        <a:pt x="159" y="81"/>
                      </a:lnTo>
                      <a:lnTo>
                        <a:pt x="158" y="75"/>
                      </a:lnTo>
                      <a:lnTo>
                        <a:pt x="154" y="68"/>
                      </a:lnTo>
                      <a:lnTo>
                        <a:pt x="151" y="62"/>
                      </a:lnTo>
                      <a:lnTo>
                        <a:pt x="144" y="59"/>
                      </a:lnTo>
                      <a:lnTo>
                        <a:pt x="136" y="58"/>
                      </a:lnTo>
                      <a:lnTo>
                        <a:pt x="128" y="56"/>
                      </a:lnTo>
                      <a:lnTo>
                        <a:pt x="122" y="51"/>
                      </a:lnTo>
                      <a:lnTo>
                        <a:pt x="113" y="43"/>
                      </a:lnTo>
                      <a:lnTo>
                        <a:pt x="108" y="38"/>
                      </a:lnTo>
                      <a:lnTo>
                        <a:pt x="103" y="34"/>
                      </a:lnTo>
                      <a:lnTo>
                        <a:pt x="85" y="28"/>
                      </a:lnTo>
                      <a:lnTo>
                        <a:pt x="80" y="26"/>
                      </a:lnTo>
                      <a:lnTo>
                        <a:pt x="76" y="24"/>
                      </a:lnTo>
                      <a:lnTo>
                        <a:pt x="74" y="20"/>
                      </a:lnTo>
                      <a:lnTo>
                        <a:pt x="71" y="17"/>
                      </a:lnTo>
                      <a:lnTo>
                        <a:pt x="71" y="11"/>
                      </a:lnTo>
                      <a:lnTo>
                        <a:pt x="70" y="2"/>
                      </a:lnTo>
                      <a:lnTo>
                        <a:pt x="70" y="1"/>
                      </a:lnTo>
                      <a:lnTo>
                        <a:pt x="67" y="0"/>
                      </a:lnTo>
                      <a:lnTo>
                        <a:pt x="65" y="1"/>
                      </a:lnTo>
                      <a:lnTo>
                        <a:pt x="62" y="1"/>
                      </a:lnTo>
                      <a:lnTo>
                        <a:pt x="48" y="4"/>
                      </a:lnTo>
                      <a:lnTo>
                        <a:pt x="43" y="5"/>
                      </a:lnTo>
                      <a:lnTo>
                        <a:pt x="38" y="9"/>
                      </a:lnTo>
                      <a:lnTo>
                        <a:pt x="34" y="13"/>
                      </a:lnTo>
                      <a:lnTo>
                        <a:pt x="23" y="23"/>
                      </a:lnTo>
                      <a:lnTo>
                        <a:pt x="10" y="33"/>
                      </a:lnTo>
                      <a:lnTo>
                        <a:pt x="6" y="36"/>
                      </a:lnTo>
                      <a:lnTo>
                        <a:pt x="4" y="39"/>
                      </a:lnTo>
                      <a:lnTo>
                        <a:pt x="3" y="43"/>
                      </a:lnTo>
                      <a:lnTo>
                        <a:pt x="3" y="46"/>
                      </a:lnTo>
                      <a:lnTo>
                        <a:pt x="4" y="75"/>
                      </a:lnTo>
                      <a:lnTo>
                        <a:pt x="9" y="103"/>
                      </a:lnTo>
                      <a:lnTo>
                        <a:pt x="9" y="108"/>
                      </a:lnTo>
                      <a:lnTo>
                        <a:pt x="8" y="114"/>
                      </a:lnTo>
                      <a:lnTo>
                        <a:pt x="3" y="123"/>
                      </a:lnTo>
                      <a:lnTo>
                        <a:pt x="0" y="128"/>
                      </a:lnTo>
                      <a:lnTo>
                        <a:pt x="0" y="134"/>
                      </a:lnTo>
                      <a:lnTo>
                        <a:pt x="0" y="139"/>
                      </a:lnTo>
                      <a:lnTo>
                        <a:pt x="3" y="143"/>
                      </a:lnTo>
                      <a:lnTo>
                        <a:pt x="6" y="148"/>
                      </a:lnTo>
                      <a:lnTo>
                        <a:pt x="13" y="155"/>
                      </a:lnTo>
                      <a:lnTo>
                        <a:pt x="17" y="164"/>
                      </a:lnTo>
                      <a:lnTo>
                        <a:pt x="20" y="173"/>
                      </a:lnTo>
                      <a:lnTo>
                        <a:pt x="22" y="183"/>
                      </a:lnTo>
                      <a:lnTo>
                        <a:pt x="22" y="190"/>
                      </a:lnTo>
                      <a:lnTo>
                        <a:pt x="24" y="197"/>
                      </a:lnTo>
                      <a:lnTo>
                        <a:pt x="28" y="209"/>
                      </a:lnTo>
                      <a:lnTo>
                        <a:pt x="32" y="220"/>
                      </a:lnTo>
                      <a:lnTo>
                        <a:pt x="36" y="229"/>
                      </a:lnTo>
                      <a:lnTo>
                        <a:pt x="38" y="236"/>
                      </a:lnTo>
                      <a:lnTo>
                        <a:pt x="41" y="238"/>
                      </a:lnTo>
                      <a:lnTo>
                        <a:pt x="43" y="238"/>
                      </a:lnTo>
                      <a:lnTo>
                        <a:pt x="46" y="237"/>
                      </a:lnTo>
                      <a:lnTo>
                        <a:pt x="48" y="234"/>
                      </a:lnTo>
                      <a:lnTo>
                        <a:pt x="51" y="229"/>
                      </a:lnTo>
                      <a:lnTo>
                        <a:pt x="55" y="226"/>
                      </a:lnTo>
                      <a:lnTo>
                        <a:pt x="56" y="225"/>
                      </a:lnTo>
                      <a:lnTo>
                        <a:pt x="60" y="225"/>
                      </a:lnTo>
                      <a:lnTo>
                        <a:pt x="62" y="228"/>
                      </a:lnTo>
                      <a:lnTo>
                        <a:pt x="64" y="230"/>
                      </a:lnTo>
                      <a:lnTo>
                        <a:pt x="66" y="231"/>
                      </a:lnTo>
                      <a:lnTo>
                        <a:pt x="67" y="231"/>
                      </a:lnTo>
                      <a:lnTo>
                        <a:pt x="70" y="230"/>
                      </a:lnTo>
                      <a:lnTo>
                        <a:pt x="72" y="228"/>
                      </a:lnTo>
                      <a:lnTo>
                        <a:pt x="75" y="226"/>
                      </a:lnTo>
                      <a:lnTo>
                        <a:pt x="79" y="228"/>
                      </a:lnTo>
                      <a:lnTo>
                        <a:pt x="81" y="229"/>
                      </a:lnTo>
                      <a:lnTo>
                        <a:pt x="84" y="231"/>
                      </a:lnTo>
                      <a:lnTo>
                        <a:pt x="85" y="234"/>
                      </a:lnTo>
                      <a:lnTo>
                        <a:pt x="86" y="237"/>
                      </a:lnTo>
                      <a:lnTo>
                        <a:pt x="89" y="238"/>
                      </a:lnTo>
                      <a:lnTo>
                        <a:pt x="92" y="238"/>
                      </a:lnTo>
                      <a:lnTo>
                        <a:pt x="94" y="237"/>
                      </a:lnTo>
                      <a:lnTo>
                        <a:pt x="95" y="230"/>
                      </a:lnTo>
                      <a:lnTo>
                        <a:pt x="98" y="228"/>
                      </a:lnTo>
                      <a:lnTo>
                        <a:pt x="99" y="226"/>
                      </a:lnTo>
                      <a:lnTo>
                        <a:pt x="103" y="225"/>
                      </a:lnTo>
                      <a:lnTo>
                        <a:pt x="105" y="225"/>
                      </a:lnTo>
                      <a:lnTo>
                        <a:pt x="113" y="226"/>
                      </a:lnTo>
                      <a:lnTo>
                        <a:pt x="121" y="225"/>
                      </a:lnTo>
                      <a:lnTo>
                        <a:pt x="122" y="225"/>
                      </a:lnTo>
                      <a:lnTo>
                        <a:pt x="126" y="223"/>
                      </a:lnTo>
                      <a:lnTo>
                        <a:pt x="127" y="220"/>
                      </a:lnTo>
                      <a:lnTo>
                        <a:pt x="130" y="213"/>
                      </a:lnTo>
                      <a:lnTo>
                        <a:pt x="132" y="209"/>
                      </a:lnTo>
                      <a:lnTo>
                        <a:pt x="133" y="203"/>
                      </a:lnTo>
                      <a:lnTo>
                        <a:pt x="136" y="191"/>
                      </a:lnTo>
                      <a:lnTo>
                        <a:pt x="138" y="185"/>
                      </a:lnTo>
                      <a:lnTo>
                        <a:pt x="141" y="180"/>
                      </a:lnTo>
                      <a:lnTo>
                        <a:pt x="145" y="178"/>
                      </a:lnTo>
                      <a:lnTo>
                        <a:pt x="151" y="177"/>
                      </a:lnTo>
                      <a:lnTo>
                        <a:pt x="159" y="175"/>
                      </a:lnTo>
                      <a:lnTo>
                        <a:pt x="165" y="174"/>
                      </a:lnTo>
                      <a:lnTo>
                        <a:pt x="172" y="174"/>
                      </a:lnTo>
                      <a:lnTo>
                        <a:pt x="174" y="174"/>
                      </a:lnTo>
                      <a:lnTo>
                        <a:pt x="178" y="175"/>
                      </a:lnTo>
                      <a:lnTo>
                        <a:pt x="187" y="179"/>
                      </a:lnTo>
                      <a:lnTo>
                        <a:pt x="191" y="180"/>
                      </a:lnTo>
                      <a:lnTo>
                        <a:pt x="193" y="18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2" name="Freeform 869">
                  <a:extLst>
                    <a:ext uri="{FF2B5EF4-FFF2-40B4-BE49-F238E27FC236}">
                      <a16:creationId xmlns:a16="http://schemas.microsoft.com/office/drawing/2014/main" id="{D48109C5-4DBB-D84D-A799-519A7CEDFC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543" y="4932099"/>
                  <a:ext cx="273777" cy="352210"/>
                </a:xfrm>
                <a:custGeom>
                  <a:avLst/>
                  <a:gdLst>
                    <a:gd name="T0" fmla="*/ 2147483647 w 200"/>
                    <a:gd name="T1" fmla="*/ 2147483647 h 238"/>
                    <a:gd name="T2" fmla="*/ 2147483647 w 200"/>
                    <a:gd name="T3" fmla="*/ 2147483647 h 238"/>
                    <a:gd name="T4" fmla="*/ 2147483647 w 200"/>
                    <a:gd name="T5" fmla="*/ 2147483647 h 238"/>
                    <a:gd name="T6" fmla="*/ 2147483647 w 200"/>
                    <a:gd name="T7" fmla="*/ 2147483647 h 238"/>
                    <a:gd name="T8" fmla="*/ 2147483647 w 200"/>
                    <a:gd name="T9" fmla="*/ 2147483647 h 238"/>
                    <a:gd name="T10" fmla="*/ 2147483647 w 200"/>
                    <a:gd name="T11" fmla="*/ 2147483647 h 238"/>
                    <a:gd name="T12" fmla="*/ 2147483647 w 200"/>
                    <a:gd name="T13" fmla="*/ 2147483647 h 238"/>
                    <a:gd name="T14" fmla="*/ 2147483647 w 200"/>
                    <a:gd name="T15" fmla="*/ 2147483647 h 238"/>
                    <a:gd name="T16" fmla="*/ 2147483647 w 200"/>
                    <a:gd name="T17" fmla="*/ 2147483647 h 238"/>
                    <a:gd name="T18" fmla="*/ 2147483647 w 200"/>
                    <a:gd name="T19" fmla="*/ 2147483647 h 238"/>
                    <a:gd name="T20" fmla="*/ 2147483647 w 200"/>
                    <a:gd name="T21" fmla="*/ 2147483647 h 238"/>
                    <a:gd name="T22" fmla="*/ 2147483647 w 200"/>
                    <a:gd name="T23" fmla="*/ 2147483647 h 238"/>
                    <a:gd name="T24" fmla="*/ 2147483647 w 200"/>
                    <a:gd name="T25" fmla="*/ 2147483647 h 238"/>
                    <a:gd name="T26" fmla="*/ 2147483647 w 200"/>
                    <a:gd name="T27" fmla="*/ 2147483647 h 238"/>
                    <a:gd name="T28" fmla="*/ 2147483647 w 200"/>
                    <a:gd name="T29" fmla="*/ 2147483647 h 238"/>
                    <a:gd name="T30" fmla="*/ 2147483647 w 200"/>
                    <a:gd name="T31" fmla="*/ 2147483647 h 238"/>
                    <a:gd name="T32" fmla="*/ 2147483647 w 200"/>
                    <a:gd name="T33" fmla="*/ 2147483647 h 238"/>
                    <a:gd name="T34" fmla="*/ 2147483647 w 200"/>
                    <a:gd name="T35" fmla="*/ 2147483647 h 238"/>
                    <a:gd name="T36" fmla="*/ 2147483647 w 200"/>
                    <a:gd name="T37" fmla="*/ 2147483647 h 238"/>
                    <a:gd name="T38" fmla="*/ 2147483647 w 200"/>
                    <a:gd name="T39" fmla="*/ 2147483647 h 238"/>
                    <a:gd name="T40" fmla="*/ 2147483647 w 200"/>
                    <a:gd name="T41" fmla="*/ 2147483647 h 238"/>
                    <a:gd name="T42" fmla="*/ 2147483647 w 200"/>
                    <a:gd name="T43" fmla="*/ 2147483647 h 238"/>
                    <a:gd name="T44" fmla="*/ 2147483647 w 200"/>
                    <a:gd name="T45" fmla="*/ 2147483647 h 238"/>
                    <a:gd name="T46" fmla="*/ 2147483647 w 200"/>
                    <a:gd name="T47" fmla="*/ 2147483647 h 238"/>
                    <a:gd name="T48" fmla="*/ 2147483647 w 200"/>
                    <a:gd name="T49" fmla="*/ 2147483647 h 238"/>
                    <a:gd name="T50" fmla="*/ 2147483647 w 200"/>
                    <a:gd name="T51" fmla="*/ 2147483647 h 238"/>
                    <a:gd name="T52" fmla="*/ 0 w 200"/>
                    <a:gd name="T53" fmla="*/ 2147483647 h 238"/>
                    <a:gd name="T54" fmla="*/ 2147483647 w 200"/>
                    <a:gd name="T55" fmla="*/ 2147483647 h 238"/>
                    <a:gd name="T56" fmla="*/ 2147483647 w 200"/>
                    <a:gd name="T57" fmla="*/ 2147483647 h 238"/>
                    <a:gd name="T58" fmla="*/ 2147483647 w 200"/>
                    <a:gd name="T59" fmla="*/ 2147483647 h 238"/>
                    <a:gd name="T60" fmla="*/ 2147483647 w 200"/>
                    <a:gd name="T61" fmla="*/ 2147483647 h 238"/>
                    <a:gd name="T62" fmla="*/ 2147483647 w 200"/>
                    <a:gd name="T63" fmla="*/ 2147483647 h 238"/>
                    <a:gd name="T64" fmla="*/ 2147483647 w 200"/>
                    <a:gd name="T65" fmla="*/ 2147483647 h 238"/>
                    <a:gd name="T66" fmla="*/ 2147483647 w 200"/>
                    <a:gd name="T67" fmla="*/ 2147483647 h 238"/>
                    <a:gd name="T68" fmla="*/ 2147483647 w 200"/>
                    <a:gd name="T69" fmla="*/ 2147483647 h 238"/>
                    <a:gd name="T70" fmla="*/ 2147483647 w 200"/>
                    <a:gd name="T71" fmla="*/ 2147483647 h 238"/>
                    <a:gd name="T72" fmla="*/ 2147483647 w 200"/>
                    <a:gd name="T73" fmla="*/ 2147483647 h 238"/>
                    <a:gd name="T74" fmla="*/ 2147483647 w 200"/>
                    <a:gd name="T75" fmla="*/ 2147483647 h 238"/>
                    <a:gd name="T76" fmla="*/ 2147483647 w 200"/>
                    <a:gd name="T77" fmla="*/ 2147483647 h 238"/>
                    <a:gd name="T78" fmla="*/ 2147483647 w 200"/>
                    <a:gd name="T79" fmla="*/ 2147483647 h 238"/>
                    <a:gd name="T80" fmla="*/ 2147483647 w 200"/>
                    <a:gd name="T81" fmla="*/ 2147483647 h 238"/>
                    <a:gd name="T82" fmla="*/ 2147483647 w 200"/>
                    <a:gd name="T83" fmla="*/ 2147483647 h 238"/>
                    <a:gd name="T84" fmla="*/ 2147483647 w 200"/>
                    <a:gd name="T85" fmla="*/ 2147483647 h 238"/>
                    <a:gd name="T86" fmla="*/ 2147483647 w 200"/>
                    <a:gd name="T87" fmla="*/ 2147483647 h 238"/>
                    <a:gd name="T88" fmla="*/ 2147483647 w 200"/>
                    <a:gd name="T89" fmla="*/ 2147483647 h 238"/>
                    <a:gd name="T90" fmla="*/ 2147483647 w 200"/>
                    <a:gd name="T91" fmla="*/ 2147483647 h 238"/>
                    <a:gd name="T92" fmla="*/ 2147483647 w 200"/>
                    <a:gd name="T93" fmla="*/ 2147483647 h 238"/>
                    <a:gd name="T94" fmla="*/ 2147483647 w 200"/>
                    <a:gd name="T95" fmla="*/ 2147483647 h 238"/>
                    <a:gd name="T96" fmla="*/ 2147483647 w 200"/>
                    <a:gd name="T97" fmla="*/ 2147483647 h 238"/>
                    <a:gd name="T98" fmla="*/ 2147483647 w 200"/>
                    <a:gd name="T99" fmla="*/ 2147483647 h 238"/>
                    <a:gd name="T100" fmla="*/ 2147483647 w 200"/>
                    <a:gd name="T101" fmla="*/ 2147483647 h 238"/>
                    <a:gd name="T102" fmla="*/ 2147483647 w 200"/>
                    <a:gd name="T103" fmla="*/ 2147483647 h 238"/>
                    <a:gd name="T104" fmla="*/ 2147483647 w 200"/>
                    <a:gd name="T105" fmla="*/ 2147483647 h 238"/>
                    <a:gd name="T106" fmla="*/ 2147483647 w 200"/>
                    <a:gd name="T107" fmla="*/ 2147483647 h 23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0"/>
                    <a:gd name="T163" fmla="*/ 0 h 238"/>
                    <a:gd name="T164" fmla="*/ 200 w 200"/>
                    <a:gd name="T165" fmla="*/ 238 h 23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0" h="238">
                      <a:moveTo>
                        <a:pt x="193" y="182"/>
                      </a:moveTo>
                      <a:lnTo>
                        <a:pt x="193" y="182"/>
                      </a:lnTo>
                      <a:lnTo>
                        <a:pt x="194" y="176"/>
                      </a:lnTo>
                      <a:lnTo>
                        <a:pt x="195" y="171"/>
                      </a:lnTo>
                      <a:lnTo>
                        <a:pt x="198" y="165"/>
                      </a:lnTo>
                      <a:lnTo>
                        <a:pt x="199" y="160"/>
                      </a:lnTo>
                      <a:lnTo>
                        <a:pt x="200" y="154"/>
                      </a:lnTo>
                      <a:lnTo>
                        <a:pt x="200" y="148"/>
                      </a:lnTo>
                      <a:lnTo>
                        <a:pt x="199" y="143"/>
                      </a:lnTo>
                      <a:lnTo>
                        <a:pt x="197" y="137"/>
                      </a:lnTo>
                      <a:lnTo>
                        <a:pt x="193" y="133"/>
                      </a:lnTo>
                      <a:lnTo>
                        <a:pt x="188" y="129"/>
                      </a:lnTo>
                      <a:lnTo>
                        <a:pt x="186" y="128"/>
                      </a:lnTo>
                      <a:lnTo>
                        <a:pt x="188" y="125"/>
                      </a:lnTo>
                      <a:lnTo>
                        <a:pt x="190" y="122"/>
                      </a:lnTo>
                      <a:lnTo>
                        <a:pt x="190" y="117"/>
                      </a:lnTo>
                      <a:lnTo>
                        <a:pt x="188" y="115"/>
                      </a:lnTo>
                      <a:lnTo>
                        <a:pt x="185" y="112"/>
                      </a:lnTo>
                      <a:lnTo>
                        <a:pt x="181" y="111"/>
                      </a:lnTo>
                      <a:lnTo>
                        <a:pt x="173" y="110"/>
                      </a:lnTo>
                      <a:lnTo>
                        <a:pt x="164" y="109"/>
                      </a:lnTo>
                      <a:lnTo>
                        <a:pt x="161" y="106"/>
                      </a:lnTo>
                      <a:lnTo>
                        <a:pt x="160" y="105"/>
                      </a:lnTo>
                      <a:lnTo>
                        <a:pt x="157" y="99"/>
                      </a:lnTo>
                      <a:lnTo>
                        <a:pt x="156" y="93"/>
                      </a:lnTo>
                      <a:lnTo>
                        <a:pt x="157" y="88"/>
                      </a:lnTo>
                      <a:lnTo>
                        <a:pt x="159" y="80"/>
                      </a:lnTo>
                      <a:lnTo>
                        <a:pt x="157" y="74"/>
                      </a:lnTo>
                      <a:lnTo>
                        <a:pt x="153" y="67"/>
                      </a:lnTo>
                      <a:lnTo>
                        <a:pt x="151" y="61"/>
                      </a:lnTo>
                      <a:lnTo>
                        <a:pt x="143" y="59"/>
                      </a:lnTo>
                      <a:lnTo>
                        <a:pt x="136" y="58"/>
                      </a:lnTo>
                      <a:lnTo>
                        <a:pt x="128" y="56"/>
                      </a:lnTo>
                      <a:lnTo>
                        <a:pt x="122" y="51"/>
                      </a:lnTo>
                      <a:lnTo>
                        <a:pt x="113" y="42"/>
                      </a:lnTo>
                      <a:lnTo>
                        <a:pt x="108" y="38"/>
                      </a:lnTo>
                      <a:lnTo>
                        <a:pt x="103" y="34"/>
                      </a:lnTo>
                      <a:lnTo>
                        <a:pt x="85" y="28"/>
                      </a:lnTo>
                      <a:lnTo>
                        <a:pt x="80" y="26"/>
                      </a:lnTo>
                      <a:lnTo>
                        <a:pt x="76" y="24"/>
                      </a:lnTo>
                      <a:lnTo>
                        <a:pt x="73" y="20"/>
                      </a:lnTo>
                      <a:lnTo>
                        <a:pt x="71" y="16"/>
                      </a:lnTo>
                      <a:lnTo>
                        <a:pt x="71" y="10"/>
                      </a:lnTo>
                      <a:lnTo>
                        <a:pt x="70" y="2"/>
                      </a:lnTo>
                      <a:lnTo>
                        <a:pt x="70" y="1"/>
                      </a:lnTo>
                      <a:lnTo>
                        <a:pt x="67" y="0"/>
                      </a:lnTo>
                      <a:lnTo>
                        <a:pt x="65" y="1"/>
                      </a:lnTo>
                      <a:lnTo>
                        <a:pt x="62" y="1"/>
                      </a:lnTo>
                      <a:lnTo>
                        <a:pt x="48" y="3"/>
                      </a:lnTo>
                      <a:lnTo>
                        <a:pt x="43" y="5"/>
                      </a:lnTo>
                      <a:lnTo>
                        <a:pt x="38" y="9"/>
                      </a:lnTo>
                      <a:lnTo>
                        <a:pt x="34" y="13"/>
                      </a:lnTo>
                      <a:lnTo>
                        <a:pt x="23" y="22"/>
                      </a:lnTo>
                      <a:lnTo>
                        <a:pt x="10" y="33"/>
                      </a:lnTo>
                      <a:lnTo>
                        <a:pt x="6" y="35"/>
                      </a:lnTo>
                      <a:lnTo>
                        <a:pt x="4" y="39"/>
                      </a:lnTo>
                      <a:lnTo>
                        <a:pt x="2" y="42"/>
                      </a:lnTo>
                      <a:lnTo>
                        <a:pt x="2" y="46"/>
                      </a:lnTo>
                      <a:lnTo>
                        <a:pt x="4" y="74"/>
                      </a:lnTo>
                      <a:lnTo>
                        <a:pt x="9" y="103"/>
                      </a:lnTo>
                      <a:lnTo>
                        <a:pt x="9" y="108"/>
                      </a:lnTo>
                      <a:lnTo>
                        <a:pt x="7" y="114"/>
                      </a:lnTo>
                      <a:lnTo>
                        <a:pt x="2" y="123"/>
                      </a:lnTo>
                      <a:lnTo>
                        <a:pt x="0" y="128"/>
                      </a:lnTo>
                      <a:lnTo>
                        <a:pt x="0" y="134"/>
                      </a:lnTo>
                      <a:lnTo>
                        <a:pt x="0" y="139"/>
                      </a:lnTo>
                      <a:lnTo>
                        <a:pt x="2" y="143"/>
                      </a:lnTo>
                      <a:lnTo>
                        <a:pt x="6" y="148"/>
                      </a:lnTo>
                      <a:lnTo>
                        <a:pt x="13" y="155"/>
                      </a:lnTo>
                      <a:lnTo>
                        <a:pt x="16" y="163"/>
                      </a:lnTo>
                      <a:lnTo>
                        <a:pt x="20" y="173"/>
                      </a:lnTo>
                      <a:lnTo>
                        <a:pt x="21" y="182"/>
                      </a:lnTo>
                      <a:lnTo>
                        <a:pt x="21" y="189"/>
                      </a:lnTo>
                      <a:lnTo>
                        <a:pt x="24" y="197"/>
                      </a:lnTo>
                      <a:lnTo>
                        <a:pt x="28" y="208"/>
                      </a:lnTo>
                      <a:lnTo>
                        <a:pt x="32" y="220"/>
                      </a:lnTo>
                      <a:lnTo>
                        <a:pt x="35" y="229"/>
                      </a:lnTo>
                      <a:lnTo>
                        <a:pt x="38" y="236"/>
                      </a:lnTo>
                      <a:lnTo>
                        <a:pt x="40" y="238"/>
                      </a:lnTo>
                      <a:lnTo>
                        <a:pt x="43" y="238"/>
                      </a:lnTo>
                      <a:lnTo>
                        <a:pt x="46" y="237"/>
                      </a:lnTo>
                      <a:lnTo>
                        <a:pt x="48" y="233"/>
                      </a:lnTo>
                      <a:lnTo>
                        <a:pt x="51" y="229"/>
                      </a:lnTo>
                      <a:lnTo>
                        <a:pt x="54" y="226"/>
                      </a:lnTo>
                      <a:lnTo>
                        <a:pt x="56" y="225"/>
                      </a:lnTo>
                      <a:lnTo>
                        <a:pt x="59" y="225"/>
                      </a:lnTo>
                      <a:lnTo>
                        <a:pt x="62" y="227"/>
                      </a:lnTo>
                      <a:lnTo>
                        <a:pt x="63" y="230"/>
                      </a:lnTo>
                      <a:lnTo>
                        <a:pt x="66" y="231"/>
                      </a:lnTo>
                      <a:lnTo>
                        <a:pt x="67" y="231"/>
                      </a:lnTo>
                      <a:lnTo>
                        <a:pt x="70" y="230"/>
                      </a:lnTo>
                      <a:lnTo>
                        <a:pt x="72" y="227"/>
                      </a:lnTo>
                      <a:lnTo>
                        <a:pt x="75" y="226"/>
                      </a:lnTo>
                      <a:lnTo>
                        <a:pt x="79" y="227"/>
                      </a:lnTo>
                      <a:lnTo>
                        <a:pt x="81" y="229"/>
                      </a:lnTo>
                      <a:lnTo>
                        <a:pt x="84" y="231"/>
                      </a:lnTo>
                      <a:lnTo>
                        <a:pt x="85" y="233"/>
                      </a:lnTo>
                      <a:lnTo>
                        <a:pt x="86" y="237"/>
                      </a:lnTo>
                      <a:lnTo>
                        <a:pt x="89" y="238"/>
                      </a:lnTo>
                      <a:lnTo>
                        <a:pt x="91" y="238"/>
                      </a:lnTo>
                      <a:lnTo>
                        <a:pt x="94" y="237"/>
                      </a:lnTo>
                      <a:lnTo>
                        <a:pt x="95" y="230"/>
                      </a:lnTo>
                      <a:lnTo>
                        <a:pt x="98" y="227"/>
                      </a:lnTo>
                      <a:lnTo>
                        <a:pt x="99" y="226"/>
                      </a:lnTo>
                      <a:lnTo>
                        <a:pt x="103" y="225"/>
                      </a:lnTo>
                      <a:lnTo>
                        <a:pt x="105" y="225"/>
                      </a:lnTo>
                      <a:lnTo>
                        <a:pt x="113" y="226"/>
                      </a:lnTo>
                      <a:lnTo>
                        <a:pt x="120" y="225"/>
                      </a:lnTo>
                      <a:lnTo>
                        <a:pt x="122" y="225"/>
                      </a:lnTo>
                      <a:lnTo>
                        <a:pt x="126" y="223"/>
                      </a:lnTo>
                      <a:lnTo>
                        <a:pt x="127" y="220"/>
                      </a:lnTo>
                      <a:lnTo>
                        <a:pt x="129" y="213"/>
                      </a:lnTo>
                      <a:lnTo>
                        <a:pt x="132" y="208"/>
                      </a:lnTo>
                      <a:lnTo>
                        <a:pt x="133" y="203"/>
                      </a:lnTo>
                      <a:lnTo>
                        <a:pt x="136" y="191"/>
                      </a:lnTo>
                      <a:lnTo>
                        <a:pt x="138" y="185"/>
                      </a:lnTo>
                      <a:lnTo>
                        <a:pt x="141" y="180"/>
                      </a:lnTo>
                      <a:lnTo>
                        <a:pt x="145" y="178"/>
                      </a:lnTo>
                      <a:lnTo>
                        <a:pt x="151" y="176"/>
                      </a:lnTo>
                      <a:lnTo>
                        <a:pt x="159" y="175"/>
                      </a:lnTo>
                      <a:lnTo>
                        <a:pt x="165" y="174"/>
                      </a:lnTo>
                      <a:lnTo>
                        <a:pt x="171" y="174"/>
                      </a:lnTo>
                      <a:lnTo>
                        <a:pt x="174" y="174"/>
                      </a:lnTo>
                      <a:lnTo>
                        <a:pt x="178" y="175"/>
                      </a:lnTo>
                      <a:lnTo>
                        <a:pt x="186" y="179"/>
                      </a:lnTo>
                      <a:lnTo>
                        <a:pt x="190" y="180"/>
                      </a:lnTo>
                      <a:lnTo>
                        <a:pt x="193" y="18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3" name="Freeform 871">
                  <a:extLst>
                    <a:ext uri="{FF2B5EF4-FFF2-40B4-BE49-F238E27FC236}">
                      <a16:creationId xmlns:a16="http://schemas.microsoft.com/office/drawing/2014/main" id="{5C9C7BDB-B106-CF4A-A2FB-D154D7378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7685" y="4582848"/>
                  <a:ext cx="147987" cy="179064"/>
                </a:xfrm>
                <a:custGeom>
                  <a:avLst/>
                  <a:gdLst>
                    <a:gd name="T0" fmla="*/ 2147483647 w 108"/>
                    <a:gd name="T1" fmla="*/ 2147483647 h 121"/>
                    <a:gd name="T2" fmla="*/ 2147483647 w 108"/>
                    <a:gd name="T3" fmla="*/ 2147483647 h 121"/>
                    <a:gd name="T4" fmla="*/ 2147483647 w 108"/>
                    <a:gd name="T5" fmla="*/ 2147483647 h 121"/>
                    <a:gd name="T6" fmla="*/ 2147483647 w 108"/>
                    <a:gd name="T7" fmla="*/ 2147483647 h 121"/>
                    <a:gd name="T8" fmla="*/ 2147483647 w 108"/>
                    <a:gd name="T9" fmla="*/ 2147483647 h 121"/>
                    <a:gd name="T10" fmla="*/ 2147483647 w 108"/>
                    <a:gd name="T11" fmla="*/ 2147483647 h 121"/>
                    <a:gd name="T12" fmla="*/ 2147483647 w 108"/>
                    <a:gd name="T13" fmla="*/ 2147483647 h 121"/>
                    <a:gd name="T14" fmla="*/ 2147483647 w 108"/>
                    <a:gd name="T15" fmla="*/ 2147483647 h 121"/>
                    <a:gd name="T16" fmla="*/ 2147483647 w 108"/>
                    <a:gd name="T17" fmla="*/ 2147483647 h 121"/>
                    <a:gd name="T18" fmla="*/ 2147483647 w 108"/>
                    <a:gd name="T19" fmla="*/ 2147483647 h 121"/>
                    <a:gd name="T20" fmla="*/ 2147483647 w 108"/>
                    <a:gd name="T21" fmla="*/ 2147483647 h 121"/>
                    <a:gd name="T22" fmla="*/ 2147483647 w 108"/>
                    <a:gd name="T23" fmla="*/ 2147483647 h 121"/>
                    <a:gd name="T24" fmla="*/ 2147483647 w 108"/>
                    <a:gd name="T25" fmla="*/ 2147483647 h 121"/>
                    <a:gd name="T26" fmla="*/ 2147483647 w 108"/>
                    <a:gd name="T27" fmla="*/ 2147483647 h 121"/>
                    <a:gd name="T28" fmla="*/ 2147483647 w 108"/>
                    <a:gd name="T29" fmla="*/ 2147483647 h 121"/>
                    <a:gd name="T30" fmla="*/ 2147483647 w 108"/>
                    <a:gd name="T31" fmla="*/ 2147483647 h 121"/>
                    <a:gd name="T32" fmla="*/ 2147483647 w 108"/>
                    <a:gd name="T33" fmla="*/ 2147483647 h 121"/>
                    <a:gd name="T34" fmla="*/ 2147483647 w 108"/>
                    <a:gd name="T35" fmla="*/ 2147483647 h 121"/>
                    <a:gd name="T36" fmla="*/ 2147483647 w 108"/>
                    <a:gd name="T37" fmla="*/ 2147483647 h 121"/>
                    <a:gd name="T38" fmla="*/ 2147483647 w 108"/>
                    <a:gd name="T39" fmla="*/ 2147483647 h 121"/>
                    <a:gd name="T40" fmla="*/ 2147483647 w 108"/>
                    <a:gd name="T41" fmla="*/ 2147483647 h 121"/>
                    <a:gd name="T42" fmla="*/ 2147483647 w 108"/>
                    <a:gd name="T43" fmla="*/ 2147483647 h 121"/>
                    <a:gd name="T44" fmla="*/ 2147483647 w 108"/>
                    <a:gd name="T45" fmla="*/ 2147483647 h 121"/>
                    <a:gd name="T46" fmla="*/ 2147483647 w 108"/>
                    <a:gd name="T47" fmla="*/ 0 h 121"/>
                    <a:gd name="T48" fmla="*/ 2147483647 w 108"/>
                    <a:gd name="T49" fmla="*/ 2147483647 h 121"/>
                    <a:gd name="T50" fmla="*/ 2147483647 w 108"/>
                    <a:gd name="T51" fmla="*/ 2147483647 h 121"/>
                    <a:gd name="T52" fmla="*/ 2147483647 w 108"/>
                    <a:gd name="T53" fmla="*/ 2147483647 h 121"/>
                    <a:gd name="T54" fmla="*/ 2147483647 w 108"/>
                    <a:gd name="T55" fmla="*/ 2147483647 h 121"/>
                    <a:gd name="T56" fmla="*/ 2147483647 w 108"/>
                    <a:gd name="T57" fmla="*/ 2147483647 h 121"/>
                    <a:gd name="T58" fmla="*/ 0 w 108"/>
                    <a:gd name="T59" fmla="*/ 2147483647 h 121"/>
                    <a:gd name="T60" fmla="*/ 2147483647 w 108"/>
                    <a:gd name="T61" fmla="*/ 2147483647 h 121"/>
                    <a:gd name="T62" fmla="*/ 2147483647 w 108"/>
                    <a:gd name="T63" fmla="*/ 2147483647 h 121"/>
                    <a:gd name="T64" fmla="*/ 2147483647 w 108"/>
                    <a:gd name="T65" fmla="*/ 2147483647 h 121"/>
                    <a:gd name="T66" fmla="*/ 2147483647 w 108"/>
                    <a:gd name="T67" fmla="*/ 2147483647 h 121"/>
                    <a:gd name="T68" fmla="*/ 2147483647 w 108"/>
                    <a:gd name="T69" fmla="*/ 2147483647 h 121"/>
                    <a:gd name="T70" fmla="*/ 2147483647 w 108"/>
                    <a:gd name="T71" fmla="*/ 2147483647 h 121"/>
                    <a:gd name="T72" fmla="*/ 2147483647 w 108"/>
                    <a:gd name="T73" fmla="*/ 2147483647 h 121"/>
                    <a:gd name="T74" fmla="*/ 2147483647 w 108"/>
                    <a:gd name="T75" fmla="*/ 2147483647 h 121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08"/>
                    <a:gd name="T115" fmla="*/ 0 h 121"/>
                    <a:gd name="T116" fmla="*/ 108 w 108"/>
                    <a:gd name="T117" fmla="*/ 121 h 121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08" h="121">
                      <a:moveTo>
                        <a:pt x="18" y="97"/>
                      </a:moveTo>
                      <a:lnTo>
                        <a:pt x="19" y="99"/>
                      </a:lnTo>
                      <a:lnTo>
                        <a:pt x="19" y="102"/>
                      </a:lnTo>
                      <a:lnTo>
                        <a:pt x="18" y="107"/>
                      </a:lnTo>
                      <a:lnTo>
                        <a:pt x="15" y="110"/>
                      </a:lnTo>
                      <a:lnTo>
                        <a:pt x="14" y="114"/>
                      </a:lnTo>
                      <a:lnTo>
                        <a:pt x="14" y="117"/>
                      </a:lnTo>
                      <a:lnTo>
                        <a:pt x="17" y="120"/>
                      </a:lnTo>
                      <a:lnTo>
                        <a:pt x="18" y="120"/>
                      </a:lnTo>
                      <a:lnTo>
                        <a:pt x="21" y="120"/>
                      </a:lnTo>
                      <a:lnTo>
                        <a:pt x="27" y="118"/>
                      </a:lnTo>
                      <a:lnTo>
                        <a:pt x="31" y="117"/>
                      </a:lnTo>
                      <a:lnTo>
                        <a:pt x="33" y="118"/>
                      </a:lnTo>
                      <a:lnTo>
                        <a:pt x="36" y="121"/>
                      </a:lnTo>
                      <a:lnTo>
                        <a:pt x="37" y="121"/>
                      </a:lnTo>
                      <a:lnTo>
                        <a:pt x="41" y="121"/>
                      </a:lnTo>
                      <a:lnTo>
                        <a:pt x="42" y="118"/>
                      </a:lnTo>
                      <a:lnTo>
                        <a:pt x="45" y="117"/>
                      </a:lnTo>
                      <a:lnTo>
                        <a:pt x="50" y="116"/>
                      </a:lnTo>
                      <a:lnTo>
                        <a:pt x="52" y="114"/>
                      </a:lnTo>
                      <a:lnTo>
                        <a:pt x="55" y="111"/>
                      </a:lnTo>
                      <a:lnTo>
                        <a:pt x="56" y="108"/>
                      </a:lnTo>
                      <a:lnTo>
                        <a:pt x="59" y="102"/>
                      </a:lnTo>
                      <a:lnTo>
                        <a:pt x="60" y="97"/>
                      </a:lnTo>
                      <a:lnTo>
                        <a:pt x="64" y="92"/>
                      </a:lnTo>
                      <a:lnTo>
                        <a:pt x="71" y="86"/>
                      </a:lnTo>
                      <a:lnTo>
                        <a:pt x="80" y="80"/>
                      </a:lnTo>
                      <a:lnTo>
                        <a:pt x="89" y="75"/>
                      </a:lnTo>
                      <a:lnTo>
                        <a:pt x="95" y="69"/>
                      </a:lnTo>
                      <a:lnTo>
                        <a:pt x="103" y="62"/>
                      </a:lnTo>
                      <a:lnTo>
                        <a:pt x="106" y="58"/>
                      </a:lnTo>
                      <a:lnTo>
                        <a:pt x="107" y="53"/>
                      </a:lnTo>
                      <a:lnTo>
                        <a:pt x="108" y="50"/>
                      </a:lnTo>
                      <a:lnTo>
                        <a:pt x="107" y="45"/>
                      </a:lnTo>
                      <a:lnTo>
                        <a:pt x="104" y="40"/>
                      </a:lnTo>
                      <a:lnTo>
                        <a:pt x="102" y="34"/>
                      </a:lnTo>
                      <a:lnTo>
                        <a:pt x="99" y="30"/>
                      </a:lnTo>
                      <a:lnTo>
                        <a:pt x="97" y="24"/>
                      </a:lnTo>
                      <a:lnTo>
                        <a:pt x="83" y="20"/>
                      </a:lnTo>
                      <a:lnTo>
                        <a:pt x="74" y="19"/>
                      </a:lnTo>
                      <a:lnTo>
                        <a:pt x="68" y="19"/>
                      </a:lnTo>
                      <a:lnTo>
                        <a:pt x="65" y="16"/>
                      </a:lnTo>
                      <a:lnTo>
                        <a:pt x="62" y="14"/>
                      </a:lnTo>
                      <a:lnTo>
                        <a:pt x="59" y="8"/>
                      </a:lnTo>
                      <a:lnTo>
                        <a:pt x="56" y="6"/>
                      </a:lnTo>
                      <a:lnTo>
                        <a:pt x="52" y="3"/>
                      </a:lnTo>
                      <a:lnTo>
                        <a:pt x="47" y="1"/>
                      </a:lnTo>
                      <a:lnTo>
                        <a:pt x="41" y="0"/>
                      </a:lnTo>
                      <a:lnTo>
                        <a:pt x="38" y="3"/>
                      </a:lnTo>
                      <a:lnTo>
                        <a:pt x="35" y="6"/>
                      </a:lnTo>
                      <a:lnTo>
                        <a:pt x="28" y="9"/>
                      </a:lnTo>
                      <a:lnTo>
                        <a:pt x="22" y="14"/>
                      </a:lnTo>
                      <a:lnTo>
                        <a:pt x="18" y="16"/>
                      </a:lnTo>
                      <a:lnTo>
                        <a:pt x="17" y="19"/>
                      </a:lnTo>
                      <a:lnTo>
                        <a:pt x="13" y="26"/>
                      </a:lnTo>
                      <a:lnTo>
                        <a:pt x="12" y="33"/>
                      </a:lnTo>
                      <a:lnTo>
                        <a:pt x="8" y="40"/>
                      </a:lnTo>
                      <a:lnTo>
                        <a:pt x="4" y="46"/>
                      </a:lnTo>
                      <a:lnTo>
                        <a:pt x="2" y="51"/>
                      </a:lnTo>
                      <a:lnTo>
                        <a:pt x="0" y="56"/>
                      </a:lnTo>
                      <a:lnTo>
                        <a:pt x="2" y="60"/>
                      </a:lnTo>
                      <a:lnTo>
                        <a:pt x="4" y="65"/>
                      </a:lnTo>
                      <a:lnTo>
                        <a:pt x="7" y="69"/>
                      </a:lnTo>
                      <a:lnTo>
                        <a:pt x="12" y="72"/>
                      </a:lnTo>
                      <a:lnTo>
                        <a:pt x="17" y="75"/>
                      </a:lnTo>
                      <a:lnTo>
                        <a:pt x="22" y="76"/>
                      </a:lnTo>
                      <a:lnTo>
                        <a:pt x="23" y="77"/>
                      </a:lnTo>
                      <a:lnTo>
                        <a:pt x="19" y="80"/>
                      </a:lnTo>
                      <a:lnTo>
                        <a:pt x="18" y="83"/>
                      </a:lnTo>
                      <a:lnTo>
                        <a:pt x="19" y="85"/>
                      </a:lnTo>
                      <a:lnTo>
                        <a:pt x="22" y="88"/>
                      </a:lnTo>
                      <a:lnTo>
                        <a:pt x="23" y="89"/>
                      </a:lnTo>
                      <a:lnTo>
                        <a:pt x="23" y="91"/>
                      </a:lnTo>
                      <a:lnTo>
                        <a:pt x="22" y="92"/>
                      </a:lnTo>
                      <a:lnTo>
                        <a:pt x="19" y="94"/>
                      </a:lnTo>
                      <a:lnTo>
                        <a:pt x="18" y="96"/>
                      </a:lnTo>
                      <a:lnTo>
                        <a:pt x="18" y="9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4" name="Freeform 872">
                  <a:extLst>
                    <a:ext uri="{FF2B5EF4-FFF2-40B4-BE49-F238E27FC236}">
                      <a16:creationId xmlns:a16="http://schemas.microsoft.com/office/drawing/2014/main" id="{E2DC26A5-ACB6-384C-991E-8B9BAE1225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4694" y="4317950"/>
                  <a:ext cx="11839" cy="4440"/>
                </a:xfrm>
                <a:custGeom>
                  <a:avLst/>
                  <a:gdLst>
                    <a:gd name="T0" fmla="*/ 2147483647 w 9"/>
                    <a:gd name="T1" fmla="*/ 2147483647 h 3"/>
                    <a:gd name="T2" fmla="*/ 0 w 9"/>
                    <a:gd name="T3" fmla="*/ 2147483647 h 3"/>
                    <a:gd name="T4" fmla="*/ 2147483647 w 9"/>
                    <a:gd name="T5" fmla="*/ 0 h 3"/>
                    <a:gd name="T6" fmla="*/ 2147483647 w 9"/>
                    <a:gd name="T7" fmla="*/ 0 h 3"/>
                    <a:gd name="T8" fmla="*/ 2147483647 w 9"/>
                    <a:gd name="T9" fmla="*/ 0 h 3"/>
                    <a:gd name="T10" fmla="*/ 2147483647 w 9"/>
                    <a:gd name="T11" fmla="*/ 2147483647 h 3"/>
                    <a:gd name="T12" fmla="*/ 2147483647 w 9"/>
                    <a:gd name="T13" fmla="*/ 2147483647 h 3"/>
                    <a:gd name="T14" fmla="*/ 2147483647 w 9"/>
                    <a:gd name="T15" fmla="*/ 2147483647 h 3"/>
                    <a:gd name="T16" fmla="*/ 2147483647 w 9"/>
                    <a:gd name="T17" fmla="*/ 2147483647 h 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"/>
                    <a:gd name="T28" fmla="*/ 0 h 3"/>
                    <a:gd name="T29" fmla="*/ 9 w 9"/>
                    <a:gd name="T30" fmla="*/ 3 h 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" h="3">
                      <a:moveTo>
                        <a:pt x="4" y="3"/>
                      </a:move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5" name="Freeform 873">
                  <a:extLst>
                    <a:ext uri="{FF2B5EF4-FFF2-40B4-BE49-F238E27FC236}">
                      <a16:creationId xmlns:a16="http://schemas.microsoft.com/office/drawing/2014/main" id="{5BB15016-262C-3E45-A80D-14823BCC0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205" y="4581364"/>
                  <a:ext cx="147987" cy="179065"/>
                </a:xfrm>
                <a:custGeom>
                  <a:avLst/>
                  <a:gdLst>
                    <a:gd name="T0" fmla="*/ 2147483647 w 108"/>
                    <a:gd name="T1" fmla="*/ 2147483647 h 121"/>
                    <a:gd name="T2" fmla="*/ 2147483647 w 108"/>
                    <a:gd name="T3" fmla="*/ 2147483647 h 121"/>
                    <a:gd name="T4" fmla="*/ 2147483647 w 108"/>
                    <a:gd name="T5" fmla="*/ 2147483647 h 121"/>
                    <a:gd name="T6" fmla="*/ 2147483647 w 108"/>
                    <a:gd name="T7" fmla="*/ 2147483647 h 121"/>
                    <a:gd name="T8" fmla="*/ 2147483647 w 108"/>
                    <a:gd name="T9" fmla="*/ 2147483647 h 121"/>
                    <a:gd name="T10" fmla="*/ 2147483647 w 108"/>
                    <a:gd name="T11" fmla="*/ 2147483647 h 121"/>
                    <a:gd name="T12" fmla="*/ 2147483647 w 108"/>
                    <a:gd name="T13" fmla="*/ 2147483647 h 121"/>
                    <a:gd name="T14" fmla="*/ 2147483647 w 108"/>
                    <a:gd name="T15" fmla="*/ 2147483647 h 121"/>
                    <a:gd name="T16" fmla="*/ 2147483647 w 108"/>
                    <a:gd name="T17" fmla="*/ 2147483647 h 121"/>
                    <a:gd name="T18" fmla="*/ 2147483647 w 108"/>
                    <a:gd name="T19" fmla="*/ 2147483647 h 121"/>
                    <a:gd name="T20" fmla="*/ 2147483647 w 108"/>
                    <a:gd name="T21" fmla="*/ 2147483647 h 121"/>
                    <a:gd name="T22" fmla="*/ 2147483647 w 108"/>
                    <a:gd name="T23" fmla="*/ 2147483647 h 121"/>
                    <a:gd name="T24" fmla="*/ 2147483647 w 108"/>
                    <a:gd name="T25" fmla="*/ 2147483647 h 121"/>
                    <a:gd name="T26" fmla="*/ 2147483647 w 108"/>
                    <a:gd name="T27" fmla="*/ 2147483647 h 121"/>
                    <a:gd name="T28" fmla="*/ 2147483647 w 108"/>
                    <a:gd name="T29" fmla="*/ 2147483647 h 121"/>
                    <a:gd name="T30" fmla="*/ 2147483647 w 108"/>
                    <a:gd name="T31" fmla="*/ 2147483647 h 121"/>
                    <a:gd name="T32" fmla="*/ 2147483647 w 108"/>
                    <a:gd name="T33" fmla="*/ 2147483647 h 121"/>
                    <a:gd name="T34" fmla="*/ 2147483647 w 108"/>
                    <a:gd name="T35" fmla="*/ 2147483647 h 121"/>
                    <a:gd name="T36" fmla="*/ 2147483647 w 108"/>
                    <a:gd name="T37" fmla="*/ 2147483647 h 121"/>
                    <a:gd name="T38" fmla="*/ 2147483647 w 108"/>
                    <a:gd name="T39" fmla="*/ 2147483647 h 121"/>
                    <a:gd name="T40" fmla="*/ 2147483647 w 108"/>
                    <a:gd name="T41" fmla="*/ 2147483647 h 121"/>
                    <a:gd name="T42" fmla="*/ 2147483647 w 108"/>
                    <a:gd name="T43" fmla="*/ 2147483647 h 121"/>
                    <a:gd name="T44" fmla="*/ 2147483647 w 108"/>
                    <a:gd name="T45" fmla="*/ 2147483647 h 121"/>
                    <a:gd name="T46" fmla="*/ 2147483647 w 108"/>
                    <a:gd name="T47" fmla="*/ 2147483647 h 121"/>
                    <a:gd name="T48" fmla="*/ 2147483647 w 108"/>
                    <a:gd name="T49" fmla="*/ 2147483647 h 121"/>
                    <a:gd name="T50" fmla="*/ 2147483647 w 108"/>
                    <a:gd name="T51" fmla="*/ 2147483647 h 121"/>
                    <a:gd name="T52" fmla="*/ 2147483647 w 108"/>
                    <a:gd name="T53" fmla="*/ 2147483647 h 121"/>
                    <a:gd name="T54" fmla="*/ 2147483647 w 108"/>
                    <a:gd name="T55" fmla="*/ 2147483647 h 121"/>
                    <a:gd name="T56" fmla="*/ 2147483647 w 108"/>
                    <a:gd name="T57" fmla="*/ 2147483647 h 121"/>
                    <a:gd name="T58" fmla="*/ 2147483647 w 108"/>
                    <a:gd name="T59" fmla="*/ 0 h 121"/>
                    <a:gd name="T60" fmla="*/ 2147483647 w 108"/>
                    <a:gd name="T61" fmla="*/ 2147483647 h 121"/>
                    <a:gd name="T62" fmla="*/ 2147483647 w 108"/>
                    <a:gd name="T63" fmla="*/ 2147483647 h 121"/>
                    <a:gd name="T64" fmla="*/ 2147483647 w 108"/>
                    <a:gd name="T65" fmla="*/ 2147483647 h 121"/>
                    <a:gd name="T66" fmla="*/ 2147483647 w 108"/>
                    <a:gd name="T67" fmla="*/ 2147483647 h 121"/>
                    <a:gd name="T68" fmla="*/ 2147483647 w 108"/>
                    <a:gd name="T69" fmla="*/ 2147483647 h 121"/>
                    <a:gd name="T70" fmla="*/ 2147483647 w 108"/>
                    <a:gd name="T71" fmla="*/ 2147483647 h 121"/>
                    <a:gd name="T72" fmla="*/ 2147483647 w 108"/>
                    <a:gd name="T73" fmla="*/ 2147483647 h 121"/>
                    <a:gd name="T74" fmla="*/ 2147483647 w 108"/>
                    <a:gd name="T75" fmla="*/ 2147483647 h 121"/>
                    <a:gd name="T76" fmla="*/ 2147483647 w 108"/>
                    <a:gd name="T77" fmla="*/ 2147483647 h 121"/>
                    <a:gd name="T78" fmla="*/ 2147483647 w 108"/>
                    <a:gd name="T79" fmla="*/ 2147483647 h 121"/>
                    <a:gd name="T80" fmla="*/ 2147483647 w 108"/>
                    <a:gd name="T81" fmla="*/ 2147483647 h 121"/>
                    <a:gd name="T82" fmla="*/ 2147483647 w 108"/>
                    <a:gd name="T83" fmla="*/ 2147483647 h 121"/>
                    <a:gd name="T84" fmla="*/ 2147483647 w 108"/>
                    <a:gd name="T85" fmla="*/ 2147483647 h 121"/>
                    <a:gd name="T86" fmla="*/ 2147483647 w 108"/>
                    <a:gd name="T87" fmla="*/ 2147483647 h 121"/>
                    <a:gd name="T88" fmla="*/ 2147483647 w 108"/>
                    <a:gd name="T89" fmla="*/ 2147483647 h 121"/>
                    <a:gd name="T90" fmla="*/ 2147483647 w 108"/>
                    <a:gd name="T91" fmla="*/ 2147483647 h 121"/>
                    <a:gd name="T92" fmla="*/ 2147483647 w 108"/>
                    <a:gd name="T93" fmla="*/ 2147483647 h 121"/>
                    <a:gd name="T94" fmla="*/ 2147483647 w 108"/>
                    <a:gd name="T95" fmla="*/ 2147483647 h 121"/>
                    <a:gd name="T96" fmla="*/ 2147483647 w 108"/>
                    <a:gd name="T97" fmla="*/ 2147483647 h 121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08"/>
                    <a:gd name="T148" fmla="*/ 0 h 121"/>
                    <a:gd name="T149" fmla="*/ 108 w 108"/>
                    <a:gd name="T150" fmla="*/ 121 h 121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08" h="121">
                      <a:moveTo>
                        <a:pt x="18" y="97"/>
                      </a:moveTo>
                      <a:lnTo>
                        <a:pt x="18" y="97"/>
                      </a:lnTo>
                      <a:lnTo>
                        <a:pt x="19" y="99"/>
                      </a:lnTo>
                      <a:lnTo>
                        <a:pt x="19" y="102"/>
                      </a:lnTo>
                      <a:lnTo>
                        <a:pt x="18" y="106"/>
                      </a:lnTo>
                      <a:lnTo>
                        <a:pt x="15" y="110"/>
                      </a:lnTo>
                      <a:lnTo>
                        <a:pt x="14" y="113"/>
                      </a:lnTo>
                      <a:lnTo>
                        <a:pt x="14" y="117"/>
                      </a:lnTo>
                      <a:lnTo>
                        <a:pt x="16" y="119"/>
                      </a:lnTo>
                      <a:lnTo>
                        <a:pt x="18" y="119"/>
                      </a:lnTo>
                      <a:lnTo>
                        <a:pt x="20" y="119"/>
                      </a:lnTo>
                      <a:lnTo>
                        <a:pt x="27" y="118"/>
                      </a:lnTo>
                      <a:lnTo>
                        <a:pt x="30" y="117"/>
                      </a:lnTo>
                      <a:lnTo>
                        <a:pt x="33" y="118"/>
                      </a:lnTo>
                      <a:lnTo>
                        <a:pt x="36" y="121"/>
                      </a:lnTo>
                      <a:lnTo>
                        <a:pt x="37" y="121"/>
                      </a:lnTo>
                      <a:lnTo>
                        <a:pt x="41" y="121"/>
                      </a:lnTo>
                      <a:lnTo>
                        <a:pt x="42" y="118"/>
                      </a:lnTo>
                      <a:lnTo>
                        <a:pt x="44" y="117"/>
                      </a:lnTo>
                      <a:lnTo>
                        <a:pt x="50" y="116"/>
                      </a:lnTo>
                      <a:lnTo>
                        <a:pt x="52" y="113"/>
                      </a:lnTo>
                      <a:lnTo>
                        <a:pt x="55" y="111"/>
                      </a:lnTo>
                      <a:lnTo>
                        <a:pt x="56" y="108"/>
                      </a:lnTo>
                      <a:lnTo>
                        <a:pt x="58" y="102"/>
                      </a:lnTo>
                      <a:lnTo>
                        <a:pt x="60" y="97"/>
                      </a:lnTo>
                      <a:lnTo>
                        <a:pt x="63" y="92"/>
                      </a:lnTo>
                      <a:lnTo>
                        <a:pt x="71" y="86"/>
                      </a:lnTo>
                      <a:lnTo>
                        <a:pt x="80" y="80"/>
                      </a:lnTo>
                      <a:lnTo>
                        <a:pt x="89" y="74"/>
                      </a:lnTo>
                      <a:lnTo>
                        <a:pt x="95" y="68"/>
                      </a:lnTo>
                      <a:lnTo>
                        <a:pt x="103" y="61"/>
                      </a:lnTo>
                      <a:lnTo>
                        <a:pt x="105" y="58"/>
                      </a:lnTo>
                      <a:lnTo>
                        <a:pt x="107" y="53"/>
                      </a:lnTo>
                      <a:lnTo>
                        <a:pt x="108" y="49"/>
                      </a:lnTo>
                      <a:lnTo>
                        <a:pt x="107" y="45"/>
                      </a:lnTo>
                      <a:lnTo>
                        <a:pt x="104" y="40"/>
                      </a:lnTo>
                      <a:lnTo>
                        <a:pt x="102" y="34"/>
                      </a:lnTo>
                      <a:lnTo>
                        <a:pt x="99" y="29"/>
                      </a:lnTo>
                      <a:lnTo>
                        <a:pt x="96" y="23"/>
                      </a:lnTo>
                      <a:lnTo>
                        <a:pt x="83" y="20"/>
                      </a:lnTo>
                      <a:lnTo>
                        <a:pt x="74" y="19"/>
                      </a:lnTo>
                      <a:lnTo>
                        <a:pt x="67" y="19"/>
                      </a:lnTo>
                      <a:lnTo>
                        <a:pt x="65" y="16"/>
                      </a:lnTo>
                      <a:lnTo>
                        <a:pt x="62" y="14"/>
                      </a:lnTo>
                      <a:lnTo>
                        <a:pt x="58" y="8"/>
                      </a:lnTo>
                      <a:lnTo>
                        <a:pt x="56" y="6"/>
                      </a:lnTo>
                      <a:lnTo>
                        <a:pt x="52" y="3"/>
                      </a:lnTo>
                      <a:lnTo>
                        <a:pt x="47" y="1"/>
                      </a:lnTo>
                      <a:lnTo>
                        <a:pt x="41" y="0"/>
                      </a:lnTo>
                      <a:lnTo>
                        <a:pt x="38" y="3"/>
                      </a:lnTo>
                      <a:lnTo>
                        <a:pt x="34" y="6"/>
                      </a:lnTo>
                      <a:lnTo>
                        <a:pt x="28" y="9"/>
                      </a:lnTo>
                      <a:lnTo>
                        <a:pt x="22" y="14"/>
                      </a:lnTo>
                      <a:lnTo>
                        <a:pt x="18" y="16"/>
                      </a:lnTo>
                      <a:lnTo>
                        <a:pt x="16" y="19"/>
                      </a:lnTo>
                      <a:lnTo>
                        <a:pt x="13" y="26"/>
                      </a:lnTo>
                      <a:lnTo>
                        <a:pt x="11" y="33"/>
                      </a:lnTo>
                      <a:lnTo>
                        <a:pt x="8" y="40"/>
                      </a:lnTo>
                      <a:lnTo>
                        <a:pt x="4" y="46"/>
                      </a:lnTo>
                      <a:lnTo>
                        <a:pt x="1" y="51"/>
                      </a:lnTo>
                      <a:lnTo>
                        <a:pt x="0" y="55"/>
                      </a:lnTo>
                      <a:lnTo>
                        <a:pt x="1" y="60"/>
                      </a:lnTo>
                      <a:lnTo>
                        <a:pt x="4" y="65"/>
                      </a:lnTo>
                      <a:lnTo>
                        <a:pt x="6" y="68"/>
                      </a:lnTo>
                      <a:lnTo>
                        <a:pt x="11" y="72"/>
                      </a:lnTo>
                      <a:lnTo>
                        <a:pt x="16" y="74"/>
                      </a:lnTo>
                      <a:lnTo>
                        <a:pt x="22" y="76"/>
                      </a:lnTo>
                      <a:lnTo>
                        <a:pt x="23" y="77"/>
                      </a:lnTo>
                      <a:lnTo>
                        <a:pt x="19" y="80"/>
                      </a:lnTo>
                      <a:lnTo>
                        <a:pt x="18" y="83"/>
                      </a:lnTo>
                      <a:lnTo>
                        <a:pt x="19" y="85"/>
                      </a:lnTo>
                      <a:lnTo>
                        <a:pt x="22" y="87"/>
                      </a:lnTo>
                      <a:lnTo>
                        <a:pt x="23" y="89"/>
                      </a:lnTo>
                      <a:lnTo>
                        <a:pt x="23" y="91"/>
                      </a:lnTo>
                      <a:lnTo>
                        <a:pt x="22" y="92"/>
                      </a:lnTo>
                      <a:lnTo>
                        <a:pt x="19" y="93"/>
                      </a:lnTo>
                      <a:lnTo>
                        <a:pt x="18" y="96"/>
                      </a:lnTo>
                      <a:lnTo>
                        <a:pt x="18" y="9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6" name="Freeform 874">
                  <a:extLst>
                    <a:ext uri="{FF2B5EF4-FFF2-40B4-BE49-F238E27FC236}">
                      <a16:creationId xmlns:a16="http://schemas.microsoft.com/office/drawing/2014/main" id="{EB6C5773-FC2E-1346-835D-DB5EFB954F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3213" y="4316469"/>
                  <a:ext cx="11839" cy="4439"/>
                </a:xfrm>
                <a:custGeom>
                  <a:avLst/>
                  <a:gdLst>
                    <a:gd name="T0" fmla="*/ 2147483647 w 9"/>
                    <a:gd name="T1" fmla="*/ 2147483647 h 3"/>
                    <a:gd name="T2" fmla="*/ 2147483647 w 9"/>
                    <a:gd name="T3" fmla="*/ 2147483647 h 3"/>
                    <a:gd name="T4" fmla="*/ 0 w 9"/>
                    <a:gd name="T5" fmla="*/ 2147483647 h 3"/>
                    <a:gd name="T6" fmla="*/ 0 w 9"/>
                    <a:gd name="T7" fmla="*/ 2147483647 h 3"/>
                    <a:gd name="T8" fmla="*/ 2147483647 w 9"/>
                    <a:gd name="T9" fmla="*/ 0 h 3"/>
                    <a:gd name="T10" fmla="*/ 2147483647 w 9"/>
                    <a:gd name="T11" fmla="*/ 0 h 3"/>
                    <a:gd name="T12" fmla="*/ 2147483647 w 9"/>
                    <a:gd name="T13" fmla="*/ 0 h 3"/>
                    <a:gd name="T14" fmla="*/ 2147483647 w 9"/>
                    <a:gd name="T15" fmla="*/ 2147483647 h 3"/>
                    <a:gd name="T16" fmla="*/ 2147483647 w 9"/>
                    <a:gd name="T17" fmla="*/ 2147483647 h 3"/>
                    <a:gd name="T18" fmla="*/ 2147483647 w 9"/>
                    <a:gd name="T19" fmla="*/ 2147483647 h 3"/>
                    <a:gd name="T20" fmla="*/ 2147483647 w 9"/>
                    <a:gd name="T21" fmla="*/ 2147483647 h 3"/>
                    <a:gd name="T22" fmla="*/ 2147483647 w 9"/>
                    <a:gd name="T23" fmla="*/ 2147483647 h 3"/>
                    <a:gd name="T24" fmla="*/ 2147483647 w 9"/>
                    <a:gd name="T25" fmla="*/ 2147483647 h 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3"/>
                    <a:gd name="T41" fmla="*/ 9 w 9"/>
                    <a:gd name="T42" fmla="*/ 3 h 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3">
                      <a:moveTo>
                        <a:pt x="4" y="3"/>
                      </a:moveTo>
                      <a:lnTo>
                        <a:pt x="4" y="3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1"/>
                      </a:ln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7" name="Freeform 875">
                  <a:extLst>
                    <a:ext uri="{FF2B5EF4-FFF2-40B4-BE49-F238E27FC236}">
                      <a16:creationId xmlns:a16="http://schemas.microsoft.com/office/drawing/2014/main" id="{794B1CA7-5155-B44B-AC83-166DEA09A5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0341" y="4272073"/>
                  <a:ext cx="7400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0 w 6"/>
                    <a:gd name="T9" fmla="*/ 2147483647 h 8"/>
                    <a:gd name="T10" fmla="*/ 0 w 6"/>
                    <a:gd name="T11" fmla="*/ 2147483647 h 8"/>
                    <a:gd name="T12" fmla="*/ 0 w 6"/>
                    <a:gd name="T13" fmla="*/ 2147483647 h 8"/>
                    <a:gd name="T14" fmla="*/ 2147483647 w 6"/>
                    <a:gd name="T15" fmla="*/ 0 h 8"/>
                    <a:gd name="T16" fmla="*/ 2147483647 w 6"/>
                    <a:gd name="T17" fmla="*/ 2147483647 h 8"/>
                    <a:gd name="T18" fmla="*/ 2147483647 w 6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8"/>
                    <a:gd name="T32" fmla="*/ 6 w 6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8">
                      <a:moveTo>
                        <a:pt x="5" y="5"/>
                      </a:moveTo>
                      <a:lnTo>
                        <a:pt x="6" y="7"/>
                      </a:lnTo>
                      <a:lnTo>
                        <a:pt x="5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8" name="Freeform 876">
                  <a:extLst>
                    <a:ext uri="{FF2B5EF4-FFF2-40B4-BE49-F238E27FC236}">
                      <a16:creationId xmlns:a16="http://schemas.microsoft.com/office/drawing/2014/main" id="{34CC45DC-3227-5046-8ADD-E0FE2933CA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3661" y="4272075"/>
                  <a:ext cx="5919" cy="7399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0 w 5"/>
                    <a:gd name="T3" fmla="*/ 2147483647 h 5"/>
                    <a:gd name="T4" fmla="*/ 0 w 5"/>
                    <a:gd name="T5" fmla="*/ 2147483647 h 5"/>
                    <a:gd name="T6" fmla="*/ 2147483647 w 5"/>
                    <a:gd name="T7" fmla="*/ 0 h 5"/>
                    <a:gd name="T8" fmla="*/ 2147483647 w 5"/>
                    <a:gd name="T9" fmla="*/ 2147483647 h 5"/>
                    <a:gd name="T10" fmla="*/ 2147483647 w 5"/>
                    <a:gd name="T11" fmla="*/ 2147483647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2147483647 w 5"/>
                    <a:gd name="T17" fmla="*/ 2147483647 h 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5"/>
                    <a:gd name="T29" fmla="*/ 5 w 5"/>
                    <a:gd name="T30" fmla="*/ 5 h 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5">
                      <a:moveTo>
                        <a:pt x="3" y="5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9" name="Freeform 877">
                  <a:extLst>
                    <a:ext uri="{FF2B5EF4-FFF2-40B4-BE49-F238E27FC236}">
                      <a16:creationId xmlns:a16="http://schemas.microsoft.com/office/drawing/2014/main" id="{588C3460-450E-064D-B492-A402BF95E1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865" y="4270591"/>
                  <a:ext cx="739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2147483647 w 6"/>
                    <a:gd name="T9" fmla="*/ 2147483647 h 8"/>
                    <a:gd name="T10" fmla="*/ 2147483647 w 6"/>
                    <a:gd name="T11" fmla="*/ 2147483647 h 8"/>
                    <a:gd name="T12" fmla="*/ 0 w 6"/>
                    <a:gd name="T13" fmla="*/ 2147483647 h 8"/>
                    <a:gd name="T14" fmla="*/ 0 w 6"/>
                    <a:gd name="T15" fmla="*/ 2147483647 h 8"/>
                    <a:gd name="T16" fmla="*/ 0 w 6"/>
                    <a:gd name="T17" fmla="*/ 2147483647 h 8"/>
                    <a:gd name="T18" fmla="*/ 0 w 6"/>
                    <a:gd name="T19" fmla="*/ 2147483647 h 8"/>
                    <a:gd name="T20" fmla="*/ 2147483647 w 6"/>
                    <a:gd name="T21" fmla="*/ 0 h 8"/>
                    <a:gd name="T22" fmla="*/ 2147483647 w 6"/>
                    <a:gd name="T23" fmla="*/ 2147483647 h 8"/>
                    <a:gd name="T24" fmla="*/ 2147483647 w 6"/>
                    <a:gd name="T25" fmla="*/ 2147483647 h 8"/>
                    <a:gd name="T26" fmla="*/ 2147483647 w 6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8"/>
                    <a:gd name="T44" fmla="*/ 6 w 6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8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6" y="7"/>
                      </a:lnTo>
                      <a:lnTo>
                        <a:pt x="5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0" name="Freeform 878">
                  <a:extLst>
                    <a:ext uri="{FF2B5EF4-FFF2-40B4-BE49-F238E27FC236}">
                      <a16:creationId xmlns:a16="http://schemas.microsoft.com/office/drawing/2014/main" id="{E08FFF22-C22D-BB44-837A-BD0CF9F98A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2180" y="4270591"/>
                  <a:ext cx="5919" cy="7400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0 w 5"/>
                    <a:gd name="T5" fmla="*/ 2147483647 h 5"/>
                    <a:gd name="T6" fmla="*/ 0 w 5"/>
                    <a:gd name="T7" fmla="*/ 2147483647 h 5"/>
                    <a:gd name="T8" fmla="*/ 2147483647 w 5"/>
                    <a:gd name="T9" fmla="*/ 0 h 5"/>
                    <a:gd name="T10" fmla="*/ 2147483647 w 5"/>
                    <a:gd name="T11" fmla="*/ 0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2147483647 w 5"/>
                    <a:gd name="T17" fmla="*/ 2147483647 h 5"/>
                    <a:gd name="T18" fmla="*/ 2147483647 w 5"/>
                    <a:gd name="T19" fmla="*/ 2147483647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2147483647 w 5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"/>
                    <a:gd name="T40" fmla="*/ 0 h 5"/>
                    <a:gd name="T41" fmla="*/ 5 w 5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" h="5">
                      <a:moveTo>
                        <a:pt x="2" y="5"/>
                      </a:move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1" name="Freeform 879">
                  <a:extLst>
                    <a:ext uri="{FF2B5EF4-FFF2-40B4-BE49-F238E27FC236}">
                      <a16:creationId xmlns:a16="http://schemas.microsoft.com/office/drawing/2014/main" id="{233F97B4-7B2E-CE42-A179-8AC7CFCB32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669" y="4275033"/>
                  <a:ext cx="309294" cy="328532"/>
                </a:xfrm>
                <a:custGeom>
                  <a:avLst/>
                  <a:gdLst>
                    <a:gd name="T0" fmla="*/ 2147483647 w 226"/>
                    <a:gd name="T1" fmla="*/ 2147483647 h 222"/>
                    <a:gd name="T2" fmla="*/ 0 w 226"/>
                    <a:gd name="T3" fmla="*/ 2147483647 h 222"/>
                    <a:gd name="T4" fmla="*/ 2147483647 w 226"/>
                    <a:gd name="T5" fmla="*/ 2147483647 h 222"/>
                    <a:gd name="T6" fmla="*/ 2147483647 w 226"/>
                    <a:gd name="T7" fmla="*/ 2147483647 h 222"/>
                    <a:gd name="T8" fmla="*/ 2147483647 w 226"/>
                    <a:gd name="T9" fmla="*/ 2147483647 h 222"/>
                    <a:gd name="T10" fmla="*/ 2147483647 w 226"/>
                    <a:gd name="T11" fmla="*/ 2147483647 h 222"/>
                    <a:gd name="T12" fmla="*/ 2147483647 w 226"/>
                    <a:gd name="T13" fmla="*/ 2147483647 h 222"/>
                    <a:gd name="T14" fmla="*/ 2147483647 w 226"/>
                    <a:gd name="T15" fmla="*/ 2147483647 h 222"/>
                    <a:gd name="T16" fmla="*/ 2147483647 w 226"/>
                    <a:gd name="T17" fmla="*/ 2147483647 h 222"/>
                    <a:gd name="T18" fmla="*/ 2147483647 w 226"/>
                    <a:gd name="T19" fmla="*/ 2147483647 h 222"/>
                    <a:gd name="T20" fmla="*/ 2147483647 w 226"/>
                    <a:gd name="T21" fmla="*/ 2147483647 h 222"/>
                    <a:gd name="T22" fmla="*/ 2147483647 w 226"/>
                    <a:gd name="T23" fmla="*/ 2147483647 h 222"/>
                    <a:gd name="T24" fmla="*/ 2147483647 w 226"/>
                    <a:gd name="T25" fmla="*/ 2147483647 h 222"/>
                    <a:gd name="T26" fmla="*/ 2147483647 w 226"/>
                    <a:gd name="T27" fmla="*/ 2147483647 h 222"/>
                    <a:gd name="T28" fmla="*/ 2147483647 w 226"/>
                    <a:gd name="T29" fmla="*/ 2147483647 h 222"/>
                    <a:gd name="T30" fmla="*/ 2147483647 w 226"/>
                    <a:gd name="T31" fmla="*/ 2147483647 h 222"/>
                    <a:gd name="T32" fmla="*/ 2147483647 w 226"/>
                    <a:gd name="T33" fmla="*/ 2147483647 h 222"/>
                    <a:gd name="T34" fmla="*/ 2147483647 w 226"/>
                    <a:gd name="T35" fmla="*/ 2147483647 h 222"/>
                    <a:gd name="T36" fmla="*/ 2147483647 w 226"/>
                    <a:gd name="T37" fmla="*/ 2147483647 h 222"/>
                    <a:gd name="T38" fmla="*/ 2147483647 w 226"/>
                    <a:gd name="T39" fmla="*/ 2147483647 h 222"/>
                    <a:gd name="T40" fmla="*/ 2147483647 w 226"/>
                    <a:gd name="T41" fmla="*/ 2147483647 h 222"/>
                    <a:gd name="T42" fmla="*/ 2147483647 w 226"/>
                    <a:gd name="T43" fmla="*/ 2147483647 h 222"/>
                    <a:gd name="T44" fmla="*/ 2147483647 w 226"/>
                    <a:gd name="T45" fmla="*/ 2147483647 h 222"/>
                    <a:gd name="T46" fmla="*/ 2147483647 w 226"/>
                    <a:gd name="T47" fmla="*/ 2147483647 h 222"/>
                    <a:gd name="T48" fmla="*/ 2147483647 w 226"/>
                    <a:gd name="T49" fmla="*/ 2147483647 h 222"/>
                    <a:gd name="T50" fmla="*/ 2147483647 w 226"/>
                    <a:gd name="T51" fmla="*/ 2147483647 h 222"/>
                    <a:gd name="T52" fmla="*/ 2147483647 w 226"/>
                    <a:gd name="T53" fmla="*/ 2147483647 h 222"/>
                    <a:gd name="T54" fmla="*/ 2147483647 w 226"/>
                    <a:gd name="T55" fmla="*/ 2147483647 h 222"/>
                    <a:gd name="T56" fmla="*/ 2147483647 w 226"/>
                    <a:gd name="T57" fmla="*/ 2147483647 h 222"/>
                    <a:gd name="T58" fmla="*/ 2147483647 w 226"/>
                    <a:gd name="T59" fmla="*/ 2147483647 h 222"/>
                    <a:gd name="T60" fmla="*/ 2147483647 w 226"/>
                    <a:gd name="T61" fmla="*/ 2147483647 h 222"/>
                    <a:gd name="T62" fmla="*/ 2147483647 w 226"/>
                    <a:gd name="T63" fmla="*/ 2147483647 h 222"/>
                    <a:gd name="T64" fmla="*/ 2147483647 w 226"/>
                    <a:gd name="T65" fmla="*/ 2147483647 h 222"/>
                    <a:gd name="T66" fmla="*/ 2147483647 w 226"/>
                    <a:gd name="T67" fmla="*/ 2147483647 h 222"/>
                    <a:gd name="T68" fmla="*/ 2147483647 w 226"/>
                    <a:gd name="T69" fmla="*/ 2147483647 h 222"/>
                    <a:gd name="T70" fmla="*/ 2147483647 w 226"/>
                    <a:gd name="T71" fmla="*/ 2147483647 h 222"/>
                    <a:gd name="T72" fmla="*/ 2147483647 w 226"/>
                    <a:gd name="T73" fmla="*/ 2147483647 h 222"/>
                    <a:gd name="T74" fmla="*/ 2147483647 w 226"/>
                    <a:gd name="T75" fmla="*/ 2147483647 h 222"/>
                    <a:gd name="T76" fmla="*/ 2147483647 w 226"/>
                    <a:gd name="T77" fmla="*/ 2147483647 h 222"/>
                    <a:gd name="T78" fmla="*/ 2147483647 w 226"/>
                    <a:gd name="T79" fmla="*/ 2147483647 h 222"/>
                    <a:gd name="T80" fmla="*/ 2147483647 w 226"/>
                    <a:gd name="T81" fmla="*/ 2147483647 h 222"/>
                    <a:gd name="T82" fmla="*/ 2147483647 w 226"/>
                    <a:gd name="T83" fmla="*/ 2147483647 h 222"/>
                    <a:gd name="T84" fmla="*/ 2147483647 w 226"/>
                    <a:gd name="T85" fmla="*/ 2147483647 h 222"/>
                    <a:gd name="T86" fmla="*/ 2147483647 w 226"/>
                    <a:gd name="T87" fmla="*/ 2147483647 h 222"/>
                    <a:gd name="T88" fmla="*/ 2147483647 w 226"/>
                    <a:gd name="T89" fmla="*/ 2147483647 h 222"/>
                    <a:gd name="T90" fmla="*/ 2147483647 w 226"/>
                    <a:gd name="T91" fmla="*/ 2147483647 h 222"/>
                    <a:gd name="T92" fmla="*/ 2147483647 w 226"/>
                    <a:gd name="T93" fmla="*/ 2147483647 h 222"/>
                    <a:gd name="T94" fmla="*/ 2147483647 w 226"/>
                    <a:gd name="T95" fmla="*/ 2147483647 h 222"/>
                    <a:gd name="T96" fmla="*/ 2147483647 w 226"/>
                    <a:gd name="T97" fmla="*/ 2147483647 h 222"/>
                    <a:gd name="T98" fmla="*/ 2147483647 w 226"/>
                    <a:gd name="T99" fmla="*/ 2147483647 h 222"/>
                    <a:gd name="T100" fmla="*/ 2147483647 w 226"/>
                    <a:gd name="T101" fmla="*/ 2147483647 h 222"/>
                    <a:gd name="T102" fmla="*/ 2147483647 w 226"/>
                    <a:gd name="T103" fmla="*/ 2147483647 h 222"/>
                    <a:gd name="T104" fmla="*/ 2147483647 w 226"/>
                    <a:gd name="T105" fmla="*/ 2147483647 h 222"/>
                    <a:gd name="T106" fmla="*/ 2147483647 w 226"/>
                    <a:gd name="T107" fmla="*/ 2147483647 h 222"/>
                    <a:gd name="T108" fmla="*/ 2147483647 w 226"/>
                    <a:gd name="T109" fmla="*/ 2147483647 h 222"/>
                    <a:gd name="T110" fmla="*/ 2147483647 w 226"/>
                    <a:gd name="T111" fmla="*/ 2147483647 h 222"/>
                    <a:gd name="T112" fmla="*/ 2147483647 w 226"/>
                    <a:gd name="T113" fmla="*/ 2147483647 h 222"/>
                    <a:gd name="T114" fmla="*/ 2147483647 w 226"/>
                    <a:gd name="T115" fmla="*/ 2147483647 h 222"/>
                    <a:gd name="T116" fmla="*/ 2147483647 w 226"/>
                    <a:gd name="T117" fmla="*/ 2147483647 h 22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26"/>
                    <a:gd name="T178" fmla="*/ 0 h 222"/>
                    <a:gd name="T179" fmla="*/ 226 w 226"/>
                    <a:gd name="T180" fmla="*/ 222 h 22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26" h="222">
                      <a:moveTo>
                        <a:pt x="21" y="15"/>
                      </a:moveTo>
                      <a:lnTo>
                        <a:pt x="14" y="16"/>
                      </a:lnTo>
                      <a:lnTo>
                        <a:pt x="9" y="19"/>
                      </a:lnTo>
                      <a:lnTo>
                        <a:pt x="5" y="24"/>
                      </a:lnTo>
                      <a:lnTo>
                        <a:pt x="4" y="30"/>
                      </a:lnTo>
                      <a:lnTo>
                        <a:pt x="1" y="43"/>
                      </a:lnTo>
                      <a:lnTo>
                        <a:pt x="0" y="56"/>
                      </a:lnTo>
                      <a:lnTo>
                        <a:pt x="0" y="58"/>
                      </a:lnTo>
                      <a:lnTo>
                        <a:pt x="0" y="61"/>
                      </a:lnTo>
                      <a:lnTo>
                        <a:pt x="5" y="64"/>
                      </a:lnTo>
                      <a:lnTo>
                        <a:pt x="10" y="67"/>
                      </a:lnTo>
                      <a:lnTo>
                        <a:pt x="15" y="70"/>
                      </a:lnTo>
                      <a:lnTo>
                        <a:pt x="16" y="72"/>
                      </a:lnTo>
                      <a:lnTo>
                        <a:pt x="16" y="73"/>
                      </a:lnTo>
                      <a:lnTo>
                        <a:pt x="15" y="76"/>
                      </a:lnTo>
                      <a:lnTo>
                        <a:pt x="15" y="82"/>
                      </a:lnTo>
                      <a:lnTo>
                        <a:pt x="18" y="88"/>
                      </a:lnTo>
                      <a:lnTo>
                        <a:pt x="23" y="93"/>
                      </a:lnTo>
                      <a:lnTo>
                        <a:pt x="28" y="96"/>
                      </a:lnTo>
                      <a:lnTo>
                        <a:pt x="34" y="100"/>
                      </a:lnTo>
                      <a:lnTo>
                        <a:pt x="40" y="102"/>
                      </a:lnTo>
                      <a:lnTo>
                        <a:pt x="48" y="104"/>
                      </a:lnTo>
                      <a:lnTo>
                        <a:pt x="54" y="105"/>
                      </a:lnTo>
                      <a:lnTo>
                        <a:pt x="56" y="105"/>
                      </a:lnTo>
                      <a:lnTo>
                        <a:pt x="57" y="106"/>
                      </a:lnTo>
                      <a:lnTo>
                        <a:pt x="60" y="111"/>
                      </a:lnTo>
                      <a:lnTo>
                        <a:pt x="63" y="114"/>
                      </a:lnTo>
                      <a:lnTo>
                        <a:pt x="68" y="117"/>
                      </a:lnTo>
                      <a:lnTo>
                        <a:pt x="74" y="118"/>
                      </a:lnTo>
                      <a:lnTo>
                        <a:pt x="79" y="118"/>
                      </a:lnTo>
                      <a:lnTo>
                        <a:pt x="84" y="117"/>
                      </a:lnTo>
                      <a:lnTo>
                        <a:pt x="89" y="114"/>
                      </a:lnTo>
                      <a:lnTo>
                        <a:pt x="94" y="112"/>
                      </a:lnTo>
                      <a:lnTo>
                        <a:pt x="93" y="118"/>
                      </a:lnTo>
                      <a:lnTo>
                        <a:pt x="94" y="125"/>
                      </a:lnTo>
                      <a:lnTo>
                        <a:pt x="95" y="138"/>
                      </a:lnTo>
                      <a:lnTo>
                        <a:pt x="99" y="151"/>
                      </a:lnTo>
                      <a:lnTo>
                        <a:pt x="100" y="164"/>
                      </a:lnTo>
                      <a:lnTo>
                        <a:pt x="100" y="166"/>
                      </a:lnTo>
                      <a:lnTo>
                        <a:pt x="99" y="168"/>
                      </a:lnTo>
                      <a:lnTo>
                        <a:pt x="95" y="172"/>
                      </a:lnTo>
                      <a:lnTo>
                        <a:pt x="94" y="176"/>
                      </a:lnTo>
                      <a:lnTo>
                        <a:pt x="93" y="177"/>
                      </a:lnTo>
                      <a:lnTo>
                        <a:pt x="94" y="178"/>
                      </a:lnTo>
                      <a:lnTo>
                        <a:pt x="104" y="183"/>
                      </a:lnTo>
                      <a:lnTo>
                        <a:pt x="109" y="185"/>
                      </a:lnTo>
                      <a:lnTo>
                        <a:pt x="112" y="190"/>
                      </a:lnTo>
                      <a:lnTo>
                        <a:pt x="113" y="195"/>
                      </a:lnTo>
                      <a:lnTo>
                        <a:pt x="114" y="200"/>
                      </a:lnTo>
                      <a:lnTo>
                        <a:pt x="113" y="204"/>
                      </a:lnTo>
                      <a:lnTo>
                        <a:pt x="112" y="209"/>
                      </a:lnTo>
                      <a:lnTo>
                        <a:pt x="113" y="211"/>
                      </a:lnTo>
                      <a:lnTo>
                        <a:pt x="114" y="214"/>
                      </a:lnTo>
                      <a:lnTo>
                        <a:pt x="117" y="219"/>
                      </a:lnTo>
                      <a:lnTo>
                        <a:pt x="120" y="221"/>
                      </a:lnTo>
                      <a:lnTo>
                        <a:pt x="122" y="222"/>
                      </a:lnTo>
                      <a:lnTo>
                        <a:pt x="124" y="222"/>
                      </a:lnTo>
                      <a:lnTo>
                        <a:pt x="131" y="220"/>
                      </a:lnTo>
                      <a:lnTo>
                        <a:pt x="136" y="217"/>
                      </a:lnTo>
                      <a:lnTo>
                        <a:pt x="142" y="215"/>
                      </a:lnTo>
                      <a:lnTo>
                        <a:pt x="148" y="214"/>
                      </a:lnTo>
                      <a:lnTo>
                        <a:pt x="151" y="213"/>
                      </a:lnTo>
                      <a:lnTo>
                        <a:pt x="151" y="211"/>
                      </a:lnTo>
                      <a:lnTo>
                        <a:pt x="151" y="207"/>
                      </a:lnTo>
                      <a:lnTo>
                        <a:pt x="154" y="202"/>
                      </a:lnTo>
                      <a:lnTo>
                        <a:pt x="157" y="198"/>
                      </a:lnTo>
                      <a:lnTo>
                        <a:pt x="161" y="196"/>
                      </a:lnTo>
                      <a:lnTo>
                        <a:pt x="166" y="194"/>
                      </a:lnTo>
                      <a:lnTo>
                        <a:pt x="167" y="192"/>
                      </a:lnTo>
                      <a:lnTo>
                        <a:pt x="169" y="190"/>
                      </a:lnTo>
                      <a:lnTo>
                        <a:pt x="167" y="189"/>
                      </a:lnTo>
                      <a:lnTo>
                        <a:pt x="166" y="189"/>
                      </a:lnTo>
                      <a:lnTo>
                        <a:pt x="162" y="189"/>
                      </a:lnTo>
                      <a:lnTo>
                        <a:pt x="157" y="189"/>
                      </a:lnTo>
                      <a:lnTo>
                        <a:pt x="154" y="187"/>
                      </a:lnTo>
                      <a:lnTo>
                        <a:pt x="152" y="183"/>
                      </a:lnTo>
                      <a:lnTo>
                        <a:pt x="151" y="176"/>
                      </a:lnTo>
                      <a:lnTo>
                        <a:pt x="148" y="169"/>
                      </a:lnTo>
                      <a:lnTo>
                        <a:pt x="145" y="163"/>
                      </a:lnTo>
                      <a:lnTo>
                        <a:pt x="140" y="157"/>
                      </a:lnTo>
                      <a:lnTo>
                        <a:pt x="140" y="156"/>
                      </a:lnTo>
                      <a:lnTo>
                        <a:pt x="140" y="153"/>
                      </a:lnTo>
                      <a:lnTo>
                        <a:pt x="142" y="152"/>
                      </a:lnTo>
                      <a:lnTo>
                        <a:pt x="148" y="155"/>
                      </a:lnTo>
                      <a:lnTo>
                        <a:pt x="155" y="157"/>
                      </a:lnTo>
                      <a:lnTo>
                        <a:pt x="170" y="160"/>
                      </a:lnTo>
                      <a:lnTo>
                        <a:pt x="173" y="162"/>
                      </a:lnTo>
                      <a:lnTo>
                        <a:pt x="174" y="164"/>
                      </a:lnTo>
                      <a:lnTo>
                        <a:pt x="175" y="163"/>
                      </a:lnTo>
                      <a:lnTo>
                        <a:pt x="179" y="160"/>
                      </a:lnTo>
                      <a:lnTo>
                        <a:pt x="183" y="158"/>
                      </a:lnTo>
                      <a:lnTo>
                        <a:pt x="190" y="156"/>
                      </a:lnTo>
                      <a:lnTo>
                        <a:pt x="195" y="153"/>
                      </a:lnTo>
                      <a:lnTo>
                        <a:pt x="200" y="150"/>
                      </a:lnTo>
                      <a:lnTo>
                        <a:pt x="207" y="147"/>
                      </a:lnTo>
                      <a:lnTo>
                        <a:pt x="213" y="145"/>
                      </a:lnTo>
                      <a:lnTo>
                        <a:pt x="214" y="144"/>
                      </a:lnTo>
                      <a:lnTo>
                        <a:pt x="216" y="140"/>
                      </a:lnTo>
                      <a:lnTo>
                        <a:pt x="216" y="137"/>
                      </a:lnTo>
                      <a:lnTo>
                        <a:pt x="216" y="134"/>
                      </a:lnTo>
                      <a:lnTo>
                        <a:pt x="212" y="133"/>
                      </a:lnTo>
                      <a:lnTo>
                        <a:pt x="209" y="132"/>
                      </a:lnTo>
                      <a:lnTo>
                        <a:pt x="208" y="131"/>
                      </a:lnTo>
                      <a:lnTo>
                        <a:pt x="203" y="123"/>
                      </a:lnTo>
                      <a:lnTo>
                        <a:pt x="197" y="114"/>
                      </a:lnTo>
                      <a:lnTo>
                        <a:pt x="197" y="112"/>
                      </a:lnTo>
                      <a:lnTo>
                        <a:pt x="198" y="111"/>
                      </a:lnTo>
                      <a:lnTo>
                        <a:pt x="204" y="108"/>
                      </a:lnTo>
                      <a:lnTo>
                        <a:pt x="211" y="106"/>
                      </a:lnTo>
                      <a:lnTo>
                        <a:pt x="217" y="104"/>
                      </a:lnTo>
                      <a:lnTo>
                        <a:pt x="220" y="101"/>
                      </a:lnTo>
                      <a:lnTo>
                        <a:pt x="222" y="99"/>
                      </a:lnTo>
                      <a:lnTo>
                        <a:pt x="222" y="98"/>
                      </a:lnTo>
                      <a:lnTo>
                        <a:pt x="221" y="96"/>
                      </a:lnTo>
                      <a:lnTo>
                        <a:pt x="218" y="93"/>
                      </a:lnTo>
                      <a:lnTo>
                        <a:pt x="216" y="89"/>
                      </a:lnTo>
                      <a:lnTo>
                        <a:pt x="216" y="88"/>
                      </a:lnTo>
                      <a:lnTo>
                        <a:pt x="216" y="87"/>
                      </a:lnTo>
                      <a:lnTo>
                        <a:pt x="217" y="83"/>
                      </a:lnTo>
                      <a:lnTo>
                        <a:pt x="221" y="81"/>
                      </a:lnTo>
                      <a:lnTo>
                        <a:pt x="226" y="75"/>
                      </a:lnTo>
                      <a:lnTo>
                        <a:pt x="222" y="73"/>
                      </a:lnTo>
                      <a:lnTo>
                        <a:pt x="220" y="72"/>
                      </a:lnTo>
                      <a:lnTo>
                        <a:pt x="213" y="72"/>
                      </a:lnTo>
                      <a:lnTo>
                        <a:pt x="209" y="72"/>
                      </a:lnTo>
                      <a:lnTo>
                        <a:pt x="208" y="70"/>
                      </a:lnTo>
                      <a:lnTo>
                        <a:pt x="207" y="69"/>
                      </a:lnTo>
                      <a:lnTo>
                        <a:pt x="207" y="64"/>
                      </a:lnTo>
                      <a:lnTo>
                        <a:pt x="207" y="61"/>
                      </a:lnTo>
                      <a:lnTo>
                        <a:pt x="206" y="57"/>
                      </a:lnTo>
                      <a:lnTo>
                        <a:pt x="203" y="54"/>
                      </a:lnTo>
                      <a:lnTo>
                        <a:pt x="200" y="51"/>
                      </a:lnTo>
                      <a:lnTo>
                        <a:pt x="197" y="50"/>
                      </a:lnTo>
                      <a:lnTo>
                        <a:pt x="192" y="49"/>
                      </a:lnTo>
                      <a:lnTo>
                        <a:pt x="185" y="50"/>
                      </a:lnTo>
                      <a:lnTo>
                        <a:pt x="179" y="53"/>
                      </a:lnTo>
                      <a:lnTo>
                        <a:pt x="176" y="53"/>
                      </a:lnTo>
                      <a:lnTo>
                        <a:pt x="174" y="51"/>
                      </a:lnTo>
                      <a:lnTo>
                        <a:pt x="174" y="49"/>
                      </a:lnTo>
                      <a:lnTo>
                        <a:pt x="174" y="47"/>
                      </a:lnTo>
                      <a:lnTo>
                        <a:pt x="175" y="47"/>
                      </a:lnTo>
                      <a:lnTo>
                        <a:pt x="175" y="43"/>
                      </a:lnTo>
                      <a:lnTo>
                        <a:pt x="176" y="42"/>
                      </a:lnTo>
                      <a:lnTo>
                        <a:pt x="180" y="40"/>
                      </a:lnTo>
                      <a:lnTo>
                        <a:pt x="185" y="38"/>
                      </a:lnTo>
                      <a:lnTo>
                        <a:pt x="190" y="36"/>
                      </a:lnTo>
                      <a:lnTo>
                        <a:pt x="193" y="34"/>
                      </a:lnTo>
                      <a:lnTo>
                        <a:pt x="193" y="32"/>
                      </a:lnTo>
                      <a:lnTo>
                        <a:pt x="192" y="31"/>
                      </a:lnTo>
                      <a:lnTo>
                        <a:pt x="189" y="30"/>
                      </a:lnTo>
                      <a:lnTo>
                        <a:pt x="185" y="30"/>
                      </a:lnTo>
                      <a:lnTo>
                        <a:pt x="178" y="34"/>
                      </a:lnTo>
                      <a:lnTo>
                        <a:pt x="175" y="34"/>
                      </a:lnTo>
                      <a:lnTo>
                        <a:pt x="173" y="34"/>
                      </a:lnTo>
                      <a:lnTo>
                        <a:pt x="170" y="35"/>
                      </a:lnTo>
                      <a:lnTo>
                        <a:pt x="167" y="34"/>
                      </a:lnTo>
                      <a:lnTo>
                        <a:pt x="161" y="32"/>
                      </a:lnTo>
                      <a:lnTo>
                        <a:pt x="156" y="31"/>
                      </a:lnTo>
                      <a:lnTo>
                        <a:pt x="154" y="31"/>
                      </a:lnTo>
                      <a:lnTo>
                        <a:pt x="151" y="32"/>
                      </a:lnTo>
                      <a:lnTo>
                        <a:pt x="150" y="35"/>
                      </a:lnTo>
                      <a:lnTo>
                        <a:pt x="150" y="37"/>
                      </a:lnTo>
                      <a:lnTo>
                        <a:pt x="150" y="41"/>
                      </a:lnTo>
                      <a:lnTo>
                        <a:pt x="148" y="42"/>
                      </a:lnTo>
                      <a:lnTo>
                        <a:pt x="147" y="42"/>
                      </a:lnTo>
                      <a:lnTo>
                        <a:pt x="143" y="42"/>
                      </a:lnTo>
                      <a:lnTo>
                        <a:pt x="140" y="42"/>
                      </a:lnTo>
                      <a:lnTo>
                        <a:pt x="136" y="41"/>
                      </a:lnTo>
                      <a:lnTo>
                        <a:pt x="132" y="41"/>
                      </a:lnTo>
                      <a:lnTo>
                        <a:pt x="124" y="44"/>
                      </a:lnTo>
                      <a:lnTo>
                        <a:pt x="120" y="44"/>
                      </a:lnTo>
                      <a:lnTo>
                        <a:pt x="119" y="44"/>
                      </a:lnTo>
                      <a:lnTo>
                        <a:pt x="118" y="43"/>
                      </a:lnTo>
                      <a:lnTo>
                        <a:pt x="118" y="41"/>
                      </a:lnTo>
                      <a:lnTo>
                        <a:pt x="118" y="37"/>
                      </a:lnTo>
                      <a:lnTo>
                        <a:pt x="118" y="34"/>
                      </a:lnTo>
                      <a:lnTo>
                        <a:pt x="115" y="31"/>
                      </a:lnTo>
                      <a:lnTo>
                        <a:pt x="114" y="30"/>
                      </a:lnTo>
                      <a:lnTo>
                        <a:pt x="112" y="30"/>
                      </a:lnTo>
                      <a:lnTo>
                        <a:pt x="108" y="31"/>
                      </a:lnTo>
                      <a:lnTo>
                        <a:pt x="103" y="34"/>
                      </a:lnTo>
                      <a:lnTo>
                        <a:pt x="99" y="35"/>
                      </a:lnTo>
                      <a:lnTo>
                        <a:pt x="96" y="35"/>
                      </a:lnTo>
                      <a:lnTo>
                        <a:pt x="94" y="34"/>
                      </a:lnTo>
                      <a:lnTo>
                        <a:pt x="89" y="32"/>
                      </a:lnTo>
                      <a:lnTo>
                        <a:pt x="86" y="31"/>
                      </a:lnTo>
                      <a:lnTo>
                        <a:pt x="84" y="32"/>
                      </a:lnTo>
                      <a:lnTo>
                        <a:pt x="82" y="32"/>
                      </a:lnTo>
                      <a:lnTo>
                        <a:pt x="81" y="30"/>
                      </a:lnTo>
                      <a:lnTo>
                        <a:pt x="81" y="26"/>
                      </a:lnTo>
                      <a:lnTo>
                        <a:pt x="80" y="23"/>
                      </a:lnTo>
                      <a:lnTo>
                        <a:pt x="79" y="19"/>
                      </a:lnTo>
                      <a:lnTo>
                        <a:pt x="75" y="17"/>
                      </a:lnTo>
                      <a:lnTo>
                        <a:pt x="72" y="16"/>
                      </a:lnTo>
                      <a:lnTo>
                        <a:pt x="71" y="16"/>
                      </a:lnTo>
                      <a:lnTo>
                        <a:pt x="66" y="17"/>
                      </a:lnTo>
                      <a:lnTo>
                        <a:pt x="62" y="18"/>
                      </a:lnTo>
                      <a:lnTo>
                        <a:pt x="57" y="19"/>
                      </a:lnTo>
                      <a:lnTo>
                        <a:pt x="56" y="19"/>
                      </a:lnTo>
                      <a:lnTo>
                        <a:pt x="54" y="18"/>
                      </a:lnTo>
                      <a:lnTo>
                        <a:pt x="53" y="16"/>
                      </a:lnTo>
                      <a:lnTo>
                        <a:pt x="53" y="11"/>
                      </a:lnTo>
                      <a:lnTo>
                        <a:pt x="54" y="9"/>
                      </a:lnTo>
                      <a:lnTo>
                        <a:pt x="57" y="3"/>
                      </a:lnTo>
                      <a:lnTo>
                        <a:pt x="57" y="2"/>
                      </a:lnTo>
                      <a:lnTo>
                        <a:pt x="54" y="0"/>
                      </a:lnTo>
                      <a:lnTo>
                        <a:pt x="53" y="0"/>
                      </a:lnTo>
                      <a:lnTo>
                        <a:pt x="51" y="3"/>
                      </a:lnTo>
                      <a:lnTo>
                        <a:pt x="51" y="5"/>
                      </a:lnTo>
                      <a:lnTo>
                        <a:pt x="51" y="8"/>
                      </a:lnTo>
                      <a:lnTo>
                        <a:pt x="51" y="11"/>
                      </a:lnTo>
                      <a:lnTo>
                        <a:pt x="49" y="15"/>
                      </a:lnTo>
                      <a:lnTo>
                        <a:pt x="48" y="18"/>
                      </a:lnTo>
                      <a:lnTo>
                        <a:pt x="46" y="21"/>
                      </a:lnTo>
                      <a:lnTo>
                        <a:pt x="40" y="24"/>
                      </a:lnTo>
                      <a:lnTo>
                        <a:pt x="37" y="26"/>
                      </a:lnTo>
                      <a:lnTo>
                        <a:pt x="34" y="29"/>
                      </a:lnTo>
                      <a:lnTo>
                        <a:pt x="34" y="32"/>
                      </a:lnTo>
                      <a:lnTo>
                        <a:pt x="35" y="40"/>
                      </a:lnTo>
                      <a:lnTo>
                        <a:pt x="39" y="48"/>
                      </a:lnTo>
                      <a:lnTo>
                        <a:pt x="42" y="56"/>
                      </a:lnTo>
                      <a:lnTo>
                        <a:pt x="42" y="58"/>
                      </a:lnTo>
                      <a:lnTo>
                        <a:pt x="40" y="61"/>
                      </a:lnTo>
                      <a:lnTo>
                        <a:pt x="38" y="62"/>
                      </a:lnTo>
                      <a:lnTo>
                        <a:pt x="35" y="62"/>
                      </a:lnTo>
                      <a:lnTo>
                        <a:pt x="34" y="61"/>
                      </a:lnTo>
                      <a:lnTo>
                        <a:pt x="34" y="58"/>
                      </a:lnTo>
                      <a:lnTo>
                        <a:pt x="28" y="60"/>
                      </a:lnTo>
                      <a:lnTo>
                        <a:pt x="23" y="60"/>
                      </a:lnTo>
                      <a:lnTo>
                        <a:pt x="18" y="56"/>
                      </a:lnTo>
                      <a:lnTo>
                        <a:pt x="16" y="54"/>
                      </a:lnTo>
                      <a:lnTo>
                        <a:pt x="16" y="51"/>
                      </a:lnTo>
                      <a:lnTo>
                        <a:pt x="18" y="49"/>
                      </a:lnTo>
                      <a:lnTo>
                        <a:pt x="19" y="45"/>
                      </a:lnTo>
                      <a:lnTo>
                        <a:pt x="25" y="37"/>
                      </a:lnTo>
                      <a:lnTo>
                        <a:pt x="27" y="32"/>
                      </a:lnTo>
                      <a:lnTo>
                        <a:pt x="27" y="26"/>
                      </a:lnTo>
                      <a:lnTo>
                        <a:pt x="25" y="21"/>
                      </a:lnTo>
                      <a:lnTo>
                        <a:pt x="21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2" name="Freeform 880">
                  <a:extLst>
                    <a:ext uri="{FF2B5EF4-FFF2-40B4-BE49-F238E27FC236}">
                      <a16:creationId xmlns:a16="http://schemas.microsoft.com/office/drawing/2014/main" id="{C7AE17AF-188A-164D-A264-126DC8A315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2006" y="4386021"/>
                  <a:ext cx="112470" cy="207182"/>
                </a:xfrm>
                <a:custGeom>
                  <a:avLst/>
                  <a:gdLst>
                    <a:gd name="T0" fmla="*/ 2147483647 w 82"/>
                    <a:gd name="T1" fmla="*/ 2147483647 h 140"/>
                    <a:gd name="T2" fmla="*/ 2147483647 w 82"/>
                    <a:gd name="T3" fmla="*/ 2147483647 h 140"/>
                    <a:gd name="T4" fmla="*/ 2147483647 w 82"/>
                    <a:gd name="T5" fmla="*/ 2147483647 h 140"/>
                    <a:gd name="T6" fmla="*/ 2147483647 w 82"/>
                    <a:gd name="T7" fmla="*/ 2147483647 h 140"/>
                    <a:gd name="T8" fmla="*/ 2147483647 w 82"/>
                    <a:gd name="T9" fmla="*/ 2147483647 h 140"/>
                    <a:gd name="T10" fmla="*/ 2147483647 w 82"/>
                    <a:gd name="T11" fmla="*/ 2147483647 h 140"/>
                    <a:gd name="T12" fmla="*/ 2147483647 w 82"/>
                    <a:gd name="T13" fmla="*/ 2147483647 h 140"/>
                    <a:gd name="T14" fmla="*/ 2147483647 w 82"/>
                    <a:gd name="T15" fmla="*/ 2147483647 h 140"/>
                    <a:gd name="T16" fmla="*/ 2147483647 w 82"/>
                    <a:gd name="T17" fmla="*/ 2147483647 h 140"/>
                    <a:gd name="T18" fmla="*/ 2147483647 w 82"/>
                    <a:gd name="T19" fmla="*/ 2147483647 h 140"/>
                    <a:gd name="T20" fmla="*/ 2147483647 w 82"/>
                    <a:gd name="T21" fmla="*/ 2147483647 h 140"/>
                    <a:gd name="T22" fmla="*/ 2147483647 w 82"/>
                    <a:gd name="T23" fmla="*/ 2147483647 h 140"/>
                    <a:gd name="T24" fmla="*/ 2147483647 w 82"/>
                    <a:gd name="T25" fmla="*/ 2147483647 h 140"/>
                    <a:gd name="T26" fmla="*/ 2147483647 w 82"/>
                    <a:gd name="T27" fmla="*/ 2147483647 h 140"/>
                    <a:gd name="T28" fmla="*/ 2147483647 w 82"/>
                    <a:gd name="T29" fmla="*/ 2147483647 h 140"/>
                    <a:gd name="T30" fmla="*/ 2147483647 w 82"/>
                    <a:gd name="T31" fmla="*/ 2147483647 h 140"/>
                    <a:gd name="T32" fmla="*/ 2147483647 w 82"/>
                    <a:gd name="T33" fmla="*/ 2147483647 h 140"/>
                    <a:gd name="T34" fmla="*/ 2147483647 w 82"/>
                    <a:gd name="T35" fmla="*/ 2147483647 h 140"/>
                    <a:gd name="T36" fmla="*/ 0 w 82"/>
                    <a:gd name="T37" fmla="*/ 2147483647 h 140"/>
                    <a:gd name="T38" fmla="*/ 2147483647 w 82"/>
                    <a:gd name="T39" fmla="*/ 2147483647 h 140"/>
                    <a:gd name="T40" fmla="*/ 2147483647 w 82"/>
                    <a:gd name="T41" fmla="*/ 2147483647 h 140"/>
                    <a:gd name="T42" fmla="*/ 2147483647 w 82"/>
                    <a:gd name="T43" fmla="*/ 2147483647 h 140"/>
                    <a:gd name="T44" fmla="*/ 2147483647 w 82"/>
                    <a:gd name="T45" fmla="*/ 2147483647 h 140"/>
                    <a:gd name="T46" fmla="*/ 2147483647 w 82"/>
                    <a:gd name="T47" fmla="*/ 2147483647 h 140"/>
                    <a:gd name="T48" fmla="*/ 2147483647 w 82"/>
                    <a:gd name="T49" fmla="*/ 2147483647 h 140"/>
                    <a:gd name="T50" fmla="*/ 2147483647 w 82"/>
                    <a:gd name="T51" fmla="*/ 2147483647 h 140"/>
                    <a:gd name="T52" fmla="*/ 2147483647 w 82"/>
                    <a:gd name="T53" fmla="*/ 0 h 140"/>
                    <a:gd name="T54" fmla="*/ 2147483647 w 82"/>
                    <a:gd name="T55" fmla="*/ 2147483647 h 140"/>
                    <a:gd name="T56" fmla="*/ 2147483647 w 82"/>
                    <a:gd name="T57" fmla="*/ 2147483647 h 140"/>
                    <a:gd name="T58" fmla="*/ 2147483647 w 82"/>
                    <a:gd name="T59" fmla="*/ 2147483647 h 140"/>
                    <a:gd name="T60" fmla="*/ 2147483647 w 82"/>
                    <a:gd name="T61" fmla="*/ 2147483647 h 140"/>
                    <a:gd name="T62" fmla="*/ 2147483647 w 82"/>
                    <a:gd name="T63" fmla="*/ 2147483647 h 140"/>
                    <a:gd name="T64" fmla="*/ 2147483647 w 82"/>
                    <a:gd name="T65" fmla="*/ 2147483647 h 140"/>
                    <a:gd name="T66" fmla="*/ 2147483647 w 82"/>
                    <a:gd name="T67" fmla="*/ 2147483647 h 140"/>
                    <a:gd name="T68" fmla="*/ 2147483647 w 82"/>
                    <a:gd name="T69" fmla="*/ 2147483647 h 140"/>
                    <a:gd name="T70" fmla="*/ 2147483647 w 82"/>
                    <a:gd name="T71" fmla="*/ 2147483647 h 140"/>
                    <a:gd name="T72" fmla="*/ 2147483647 w 82"/>
                    <a:gd name="T73" fmla="*/ 2147483647 h 140"/>
                    <a:gd name="T74" fmla="*/ 2147483647 w 82"/>
                    <a:gd name="T75" fmla="*/ 2147483647 h 140"/>
                    <a:gd name="T76" fmla="*/ 2147483647 w 82"/>
                    <a:gd name="T77" fmla="*/ 2147483647 h 140"/>
                    <a:gd name="T78" fmla="*/ 2147483647 w 82"/>
                    <a:gd name="T79" fmla="*/ 2147483647 h 140"/>
                    <a:gd name="T80" fmla="*/ 2147483647 w 82"/>
                    <a:gd name="T81" fmla="*/ 2147483647 h 140"/>
                    <a:gd name="T82" fmla="*/ 2147483647 w 82"/>
                    <a:gd name="T83" fmla="*/ 2147483647 h 140"/>
                    <a:gd name="T84" fmla="*/ 2147483647 w 82"/>
                    <a:gd name="T85" fmla="*/ 2147483647 h 140"/>
                    <a:gd name="T86" fmla="*/ 2147483647 w 82"/>
                    <a:gd name="T87" fmla="*/ 2147483647 h 14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82"/>
                    <a:gd name="T133" fmla="*/ 0 h 140"/>
                    <a:gd name="T134" fmla="*/ 82 w 82"/>
                    <a:gd name="T135" fmla="*/ 140 h 14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82" h="140">
                      <a:moveTo>
                        <a:pt x="81" y="125"/>
                      </a:moveTo>
                      <a:lnTo>
                        <a:pt x="77" y="127"/>
                      </a:lnTo>
                      <a:lnTo>
                        <a:pt x="73" y="128"/>
                      </a:lnTo>
                      <a:lnTo>
                        <a:pt x="70" y="130"/>
                      </a:lnTo>
                      <a:lnTo>
                        <a:pt x="66" y="132"/>
                      </a:lnTo>
                      <a:lnTo>
                        <a:pt x="62" y="132"/>
                      </a:lnTo>
                      <a:lnTo>
                        <a:pt x="57" y="134"/>
                      </a:lnTo>
                      <a:lnTo>
                        <a:pt x="52" y="138"/>
                      </a:lnTo>
                      <a:lnTo>
                        <a:pt x="49" y="140"/>
                      </a:lnTo>
                      <a:lnTo>
                        <a:pt x="47" y="140"/>
                      </a:lnTo>
                      <a:lnTo>
                        <a:pt x="43" y="136"/>
                      </a:lnTo>
                      <a:lnTo>
                        <a:pt x="39" y="130"/>
                      </a:lnTo>
                      <a:lnTo>
                        <a:pt x="37" y="125"/>
                      </a:lnTo>
                      <a:lnTo>
                        <a:pt x="34" y="117"/>
                      </a:lnTo>
                      <a:lnTo>
                        <a:pt x="33" y="112"/>
                      </a:lnTo>
                      <a:lnTo>
                        <a:pt x="33" y="104"/>
                      </a:lnTo>
                      <a:lnTo>
                        <a:pt x="33" y="98"/>
                      </a:lnTo>
                      <a:lnTo>
                        <a:pt x="35" y="95"/>
                      </a:lnTo>
                      <a:lnTo>
                        <a:pt x="38" y="91"/>
                      </a:lnTo>
                      <a:lnTo>
                        <a:pt x="40" y="90"/>
                      </a:lnTo>
                      <a:lnTo>
                        <a:pt x="42" y="88"/>
                      </a:lnTo>
                      <a:lnTo>
                        <a:pt x="43" y="85"/>
                      </a:lnTo>
                      <a:lnTo>
                        <a:pt x="43" y="82"/>
                      </a:lnTo>
                      <a:lnTo>
                        <a:pt x="42" y="80"/>
                      </a:lnTo>
                      <a:lnTo>
                        <a:pt x="39" y="77"/>
                      </a:lnTo>
                      <a:lnTo>
                        <a:pt x="34" y="74"/>
                      </a:lnTo>
                      <a:lnTo>
                        <a:pt x="31" y="71"/>
                      </a:lnTo>
                      <a:lnTo>
                        <a:pt x="30" y="69"/>
                      </a:lnTo>
                      <a:lnTo>
                        <a:pt x="29" y="64"/>
                      </a:lnTo>
                      <a:lnTo>
                        <a:pt x="29" y="62"/>
                      </a:lnTo>
                      <a:lnTo>
                        <a:pt x="28" y="59"/>
                      </a:lnTo>
                      <a:lnTo>
                        <a:pt x="24" y="59"/>
                      </a:lnTo>
                      <a:lnTo>
                        <a:pt x="19" y="59"/>
                      </a:lnTo>
                      <a:lnTo>
                        <a:pt x="15" y="58"/>
                      </a:lnTo>
                      <a:lnTo>
                        <a:pt x="12" y="57"/>
                      </a:lnTo>
                      <a:lnTo>
                        <a:pt x="11" y="56"/>
                      </a:lnTo>
                      <a:lnTo>
                        <a:pt x="6" y="48"/>
                      </a:lnTo>
                      <a:lnTo>
                        <a:pt x="0" y="39"/>
                      </a:lnTo>
                      <a:lnTo>
                        <a:pt x="0" y="37"/>
                      </a:lnTo>
                      <a:lnTo>
                        <a:pt x="1" y="36"/>
                      </a:lnTo>
                      <a:lnTo>
                        <a:pt x="7" y="33"/>
                      </a:lnTo>
                      <a:lnTo>
                        <a:pt x="14" y="31"/>
                      </a:lnTo>
                      <a:lnTo>
                        <a:pt x="20" y="29"/>
                      </a:lnTo>
                      <a:lnTo>
                        <a:pt x="23" y="26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4" y="21"/>
                      </a:lnTo>
                      <a:lnTo>
                        <a:pt x="21" y="18"/>
                      </a:lnTo>
                      <a:lnTo>
                        <a:pt x="19" y="14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20" y="8"/>
                      </a:lnTo>
                      <a:lnTo>
                        <a:pt x="24" y="6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4" y="1"/>
                      </a:lnTo>
                      <a:lnTo>
                        <a:pt x="39" y="1"/>
                      </a:lnTo>
                      <a:lnTo>
                        <a:pt x="40" y="4"/>
                      </a:lnTo>
                      <a:lnTo>
                        <a:pt x="43" y="6"/>
                      </a:lnTo>
                      <a:lnTo>
                        <a:pt x="48" y="13"/>
                      </a:lnTo>
                      <a:lnTo>
                        <a:pt x="50" y="21"/>
                      </a:lnTo>
                      <a:lnTo>
                        <a:pt x="52" y="26"/>
                      </a:lnTo>
                      <a:lnTo>
                        <a:pt x="52" y="27"/>
                      </a:lnTo>
                      <a:lnTo>
                        <a:pt x="54" y="30"/>
                      </a:lnTo>
                      <a:lnTo>
                        <a:pt x="56" y="30"/>
                      </a:lnTo>
                      <a:lnTo>
                        <a:pt x="57" y="30"/>
                      </a:lnTo>
                      <a:lnTo>
                        <a:pt x="58" y="29"/>
                      </a:lnTo>
                      <a:lnTo>
                        <a:pt x="62" y="29"/>
                      </a:lnTo>
                      <a:lnTo>
                        <a:pt x="64" y="30"/>
                      </a:lnTo>
                      <a:lnTo>
                        <a:pt x="68" y="34"/>
                      </a:lnTo>
                      <a:lnTo>
                        <a:pt x="71" y="36"/>
                      </a:lnTo>
                      <a:lnTo>
                        <a:pt x="73" y="37"/>
                      </a:lnTo>
                      <a:lnTo>
                        <a:pt x="76" y="37"/>
                      </a:lnTo>
                      <a:lnTo>
                        <a:pt x="78" y="38"/>
                      </a:lnTo>
                      <a:lnTo>
                        <a:pt x="81" y="39"/>
                      </a:lnTo>
                      <a:lnTo>
                        <a:pt x="82" y="42"/>
                      </a:lnTo>
                      <a:lnTo>
                        <a:pt x="82" y="48"/>
                      </a:lnTo>
                      <a:lnTo>
                        <a:pt x="81" y="53"/>
                      </a:lnTo>
                      <a:lnTo>
                        <a:pt x="78" y="59"/>
                      </a:lnTo>
                      <a:lnTo>
                        <a:pt x="75" y="65"/>
                      </a:lnTo>
                      <a:lnTo>
                        <a:pt x="71" y="71"/>
                      </a:lnTo>
                      <a:lnTo>
                        <a:pt x="70" y="77"/>
                      </a:lnTo>
                      <a:lnTo>
                        <a:pt x="68" y="82"/>
                      </a:lnTo>
                      <a:lnTo>
                        <a:pt x="70" y="88"/>
                      </a:lnTo>
                      <a:lnTo>
                        <a:pt x="72" y="95"/>
                      </a:lnTo>
                      <a:lnTo>
                        <a:pt x="73" y="102"/>
                      </a:lnTo>
                      <a:lnTo>
                        <a:pt x="77" y="116"/>
                      </a:lnTo>
                      <a:lnTo>
                        <a:pt x="81" y="12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3" name="Freeform 881">
                  <a:extLst>
                    <a:ext uri="{FF2B5EF4-FFF2-40B4-BE49-F238E27FC236}">
                      <a16:creationId xmlns:a16="http://schemas.microsoft.com/office/drawing/2014/main" id="{AB337E1F-5C95-4140-9584-45B694D724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1193" y="4273553"/>
                  <a:ext cx="309293" cy="328532"/>
                </a:xfrm>
                <a:custGeom>
                  <a:avLst/>
                  <a:gdLst>
                    <a:gd name="T0" fmla="*/ 2147483647 w 226"/>
                    <a:gd name="T1" fmla="*/ 2147483647 h 222"/>
                    <a:gd name="T2" fmla="*/ 0 w 226"/>
                    <a:gd name="T3" fmla="*/ 2147483647 h 222"/>
                    <a:gd name="T4" fmla="*/ 2147483647 w 226"/>
                    <a:gd name="T5" fmla="*/ 2147483647 h 222"/>
                    <a:gd name="T6" fmla="*/ 2147483647 w 226"/>
                    <a:gd name="T7" fmla="*/ 2147483647 h 222"/>
                    <a:gd name="T8" fmla="*/ 2147483647 w 226"/>
                    <a:gd name="T9" fmla="*/ 2147483647 h 222"/>
                    <a:gd name="T10" fmla="*/ 2147483647 w 226"/>
                    <a:gd name="T11" fmla="*/ 2147483647 h 222"/>
                    <a:gd name="T12" fmla="*/ 2147483647 w 226"/>
                    <a:gd name="T13" fmla="*/ 2147483647 h 222"/>
                    <a:gd name="T14" fmla="*/ 2147483647 w 226"/>
                    <a:gd name="T15" fmla="*/ 2147483647 h 222"/>
                    <a:gd name="T16" fmla="*/ 2147483647 w 226"/>
                    <a:gd name="T17" fmla="*/ 2147483647 h 222"/>
                    <a:gd name="T18" fmla="*/ 2147483647 w 226"/>
                    <a:gd name="T19" fmla="*/ 2147483647 h 222"/>
                    <a:gd name="T20" fmla="*/ 2147483647 w 226"/>
                    <a:gd name="T21" fmla="*/ 2147483647 h 222"/>
                    <a:gd name="T22" fmla="*/ 2147483647 w 226"/>
                    <a:gd name="T23" fmla="*/ 2147483647 h 222"/>
                    <a:gd name="T24" fmla="*/ 2147483647 w 226"/>
                    <a:gd name="T25" fmla="*/ 2147483647 h 222"/>
                    <a:gd name="T26" fmla="*/ 2147483647 w 226"/>
                    <a:gd name="T27" fmla="*/ 2147483647 h 222"/>
                    <a:gd name="T28" fmla="*/ 2147483647 w 226"/>
                    <a:gd name="T29" fmla="*/ 2147483647 h 222"/>
                    <a:gd name="T30" fmla="*/ 2147483647 w 226"/>
                    <a:gd name="T31" fmla="*/ 2147483647 h 222"/>
                    <a:gd name="T32" fmla="*/ 2147483647 w 226"/>
                    <a:gd name="T33" fmla="*/ 2147483647 h 222"/>
                    <a:gd name="T34" fmla="*/ 2147483647 w 226"/>
                    <a:gd name="T35" fmla="*/ 2147483647 h 222"/>
                    <a:gd name="T36" fmla="*/ 2147483647 w 226"/>
                    <a:gd name="T37" fmla="*/ 2147483647 h 222"/>
                    <a:gd name="T38" fmla="*/ 2147483647 w 226"/>
                    <a:gd name="T39" fmla="*/ 2147483647 h 222"/>
                    <a:gd name="T40" fmla="*/ 2147483647 w 226"/>
                    <a:gd name="T41" fmla="*/ 2147483647 h 222"/>
                    <a:gd name="T42" fmla="*/ 2147483647 w 226"/>
                    <a:gd name="T43" fmla="*/ 2147483647 h 222"/>
                    <a:gd name="T44" fmla="*/ 2147483647 w 226"/>
                    <a:gd name="T45" fmla="*/ 2147483647 h 222"/>
                    <a:gd name="T46" fmla="*/ 2147483647 w 226"/>
                    <a:gd name="T47" fmla="*/ 2147483647 h 222"/>
                    <a:gd name="T48" fmla="*/ 2147483647 w 226"/>
                    <a:gd name="T49" fmla="*/ 2147483647 h 222"/>
                    <a:gd name="T50" fmla="*/ 2147483647 w 226"/>
                    <a:gd name="T51" fmla="*/ 2147483647 h 222"/>
                    <a:gd name="T52" fmla="*/ 2147483647 w 226"/>
                    <a:gd name="T53" fmla="*/ 2147483647 h 222"/>
                    <a:gd name="T54" fmla="*/ 2147483647 w 226"/>
                    <a:gd name="T55" fmla="*/ 2147483647 h 222"/>
                    <a:gd name="T56" fmla="*/ 2147483647 w 226"/>
                    <a:gd name="T57" fmla="*/ 2147483647 h 222"/>
                    <a:gd name="T58" fmla="*/ 2147483647 w 226"/>
                    <a:gd name="T59" fmla="*/ 2147483647 h 222"/>
                    <a:gd name="T60" fmla="*/ 2147483647 w 226"/>
                    <a:gd name="T61" fmla="*/ 2147483647 h 222"/>
                    <a:gd name="T62" fmla="*/ 2147483647 w 226"/>
                    <a:gd name="T63" fmla="*/ 2147483647 h 222"/>
                    <a:gd name="T64" fmla="*/ 2147483647 w 226"/>
                    <a:gd name="T65" fmla="*/ 2147483647 h 222"/>
                    <a:gd name="T66" fmla="*/ 2147483647 w 226"/>
                    <a:gd name="T67" fmla="*/ 2147483647 h 222"/>
                    <a:gd name="T68" fmla="*/ 2147483647 w 226"/>
                    <a:gd name="T69" fmla="*/ 2147483647 h 222"/>
                    <a:gd name="T70" fmla="*/ 2147483647 w 226"/>
                    <a:gd name="T71" fmla="*/ 2147483647 h 222"/>
                    <a:gd name="T72" fmla="*/ 2147483647 w 226"/>
                    <a:gd name="T73" fmla="*/ 2147483647 h 222"/>
                    <a:gd name="T74" fmla="*/ 2147483647 w 226"/>
                    <a:gd name="T75" fmla="*/ 2147483647 h 222"/>
                    <a:gd name="T76" fmla="*/ 2147483647 w 226"/>
                    <a:gd name="T77" fmla="*/ 2147483647 h 222"/>
                    <a:gd name="T78" fmla="*/ 2147483647 w 226"/>
                    <a:gd name="T79" fmla="*/ 2147483647 h 222"/>
                    <a:gd name="T80" fmla="*/ 2147483647 w 226"/>
                    <a:gd name="T81" fmla="*/ 2147483647 h 222"/>
                    <a:gd name="T82" fmla="*/ 2147483647 w 226"/>
                    <a:gd name="T83" fmla="*/ 2147483647 h 222"/>
                    <a:gd name="T84" fmla="*/ 2147483647 w 226"/>
                    <a:gd name="T85" fmla="*/ 2147483647 h 222"/>
                    <a:gd name="T86" fmla="*/ 2147483647 w 226"/>
                    <a:gd name="T87" fmla="*/ 2147483647 h 222"/>
                    <a:gd name="T88" fmla="*/ 2147483647 w 226"/>
                    <a:gd name="T89" fmla="*/ 2147483647 h 222"/>
                    <a:gd name="T90" fmla="*/ 2147483647 w 226"/>
                    <a:gd name="T91" fmla="*/ 2147483647 h 222"/>
                    <a:gd name="T92" fmla="*/ 2147483647 w 226"/>
                    <a:gd name="T93" fmla="*/ 2147483647 h 222"/>
                    <a:gd name="T94" fmla="*/ 2147483647 w 226"/>
                    <a:gd name="T95" fmla="*/ 2147483647 h 222"/>
                    <a:gd name="T96" fmla="*/ 2147483647 w 226"/>
                    <a:gd name="T97" fmla="*/ 2147483647 h 222"/>
                    <a:gd name="T98" fmla="*/ 2147483647 w 226"/>
                    <a:gd name="T99" fmla="*/ 2147483647 h 222"/>
                    <a:gd name="T100" fmla="*/ 2147483647 w 226"/>
                    <a:gd name="T101" fmla="*/ 2147483647 h 222"/>
                    <a:gd name="T102" fmla="*/ 2147483647 w 226"/>
                    <a:gd name="T103" fmla="*/ 2147483647 h 222"/>
                    <a:gd name="T104" fmla="*/ 2147483647 w 226"/>
                    <a:gd name="T105" fmla="*/ 2147483647 h 222"/>
                    <a:gd name="T106" fmla="*/ 2147483647 w 226"/>
                    <a:gd name="T107" fmla="*/ 2147483647 h 222"/>
                    <a:gd name="T108" fmla="*/ 2147483647 w 226"/>
                    <a:gd name="T109" fmla="*/ 2147483647 h 222"/>
                    <a:gd name="T110" fmla="*/ 2147483647 w 226"/>
                    <a:gd name="T111" fmla="*/ 2147483647 h 222"/>
                    <a:gd name="T112" fmla="*/ 2147483647 w 226"/>
                    <a:gd name="T113" fmla="*/ 2147483647 h 222"/>
                    <a:gd name="T114" fmla="*/ 2147483647 w 226"/>
                    <a:gd name="T115" fmla="*/ 2147483647 h 222"/>
                    <a:gd name="T116" fmla="*/ 2147483647 w 226"/>
                    <a:gd name="T117" fmla="*/ 2147483647 h 222"/>
                    <a:gd name="T118" fmla="*/ 2147483647 w 226"/>
                    <a:gd name="T119" fmla="*/ 2147483647 h 22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26"/>
                    <a:gd name="T181" fmla="*/ 0 h 222"/>
                    <a:gd name="T182" fmla="*/ 226 w 226"/>
                    <a:gd name="T183" fmla="*/ 222 h 22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26" h="222">
                      <a:moveTo>
                        <a:pt x="21" y="14"/>
                      </a:moveTo>
                      <a:lnTo>
                        <a:pt x="21" y="14"/>
                      </a:lnTo>
                      <a:lnTo>
                        <a:pt x="14" y="16"/>
                      </a:lnTo>
                      <a:lnTo>
                        <a:pt x="8" y="19"/>
                      </a:lnTo>
                      <a:lnTo>
                        <a:pt x="5" y="24"/>
                      </a:lnTo>
                      <a:lnTo>
                        <a:pt x="3" y="30"/>
                      </a:lnTo>
                      <a:lnTo>
                        <a:pt x="1" y="43"/>
                      </a:lnTo>
                      <a:lnTo>
                        <a:pt x="0" y="56"/>
                      </a:lnTo>
                      <a:lnTo>
                        <a:pt x="0" y="58"/>
                      </a:lnTo>
                      <a:lnTo>
                        <a:pt x="0" y="61"/>
                      </a:lnTo>
                      <a:lnTo>
                        <a:pt x="5" y="64"/>
                      </a:lnTo>
                      <a:lnTo>
                        <a:pt x="10" y="67"/>
                      </a:lnTo>
                      <a:lnTo>
                        <a:pt x="15" y="70"/>
                      </a:lnTo>
                      <a:lnTo>
                        <a:pt x="16" y="71"/>
                      </a:lnTo>
                      <a:lnTo>
                        <a:pt x="16" y="73"/>
                      </a:lnTo>
                      <a:lnTo>
                        <a:pt x="15" y="76"/>
                      </a:lnTo>
                      <a:lnTo>
                        <a:pt x="15" y="82"/>
                      </a:lnTo>
                      <a:lnTo>
                        <a:pt x="17" y="88"/>
                      </a:lnTo>
                      <a:lnTo>
                        <a:pt x="22" y="93"/>
                      </a:lnTo>
                      <a:lnTo>
                        <a:pt x="28" y="96"/>
                      </a:lnTo>
                      <a:lnTo>
                        <a:pt x="34" y="100"/>
                      </a:lnTo>
                      <a:lnTo>
                        <a:pt x="40" y="102"/>
                      </a:lnTo>
                      <a:lnTo>
                        <a:pt x="48" y="103"/>
                      </a:lnTo>
                      <a:lnTo>
                        <a:pt x="54" y="105"/>
                      </a:lnTo>
                      <a:lnTo>
                        <a:pt x="55" y="105"/>
                      </a:lnTo>
                      <a:lnTo>
                        <a:pt x="57" y="106"/>
                      </a:lnTo>
                      <a:lnTo>
                        <a:pt x="59" y="110"/>
                      </a:lnTo>
                      <a:lnTo>
                        <a:pt x="63" y="114"/>
                      </a:lnTo>
                      <a:lnTo>
                        <a:pt x="68" y="116"/>
                      </a:lnTo>
                      <a:lnTo>
                        <a:pt x="73" y="118"/>
                      </a:lnTo>
                      <a:lnTo>
                        <a:pt x="78" y="118"/>
                      </a:lnTo>
                      <a:lnTo>
                        <a:pt x="83" y="116"/>
                      </a:lnTo>
                      <a:lnTo>
                        <a:pt x="88" y="114"/>
                      </a:lnTo>
                      <a:lnTo>
                        <a:pt x="94" y="112"/>
                      </a:lnTo>
                      <a:lnTo>
                        <a:pt x="92" y="118"/>
                      </a:lnTo>
                      <a:lnTo>
                        <a:pt x="94" y="125"/>
                      </a:lnTo>
                      <a:lnTo>
                        <a:pt x="95" y="138"/>
                      </a:lnTo>
                      <a:lnTo>
                        <a:pt x="99" y="151"/>
                      </a:lnTo>
                      <a:lnTo>
                        <a:pt x="100" y="164"/>
                      </a:lnTo>
                      <a:lnTo>
                        <a:pt x="100" y="166"/>
                      </a:lnTo>
                      <a:lnTo>
                        <a:pt x="99" y="167"/>
                      </a:lnTo>
                      <a:lnTo>
                        <a:pt x="95" y="172"/>
                      </a:lnTo>
                      <a:lnTo>
                        <a:pt x="94" y="176"/>
                      </a:lnTo>
                      <a:lnTo>
                        <a:pt x="92" y="177"/>
                      </a:lnTo>
                      <a:lnTo>
                        <a:pt x="94" y="178"/>
                      </a:lnTo>
                      <a:lnTo>
                        <a:pt x="104" y="183"/>
                      </a:lnTo>
                      <a:lnTo>
                        <a:pt x="109" y="185"/>
                      </a:lnTo>
                      <a:lnTo>
                        <a:pt x="111" y="190"/>
                      </a:lnTo>
                      <a:lnTo>
                        <a:pt x="113" y="195"/>
                      </a:lnTo>
                      <a:lnTo>
                        <a:pt x="114" y="199"/>
                      </a:lnTo>
                      <a:lnTo>
                        <a:pt x="113" y="204"/>
                      </a:lnTo>
                      <a:lnTo>
                        <a:pt x="111" y="209"/>
                      </a:lnTo>
                      <a:lnTo>
                        <a:pt x="113" y="211"/>
                      </a:lnTo>
                      <a:lnTo>
                        <a:pt x="114" y="214"/>
                      </a:lnTo>
                      <a:lnTo>
                        <a:pt x="116" y="218"/>
                      </a:lnTo>
                      <a:lnTo>
                        <a:pt x="120" y="221"/>
                      </a:lnTo>
                      <a:lnTo>
                        <a:pt x="121" y="222"/>
                      </a:lnTo>
                      <a:lnTo>
                        <a:pt x="124" y="222"/>
                      </a:lnTo>
                      <a:lnTo>
                        <a:pt x="130" y="220"/>
                      </a:lnTo>
                      <a:lnTo>
                        <a:pt x="135" y="217"/>
                      </a:lnTo>
                      <a:lnTo>
                        <a:pt x="142" y="215"/>
                      </a:lnTo>
                      <a:lnTo>
                        <a:pt x="148" y="214"/>
                      </a:lnTo>
                      <a:lnTo>
                        <a:pt x="151" y="212"/>
                      </a:lnTo>
                      <a:lnTo>
                        <a:pt x="151" y="211"/>
                      </a:lnTo>
                      <a:lnTo>
                        <a:pt x="151" y="206"/>
                      </a:lnTo>
                      <a:lnTo>
                        <a:pt x="153" y="202"/>
                      </a:lnTo>
                      <a:lnTo>
                        <a:pt x="157" y="198"/>
                      </a:lnTo>
                      <a:lnTo>
                        <a:pt x="161" y="196"/>
                      </a:lnTo>
                      <a:lnTo>
                        <a:pt x="166" y="193"/>
                      </a:lnTo>
                      <a:lnTo>
                        <a:pt x="167" y="192"/>
                      </a:lnTo>
                      <a:lnTo>
                        <a:pt x="168" y="190"/>
                      </a:lnTo>
                      <a:lnTo>
                        <a:pt x="167" y="189"/>
                      </a:lnTo>
                      <a:lnTo>
                        <a:pt x="166" y="189"/>
                      </a:lnTo>
                      <a:lnTo>
                        <a:pt x="162" y="189"/>
                      </a:lnTo>
                      <a:lnTo>
                        <a:pt x="157" y="189"/>
                      </a:lnTo>
                      <a:lnTo>
                        <a:pt x="153" y="186"/>
                      </a:lnTo>
                      <a:lnTo>
                        <a:pt x="152" y="183"/>
                      </a:lnTo>
                      <a:lnTo>
                        <a:pt x="151" y="176"/>
                      </a:lnTo>
                      <a:lnTo>
                        <a:pt x="148" y="169"/>
                      </a:lnTo>
                      <a:lnTo>
                        <a:pt x="144" y="163"/>
                      </a:lnTo>
                      <a:lnTo>
                        <a:pt x="139" y="157"/>
                      </a:lnTo>
                      <a:lnTo>
                        <a:pt x="139" y="156"/>
                      </a:lnTo>
                      <a:lnTo>
                        <a:pt x="139" y="153"/>
                      </a:lnTo>
                      <a:lnTo>
                        <a:pt x="142" y="152"/>
                      </a:lnTo>
                      <a:lnTo>
                        <a:pt x="148" y="154"/>
                      </a:lnTo>
                      <a:lnTo>
                        <a:pt x="155" y="157"/>
                      </a:lnTo>
                      <a:lnTo>
                        <a:pt x="170" y="160"/>
                      </a:lnTo>
                      <a:lnTo>
                        <a:pt x="172" y="161"/>
                      </a:lnTo>
                      <a:lnTo>
                        <a:pt x="174" y="164"/>
                      </a:lnTo>
                      <a:lnTo>
                        <a:pt x="175" y="163"/>
                      </a:lnTo>
                      <a:lnTo>
                        <a:pt x="179" y="160"/>
                      </a:lnTo>
                      <a:lnTo>
                        <a:pt x="182" y="158"/>
                      </a:lnTo>
                      <a:lnTo>
                        <a:pt x="190" y="156"/>
                      </a:lnTo>
                      <a:lnTo>
                        <a:pt x="195" y="153"/>
                      </a:lnTo>
                      <a:lnTo>
                        <a:pt x="200" y="150"/>
                      </a:lnTo>
                      <a:lnTo>
                        <a:pt x="207" y="147"/>
                      </a:lnTo>
                      <a:lnTo>
                        <a:pt x="213" y="145"/>
                      </a:lnTo>
                      <a:lnTo>
                        <a:pt x="214" y="144"/>
                      </a:lnTo>
                      <a:lnTo>
                        <a:pt x="215" y="140"/>
                      </a:lnTo>
                      <a:lnTo>
                        <a:pt x="215" y="137"/>
                      </a:lnTo>
                      <a:lnTo>
                        <a:pt x="215" y="134"/>
                      </a:lnTo>
                      <a:lnTo>
                        <a:pt x="212" y="133"/>
                      </a:lnTo>
                      <a:lnTo>
                        <a:pt x="209" y="132"/>
                      </a:lnTo>
                      <a:lnTo>
                        <a:pt x="208" y="131"/>
                      </a:lnTo>
                      <a:lnTo>
                        <a:pt x="203" y="122"/>
                      </a:lnTo>
                      <a:lnTo>
                        <a:pt x="196" y="114"/>
                      </a:lnTo>
                      <a:lnTo>
                        <a:pt x="196" y="112"/>
                      </a:lnTo>
                      <a:lnTo>
                        <a:pt x="198" y="110"/>
                      </a:lnTo>
                      <a:lnTo>
                        <a:pt x="204" y="108"/>
                      </a:lnTo>
                      <a:lnTo>
                        <a:pt x="210" y="106"/>
                      </a:lnTo>
                      <a:lnTo>
                        <a:pt x="217" y="103"/>
                      </a:lnTo>
                      <a:lnTo>
                        <a:pt x="219" y="101"/>
                      </a:lnTo>
                      <a:lnTo>
                        <a:pt x="222" y="99"/>
                      </a:lnTo>
                      <a:lnTo>
                        <a:pt x="222" y="97"/>
                      </a:lnTo>
                      <a:lnTo>
                        <a:pt x="221" y="96"/>
                      </a:lnTo>
                      <a:lnTo>
                        <a:pt x="218" y="93"/>
                      </a:lnTo>
                      <a:lnTo>
                        <a:pt x="215" y="89"/>
                      </a:lnTo>
                      <a:lnTo>
                        <a:pt x="215" y="88"/>
                      </a:lnTo>
                      <a:lnTo>
                        <a:pt x="215" y="87"/>
                      </a:lnTo>
                      <a:lnTo>
                        <a:pt x="217" y="83"/>
                      </a:lnTo>
                      <a:lnTo>
                        <a:pt x="221" y="81"/>
                      </a:lnTo>
                      <a:lnTo>
                        <a:pt x="226" y="75"/>
                      </a:lnTo>
                      <a:lnTo>
                        <a:pt x="222" y="73"/>
                      </a:lnTo>
                      <a:lnTo>
                        <a:pt x="219" y="71"/>
                      </a:lnTo>
                      <a:lnTo>
                        <a:pt x="213" y="71"/>
                      </a:lnTo>
                      <a:lnTo>
                        <a:pt x="209" y="71"/>
                      </a:lnTo>
                      <a:lnTo>
                        <a:pt x="208" y="70"/>
                      </a:lnTo>
                      <a:lnTo>
                        <a:pt x="207" y="69"/>
                      </a:lnTo>
                      <a:lnTo>
                        <a:pt x="207" y="64"/>
                      </a:lnTo>
                      <a:lnTo>
                        <a:pt x="207" y="61"/>
                      </a:lnTo>
                      <a:lnTo>
                        <a:pt x="205" y="57"/>
                      </a:lnTo>
                      <a:lnTo>
                        <a:pt x="203" y="54"/>
                      </a:lnTo>
                      <a:lnTo>
                        <a:pt x="200" y="51"/>
                      </a:lnTo>
                      <a:lnTo>
                        <a:pt x="196" y="50"/>
                      </a:lnTo>
                      <a:lnTo>
                        <a:pt x="191" y="49"/>
                      </a:lnTo>
                      <a:lnTo>
                        <a:pt x="185" y="50"/>
                      </a:lnTo>
                      <a:lnTo>
                        <a:pt x="179" y="52"/>
                      </a:lnTo>
                      <a:lnTo>
                        <a:pt x="176" y="52"/>
                      </a:lnTo>
                      <a:lnTo>
                        <a:pt x="174" y="51"/>
                      </a:lnTo>
                      <a:lnTo>
                        <a:pt x="174" y="49"/>
                      </a:lnTo>
                      <a:lnTo>
                        <a:pt x="174" y="46"/>
                      </a:lnTo>
                      <a:lnTo>
                        <a:pt x="175" y="46"/>
                      </a:lnTo>
                      <a:lnTo>
                        <a:pt x="175" y="43"/>
                      </a:lnTo>
                      <a:lnTo>
                        <a:pt x="176" y="42"/>
                      </a:lnTo>
                      <a:lnTo>
                        <a:pt x="180" y="39"/>
                      </a:lnTo>
                      <a:lnTo>
                        <a:pt x="185" y="38"/>
                      </a:lnTo>
                      <a:lnTo>
                        <a:pt x="190" y="36"/>
                      </a:lnTo>
                      <a:lnTo>
                        <a:pt x="193" y="33"/>
                      </a:lnTo>
                      <a:lnTo>
                        <a:pt x="193" y="32"/>
                      </a:lnTo>
                      <a:lnTo>
                        <a:pt x="191" y="31"/>
                      </a:lnTo>
                      <a:lnTo>
                        <a:pt x="189" y="30"/>
                      </a:lnTo>
                      <a:lnTo>
                        <a:pt x="185" y="30"/>
                      </a:lnTo>
                      <a:lnTo>
                        <a:pt x="177" y="33"/>
                      </a:lnTo>
                      <a:lnTo>
                        <a:pt x="175" y="33"/>
                      </a:lnTo>
                      <a:lnTo>
                        <a:pt x="172" y="33"/>
                      </a:lnTo>
                      <a:lnTo>
                        <a:pt x="170" y="35"/>
                      </a:lnTo>
                      <a:lnTo>
                        <a:pt x="167" y="33"/>
                      </a:lnTo>
                      <a:lnTo>
                        <a:pt x="161" y="32"/>
                      </a:lnTo>
                      <a:lnTo>
                        <a:pt x="156" y="31"/>
                      </a:lnTo>
                      <a:lnTo>
                        <a:pt x="153" y="31"/>
                      </a:lnTo>
                      <a:lnTo>
                        <a:pt x="151" y="32"/>
                      </a:lnTo>
                      <a:lnTo>
                        <a:pt x="149" y="35"/>
                      </a:lnTo>
                      <a:lnTo>
                        <a:pt x="149" y="37"/>
                      </a:lnTo>
                      <a:lnTo>
                        <a:pt x="149" y="41"/>
                      </a:lnTo>
                      <a:lnTo>
                        <a:pt x="148" y="42"/>
                      </a:lnTo>
                      <a:lnTo>
                        <a:pt x="147" y="42"/>
                      </a:lnTo>
                      <a:lnTo>
                        <a:pt x="143" y="42"/>
                      </a:lnTo>
                      <a:lnTo>
                        <a:pt x="139" y="42"/>
                      </a:lnTo>
                      <a:lnTo>
                        <a:pt x="135" y="41"/>
                      </a:lnTo>
                      <a:lnTo>
                        <a:pt x="132" y="41"/>
                      </a:lnTo>
                      <a:lnTo>
                        <a:pt x="124" y="44"/>
                      </a:lnTo>
                      <a:lnTo>
                        <a:pt x="120" y="44"/>
                      </a:lnTo>
                      <a:lnTo>
                        <a:pt x="119" y="44"/>
                      </a:lnTo>
                      <a:lnTo>
                        <a:pt x="118" y="43"/>
                      </a:lnTo>
                      <a:lnTo>
                        <a:pt x="118" y="41"/>
                      </a:lnTo>
                      <a:lnTo>
                        <a:pt x="118" y="37"/>
                      </a:lnTo>
                      <a:lnTo>
                        <a:pt x="118" y="33"/>
                      </a:lnTo>
                      <a:lnTo>
                        <a:pt x="115" y="31"/>
                      </a:lnTo>
                      <a:lnTo>
                        <a:pt x="114" y="30"/>
                      </a:lnTo>
                      <a:lnTo>
                        <a:pt x="111" y="30"/>
                      </a:lnTo>
                      <a:lnTo>
                        <a:pt x="108" y="31"/>
                      </a:lnTo>
                      <a:lnTo>
                        <a:pt x="102" y="33"/>
                      </a:lnTo>
                      <a:lnTo>
                        <a:pt x="99" y="35"/>
                      </a:lnTo>
                      <a:lnTo>
                        <a:pt x="96" y="35"/>
                      </a:lnTo>
                      <a:lnTo>
                        <a:pt x="94" y="33"/>
                      </a:lnTo>
                      <a:lnTo>
                        <a:pt x="88" y="32"/>
                      </a:lnTo>
                      <a:lnTo>
                        <a:pt x="86" y="31"/>
                      </a:lnTo>
                      <a:lnTo>
                        <a:pt x="83" y="32"/>
                      </a:lnTo>
                      <a:lnTo>
                        <a:pt x="82" y="32"/>
                      </a:lnTo>
                      <a:lnTo>
                        <a:pt x="81" y="30"/>
                      </a:lnTo>
                      <a:lnTo>
                        <a:pt x="81" y="26"/>
                      </a:lnTo>
                      <a:lnTo>
                        <a:pt x="80" y="23"/>
                      </a:lnTo>
                      <a:lnTo>
                        <a:pt x="78" y="19"/>
                      </a:lnTo>
                      <a:lnTo>
                        <a:pt x="75" y="17"/>
                      </a:lnTo>
                      <a:lnTo>
                        <a:pt x="72" y="16"/>
                      </a:lnTo>
                      <a:lnTo>
                        <a:pt x="71" y="16"/>
                      </a:lnTo>
                      <a:lnTo>
                        <a:pt x="66" y="17"/>
                      </a:lnTo>
                      <a:lnTo>
                        <a:pt x="62" y="18"/>
                      </a:lnTo>
                      <a:lnTo>
                        <a:pt x="57" y="19"/>
                      </a:lnTo>
                      <a:lnTo>
                        <a:pt x="55" y="19"/>
                      </a:lnTo>
                      <a:lnTo>
                        <a:pt x="54" y="18"/>
                      </a:lnTo>
                      <a:lnTo>
                        <a:pt x="53" y="16"/>
                      </a:lnTo>
                      <a:lnTo>
                        <a:pt x="53" y="11"/>
                      </a:lnTo>
                      <a:lnTo>
                        <a:pt x="54" y="9"/>
                      </a:lnTo>
                      <a:lnTo>
                        <a:pt x="57" y="3"/>
                      </a:lnTo>
                      <a:lnTo>
                        <a:pt x="57" y="1"/>
                      </a:lnTo>
                      <a:lnTo>
                        <a:pt x="54" y="0"/>
                      </a:lnTo>
                      <a:lnTo>
                        <a:pt x="53" y="0"/>
                      </a:lnTo>
                      <a:lnTo>
                        <a:pt x="50" y="3"/>
                      </a:lnTo>
                      <a:lnTo>
                        <a:pt x="50" y="5"/>
                      </a:lnTo>
                      <a:lnTo>
                        <a:pt x="50" y="7"/>
                      </a:lnTo>
                      <a:lnTo>
                        <a:pt x="50" y="11"/>
                      </a:lnTo>
                      <a:lnTo>
                        <a:pt x="49" y="14"/>
                      </a:lnTo>
                      <a:lnTo>
                        <a:pt x="48" y="18"/>
                      </a:lnTo>
                      <a:lnTo>
                        <a:pt x="45" y="20"/>
                      </a:lnTo>
                      <a:lnTo>
                        <a:pt x="40" y="24"/>
                      </a:lnTo>
                      <a:lnTo>
                        <a:pt x="36" y="26"/>
                      </a:lnTo>
                      <a:lnTo>
                        <a:pt x="34" y="29"/>
                      </a:lnTo>
                      <a:lnTo>
                        <a:pt x="34" y="32"/>
                      </a:lnTo>
                      <a:lnTo>
                        <a:pt x="35" y="39"/>
                      </a:lnTo>
                      <a:lnTo>
                        <a:pt x="39" y="48"/>
                      </a:lnTo>
                      <a:lnTo>
                        <a:pt x="41" y="56"/>
                      </a:lnTo>
                      <a:lnTo>
                        <a:pt x="41" y="58"/>
                      </a:lnTo>
                      <a:lnTo>
                        <a:pt x="40" y="61"/>
                      </a:lnTo>
                      <a:lnTo>
                        <a:pt x="38" y="62"/>
                      </a:lnTo>
                      <a:lnTo>
                        <a:pt x="35" y="62"/>
                      </a:lnTo>
                      <a:lnTo>
                        <a:pt x="34" y="61"/>
                      </a:lnTo>
                      <a:lnTo>
                        <a:pt x="34" y="58"/>
                      </a:lnTo>
                      <a:lnTo>
                        <a:pt x="28" y="59"/>
                      </a:lnTo>
                      <a:lnTo>
                        <a:pt x="22" y="59"/>
                      </a:lnTo>
                      <a:lnTo>
                        <a:pt x="17" y="56"/>
                      </a:lnTo>
                      <a:lnTo>
                        <a:pt x="16" y="54"/>
                      </a:lnTo>
                      <a:lnTo>
                        <a:pt x="16" y="51"/>
                      </a:lnTo>
                      <a:lnTo>
                        <a:pt x="17" y="49"/>
                      </a:lnTo>
                      <a:lnTo>
                        <a:pt x="19" y="45"/>
                      </a:lnTo>
                      <a:lnTo>
                        <a:pt x="25" y="37"/>
                      </a:lnTo>
                      <a:lnTo>
                        <a:pt x="26" y="32"/>
                      </a:lnTo>
                      <a:lnTo>
                        <a:pt x="26" y="26"/>
                      </a:lnTo>
                      <a:lnTo>
                        <a:pt x="25" y="20"/>
                      </a:lnTo>
                      <a:lnTo>
                        <a:pt x="21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4" name="Freeform 882">
                  <a:extLst>
                    <a:ext uri="{FF2B5EF4-FFF2-40B4-BE49-F238E27FC236}">
                      <a16:creationId xmlns:a16="http://schemas.microsoft.com/office/drawing/2014/main" id="{97B9CAB1-7793-534F-8B11-C3B0904F79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9050" y="4384541"/>
                  <a:ext cx="113950" cy="207182"/>
                </a:xfrm>
                <a:custGeom>
                  <a:avLst/>
                  <a:gdLst>
                    <a:gd name="T0" fmla="*/ 2147483647 w 83"/>
                    <a:gd name="T1" fmla="*/ 2147483647 h 140"/>
                    <a:gd name="T2" fmla="*/ 2147483647 w 83"/>
                    <a:gd name="T3" fmla="*/ 2147483647 h 140"/>
                    <a:gd name="T4" fmla="*/ 2147483647 w 83"/>
                    <a:gd name="T5" fmla="*/ 2147483647 h 140"/>
                    <a:gd name="T6" fmla="*/ 2147483647 w 83"/>
                    <a:gd name="T7" fmla="*/ 2147483647 h 140"/>
                    <a:gd name="T8" fmla="*/ 2147483647 w 83"/>
                    <a:gd name="T9" fmla="*/ 2147483647 h 140"/>
                    <a:gd name="T10" fmla="*/ 2147483647 w 83"/>
                    <a:gd name="T11" fmla="*/ 2147483647 h 140"/>
                    <a:gd name="T12" fmla="*/ 2147483647 w 83"/>
                    <a:gd name="T13" fmla="*/ 2147483647 h 140"/>
                    <a:gd name="T14" fmla="*/ 2147483647 w 83"/>
                    <a:gd name="T15" fmla="*/ 2147483647 h 140"/>
                    <a:gd name="T16" fmla="*/ 2147483647 w 83"/>
                    <a:gd name="T17" fmla="*/ 2147483647 h 140"/>
                    <a:gd name="T18" fmla="*/ 2147483647 w 83"/>
                    <a:gd name="T19" fmla="*/ 2147483647 h 140"/>
                    <a:gd name="T20" fmla="*/ 2147483647 w 83"/>
                    <a:gd name="T21" fmla="*/ 2147483647 h 140"/>
                    <a:gd name="T22" fmla="*/ 2147483647 w 83"/>
                    <a:gd name="T23" fmla="*/ 2147483647 h 140"/>
                    <a:gd name="T24" fmla="*/ 2147483647 w 83"/>
                    <a:gd name="T25" fmla="*/ 2147483647 h 140"/>
                    <a:gd name="T26" fmla="*/ 2147483647 w 83"/>
                    <a:gd name="T27" fmla="*/ 2147483647 h 140"/>
                    <a:gd name="T28" fmla="*/ 2147483647 w 83"/>
                    <a:gd name="T29" fmla="*/ 2147483647 h 140"/>
                    <a:gd name="T30" fmla="*/ 2147483647 w 83"/>
                    <a:gd name="T31" fmla="*/ 2147483647 h 140"/>
                    <a:gd name="T32" fmla="*/ 2147483647 w 83"/>
                    <a:gd name="T33" fmla="*/ 2147483647 h 140"/>
                    <a:gd name="T34" fmla="*/ 2147483647 w 83"/>
                    <a:gd name="T35" fmla="*/ 2147483647 h 140"/>
                    <a:gd name="T36" fmla="*/ 2147483647 w 83"/>
                    <a:gd name="T37" fmla="*/ 2147483647 h 140"/>
                    <a:gd name="T38" fmla="*/ 2147483647 w 83"/>
                    <a:gd name="T39" fmla="*/ 2147483647 h 140"/>
                    <a:gd name="T40" fmla="*/ 2147483647 w 83"/>
                    <a:gd name="T41" fmla="*/ 2147483647 h 140"/>
                    <a:gd name="T42" fmla="*/ 2147483647 w 83"/>
                    <a:gd name="T43" fmla="*/ 2147483647 h 140"/>
                    <a:gd name="T44" fmla="*/ 2147483647 w 83"/>
                    <a:gd name="T45" fmla="*/ 2147483647 h 140"/>
                    <a:gd name="T46" fmla="*/ 2147483647 w 83"/>
                    <a:gd name="T47" fmla="*/ 2147483647 h 140"/>
                    <a:gd name="T48" fmla="*/ 0 w 83"/>
                    <a:gd name="T49" fmla="*/ 2147483647 h 140"/>
                    <a:gd name="T50" fmla="*/ 0 w 83"/>
                    <a:gd name="T51" fmla="*/ 2147483647 h 140"/>
                    <a:gd name="T52" fmla="*/ 2147483647 w 83"/>
                    <a:gd name="T53" fmla="*/ 2147483647 h 140"/>
                    <a:gd name="T54" fmla="*/ 2147483647 w 83"/>
                    <a:gd name="T55" fmla="*/ 2147483647 h 140"/>
                    <a:gd name="T56" fmla="*/ 2147483647 w 83"/>
                    <a:gd name="T57" fmla="*/ 2147483647 h 140"/>
                    <a:gd name="T58" fmla="*/ 2147483647 w 83"/>
                    <a:gd name="T59" fmla="*/ 2147483647 h 140"/>
                    <a:gd name="T60" fmla="*/ 2147483647 w 83"/>
                    <a:gd name="T61" fmla="*/ 2147483647 h 140"/>
                    <a:gd name="T62" fmla="*/ 2147483647 w 83"/>
                    <a:gd name="T63" fmla="*/ 2147483647 h 140"/>
                    <a:gd name="T64" fmla="*/ 2147483647 w 83"/>
                    <a:gd name="T65" fmla="*/ 2147483647 h 140"/>
                    <a:gd name="T66" fmla="*/ 2147483647 w 83"/>
                    <a:gd name="T67" fmla="*/ 2147483647 h 140"/>
                    <a:gd name="T68" fmla="*/ 2147483647 w 83"/>
                    <a:gd name="T69" fmla="*/ 0 h 140"/>
                    <a:gd name="T70" fmla="*/ 2147483647 w 83"/>
                    <a:gd name="T71" fmla="*/ 0 h 140"/>
                    <a:gd name="T72" fmla="*/ 2147483647 w 83"/>
                    <a:gd name="T73" fmla="*/ 2147483647 h 140"/>
                    <a:gd name="T74" fmla="*/ 2147483647 w 83"/>
                    <a:gd name="T75" fmla="*/ 2147483647 h 140"/>
                    <a:gd name="T76" fmla="*/ 2147483647 w 83"/>
                    <a:gd name="T77" fmla="*/ 2147483647 h 140"/>
                    <a:gd name="T78" fmla="*/ 2147483647 w 83"/>
                    <a:gd name="T79" fmla="*/ 2147483647 h 140"/>
                    <a:gd name="T80" fmla="*/ 2147483647 w 83"/>
                    <a:gd name="T81" fmla="*/ 2147483647 h 140"/>
                    <a:gd name="T82" fmla="*/ 2147483647 w 83"/>
                    <a:gd name="T83" fmla="*/ 2147483647 h 140"/>
                    <a:gd name="T84" fmla="*/ 2147483647 w 83"/>
                    <a:gd name="T85" fmla="*/ 2147483647 h 140"/>
                    <a:gd name="T86" fmla="*/ 2147483647 w 83"/>
                    <a:gd name="T87" fmla="*/ 2147483647 h 140"/>
                    <a:gd name="T88" fmla="*/ 2147483647 w 83"/>
                    <a:gd name="T89" fmla="*/ 2147483647 h 140"/>
                    <a:gd name="T90" fmla="*/ 2147483647 w 83"/>
                    <a:gd name="T91" fmla="*/ 2147483647 h 140"/>
                    <a:gd name="T92" fmla="*/ 2147483647 w 83"/>
                    <a:gd name="T93" fmla="*/ 2147483647 h 140"/>
                    <a:gd name="T94" fmla="*/ 2147483647 w 83"/>
                    <a:gd name="T95" fmla="*/ 2147483647 h 140"/>
                    <a:gd name="T96" fmla="*/ 2147483647 w 83"/>
                    <a:gd name="T97" fmla="*/ 2147483647 h 140"/>
                    <a:gd name="T98" fmla="*/ 2147483647 w 83"/>
                    <a:gd name="T99" fmla="*/ 2147483647 h 140"/>
                    <a:gd name="T100" fmla="*/ 2147483647 w 83"/>
                    <a:gd name="T101" fmla="*/ 2147483647 h 140"/>
                    <a:gd name="T102" fmla="*/ 2147483647 w 83"/>
                    <a:gd name="T103" fmla="*/ 2147483647 h 140"/>
                    <a:gd name="T104" fmla="*/ 2147483647 w 83"/>
                    <a:gd name="T105" fmla="*/ 2147483647 h 140"/>
                    <a:gd name="T106" fmla="*/ 2147483647 w 83"/>
                    <a:gd name="T107" fmla="*/ 2147483647 h 140"/>
                    <a:gd name="T108" fmla="*/ 2147483647 w 83"/>
                    <a:gd name="T109" fmla="*/ 2147483647 h 140"/>
                    <a:gd name="T110" fmla="*/ 2147483647 w 83"/>
                    <a:gd name="T111" fmla="*/ 2147483647 h 140"/>
                    <a:gd name="T112" fmla="*/ 2147483647 w 83"/>
                    <a:gd name="T113" fmla="*/ 2147483647 h 140"/>
                    <a:gd name="T114" fmla="*/ 2147483647 w 83"/>
                    <a:gd name="T115" fmla="*/ 2147483647 h 14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3"/>
                    <a:gd name="T175" fmla="*/ 0 h 140"/>
                    <a:gd name="T176" fmla="*/ 83 w 83"/>
                    <a:gd name="T177" fmla="*/ 140 h 14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3" h="140">
                      <a:moveTo>
                        <a:pt x="82" y="124"/>
                      </a:moveTo>
                      <a:lnTo>
                        <a:pt x="82" y="124"/>
                      </a:lnTo>
                      <a:lnTo>
                        <a:pt x="78" y="127"/>
                      </a:lnTo>
                      <a:lnTo>
                        <a:pt x="74" y="128"/>
                      </a:lnTo>
                      <a:lnTo>
                        <a:pt x="70" y="130"/>
                      </a:lnTo>
                      <a:lnTo>
                        <a:pt x="66" y="131"/>
                      </a:lnTo>
                      <a:lnTo>
                        <a:pt x="63" y="131"/>
                      </a:lnTo>
                      <a:lnTo>
                        <a:pt x="58" y="134"/>
                      </a:lnTo>
                      <a:lnTo>
                        <a:pt x="52" y="137"/>
                      </a:lnTo>
                      <a:lnTo>
                        <a:pt x="50" y="140"/>
                      </a:lnTo>
                      <a:lnTo>
                        <a:pt x="47" y="140"/>
                      </a:lnTo>
                      <a:lnTo>
                        <a:pt x="44" y="136"/>
                      </a:lnTo>
                      <a:lnTo>
                        <a:pt x="40" y="130"/>
                      </a:lnTo>
                      <a:lnTo>
                        <a:pt x="37" y="124"/>
                      </a:lnTo>
                      <a:lnTo>
                        <a:pt x="35" y="117"/>
                      </a:lnTo>
                      <a:lnTo>
                        <a:pt x="33" y="111"/>
                      </a:lnTo>
                      <a:lnTo>
                        <a:pt x="33" y="104"/>
                      </a:lnTo>
                      <a:lnTo>
                        <a:pt x="33" y="98"/>
                      </a:lnTo>
                      <a:lnTo>
                        <a:pt x="36" y="95"/>
                      </a:lnTo>
                      <a:lnTo>
                        <a:pt x="39" y="91"/>
                      </a:lnTo>
                      <a:lnTo>
                        <a:pt x="41" y="90"/>
                      </a:lnTo>
                      <a:lnTo>
                        <a:pt x="42" y="88"/>
                      </a:lnTo>
                      <a:lnTo>
                        <a:pt x="44" y="85"/>
                      </a:lnTo>
                      <a:lnTo>
                        <a:pt x="44" y="82"/>
                      </a:lnTo>
                      <a:lnTo>
                        <a:pt x="42" y="79"/>
                      </a:lnTo>
                      <a:lnTo>
                        <a:pt x="40" y="77"/>
                      </a:lnTo>
                      <a:lnTo>
                        <a:pt x="35" y="73"/>
                      </a:lnTo>
                      <a:lnTo>
                        <a:pt x="32" y="71"/>
                      </a:lnTo>
                      <a:lnTo>
                        <a:pt x="31" y="69"/>
                      </a:lnTo>
                      <a:lnTo>
                        <a:pt x="30" y="64"/>
                      </a:lnTo>
                      <a:lnTo>
                        <a:pt x="30" y="62"/>
                      </a:lnTo>
                      <a:lnTo>
                        <a:pt x="28" y="59"/>
                      </a:lnTo>
                      <a:lnTo>
                        <a:pt x="25" y="59"/>
                      </a:lnTo>
                      <a:lnTo>
                        <a:pt x="19" y="59"/>
                      </a:lnTo>
                      <a:lnTo>
                        <a:pt x="16" y="58"/>
                      </a:lnTo>
                      <a:lnTo>
                        <a:pt x="13" y="57"/>
                      </a:lnTo>
                      <a:lnTo>
                        <a:pt x="12" y="56"/>
                      </a:lnTo>
                      <a:lnTo>
                        <a:pt x="7" y="47"/>
                      </a:lnTo>
                      <a:lnTo>
                        <a:pt x="0" y="39"/>
                      </a:lnTo>
                      <a:lnTo>
                        <a:pt x="0" y="37"/>
                      </a:lnTo>
                      <a:lnTo>
                        <a:pt x="2" y="35"/>
                      </a:lnTo>
                      <a:lnTo>
                        <a:pt x="8" y="33"/>
                      </a:lnTo>
                      <a:lnTo>
                        <a:pt x="14" y="31"/>
                      </a:lnTo>
                      <a:lnTo>
                        <a:pt x="21" y="28"/>
                      </a:lnTo>
                      <a:lnTo>
                        <a:pt x="23" y="26"/>
                      </a:lnTo>
                      <a:lnTo>
                        <a:pt x="26" y="24"/>
                      </a:lnTo>
                      <a:lnTo>
                        <a:pt x="26" y="22"/>
                      </a:lnTo>
                      <a:lnTo>
                        <a:pt x="25" y="21"/>
                      </a:lnTo>
                      <a:lnTo>
                        <a:pt x="22" y="18"/>
                      </a:lnTo>
                      <a:lnTo>
                        <a:pt x="19" y="14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21" y="8"/>
                      </a:lnTo>
                      <a:lnTo>
                        <a:pt x="25" y="6"/>
                      </a:lnTo>
                      <a:lnTo>
                        <a:pt x="30" y="0"/>
                      </a:lnTo>
                      <a:lnTo>
                        <a:pt x="32" y="0"/>
                      </a:lnTo>
                      <a:lnTo>
                        <a:pt x="35" y="1"/>
                      </a:lnTo>
                      <a:lnTo>
                        <a:pt x="40" y="1"/>
                      </a:lnTo>
                      <a:lnTo>
                        <a:pt x="41" y="3"/>
                      </a:lnTo>
                      <a:lnTo>
                        <a:pt x="44" y="6"/>
                      </a:lnTo>
                      <a:lnTo>
                        <a:pt x="49" y="13"/>
                      </a:lnTo>
                      <a:lnTo>
                        <a:pt x="51" y="21"/>
                      </a:lnTo>
                      <a:lnTo>
                        <a:pt x="52" y="26"/>
                      </a:lnTo>
                      <a:lnTo>
                        <a:pt x="52" y="27"/>
                      </a:lnTo>
                      <a:lnTo>
                        <a:pt x="55" y="30"/>
                      </a:lnTo>
                      <a:lnTo>
                        <a:pt x="56" y="30"/>
                      </a:lnTo>
                      <a:lnTo>
                        <a:pt x="58" y="30"/>
                      </a:lnTo>
                      <a:lnTo>
                        <a:pt x="59" y="28"/>
                      </a:lnTo>
                      <a:lnTo>
                        <a:pt x="63" y="28"/>
                      </a:lnTo>
                      <a:lnTo>
                        <a:pt x="65" y="30"/>
                      </a:lnTo>
                      <a:lnTo>
                        <a:pt x="69" y="34"/>
                      </a:lnTo>
                      <a:lnTo>
                        <a:pt x="72" y="35"/>
                      </a:lnTo>
                      <a:lnTo>
                        <a:pt x="74" y="37"/>
                      </a:lnTo>
                      <a:lnTo>
                        <a:pt x="77" y="37"/>
                      </a:lnTo>
                      <a:lnTo>
                        <a:pt x="79" y="38"/>
                      </a:lnTo>
                      <a:lnTo>
                        <a:pt x="82" y="39"/>
                      </a:lnTo>
                      <a:lnTo>
                        <a:pt x="83" y="41"/>
                      </a:lnTo>
                      <a:lnTo>
                        <a:pt x="83" y="47"/>
                      </a:lnTo>
                      <a:lnTo>
                        <a:pt x="82" y="53"/>
                      </a:lnTo>
                      <a:lnTo>
                        <a:pt x="79" y="59"/>
                      </a:lnTo>
                      <a:lnTo>
                        <a:pt x="75" y="65"/>
                      </a:lnTo>
                      <a:lnTo>
                        <a:pt x="72" y="71"/>
                      </a:lnTo>
                      <a:lnTo>
                        <a:pt x="70" y="77"/>
                      </a:lnTo>
                      <a:lnTo>
                        <a:pt x="69" y="82"/>
                      </a:lnTo>
                      <a:lnTo>
                        <a:pt x="70" y="88"/>
                      </a:lnTo>
                      <a:lnTo>
                        <a:pt x="73" y="95"/>
                      </a:lnTo>
                      <a:lnTo>
                        <a:pt x="74" y="102"/>
                      </a:lnTo>
                      <a:lnTo>
                        <a:pt x="78" y="116"/>
                      </a:lnTo>
                      <a:lnTo>
                        <a:pt x="82" y="12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5" name="Freeform 883">
                  <a:extLst>
                    <a:ext uri="{FF2B5EF4-FFF2-40B4-BE49-F238E27FC236}">
                      <a16:creationId xmlns:a16="http://schemas.microsoft.com/office/drawing/2014/main" id="{BCD44D04-4BDA-1F4B-805D-89C6FB749C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5239" y="4448175"/>
                  <a:ext cx="91752" cy="125790"/>
                </a:xfrm>
                <a:custGeom>
                  <a:avLst/>
                  <a:gdLst>
                    <a:gd name="T0" fmla="*/ 2147483647 w 68"/>
                    <a:gd name="T1" fmla="*/ 0 h 85"/>
                    <a:gd name="T2" fmla="*/ 2147483647 w 68"/>
                    <a:gd name="T3" fmla="*/ 2147483647 h 85"/>
                    <a:gd name="T4" fmla="*/ 2147483647 w 68"/>
                    <a:gd name="T5" fmla="*/ 2147483647 h 85"/>
                    <a:gd name="T6" fmla="*/ 2147483647 w 68"/>
                    <a:gd name="T7" fmla="*/ 2147483647 h 85"/>
                    <a:gd name="T8" fmla="*/ 2147483647 w 68"/>
                    <a:gd name="T9" fmla="*/ 2147483647 h 85"/>
                    <a:gd name="T10" fmla="*/ 2147483647 w 68"/>
                    <a:gd name="T11" fmla="*/ 2147483647 h 85"/>
                    <a:gd name="T12" fmla="*/ 2147483647 w 68"/>
                    <a:gd name="T13" fmla="*/ 2147483647 h 85"/>
                    <a:gd name="T14" fmla="*/ 0 w 68"/>
                    <a:gd name="T15" fmla="*/ 2147483647 h 85"/>
                    <a:gd name="T16" fmla="*/ 2147483647 w 68"/>
                    <a:gd name="T17" fmla="*/ 2147483647 h 85"/>
                    <a:gd name="T18" fmla="*/ 2147483647 w 68"/>
                    <a:gd name="T19" fmla="*/ 2147483647 h 85"/>
                    <a:gd name="T20" fmla="*/ 2147483647 w 68"/>
                    <a:gd name="T21" fmla="*/ 2147483647 h 85"/>
                    <a:gd name="T22" fmla="*/ 2147483647 w 68"/>
                    <a:gd name="T23" fmla="*/ 2147483647 h 85"/>
                    <a:gd name="T24" fmla="*/ 2147483647 w 68"/>
                    <a:gd name="T25" fmla="*/ 2147483647 h 85"/>
                    <a:gd name="T26" fmla="*/ 2147483647 w 68"/>
                    <a:gd name="T27" fmla="*/ 2147483647 h 85"/>
                    <a:gd name="T28" fmla="*/ 2147483647 w 68"/>
                    <a:gd name="T29" fmla="*/ 2147483647 h 85"/>
                    <a:gd name="T30" fmla="*/ 2147483647 w 68"/>
                    <a:gd name="T31" fmla="*/ 2147483647 h 85"/>
                    <a:gd name="T32" fmla="*/ 2147483647 w 68"/>
                    <a:gd name="T33" fmla="*/ 2147483647 h 85"/>
                    <a:gd name="T34" fmla="*/ 2147483647 w 68"/>
                    <a:gd name="T35" fmla="*/ 2147483647 h 85"/>
                    <a:gd name="T36" fmla="*/ 2147483647 w 68"/>
                    <a:gd name="T37" fmla="*/ 2147483647 h 85"/>
                    <a:gd name="T38" fmla="*/ 2147483647 w 68"/>
                    <a:gd name="T39" fmla="*/ 2147483647 h 85"/>
                    <a:gd name="T40" fmla="*/ 2147483647 w 68"/>
                    <a:gd name="T41" fmla="*/ 2147483647 h 85"/>
                    <a:gd name="T42" fmla="*/ 2147483647 w 68"/>
                    <a:gd name="T43" fmla="*/ 2147483647 h 85"/>
                    <a:gd name="T44" fmla="*/ 2147483647 w 68"/>
                    <a:gd name="T45" fmla="*/ 2147483647 h 85"/>
                    <a:gd name="T46" fmla="*/ 2147483647 w 68"/>
                    <a:gd name="T47" fmla="*/ 2147483647 h 85"/>
                    <a:gd name="T48" fmla="*/ 2147483647 w 68"/>
                    <a:gd name="T49" fmla="*/ 2147483647 h 85"/>
                    <a:gd name="T50" fmla="*/ 2147483647 w 68"/>
                    <a:gd name="T51" fmla="*/ 2147483647 h 85"/>
                    <a:gd name="T52" fmla="*/ 2147483647 w 68"/>
                    <a:gd name="T53" fmla="*/ 2147483647 h 85"/>
                    <a:gd name="T54" fmla="*/ 2147483647 w 68"/>
                    <a:gd name="T55" fmla="*/ 2147483647 h 85"/>
                    <a:gd name="T56" fmla="*/ 2147483647 w 68"/>
                    <a:gd name="T57" fmla="*/ 2147483647 h 85"/>
                    <a:gd name="T58" fmla="*/ 2147483647 w 68"/>
                    <a:gd name="T59" fmla="*/ 2147483647 h 85"/>
                    <a:gd name="T60" fmla="*/ 2147483647 w 68"/>
                    <a:gd name="T61" fmla="*/ 2147483647 h 85"/>
                    <a:gd name="T62" fmla="*/ 2147483647 w 68"/>
                    <a:gd name="T63" fmla="*/ 2147483647 h 85"/>
                    <a:gd name="T64" fmla="*/ 2147483647 w 68"/>
                    <a:gd name="T65" fmla="*/ 2147483647 h 85"/>
                    <a:gd name="T66" fmla="*/ 2147483647 w 68"/>
                    <a:gd name="T67" fmla="*/ 2147483647 h 85"/>
                    <a:gd name="T68" fmla="*/ 2147483647 w 68"/>
                    <a:gd name="T69" fmla="*/ 2147483647 h 85"/>
                    <a:gd name="T70" fmla="*/ 2147483647 w 68"/>
                    <a:gd name="T71" fmla="*/ 2147483647 h 85"/>
                    <a:gd name="T72" fmla="*/ 2147483647 w 68"/>
                    <a:gd name="T73" fmla="*/ 2147483647 h 85"/>
                    <a:gd name="T74" fmla="*/ 2147483647 w 68"/>
                    <a:gd name="T75" fmla="*/ 2147483647 h 85"/>
                    <a:gd name="T76" fmla="*/ 2147483647 w 68"/>
                    <a:gd name="T77" fmla="*/ 2147483647 h 85"/>
                    <a:gd name="T78" fmla="*/ 2147483647 w 68"/>
                    <a:gd name="T79" fmla="*/ 2147483647 h 85"/>
                    <a:gd name="T80" fmla="*/ 2147483647 w 68"/>
                    <a:gd name="T81" fmla="*/ 2147483647 h 85"/>
                    <a:gd name="T82" fmla="*/ 2147483647 w 68"/>
                    <a:gd name="T83" fmla="*/ 2147483647 h 85"/>
                    <a:gd name="T84" fmla="*/ 2147483647 w 68"/>
                    <a:gd name="T85" fmla="*/ 2147483647 h 85"/>
                    <a:gd name="T86" fmla="*/ 2147483647 w 68"/>
                    <a:gd name="T87" fmla="*/ 2147483647 h 85"/>
                    <a:gd name="T88" fmla="*/ 2147483647 w 68"/>
                    <a:gd name="T89" fmla="*/ 0 h 85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68"/>
                    <a:gd name="T136" fmla="*/ 0 h 85"/>
                    <a:gd name="T137" fmla="*/ 68 w 68"/>
                    <a:gd name="T138" fmla="*/ 85 h 85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68" h="85">
                      <a:moveTo>
                        <a:pt x="14" y="0"/>
                      </a:moveTo>
                      <a:lnTo>
                        <a:pt x="14" y="6"/>
                      </a:lnTo>
                      <a:lnTo>
                        <a:pt x="13" y="11"/>
                      </a:lnTo>
                      <a:lnTo>
                        <a:pt x="10" y="17"/>
                      </a:lnTo>
                      <a:lnTo>
                        <a:pt x="7" y="23"/>
                      </a:lnTo>
                      <a:lnTo>
                        <a:pt x="3" y="29"/>
                      </a:lnTo>
                      <a:lnTo>
                        <a:pt x="2" y="35"/>
                      </a:lnTo>
                      <a:lnTo>
                        <a:pt x="0" y="40"/>
                      </a:lnTo>
                      <a:lnTo>
                        <a:pt x="2" y="46"/>
                      </a:lnTo>
                      <a:lnTo>
                        <a:pt x="4" y="53"/>
                      </a:lnTo>
                      <a:lnTo>
                        <a:pt x="5" y="60"/>
                      </a:lnTo>
                      <a:lnTo>
                        <a:pt x="9" y="74"/>
                      </a:lnTo>
                      <a:lnTo>
                        <a:pt x="13" y="83"/>
                      </a:lnTo>
                      <a:lnTo>
                        <a:pt x="22" y="85"/>
                      </a:lnTo>
                      <a:lnTo>
                        <a:pt x="26" y="84"/>
                      </a:lnTo>
                      <a:lnTo>
                        <a:pt x="27" y="84"/>
                      </a:lnTo>
                      <a:lnTo>
                        <a:pt x="28" y="81"/>
                      </a:lnTo>
                      <a:lnTo>
                        <a:pt x="29" y="77"/>
                      </a:lnTo>
                      <a:lnTo>
                        <a:pt x="29" y="73"/>
                      </a:lnTo>
                      <a:lnTo>
                        <a:pt x="32" y="72"/>
                      </a:lnTo>
                      <a:lnTo>
                        <a:pt x="36" y="70"/>
                      </a:lnTo>
                      <a:lnTo>
                        <a:pt x="41" y="70"/>
                      </a:lnTo>
                      <a:lnTo>
                        <a:pt x="45" y="71"/>
                      </a:lnTo>
                      <a:lnTo>
                        <a:pt x="50" y="73"/>
                      </a:lnTo>
                      <a:lnTo>
                        <a:pt x="55" y="74"/>
                      </a:lnTo>
                      <a:lnTo>
                        <a:pt x="60" y="75"/>
                      </a:lnTo>
                      <a:lnTo>
                        <a:pt x="60" y="71"/>
                      </a:lnTo>
                      <a:lnTo>
                        <a:pt x="62" y="67"/>
                      </a:lnTo>
                      <a:lnTo>
                        <a:pt x="65" y="64"/>
                      </a:lnTo>
                      <a:lnTo>
                        <a:pt x="68" y="59"/>
                      </a:lnTo>
                      <a:lnTo>
                        <a:pt x="68" y="54"/>
                      </a:lnTo>
                      <a:lnTo>
                        <a:pt x="66" y="51"/>
                      </a:lnTo>
                      <a:lnTo>
                        <a:pt x="62" y="46"/>
                      </a:lnTo>
                      <a:lnTo>
                        <a:pt x="60" y="41"/>
                      </a:lnTo>
                      <a:lnTo>
                        <a:pt x="59" y="36"/>
                      </a:lnTo>
                      <a:lnTo>
                        <a:pt x="57" y="32"/>
                      </a:lnTo>
                      <a:lnTo>
                        <a:pt x="57" y="27"/>
                      </a:lnTo>
                      <a:lnTo>
                        <a:pt x="59" y="22"/>
                      </a:lnTo>
                      <a:lnTo>
                        <a:pt x="61" y="16"/>
                      </a:lnTo>
                      <a:lnTo>
                        <a:pt x="64" y="13"/>
                      </a:lnTo>
                      <a:lnTo>
                        <a:pt x="59" y="9"/>
                      </a:lnTo>
                      <a:lnTo>
                        <a:pt x="52" y="6"/>
                      </a:lnTo>
                      <a:lnTo>
                        <a:pt x="45" y="6"/>
                      </a:lnTo>
                      <a:lnTo>
                        <a:pt x="37" y="4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6" name="Freeform 884">
                  <a:extLst>
                    <a:ext uri="{FF2B5EF4-FFF2-40B4-BE49-F238E27FC236}">
                      <a16:creationId xmlns:a16="http://schemas.microsoft.com/office/drawing/2014/main" id="{9587E6D0-3CF1-5A4D-AD69-BF0418E15C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2191" y="4467417"/>
                  <a:ext cx="71034" cy="105070"/>
                </a:xfrm>
                <a:custGeom>
                  <a:avLst/>
                  <a:gdLst>
                    <a:gd name="T0" fmla="*/ 2147483647 w 52"/>
                    <a:gd name="T1" fmla="*/ 0 h 71"/>
                    <a:gd name="T2" fmla="*/ 2147483647 w 52"/>
                    <a:gd name="T3" fmla="*/ 2147483647 h 71"/>
                    <a:gd name="T4" fmla="*/ 2147483647 w 52"/>
                    <a:gd name="T5" fmla="*/ 2147483647 h 71"/>
                    <a:gd name="T6" fmla="*/ 0 w 52"/>
                    <a:gd name="T7" fmla="*/ 2147483647 h 71"/>
                    <a:gd name="T8" fmla="*/ 0 w 52"/>
                    <a:gd name="T9" fmla="*/ 2147483647 h 71"/>
                    <a:gd name="T10" fmla="*/ 2147483647 w 52"/>
                    <a:gd name="T11" fmla="*/ 2147483647 h 71"/>
                    <a:gd name="T12" fmla="*/ 2147483647 w 52"/>
                    <a:gd name="T13" fmla="*/ 2147483647 h 71"/>
                    <a:gd name="T14" fmla="*/ 2147483647 w 52"/>
                    <a:gd name="T15" fmla="*/ 2147483647 h 71"/>
                    <a:gd name="T16" fmla="*/ 2147483647 w 52"/>
                    <a:gd name="T17" fmla="*/ 2147483647 h 71"/>
                    <a:gd name="T18" fmla="*/ 2147483647 w 52"/>
                    <a:gd name="T19" fmla="*/ 2147483647 h 71"/>
                    <a:gd name="T20" fmla="*/ 2147483647 w 52"/>
                    <a:gd name="T21" fmla="*/ 2147483647 h 71"/>
                    <a:gd name="T22" fmla="*/ 2147483647 w 52"/>
                    <a:gd name="T23" fmla="*/ 2147483647 h 71"/>
                    <a:gd name="T24" fmla="*/ 2147483647 w 52"/>
                    <a:gd name="T25" fmla="*/ 2147483647 h 71"/>
                    <a:gd name="T26" fmla="*/ 2147483647 w 52"/>
                    <a:gd name="T27" fmla="*/ 2147483647 h 71"/>
                    <a:gd name="T28" fmla="*/ 2147483647 w 52"/>
                    <a:gd name="T29" fmla="*/ 2147483647 h 71"/>
                    <a:gd name="T30" fmla="*/ 2147483647 w 52"/>
                    <a:gd name="T31" fmla="*/ 2147483647 h 71"/>
                    <a:gd name="T32" fmla="*/ 2147483647 w 52"/>
                    <a:gd name="T33" fmla="*/ 2147483647 h 71"/>
                    <a:gd name="T34" fmla="*/ 2147483647 w 52"/>
                    <a:gd name="T35" fmla="*/ 2147483647 h 71"/>
                    <a:gd name="T36" fmla="*/ 2147483647 w 52"/>
                    <a:gd name="T37" fmla="*/ 2147483647 h 71"/>
                    <a:gd name="T38" fmla="*/ 2147483647 w 52"/>
                    <a:gd name="T39" fmla="*/ 2147483647 h 71"/>
                    <a:gd name="T40" fmla="*/ 2147483647 w 52"/>
                    <a:gd name="T41" fmla="*/ 2147483647 h 71"/>
                    <a:gd name="T42" fmla="*/ 2147483647 w 52"/>
                    <a:gd name="T43" fmla="*/ 2147483647 h 71"/>
                    <a:gd name="T44" fmla="*/ 2147483647 w 52"/>
                    <a:gd name="T45" fmla="*/ 2147483647 h 71"/>
                    <a:gd name="T46" fmla="*/ 2147483647 w 52"/>
                    <a:gd name="T47" fmla="*/ 2147483647 h 71"/>
                    <a:gd name="T48" fmla="*/ 2147483647 w 52"/>
                    <a:gd name="T49" fmla="*/ 2147483647 h 71"/>
                    <a:gd name="T50" fmla="*/ 2147483647 w 52"/>
                    <a:gd name="T51" fmla="*/ 2147483647 h 71"/>
                    <a:gd name="T52" fmla="*/ 2147483647 w 52"/>
                    <a:gd name="T53" fmla="*/ 2147483647 h 71"/>
                    <a:gd name="T54" fmla="*/ 2147483647 w 52"/>
                    <a:gd name="T55" fmla="*/ 2147483647 h 71"/>
                    <a:gd name="T56" fmla="*/ 2147483647 w 52"/>
                    <a:gd name="T57" fmla="*/ 2147483647 h 71"/>
                    <a:gd name="T58" fmla="*/ 2147483647 w 52"/>
                    <a:gd name="T59" fmla="*/ 2147483647 h 71"/>
                    <a:gd name="T60" fmla="*/ 2147483647 w 52"/>
                    <a:gd name="T61" fmla="*/ 2147483647 h 71"/>
                    <a:gd name="T62" fmla="*/ 2147483647 w 52"/>
                    <a:gd name="T63" fmla="*/ 2147483647 h 71"/>
                    <a:gd name="T64" fmla="*/ 2147483647 w 52"/>
                    <a:gd name="T65" fmla="*/ 2147483647 h 71"/>
                    <a:gd name="T66" fmla="*/ 2147483647 w 52"/>
                    <a:gd name="T67" fmla="*/ 2147483647 h 71"/>
                    <a:gd name="T68" fmla="*/ 2147483647 w 52"/>
                    <a:gd name="T69" fmla="*/ 2147483647 h 71"/>
                    <a:gd name="T70" fmla="*/ 2147483647 w 52"/>
                    <a:gd name="T71" fmla="*/ 2147483647 h 71"/>
                    <a:gd name="T72" fmla="*/ 2147483647 w 52"/>
                    <a:gd name="T73" fmla="*/ 2147483647 h 71"/>
                    <a:gd name="T74" fmla="*/ 2147483647 w 52"/>
                    <a:gd name="T75" fmla="*/ 2147483647 h 71"/>
                    <a:gd name="T76" fmla="*/ 2147483647 w 52"/>
                    <a:gd name="T77" fmla="*/ 2147483647 h 71"/>
                    <a:gd name="T78" fmla="*/ 2147483647 w 52"/>
                    <a:gd name="T79" fmla="*/ 2147483647 h 71"/>
                    <a:gd name="T80" fmla="*/ 2147483647 w 52"/>
                    <a:gd name="T81" fmla="*/ 2147483647 h 71"/>
                    <a:gd name="T82" fmla="*/ 2147483647 w 52"/>
                    <a:gd name="T83" fmla="*/ 2147483647 h 71"/>
                    <a:gd name="T84" fmla="*/ 2147483647 w 52"/>
                    <a:gd name="T85" fmla="*/ 2147483647 h 71"/>
                    <a:gd name="T86" fmla="*/ 2147483647 w 52"/>
                    <a:gd name="T87" fmla="*/ 2147483647 h 71"/>
                    <a:gd name="T88" fmla="*/ 2147483647 w 52"/>
                    <a:gd name="T89" fmla="*/ 2147483647 h 71"/>
                    <a:gd name="T90" fmla="*/ 2147483647 w 52"/>
                    <a:gd name="T91" fmla="*/ 0 h 71"/>
                    <a:gd name="T92" fmla="*/ 2147483647 w 52"/>
                    <a:gd name="T93" fmla="*/ 0 h 71"/>
                    <a:gd name="T94" fmla="*/ 2147483647 w 52"/>
                    <a:gd name="T95" fmla="*/ 0 h 71"/>
                    <a:gd name="T96" fmla="*/ 2147483647 w 52"/>
                    <a:gd name="T97" fmla="*/ 0 h 71"/>
                    <a:gd name="T98" fmla="*/ 2147483647 w 52"/>
                    <a:gd name="T99" fmla="*/ 0 h 7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52"/>
                    <a:gd name="T151" fmla="*/ 0 h 71"/>
                    <a:gd name="T152" fmla="*/ 52 w 52"/>
                    <a:gd name="T153" fmla="*/ 71 h 71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52" h="71">
                      <a:moveTo>
                        <a:pt x="7" y="0"/>
                      </a:moveTo>
                      <a:lnTo>
                        <a:pt x="4" y="3"/>
                      </a:lnTo>
                      <a:lnTo>
                        <a:pt x="2" y="9"/>
                      </a:lnTo>
                      <a:lnTo>
                        <a:pt x="0" y="14"/>
                      </a:lnTo>
                      <a:lnTo>
                        <a:pt x="0" y="19"/>
                      </a:lnTo>
                      <a:lnTo>
                        <a:pt x="2" y="23"/>
                      </a:lnTo>
                      <a:lnTo>
                        <a:pt x="3" y="28"/>
                      </a:lnTo>
                      <a:lnTo>
                        <a:pt x="5" y="33"/>
                      </a:lnTo>
                      <a:lnTo>
                        <a:pt x="9" y="38"/>
                      </a:lnTo>
                      <a:lnTo>
                        <a:pt x="11" y="41"/>
                      </a:lnTo>
                      <a:lnTo>
                        <a:pt x="11" y="46"/>
                      </a:lnTo>
                      <a:lnTo>
                        <a:pt x="8" y="51"/>
                      </a:lnTo>
                      <a:lnTo>
                        <a:pt x="5" y="54"/>
                      </a:lnTo>
                      <a:lnTo>
                        <a:pt x="3" y="58"/>
                      </a:lnTo>
                      <a:lnTo>
                        <a:pt x="3" y="62"/>
                      </a:lnTo>
                      <a:lnTo>
                        <a:pt x="5" y="64"/>
                      </a:lnTo>
                      <a:lnTo>
                        <a:pt x="7" y="66"/>
                      </a:lnTo>
                      <a:lnTo>
                        <a:pt x="8" y="68"/>
                      </a:lnTo>
                      <a:lnTo>
                        <a:pt x="11" y="71"/>
                      </a:lnTo>
                      <a:lnTo>
                        <a:pt x="13" y="71"/>
                      </a:lnTo>
                      <a:lnTo>
                        <a:pt x="14" y="71"/>
                      </a:lnTo>
                      <a:lnTo>
                        <a:pt x="17" y="67"/>
                      </a:lnTo>
                      <a:lnTo>
                        <a:pt x="21" y="66"/>
                      </a:lnTo>
                      <a:lnTo>
                        <a:pt x="26" y="64"/>
                      </a:lnTo>
                      <a:lnTo>
                        <a:pt x="33" y="64"/>
                      </a:lnTo>
                      <a:lnTo>
                        <a:pt x="38" y="61"/>
                      </a:lnTo>
                      <a:lnTo>
                        <a:pt x="41" y="59"/>
                      </a:lnTo>
                      <a:lnTo>
                        <a:pt x="42" y="55"/>
                      </a:lnTo>
                      <a:lnTo>
                        <a:pt x="44" y="52"/>
                      </a:lnTo>
                      <a:lnTo>
                        <a:pt x="45" y="47"/>
                      </a:lnTo>
                      <a:lnTo>
                        <a:pt x="46" y="41"/>
                      </a:lnTo>
                      <a:lnTo>
                        <a:pt x="47" y="35"/>
                      </a:lnTo>
                      <a:lnTo>
                        <a:pt x="49" y="29"/>
                      </a:lnTo>
                      <a:lnTo>
                        <a:pt x="50" y="23"/>
                      </a:lnTo>
                      <a:lnTo>
                        <a:pt x="51" y="19"/>
                      </a:lnTo>
                      <a:lnTo>
                        <a:pt x="51" y="17"/>
                      </a:lnTo>
                      <a:lnTo>
                        <a:pt x="52" y="16"/>
                      </a:lnTo>
                      <a:lnTo>
                        <a:pt x="50" y="10"/>
                      </a:lnTo>
                      <a:lnTo>
                        <a:pt x="49" y="9"/>
                      </a:lnTo>
                      <a:lnTo>
                        <a:pt x="46" y="10"/>
                      </a:lnTo>
                      <a:lnTo>
                        <a:pt x="44" y="10"/>
                      </a:lnTo>
                      <a:lnTo>
                        <a:pt x="40" y="10"/>
                      </a:lnTo>
                      <a:lnTo>
                        <a:pt x="40" y="8"/>
                      </a:lnTo>
                      <a:lnTo>
                        <a:pt x="33" y="7"/>
                      </a:lnTo>
                      <a:lnTo>
                        <a:pt x="27" y="4"/>
                      </a:lnTo>
                      <a:lnTo>
                        <a:pt x="16" y="0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7" name="Freeform 885">
                  <a:extLst>
                    <a:ext uri="{FF2B5EF4-FFF2-40B4-BE49-F238E27FC236}">
                      <a16:creationId xmlns:a16="http://schemas.microsoft.com/office/drawing/2014/main" id="{047CF96D-2EE3-2A4B-B060-DB37857F2E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3759" y="4445220"/>
                  <a:ext cx="91752" cy="127269"/>
                </a:xfrm>
                <a:custGeom>
                  <a:avLst/>
                  <a:gdLst>
                    <a:gd name="T0" fmla="*/ 2147483647 w 67"/>
                    <a:gd name="T1" fmla="*/ 0 h 86"/>
                    <a:gd name="T2" fmla="*/ 2147483647 w 67"/>
                    <a:gd name="T3" fmla="*/ 0 h 86"/>
                    <a:gd name="T4" fmla="*/ 2147483647 w 67"/>
                    <a:gd name="T5" fmla="*/ 2147483647 h 86"/>
                    <a:gd name="T6" fmla="*/ 2147483647 w 67"/>
                    <a:gd name="T7" fmla="*/ 2147483647 h 86"/>
                    <a:gd name="T8" fmla="*/ 2147483647 w 67"/>
                    <a:gd name="T9" fmla="*/ 2147483647 h 86"/>
                    <a:gd name="T10" fmla="*/ 2147483647 w 67"/>
                    <a:gd name="T11" fmla="*/ 2147483647 h 86"/>
                    <a:gd name="T12" fmla="*/ 2147483647 w 67"/>
                    <a:gd name="T13" fmla="*/ 2147483647 h 86"/>
                    <a:gd name="T14" fmla="*/ 2147483647 w 67"/>
                    <a:gd name="T15" fmla="*/ 2147483647 h 86"/>
                    <a:gd name="T16" fmla="*/ 2147483647 w 67"/>
                    <a:gd name="T17" fmla="*/ 2147483647 h 86"/>
                    <a:gd name="T18" fmla="*/ 0 w 67"/>
                    <a:gd name="T19" fmla="*/ 2147483647 h 86"/>
                    <a:gd name="T20" fmla="*/ 2147483647 w 67"/>
                    <a:gd name="T21" fmla="*/ 2147483647 h 86"/>
                    <a:gd name="T22" fmla="*/ 2147483647 w 67"/>
                    <a:gd name="T23" fmla="*/ 2147483647 h 86"/>
                    <a:gd name="T24" fmla="*/ 2147483647 w 67"/>
                    <a:gd name="T25" fmla="*/ 2147483647 h 86"/>
                    <a:gd name="T26" fmla="*/ 2147483647 w 67"/>
                    <a:gd name="T27" fmla="*/ 2147483647 h 86"/>
                    <a:gd name="T28" fmla="*/ 2147483647 w 67"/>
                    <a:gd name="T29" fmla="*/ 2147483647 h 86"/>
                    <a:gd name="T30" fmla="*/ 2147483647 w 67"/>
                    <a:gd name="T31" fmla="*/ 2147483647 h 86"/>
                    <a:gd name="T32" fmla="*/ 2147483647 w 67"/>
                    <a:gd name="T33" fmla="*/ 2147483647 h 86"/>
                    <a:gd name="T34" fmla="*/ 2147483647 w 67"/>
                    <a:gd name="T35" fmla="*/ 2147483647 h 86"/>
                    <a:gd name="T36" fmla="*/ 2147483647 w 67"/>
                    <a:gd name="T37" fmla="*/ 2147483647 h 86"/>
                    <a:gd name="T38" fmla="*/ 2147483647 w 67"/>
                    <a:gd name="T39" fmla="*/ 2147483647 h 86"/>
                    <a:gd name="T40" fmla="*/ 2147483647 w 67"/>
                    <a:gd name="T41" fmla="*/ 2147483647 h 86"/>
                    <a:gd name="T42" fmla="*/ 2147483647 w 67"/>
                    <a:gd name="T43" fmla="*/ 2147483647 h 86"/>
                    <a:gd name="T44" fmla="*/ 2147483647 w 67"/>
                    <a:gd name="T45" fmla="*/ 2147483647 h 86"/>
                    <a:gd name="T46" fmla="*/ 2147483647 w 67"/>
                    <a:gd name="T47" fmla="*/ 2147483647 h 86"/>
                    <a:gd name="T48" fmla="*/ 2147483647 w 67"/>
                    <a:gd name="T49" fmla="*/ 2147483647 h 86"/>
                    <a:gd name="T50" fmla="*/ 2147483647 w 67"/>
                    <a:gd name="T51" fmla="*/ 2147483647 h 86"/>
                    <a:gd name="T52" fmla="*/ 2147483647 w 67"/>
                    <a:gd name="T53" fmla="*/ 2147483647 h 86"/>
                    <a:gd name="T54" fmla="*/ 2147483647 w 67"/>
                    <a:gd name="T55" fmla="*/ 2147483647 h 86"/>
                    <a:gd name="T56" fmla="*/ 2147483647 w 67"/>
                    <a:gd name="T57" fmla="*/ 2147483647 h 86"/>
                    <a:gd name="T58" fmla="*/ 2147483647 w 67"/>
                    <a:gd name="T59" fmla="*/ 2147483647 h 86"/>
                    <a:gd name="T60" fmla="*/ 2147483647 w 67"/>
                    <a:gd name="T61" fmla="*/ 2147483647 h 86"/>
                    <a:gd name="T62" fmla="*/ 2147483647 w 67"/>
                    <a:gd name="T63" fmla="*/ 2147483647 h 86"/>
                    <a:gd name="T64" fmla="*/ 2147483647 w 67"/>
                    <a:gd name="T65" fmla="*/ 2147483647 h 86"/>
                    <a:gd name="T66" fmla="*/ 2147483647 w 67"/>
                    <a:gd name="T67" fmla="*/ 2147483647 h 86"/>
                    <a:gd name="T68" fmla="*/ 2147483647 w 67"/>
                    <a:gd name="T69" fmla="*/ 2147483647 h 86"/>
                    <a:gd name="T70" fmla="*/ 2147483647 w 67"/>
                    <a:gd name="T71" fmla="*/ 2147483647 h 86"/>
                    <a:gd name="T72" fmla="*/ 2147483647 w 67"/>
                    <a:gd name="T73" fmla="*/ 2147483647 h 86"/>
                    <a:gd name="T74" fmla="*/ 2147483647 w 67"/>
                    <a:gd name="T75" fmla="*/ 2147483647 h 86"/>
                    <a:gd name="T76" fmla="*/ 2147483647 w 67"/>
                    <a:gd name="T77" fmla="*/ 2147483647 h 86"/>
                    <a:gd name="T78" fmla="*/ 2147483647 w 67"/>
                    <a:gd name="T79" fmla="*/ 2147483647 h 86"/>
                    <a:gd name="T80" fmla="*/ 2147483647 w 67"/>
                    <a:gd name="T81" fmla="*/ 2147483647 h 86"/>
                    <a:gd name="T82" fmla="*/ 2147483647 w 67"/>
                    <a:gd name="T83" fmla="*/ 2147483647 h 86"/>
                    <a:gd name="T84" fmla="*/ 2147483647 w 67"/>
                    <a:gd name="T85" fmla="*/ 2147483647 h 86"/>
                    <a:gd name="T86" fmla="*/ 2147483647 w 67"/>
                    <a:gd name="T87" fmla="*/ 2147483647 h 86"/>
                    <a:gd name="T88" fmla="*/ 2147483647 w 67"/>
                    <a:gd name="T89" fmla="*/ 2147483647 h 86"/>
                    <a:gd name="T90" fmla="*/ 2147483647 w 67"/>
                    <a:gd name="T91" fmla="*/ 2147483647 h 86"/>
                    <a:gd name="T92" fmla="*/ 2147483647 w 67"/>
                    <a:gd name="T93" fmla="*/ 2147483647 h 86"/>
                    <a:gd name="T94" fmla="*/ 2147483647 w 67"/>
                    <a:gd name="T95" fmla="*/ 2147483647 h 86"/>
                    <a:gd name="T96" fmla="*/ 2147483647 w 67"/>
                    <a:gd name="T97" fmla="*/ 2147483647 h 86"/>
                    <a:gd name="T98" fmla="*/ 2147483647 w 67"/>
                    <a:gd name="T99" fmla="*/ 2147483647 h 86"/>
                    <a:gd name="T100" fmla="*/ 2147483647 w 67"/>
                    <a:gd name="T101" fmla="*/ 2147483647 h 86"/>
                    <a:gd name="T102" fmla="*/ 2147483647 w 67"/>
                    <a:gd name="T103" fmla="*/ 2147483647 h 86"/>
                    <a:gd name="T104" fmla="*/ 2147483647 w 67"/>
                    <a:gd name="T105" fmla="*/ 2147483647 h 86"/>
                    <a:gd name="T106" fmla="*/ 2147483647 w 67"/>
                    <a:gd name="T107" fmla="*/ 2147483647 h 86"/>
                    <a:gd name="T108" fmla="*/ 2147483647 w 67"/>
                    <a:gd name="T109" fmla="*/ 2147483647 h 86"/>
                    <a:gd name="T110" fmla="*/ 2147483647 w 67"/>
                    <a:gd name="T111" fmla="*/ 2147483647 h 86"/>
                    <a:gd name="T112" fmla="*/ 2147483647 w 67"/>
                    <a:gd name="T113" fmla="*/ 2147483647 h 86"/>
                    <a:gd name="T114" fmla="*/ 2147483647 w 67"/>
                    <a:gd name="T115" fmla="*/ 2147483647 h 86"/>
                    <a:gd name="T116" fmla="*/ 2147483647 w 67"/>
                    <a:gd name="T117" fmla="*/ 0 h 86"/>
                    <a:gd name="T118" fmla="*/ 2147483647 w 67"/>
                    <a:gd name="T119" fmla="*/ 0 h 8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67"/>
                    <a:gd name="T181" fmla="*/ 0 h 86"/>
                    <a:gd name="T182" fmla="*/ 67 w 67"/>
                    <a:gd name="T183" fmla="*/ 86 h 8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67" h="86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14" y="6"/>
                      </a:lnTo>
                      <a:lnTo>
                        <a:pt x="13" y="12"/>
                      </a:lnTo>
                      <a:lnTo>
                        <a:pt x="10" y="18"/>
                      </a:lnTo>
                      <a:lnTo>
                        <a:pt x="6" y="24"/>
                      </a:lnTo>
                      <a:lnTo>
                        <a:pt x="3" y="30"/>
                      </a:lnTo>
                      <a:lnTo>
                        <a:pt x="1" y="36"/>
                      </a:lnTo>
                      <a:lnTo>
                        <a:pt x="0" y="41"/>
                      </a:lnTo>
                      <a:lnTo>
                        <a:pt x="1" y="47"/>
                      </a:lnTo>
                      <a:lnTo>
                        <a:pt x="4" y="54"/>
                      </a:lnTo>
                      <a:lnTo>
                        <a:pt x="5" y="61"/>
                      </a:lnTo>
                      <a:lnTo>
                        <a:pt x="9" y="75"/>
                      </a:lnTo>
                      <a:lnTo>
                        <a:pt x="13" y="83"/>
                      </a:lnTo>
                      <a:lnTo>
                        <a:pt x="22" y="86"/>
                      </a:lnTo>
                      <a:lnTo>
                        <a:pt x="25" y="85"/>
                      </a:lnTo>
                      <a:lnTo>
                        <a:pt x="27" y="85"/>
                      </a:lnTo>
                      <a:lnTo>
                        <a:pt x="28" y="82"/>
                      </a:lnTo>
                      <a:lnTo>
                        <a:pt x="29" y="77"/>
                      </a:lnTo>
                      <a:lnTo>
                        <a:pt x="29" y="74"/>
                      </a:lnTo>
                      <a:lnTo>
                        <a:pt x="32" y="73"/>
                      </a:lnTo>
                      <a:lnTo>
                        <a:pt x="36" y="70"/>
                      </a:lnTo>
                      <a:lnTo>
                        <a:pt x="41" y="70"/>
                      </a:lnTo>
                      <a:lnTo>
                        <a:pt x="44" y="72"/>
                      </a:lnTo>
                      <a:lnTo>
                        <a:pt x="50" y="74"/>
                      </a:lnTo>
                      <a:lnTo>
                        <a:pt x="55" y="75"/>
                      </a:lnTo>
                      <a:lnTo>
                        <a:pt x="60" y="76"/>
                      </a:lnTo>
                      <a:lnTo>
                        <a:pt x="60" y="72"/>
                      </a:lnTo>
                      <a:lnTo>
                        <a:pt x="62" y="68"/>
                      </a:lnTo>
                      <a:lnTo>
                        <a:pt x="65" y="64"/>
                      </a:lnTo>
                      <a:lnTo>
                        <a:pt x="67" y="60"/>
                      </a:lnTo>
                      <a:lnTo>
                        <a:pt x="67" y="55"/>
                      </a:lnTo>
                      <a:lnTo>
                        <a:pt x="66" y="51"/>
                      </a:lnTo>
                      <a:lnTo>
                        <a:pt x="62" y="47"/>
                      </a:lnTo>
                      <a:lnTo>
                        <a:pt x="60" y="42"/>
                      </a:lnTo>
                      <a:lnTo>
                        <a:pt x="58" y="37"/>
                      </a:lnTo>
                      <a:lnTo>
                        <a:pt x="57" y="32"/>
                      </a:lnTo>
                      <a:lnTo>
                        <a:pt x="57" y="28"/>
                      </a:lnTo>
                      <a:lnTo>
                        <a:pt x="58" y="23"/>
                      </a:lnTo>
                      <a:lnTo>
                        <a:pt x="61" y="17"/>
                      </a:lnTo>
                      <a:lnTo>
                        <a:pt x="63" y="13"/>
                      </a:lnTo>
                      <a:lnTo>
                        <a:pt x="58" y="10"/>
                      </a:lnTo>
                      <a:lnTo>
                        <a:pt x="52" y="6"/>
                      </a:lnTo>
                      <a:lnTo>
                        <a:pt x="44" y="6"/>
                      </a:lnTo>
                      <a:lnTo>
                        <a:pt x="37" y="5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8" name="Freeform 886">
                  <a:extLst>
                    <a:ext uri="{FF2B5EF4-FFF2-40B4-BE49-F238E27FC236}">
                      <a16:creationId xmlns:a16="http://schemas.microsoft.com/office/drawing/2014/main" id="{6806B626-3741-5544-A236-C0FC346587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0712" y="4464456"/>
                  <a:ext cx="71034" cy="106551"/>
                </a:xfrm>
                <a:custGeom>
                  <a:avLst/>
                  <a:gdLst>
                    <a:gd name="T0" fmla="*/ 2147483647 w 52"/>
                    <a:gd name="T1" fmla="*/ 0 h 72"/>
                    <a:gd name="T2" fmla="*/ 2147483647 w 52"/>
                    <a:gd name="T3" fmla="*/ 2147483647 h 72"/>
                    <a:gd name="T4" fmla="*/ 0 w 52"/>
                    <a:gd name="T5" fmla="*/ 2147483647 h 72"/>
                    <a:gd name="T6" fmla="*/ 2147483647 w 52"/>
                    <a:gd name="T7" fmla="*/ 2147483647 h 72"/>
                    <a:gd name="T8" fmla="*/ 2147483647 w 52"/>
                    <a:gd name="T9" fmla="*/ 2147483647 h 72"/>
                    <a:gd name="T10" fmla="*/ 2147483647 w 52"/>
                    <a:gd name="T11" fmla="*/ 2147483647 h 72"/>
                    <a:gd name="T12" fmla="*/ 2147483647 w 52"/>
                    <a:gd name="T13" fmla="*/ 2147483647 h 72"/>
                    <a:gd name="T14" fmla="*/ 2147483647 w 52"/>
                    <a:gd name="T15" fmla="*/ 2147483647 h 72"/>
                    <a:gd name="T16" fmla="*/ 2147483647 w 52"/>
                    <a:gd name="T17" fmla="*/ 2147483647 h 72"/>
                    <a:gd name="T18" fmla="*/ 2147483647 w 52"/>
                    <a:gd name="T19" fmla="*/ 2147483647 h 72"/>
                    <a:gd name="T20" fmla="*/ 2147483647 w 52"/>
                    <a:gd name="T21" fmla="*/ 2147483647 h 72"/>
                    <a:gd name="T22" fmla="*/ 2147483647 w 52"/>
                    <a:gd name="T23" fmla="*/ 2147483647 h 72"/>
                    <a:gd name="T24" fmla="*/ 2147483647 w 52"/>
                    <a:gd name="T25" fmla="*/ 2147483647 h 72"/>
                    <a:gd name="T26" fmla="*/ 2147483647 w 52"/>
                    <a:gd name="T27" fmla="*/ 2147483647 h 72"/>
                    <a:gd name="T28" fmla="*/ 2147483647 w 52"/>
                    <a:gd name="T29" fmla="*/ 2147483647 h 72"/>
                    <a:gd name="T30" fmla="*/ 2147483647 w 52"/>
                    <a:gd name="T31" fmla="*/ 2147483647 h 72"/>
                    <a:gd name="T32" fmla="*/ 2147483647 w 52"/>
                    <a:gd name="T33" fmla="*/ 2147483647 h 72"/>
                    <a:gd name="T34" fmla="*/ 2147483647 w 52"/>
                    <a:gd name="T35" fmla="*/ 2147483647 h 72"/>
                    <a:gd name="T36" fmla="*/ 2147483647 w 52"/>
                    <a:gd name="T37" fmla="*/ 2147483647 h 72"/>
                    <a:gd name="T38" fmla="*/ 2147483647 w 52"/>
                    <a:gd name="T39" fmla="*/ 2147483647 h 72"/>
                    <a:gd name="T40" fmla="*/ 2147483647 w 52"/>
                    <a:gd name="T41" fmla="*/ 2147483647 h 72"/>
                    <a:gd name="T42" fmla="*/ 2147483647 w 52"/>
                    <a:gd name="T43" fmla="*/ 2147483647 h 72"/>
                    <a:gd name="T44" fmla="*/ 2147483647 w 52"/>
                    <a:gd name="T45" fmla="*/ 2147483647 h 72"/>
                    <a:gd name="T46" fmla="*/ 2147483647 w 52"/>
                    <a:gd name="T47" fmla="*/ 2147483647 h 72"/>
                    <a:gd name="T48" fmla="*/ 2147483647 w 52"/>
                    <a:gd name="T49" fmla="*/ 2147483647 h 72"/>
                    <a:gd name="T50" fmla="*/ 2147483647 w 52"/>
                    <a:gd name="T51" fmla="*/ 2147483647 h 72"/>
                    <a:gd name="T52" fmla="*/ 2147483647 w 52"/>
                    <a:gd name="T53" fmla="*/ 2147483647 h 72"/>
                    <a:gd name="T54" fmla="*/ 2147483647 w 52"/>
                    <a:gd name="T55" fmla="*/ 2147483647 h 72"/>
                    <a:gd name="T56" fmla="*/ 2147483647 w 52"/>
                    <a:gd name="T57" fmla="*/ 2147483647 h 72"/>
                    <a:gd name="T58" fmla="*/ 2147483647 w 52"/>
                    <a:gd name="T59" fmla="*/ 0 h 72"/>
                    <a:gd name="T60" fmla="*/ 2147483647 w 52"/>
                    <a:gd name="T61" fmla="*/ 0 h 72"/>
                    <a:gd name="T62" fmla="*/ 2147483647 w 52"/>
                    <a:gd name="T63" fmla="*/ 0 h 7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2"/>
                    <a:gd name="T97" fmla="*/ 0 h 72"/>
                    <a:gd name="T98" fmla="*/ 52 w 52"/>
                    <a:gd name="T99" fmla="*/ 72 h 7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2" h="72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4" y="4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1" y="24"/>
                      </a:lnTo>
                      <a:lnTo>
                        <a:pt x="3" y="29"/>
                      </a:lnTo>
                      <a:lnTo>
                        <a:pt x="5" y="34"/>
                      </a:lnTo>
                      <a:lnTo>
                        <a:pt x="9" y="38"/>
                      </a:lnTo>
                      <a:lnTo>
                        <a:pt x="10" y="42"/>
                      </a:lnTo>
                      <a:lnTo>
                        <a:pt x="10" y="47"/>
                      </a:lnTo>
                      <a:lnTo>
                        <a:pt x="8" y="51"/>
                      </a:lnTo>
                      <a:lnTo>
                        <a:pt x="5" y="55"/>
                      </a:lnTo>
                      <a:lnTo>
                        <a:pt x="3" y="59"/>
                      </a:lnTo>
                      <a:lnTo>
                        <a:pt x="3" y="63"/>
                      </a:lnTo>
                      <a:lnTo>
                        <a:pt x="5" y="64"/>
                      </a:lnTo>
                      <a:lnTo>
                        <a:pt x="6" y="67"/>
                      </a:lnTo>
                      <a:lnTo>
                        <a:pt x="8" y="69"/>
                      </a:lnTo>
                      <a:lnTo>
                        <a:pt x="10" y="72"/>
                      </a:lnTo>
                      <a:lnTo>
                        <a:pt x="13" y="72"/>
                      </a:lnTo>
                      <a:lnTo>
                        <a:pt x="14" y="72"/>
                      </a:lnTo>
                      <a:lnTo>
                        <a:pt x="17" y="68"/>
                      </a:lnTo>
                      <a:lnTo>
                        <a:pt x="20" y="67"/>
                      </a:lnTo>
                      <a:lnTo>
                        <a:pt x="26" y="64"/>
                      </a:lnTo>
                      <a:lnTo>
                        <a:pt x="33" y="64"/>
                      </a:lnTo>
                      <a:lnTo>
                        <a:pt x="38" y="62"/>
                      </a:lnTo>
                      <a:lnTo>
                        <a:pt x="41" y="60"/>
                      </a:lnTo>
                      <a:lnTo>
                        <a:pt x="42" y="56"/>
                      </a:lnTo>
                      <a:lnTo>
                        <a:pt x="43" y="53"/>
                      </a:lnTo>
                      <a:lnTo>
                        <a:pt x="45" y="48"/>
                      </a:lnTo>
                      <a:lnTo>
                        <a:pt x="46" y="42"/>
                      </a:lnTo>
                      <a:lnTo>
                        <a:pt x="47" y="36"/>
                      </a:lnTo>
                      <a:lnTo>
                        <a:pt x="48" y="30"/>
                      </a:lnTo>
                      <a:lnTo>
                        <a:pt x="50" y="24"/>
                      </a:lnTo>
                      <a:lnTo>
                        <a:pt x="51" y="19"/>
                      </a:lnTo>
                      <a:lnTo>
                        <a:pt x="51" y="18"/>
                      </a:lnTo>
                      <a:lnTo>
                        <a:pt x="52" y="17"/>
                      </a:lnTo>
                      <a:lnTo>
                        <a:pt x="50" y="11"/>
                      </a:lnTo>
                      <a:lnTo>
                        <a:pt x="48" y="10"/>
                      </a:lnTo>
                      <a:lnTo>
                        <a:pt x="46" y="11"/>
                      </a:lnTo>
                      <a:lnTo>
                        <a:pt x="43" y="11"/>
                      </a:lnTo>
                      <a:lnTo>
                        <a:pt x="39" y="11"/>
                      </a:lnTo>
                      <a:lnTo>
                        <a:pt x="39" y="9"/>
                      </a:lnTo>
                      <a:lnTo>
                        <a:pt x="33" y="8"/>
                      </a:lnTo>
                      <a:lnTo>
                        <a:pt x="27" y="5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9" name="Freeform 887">
                  <a:extLst>
                    <a:ext uri="{FF2B5EF4-FFF2-40B4-BE49-F238E27FC236}">
                      <a16:creationId xmlns:a16="http://schemas.microsoft.com/office/drawing/2014/main" id="{96567B3B-59D8-5649-8DF8-28AAE3AF45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6035" y="4047135"/>
                  <a:ext cx="68074" cy="62155"/>
                </a:xfrm>
                <a:custGeom>
                  <a:avLst/>
                  <a:gdLst>
                    <a:gd name="T0" fmla="*/ 2147483647 w 49"/>
                    <a:gd name="T1" fmla="*/ 2147483647 h 42"/>
                    <a:gd name="T2" fmla="*/ 2147483647 w 49"/>
                    <a:gd name="T3" fmla="*/ 2147483647 h 42"/>
                    <a:gd name="T4" fmla="*/ 2147483647 w 49"/>
                    <a:gd name="T5" fmla="*/ 2147483647 h 42"/>
                    <a:gd name="T6" fmla="*/ 2147483647 w 49"/>
                    <a:gd name="T7" fmla="*/ 2147483647 h 42"/>
                    <a:gd name="T8" fmla="*/ 2147483647 w 49"/>
                    <a:gd name="T9" fmla="*/ 2147483647 h 42"/>
                    <a:gd name="T10" fmla="*/ 2147483647 w 49"/>
                    <a:gd name="T11" fmla="*/ 2147483647 h 42"/>
                    <a:gd name="T12" fmla="*/ 2147483647 w 49"/>
                    <a:gd name="T13" fmla="*/ 2147483647 h 42"/>
                    <a:gd name="T14" fmla="*/ 2147483647 w 49"/>
                    <a:gd name="T15" fmla="*/ 2147483647 h 42"/>
                    <a:gd name="T16" fmla="*/ 2147483647 w 49"/>
                    <a:gd name="T17" fmla="*/ 2147483647 h 42"/>
                    <a:gd name="T18" fmla="*/ 2147483647 w 49"/>
                    <a:gd name="T19" fmla="*/ 2147483647 h 42"/>
                    <a:gd name="T20" fmla="*/ 2147483647 w 49"/>
                    <a:gd name="T21" fmla="*/ 2147483647 h 42"/>
                    <a:gd name="T22" fmla="*/ 2147483647 w 49"/>
                    <a:gd name="T23" fmla="*/ 2147483647 h 42"/>
                    <a:gd name="T24" fmla="*/ 2147483647 w 49"/>
                    <a:gd name="T25" fmla="*/ 2147483647 h 42"/>
                    <a:gd name="T26" fmla="*/ 2147483647 w 49"/>
                    <a:gd name="T27" fmla="*/ 2147483647 h 42"/>
                    <a:gd name="T28" fmla="*/ 2147483647 w 49"/>
                    <a:gd name="T29" fmla="*/ 0 h 42"/>
                    <a:gd name="T30" fmla="*/ 2147483647 w 49"/>
                    <a:gd name="T31" fmla="*/ 0 h 42"/>
                    <a:gd name="T32" fmla="*/ 2147483647 w 49"/>
                    <a:gd name="T33" fmla="*/ 2147483647 h 42"/>
                    <a:gd name="T34" fmla="*/ 2147483647 w 49"/>
                    <a:gd name="T35" fmla="*/ 2147483647 h 42"/>
                    <a:gd name="T36" fmla="*/ 2147483647 w 49"/>
                    <a:gd name="T37" fmla="*/ 2147483647 h 42"/>
                    <a:gd name="T38" fmla="*/ 2147483647 w 49"/>
                    <a:gd name="T39" fmla="*/ 2147483647 h 42"/>
                    <a:gd name="T40" fmla="*/ 2147483647 w 49"/>
                    <a:gd name="T41" fmla="*/ 2147483647 h 42"/>
                    <a:gd name="T42" fmla="*/ 2147483647 w 49"/>
                    <a:gd name="T43" fmla="*/ 2147483647 h 42"/>
                    <a:gd name="T44" fmla="*/ 2147483647 w 49"/>
                    <a:gd name="T45" fmla="*/ 2147483647 h 42"/>
                    <a:gd name="T46" fmla="*/ 2147483647 w 49"/>
                    <a:gd name="T47" fmla="*/ 2147483647 h 42"/>
                    <a:gd name="T48" fmla="*/ 2147483647 w 49"/>
                    <a:gd name="T49" fmla="*/ 2147483647 h 42"/>
                    <a:gd name="T50" fmla="*/ 2147483647 w 49"/>
                    <a:gd name="T51" fmla="*/ 2147483647 h 42"/>
                    <a:gd name="T52" fmla="*/ 2147483647 w 49"/>
                    <a:gd name="T53" fmla="*/ 2147483647 h 42"/>
                    <a:gd name="T54" fmla="*/ 2147483647 w 49"/>
                    <a:gd name="T55" fmla="*/ 2147483647 h 42"/>
                    <a:gd name="T56" fmla="*/ 2147483647 w 49"/>
                    <a:gd name="T57" fmla="*/ 2147483647 h 42"/>
                    <a:gd name="T58" fmla="*/ 2147483647 w 49"/>
                    <a:gd name="T59" fmla="*/ 2147483647 h 42"/>
                    <a:gd name="T60" fmla="*/ 2147483647 w 49"/>
                    <a:gd name="T61" fmla="*/ 2147483647 h 42"/>
                    <a:gd name="T62" fmla="*/ 2147483647 w 49"/>
                    <a:gd name="T63" fmla="*/ 2147483647 h 42"/>
                    <a:gd name="T64" fmla="*/ 2147483647 w 49"/>
                    <a:gd name="T65" fmla="*/ 2147483647 h 42"/>
                    <a:gd name="T66" fmla="*/ 0 w 49"/>
                    <a:gd name="T67" fmla="*/ 2147483647 h 42"/>
                    <a:gd name="T68" fmla="*/ 0 w 49"/>
                    <a:gd name="T69" fmla="*/ 2147483647 h 42"/>
                    <a:gd name="T70" fmla="*/ 2147483647 w 49"/>
                    <a:gd name="T71" fmla="*/ 2147483647 h 42"/>
                    <a:gd name="T72" fmla="*/ 2147483647 w 49"/>
                    <a:gd name="T73" fmla="*/ 2147483647 h 42"/>
                    <a:gd name="T74" fmla="*/ 2147483647 w 49"/>
                    <a:gd name="T75" fmla="*/ 2147483647 h 42"/>
                    <a:gd name="T76" fmla="*/ 2147483647 w 49"/>
                    <a:gd name="T77" fmla="*/ 2147483647 h 42"/>
                    <a:gd name="T78" fmla="*/ 2147483647 w 49"/>
                    <a:gd name="T79" fmla="*/ 2147483647 h 42"/>
                    <a:gd name="T80" fmla="*/ 2147483647 w 49"/>
                    <a:gd name="T81" fmla="*/ 2147483647 h 42"/>
                    <a:gd name="T82" fmla="*/ 2147483647 w 49"/>
                    <a:gd name="T83" fmla="*/ 2147483647 h 4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9"/>
                    <a:gd name="T127" fmla="*/ 0 h 42"/>
                    <a:gd name="T128" fmla="*/ 49 w 49"/>
                    <a:gd name="T129" fmla="*/ 42 h 4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9" h="42">
                      <a:moveTo>
                        <a:pt x="43" y="42"/>
                      </a:moveTo>
                      <a:lnTo>
                        <a:pt x="46" y="41"/>
                      </a:lnTo>
                      <a:lnTo>
                        <a:pt x="47" y="38"/>
                      </a:lnTo>
                      <a:lnTo>
                        <a:pt x="47" y="36"/>
                      </a:lnTo>
                      <a:lnTo>
                        <a:pt x="47" y="33"/>
                      </a:lnTo>
                      <a:lnTo>
                        <a:pt x="44" y="29"/>
                      </a:lnTo>
                      <a:lnTo>
                        <a:pt x="43" y="28"/>
                      </a:lnTo>
                      <a:lnTo>
                        <a:pt x="44" y="25"/>
                      </a:lnTo>
                      <a:lnTo>
                        <a:pt x="47" y="20"/>
                      </a:lnTo>
                      <a:lnTo>
                        <a:pt x="48" y="16"/>
                      </a:lnTo>
                      <a:lnTo>
                        <a:pt x="49" y="10"/>
                      </a:lnTo>
                      <a:lnTo>
                        <a:pt x="49" y="4"/>
                      </a:lnTo>
                      <a:lnTo>
                        <a:pt x="43" y="4"/>
                      </a:lnTo>
                      <a:lnTo>
                        <a:pt x="38" y="3"/>
                      </a:lnTo>
                      <a:lnTo>
                        <a:pt x="32" y="0"/>
                      </a:lnTo>
                      <a:lnTo>
                        <a:pt x="23" y="0"/>
                      </a:lnTo>
                      <a:lnTo>
                        <a:pt x="20" y="1"/>
                      </a:lnTo>
                      <a:lnTo>
                        <a:pt x="18" y="3"/>
                      </a:lnTo>
                      <a:lnTo>
                        <a:pt x="16" y="5"/>
                      </a:lnTo>
                      <a:lnTo>
                        <a:pt x="18" y="9"/>
                      </a:lnTo>
                      <a:lnTo>
                        <a:pt x="19" y="11"/>
                      </a:lnTo>
                      <a:lnTo>
                        <a:pt x="21" y="12"/>
                      </a:lnTo>
                      <a:lnTo>
                        <a:pt x="26" y="16"/>
                      </a:lnTo>
                      <a:lnTo>
                        <a:pt x="29" y="17"/>
                      </a:lnTo>
                      <a:lnTo>
                        <a:pt x="30" y="19"/>
                      </a:lnTo>
                      <a:lnTo>
                        <a:pt x="32" y="20"/>
                      </a:lnTo>
                      <a:lnTo>
                        <a:pt x="29" y="23"/>
                      </a:lnTo>
                      <a:lnTo>
                        <a:pt x="26" y="25"/>
                      </a:lnTo>
                      <a:lnTo>
                        <a:pt x="24" y="25"/>
                      </a:lnTo>
                      <a:lnTo>
                        <a:pt x="16" y="25"/>
                      </a:lnTo>
                      <a:lnTo>
                        <a:pt x="9" y="25"/>
                      </a:lnTo>
                      <a:lnTo>
                        <a:pt x="5" y="25"/>
                      </a:lnTo>
                      <a:lnTo>
                        <a:pt x="1" y="28"/>
                      </a:lnTo>
                      <a:lnTo>
                        <a:pt x="0" y="29"/>
                      </a:lnTo>
                      <a:lnTo>
                        <a:pt x="0" y="30"/>
                      </a:lnTo>
                      <a:lnTo>
                        <a:pt x="2" y="33"/>
                      </a:lnTo>
                      <a:lnTo>
                        <a:pt x="5" y="35"/>
                      </a:lnTo>
                      <a:lnTo>
                        <a:pt x="9" y="36"/>
                      </a:lnTo>
                      <a:lnTo>
                        <a:pt x="18" y="36"/>
                      </a:lnTo>
                      <a:lnTo>
                        <a:pt x="26" y="36"/>
                      </a:lnTo>
                      <a:lnTo>
                        <a:pt x="35" y="38"/>
                      </a:lnTo>
                      <a:lnTo>
                        <a:pt x="43" y="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0" name="Freeform 888">
                  <a:extLst>
                    <a:ext uri="{FF2B5EF4-FFF2-40B4-BE49-F238E27FC236}">
                      <a16:creationId xmlns:a16="http://schemas.microsoft.com/office/drawing/2014/main" id="{747A4BA7-75A1-ED46-AF68-05BDF832E5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3735" y="4307588"/>
                  <a:ext cx="78434" cy="75473"/>
                </a:xfrm>
                <a:custGeom>
                  <a:avLst/>
                  <a:gdLst>
                    <a:gd name="T0" fmla="*/ 2147483647 w 58"/>
                    <a:gd name="T1" fmla="*/ 2147483647 h 51"/>
                    <a:gd name="T2" fmla="*/ 2147483647 w 58"/>
                    <a:gd name="T3" fmla="*/ 2147483647 h 51"/>
                    <a:gd name="T4" fmla="*/ 2147483647 w 58"/>
                    <a:gd name="T5" fmla="*/ 2147483647 h 51"/>
                    <a:gd name="T6" fmla="*/ 2147483647 w 58"/>
                    <a:gd name="T7" fmla="*/ 2147483647 h 51"/>
                    <a:gd name="T8" fmla="*/ 2147483647 w 58"/>
                    <a:gd name="T9" fmla="*/ 2147483647 h 51"/>
                    <a:gd name="T10" fmla="*/ 2147483647 w 58"/>
                    <a:gd name="T11" fmla="*/ 2147483647 h 51"/>
                    <a:gd name="T12" fmla="*/ 2147483647 w 58"/>
                    <a:gd name="T13" fmla="*/ 2147483647 h 51"/>
                    <a:gd name="T14" fmla="*/ 2147483647 w 58"/>
                    <a:gd name="T15" fmla="*/ 2147483647 h 51"/>
                    <a:gd name="T16" fmla="*/ 2147483647 w 58"/>
                    <a:gd name="T17" fmla="*/ 2147483647 h 51"/>
                    <a:gd name="T18" fmla="*/ 2147483647 w 58"/>
                    <a:gd name="T19" fmla="*/ 2147483647 h 51"/>
                    <a:gd name="T20" fmla="*/ 2147483647 w 58"/>
                    <a:gd name="T21" fmla="*/ 2147483647 h 51"/>
                    <a:gd name="T22" fmla="*/ 2147483647 w 58"/>
                    <a:gd name="T23" fmla="*/ 2147483647 h 51"/>
                    <a:gd name="T24" fmla="*/ 2147483647 w 58"/>
                    <a:gd name="T25" fmla="*/ 2147483647 h 51"/>
                    <a:gd name="T26" fmla="*/ 2147483647 w 58"/>
                    <a:gd name="T27" fmla="*/ 2147483647 h 51"/>
                    <a:gd name="T28" fmla="*/ 2147483647 w 58"/>
                    <a:gd name="T29" fmla="*/ 2147483647 h 51"/>
                    <a:gd name="T30" fmla="*/ 2147483647 w 58"/>
                    <a:gd name="T31" fmla="*/ 2147483647 h 51"/>
                    <a:gd name="T32" fmla="*/ 2147483647 w 58"/>
                    <a:gd name="T33" fmla="*/ 2147483647 h 51"/>
                    <a:gd name="T34" fmla="*/ 2147483647 w 58"/>
                    <a:gd name="T35" fmla="*/ 2147483647 h 51"/>
                    <a:gd name="T36" fmla="*/ 2147483647 w 58"/>
                    <a:gd name="T37" fmla="*/ 2147483647 h 51"/>
                    <a:gd name="T38" fmla="*/ 2147483647 w 58"/>
                    <a:gd name="T39" fmla="*/ 2147483647 h 51"/>
                    <a:gd name="T40" fmla="*/ 2147483647 w 58"/>
                    <a:gd name="T41" fmla="*/ 2147483647 h 51"/>
                    <a:gd name="T42" fmla="*/ 2147483647 w 58"/>
                    <a:gd name="T43" fmla="*/ 2147483647 h 51"/>
                    <a:gd name="T44" fmla="*/ 2147483647 w 58"/>
                    <a:gd name="T45" fmla="*/ 2147483647 h 51"/>
                    <a:gd name="T46" fmla="*/ 2147483647 w 58"/>
                    <a:gd name="T47" fmla="*/ 2147483647 h 51"/>
                    <a:gd name="T48" fmla="*/ 2147483647 w 58"/>
                    <a:gd name="T49" fmla="*/ 2147483647 h 51"/>
                    <a:gd name="T50" fmla="*/ 2147483647 w 58"/>
                    <a:gd name="T51" fmla="*/ 2147483647 h 51"/>
                    <a:gd name="T52" fmla="*/ 2147483647 w 58"/>
                    <a:gd name="T53" fmla="*/ 2147483647 h 51"/>
                    <a:gd name="T54" fmla="*/ 2147483647 w 58"/>
                    <a:gd name="T55" fmla="*/ 2147483647 h 51"/>
                    <a:gd name="T56" fmla="*/ 2147483647 w 58"/>
                    <a:gd name="T57" fmla="*/ 2147483647 h 51"/>
                    <a:gd name="T58" fmla="*/ 2147483647 w 58"/>
                    <a:gd name="T59" fmla="*/ 2147483647 h 51"/>
                    <a:gd name="T60" fmla="*/ 2147483647 w 58"/>
                    <a:gd name="T61" fmla="*/ 2147483647 h 51"/>
                    <a:gd name="T62" fmla="*/ 2147483647 w 58"/>
                    <a:gd name="T63" fmla="*/ 2147483647 h 51"/>
                    <a:gd name="T64" fmla="*/ 2147483647 w 58"/>
                    <a:gd name="T65" fmla="*/ 2147483647 h 51"/>
                    <a:gd name="T66" fmla="*/ 2147483647 w 58"/>
                    <a:gd name="T67" fmla="*/ 2147483647 h 51"/>
                    <a:gd name="T68" fmla="*/ 2147483647 w 58"/>
                    <a:gd name="T69" fmla="*/ 2147483647 h 51"/>
                    <a:gd name="T70" fmla="*/ 2147483647 w 58"/>
                    <a:gd name="T71" fmla="*/ 2147483647 h 51"/>
                    <a:gd name="T72" fmla="*/ 2147483647 w 58"/>
                    <a:gd name="T73" fmla="*/ 2147483647 h 51"/>
                    <a:gd name="T74" fmla="*/ 0 w 58"/>
                    <a:gd name="T75" fmla="*/ 2147483647 h 51"/>
                    <a:gd name="T76" fmla="*/ 2147483647 w 58"/>
                    <a:gd name="T77" fmla="*/ 2147483647 h 51"/>
                    <a:gd name="T78" fmla="*/ 2147483647 w 58"/>
                    <a:gd name="T79" fmla="*/ 0 h 51"/>
                    <a:gd name="T80" fmla="*/ 2147483647 w 58"/>
                    <a:gd name="T81" fmla="*/ 2147483647 h 51"/>
                    <a:gd name="T82" fmla="*/ 2147483647 w 58"/>
                    <a:gd name="T83" fmla="*/ 2147483647 h 51"/>
                    <a:gd name="T84" fmla="*/ 2147483647 w 58"/>
                    <a:gd name="T85" fmla="*/ 2147483647 h 51"/>
                    <a:gd name="T86" fmla="*/ 2147483647 w 58"/>
                    <a:gd name="T87" fmla="*/ 2147483647 h 51"/>
                    <a:gd name="T88" fmla="*/ 2147483647 w 58"/>
                    <a:gd name="T89" fmla="*/ 2147483647 h 51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58"/>
                    <a:gd name="T136" fmla="*/ 0 h 51"/>
                    <a:gd name="T137" fmla="*/ 58 w 58"/>
                    <a:gd name="T138" fmla="*/ 51 h 51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58" h="51">
                      <a:moveTo>
                        <a:pt x="36" y="2"/>
                      </a:moveTo>
                      <a:lnTo>
                        <a:pt x="39" y="4"/>
                      </a:lnTo>
                      <a:lnTo>
                        <a:pt x="41" y="7"/>
                      </a:lnTo>
                      <a:lnTo>
                        <a:pt x="42" y="12"/>
                      </a:lnTo>
                      <a:lnTo>
                        <a:pt x="44" y="19"/>
                      </a:lnTo>
                      <a:lnTo>
                        <a:pt x="46" y="20"/>
                      </a:lnTo>
                      <a:lnTo>
                        <a:pt x="49" y="21"/>
                      </a:lnTo>
                      <a:lnTo>
                        <a:pt x="51" y="21"/>
                      </a:lnTo>
                      <a:lnTo>
                        <a:pt x="55" y="22"/>
                      </a:lnTo>
                      <a:lnTo>
                        <a:pt x="51" y="29"/>
                      </a:lnTo>
                      <a:lnTo>
                        <a:pt x="51" y="33"/>
                      </a:lnTo>
                      <a:lnTo>
                        <a:pt x="53" y="35"/>
                      </a:lnTo>
                      <a:lnTo>
                        <a:pt x="56" y="42"/>
                      </a:lnTo>
                      <a:lnTo>
                        <a:pt x="58" y="46"/>
                      </a:lnTo>
                      <a:lnTo>
                        <a:pt x="55" y="50"/>
                      </a:lnTo>
                      <a:lnTo>
                        <a:pt x="50" y="50"/>
                      </a:lnTo>
                      <a:lnTo>
                        <a:pt x="45" y="51"/>
                      </a:lnTo>
                      <a:lnTo>
                        <a:pt x="42" y="51"/>
                      </a:lnTo>
                      <a:lnTo>
                        <a:pt x="41" y="50"/>
                      </a:lnTo>
                      <a:lnTo>
                        <a:pt x="39" y="46"/>
                      </a:lnTo>
                      <a:lnTo>
                        <a:pt x="39" y="41"/>
                      </a:lnTo>
                      <a:lnTo>
                        <a:pt x="37" y="36"/>
                      </a:lnTo>
                      <a:lnTo>
                        <a:pt x="36" y="35"/>
                      </a:lnTo>
                      <a:lnTo>
                        <a:pt x="35" y="34"/>
                      </a:lnTo>
                      <a:lnTo>
                        <a:pt x="31" y="33"/>
                      </a:lnTo>
                      <a:lnTo>
                        <a:pt x="28" y="31"/>
                      </a:lnTo>
                      <a:lnTo>
                        <a:pt x="26" y="28"/>
                      </a:lnTo>
                      <a:lnTo>
                        <a:pt x="23" y="27"/>
                      </a:lnTo>
                      <a:lnTo>
                        <a:pt x="22" y="27"/>
                      </a:lnTo>
                      <a:lnTo>
                        <a:pt x="21" y="28"/>
                      </a:lnTo>
                      <a:lnTo>
                        <a:pt x="21" y="31"/>
                      </a:lnTo>
                      <a:lnTo>
                        <a:pt x="19" y="31"/>
                      </a:lnTo>
                      <a:lnTo>
                        <a:pt x="14" y="32"/>
                      </a:lnTo>
                      <a:lnTo>
                        <a:pt x="9" y="29"/>
                      </a:lnTo>
                      <a:lnTo>
                        <a:pt x="7" y="27"/>
                      </a:lnTo>
                      <a:lnTo>
                        <a:pt x="4" y="22"/>
                      </a:lnTo>
                      <a:lnTo>
                        <a:pt x="3" y="14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13" y="1"/>
                      </a:lnTo>
                      <a:lnTo>
                        <a:pt x="21" y="2"/>
                      </a:lnTo>
                      <a:lnTo>
                        <a:pt x="28" y="3"/>
                      </a:lnTo>
                      <a:lnTo>
                        <a:pt x="32" y="3"/>
                      </a:lnTo>
                      <a:lnTo>
                        <a:pt x="3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1" name="Freeform 889">
                  <a:extLst>
                    <a:ext uri="{FF2B5EF4-FFF2-40B4-BE49-F238E27FC236}">
                      <a16:creationId xmlns:a16="http://schemas.microsoft.com/office/drawing/2014/main" id="{3A37F8CE-94EA-4444-A2ED-A870E8A738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6032" y="4045654"/>
                  <a:ext cx="66595" cy="62155"/>
                </a:xfrm>
                <a:custGeom>
                  <a:avLst/>
                  <a:gdLst>
                    <a:gd name="T0" fmla="*/ 2147483647 w 49"/>
                    <a:gd name="T1" fmla="*/ 2147483647 h 42"/>
                    <a:gd name="T2" fmla="*/ 2147483647 w 49"/>
                    <a:gd name="T3" fmla="*/ 2147483647 h 42"/>
                    <a:gd name="T4" fmla="*/ 2147483647 w 49"/>
                    <a:gd name="T5" fmla="*/ 2147483647 h 42"/>
                    <a:gd name="T6" fmla="*/ 2147483647 w 49"/>
                    <a:gd name="T7" fmla="*/ 2147483647 h 42"/>
                    <a:gd name="T8" fmla="*/ 2147483647 w 49"/>
                    <a:gd name="T9" fmla="*/ 2147483647 h 42"/>
                    <a:gd name="T10" fmla="*/ 2147483647 w 49"/>
                    <a:gd name="T11" fmla="*/ 2147483647 h 42"/>
                    <a:gd name="T12" fmla="*/ 2147483647 w 49"/>
                    <a:gd name="T13" fmla="*/ 2147483647 h 42"/>
                    <a:gd name="T14" fmla="*/ 2147483647 w 49"/>
                    <a:gd name="T15" fmla="*/ 2147483647 h 42"/>
                    <a:gd name="T16" fmla="*/ 2147483647 w 49"/>
                    <a:gd name="T17" fmla="*/ 2147483647 h 42"/>
                    <a:gd name="T18" fmla="*/ 2147483647 w 49"/>
                    <a:gd name="T19" fmla="*/ 2147483647 h 42"/>
                    <a:gd name="T20" fmla="*/ 2147483647 w 49"/>
                    <a:gd name="T21" fmla="*/ 2147483647 h 42"/>
                    <a:gd name="T22" fmla="*/ 2147483647 w 49"/>
                    <a:gd name="T23" fmla="*/ 2147483647 h 42"/>
                    <a:gd name="T24" fmla="*/ 2147483647 w 49"/>
                    <a:gd name="T25" fmla="*/ 2147483647 h 42"/>
                    <a:gd name="T26" fmla="*/ 2147483647 w 49"/>
                    <a:gd name="T27" fmla="*/ 2147483647 h 42"/>
                    <a:gd name="T28" fmla="*/ 2147483647 w 49"/>
                    <a:gd name="T29" fmla="*/ 2147483647 h 42"/>
                    <a:gd name="T30" fmla="*/ 2147483647 w 49"/>
                    <a:gd name="T31" fmla="*/ 2147483647 h 42"/>
                    <a:gd name="T32" fmla="*/ 2147483647 w 49"/>
                    <a:gd name="T33" fmla="*/ 2147483647 h 42"/>
                    <a:gd name="T34" fmla="*/ 2147483647 w 49"/>
                    <a:gd name="T35" fmla="*/ 2147483647 h 42"/>
                    <a:gd name="T36" fmla="*/ 2147483647 w 49"/>
                    <a:gd name="T37" fmla="*/ 2147483647 h 42"/>
                    <a:gd name="T38" fmla="*/ 2147483647 w 49"/>
                    <a:gd name="T39" fmla="*/ 0 h 42"/>
                    <a:gd name="T40" fmla="*/ 2147483647 w 49"/>
                    <a:gd name="T41" fmla="*/ 0 h 42"/>
                    <a:gd name="T42" fmla="*/ 2147483647 w 49"/>
                    <a:gd name="T43" fmla="*/ 2147483647 h 42"/>
                    <a:gd name="T44" fmla="*/ 2147483647 w 49"/>
                    <a:gd name="T45" fmla="*/ 2147483647 h 42"/>
                    <a:gd name="T46" fmla="*/ 2147483647 w 49"/>
                    <a:gd name="T47" fmla="*/ 2147483647 h 42"/>
                    <a:gd name="T48" fmla="*/ 2147483647 w 49"/>
                    <a:gd name="T49" fmla="*/ 2147483647 h 42"/>
                    <a:gd name="T50" fmla="*/ 2147483647 w 49"/>
                    <a:gd name="T51" fmla="*/ 2147483647 h 42"/>
                    <a:gd name="T52" fmla="*/ 2147483647 w 49"/>
                    <a:gd name="T53" fmla="*/ 2147483647 h 42"/>
                    <a:gd name="T54" fmla="*/ 2147483647 w 49"/>
                    <a:gd name="T55" fmla="*/ 2147483647 h 42"/>
                    <a:gd name="T56" fmla="*/ 2147483647 w 49"/>
                    <a:gd name="T57" fmla="*/ 2147483647 h 42"/>
                    <a:gd name="T58" fmla="*/ 2147483647 w 49"/>
                    <a:gd name="T59" fmla="*/ 2147483647 h 42"/>
                    <a:gd name="T60" fmla="*/ 2147483647 w 49"/>
                    <a:gd name="T61" fmla="*/ 2147483647 h 42"/>
                    <a:gd name="T62" fmla="*/ 2147483647 w 49"/>
                    <a:gd name="T63" fmla="*/ 2147483647 h 42"/>
                    <a:gd name="T64" fmla="*/ 2147483647 w 49"/>
                    <a:gd name="T65" fmla="*/ 2147483647 h 42"/>
                    <a:gd name="T66" fmla="*/ 2147483647 w 49"/>
                    <a:gd name="T67" fmla="*/ 2147483647 h 42"/>
                    <a:gd name="T68" fmla="*/ 2147483647 w 49"/>
                    <a:gd name="T69" fmla="*/ 2147483647 h 42"/>
                    <a:gd name="T70" fmla="*/ 2147483647 w 49"/>
                    <a:gd name="T71" fmla="*/ 2147483647 h 42"/>
                    <a:gd name="T72" fmla="*/ 2147483647 w 49"/>
                    <a:gd name="T73" fmla="*/ 2147483647 h 42"/>
                    <a:gd name="T74" fmla="*/ 2147483647 w 49"/>
                    <a:gd name="T75" fmla="*/ 2147483647 h 42"/>
                    <a:gd name="T76" fmla="*/ 2147483647 w 49"/>
                    <a:gd name="T77" fmla="*/ 2147483647 h 42"/>
                    <a:gd name="T78" fmla="*/ 2147483647 w 49"/>
                    <a:gd name="T79" fmla="*/ 2147483647 h 42"/>
                    <a:gd name="T80" fmla="*/ 2147483647 w 49"/>
                    <a:gd name="T81" fmla="*/ 2147483647 h 42"/>
                    <a:gd name="T82" fmla="*/ 0 w 49"/>
                    <a:gd name="T83" fmla="*/ 2147483647 h 42"/>
                    <a:gd name="T84" fmla="*/ 0 w 49"/>
                    <a:gd name="T85" fmla="*/ 2147483647 h 42"/>
                    <a:gd name="T86" fmla="*/ 2147483647 w 49"/>
                    <a:gd name="T87" fmla="*/ 2147483647 h 42"/>
                    <a:gd name="T88" fmla="*/ 2147483647 w 49"/>
                    <a:gd name="T89" fmla="*/ 2147483647 h 42"/>
                    <a:gd name="T90" fmla="*/ 2147483647 w 49"/>
                    <a:gd name="T91" fmla="*/ 2147483647 h 42"/>
                    <a:gd name="T92" fmla="*/ 2147483647 w 49"/>
                    <a:gd name="T93" fmla="*/ 2147483647 h 42"/>
                    <a:gd name="T94" fmla="*/ 2147483647 w 49"/>
                    <a:gd name="T95" fmla="*/ 2147483647 h 42"/>
                    <a:gd name="T96" fmla="*/ 2147483647 w 49"/>
                    <a:gd name="T97" fmla="*/ 2147483647 h 42"/>
                    <a:gd name="T98" fmla="*/ 2147483647 w 49"/>
                    <a:gd name="T99" fmla="*/ 2147483647 h 42"/>
                    <a:gd name="T100" fmla="*/ 2147483647 w 49"/>
                    <a:gd name="T101" fmla="*/ 2147483647 h 42"/>
                    <a:gd name="T102" fmla="*/ 2147483647 w 49"/>
                    <a:gd name="T103" fmla="*/ 2147483647 h 4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9"/>
                    <a:gd name="T157" fmla="*/ 0 h 42"/>
                    <a:gd name="T158" fmla="*/ 49 w 49"/>
                    <a:gd name="T159" fmla="*/ 42 h 4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9" h="42">
                      <a:moveTo>
                        <a:pt x="43" y="42"/>
                      </a:moveTo>
                      <a:lnTo>
                        <a:pt x="43" y="42"/>
                      </a:lnTo>
                      <a:lnTo>
                        <a:pt x="45" y="40"/>
                      </a:lnTo>
                      <a:lnTo>
                        <a:pt x="47" y="38"/>
                      </a:lnTo>
                      <a:lnTo>
                        <a:pt x="47" y="36"/>
                      </a:lnTo>
                      <a:lnTo>
                        <a:pt x="47" y="33"/>
                      </a:lnTo>
                      <a:lnTo>
                        <a:pt x="44" y="29"/>
                      </a:lnTo>
                      <a:lnTo>
                        <a:pt x="43" y="27"/>
                      </a:lnTo>
                      <a:lnTo>
                        <a:pt x="44" y="25"/>
                      </a:lnTo>
                      <a:lnTo>
                        <a:pt x="47" y="20"/>
                      </a:lnTo>
                      <a:lnTo>
                        <a:pt x="48" y="15"/>
                      </a:lnTo>
                      <a:lnTo>
                        <a:pt x="49" y="10"/>
                      </a:lnTo>
                      <a:lnTo>
                        <a:pt x="49" y="4"/>
                      </a:lnTo>
                      <a:lnTo>
                        <a:pt x="43" y="4"/>
                      </a:lnTo>
                      <a:lnTo>
                        <a:pt x="38" y="2"/>
                      </a:lnTo>
                      <a:lnTo>
                        <a:pt x="31" y="0"/>
                      </a:lnTo>
                      <a:lnTo>
                        <a:pt x="22" y="0"/>
                      </a:lnTo>
                      <a:lnTo>
                        <a:pt x="20" y="1"/>
                      </a:lnTo>
                      <a:lnTo>
                        <a:pt x="17" y="2"/>
                      </a:lnTo>
                      <a:lnTo>
                        <a:pt x="16" y="5"/>
                      </a:lnTo>
                      <a:lnTo>
                        <a:pt x="17" y="8"/>
                      </a:lnTo>
                      <a:lnTo>
                        <a:pt x="19" y="11"/>
                      </a:lnTo>
                      <a:lnTo>
                        <a:pt x="21" y="12"/>
                      </a:lnTo>
                      <a:lnTo>
                        <a:pt x="26" y="15"/>
                      </a:lnTo>
                      <a:lnTo>
                        <a:pt x="29" y="17"/>
                      </a:lnTo>
                      <a:lnTo>
                        <a:pt x="30" y="19"/>
                      </a:lnTo>
                      <a:lnTo>
                        <a:pt x="31" y="20"/>
                      </a:lnTo>
                      <a:lnTo>
                        <a:pt x="29" y="23"/>
                      </a:lnTo>
                      <a:lnTo>
                        <a:pt x="26" y="25"/>
                      </a:lnTo>
                      <a:lnTo>
                        <a:pt x="24" y="25"/>
                      </a:lnTo>
                      <a:lnTo>
                        <a:pt x="16" y="25"/>
                      </a:lnTo>
                      <a:lnTo>
                        <a:pt x="8" y="25"/>
                      </a:lnTo>
                      <a:lnTo>
                        <a:pt x="5" y="25"/>
                      </a:lnTo>
                      <a:lnTo>
                        <a:pt x="1" y="27"/>
                      </a:lnTo>
                      <a:lnTo>
                        <a:pt x="0" y="29"/>
                      </a:lnTo>
                      <a:lnTo>
                        <a:pt x="0" y="30"/>
                      </a:lnTo>
                      <a:lnTo>
                        <a:pt x="2" y="33"/>
                      </a:lnTo>
                      <a:lnTo>
                        <a:pt x="5" y="34"/>
                      </a:lnTo>
                      <a:lnTo>
                        <a:pt x="8" y="36"/>
                      </a:lnTo>
                      <a:lnTo>
                        <a:pt x="17" y="36"/>
                      </a:lnTo>
                      <a:lnTo>
                        <a:pt x="26" y="36"/>
                      </a:lnTo>
                      <a:lnTo>
                        <a:pt x="35" y="38"/>
                      </a:lnTo>
                      <a:lnTo>
                        <a:pt x="43" y="4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2" name="Freeform 890">
                  <a:extLst>
                    <a:ext uri="{FF2B5EF4-FFF2-40B4-BE49-F238E27FC236}">
                      <a16:creationId xmlns:a16="http://schemas.microsoft.com/office/drawing/2014/main" id="{00CB8C84-8E3A-6548-882B-414EEFD6B2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257" y="4306109"/>
                  <a:ext cx="78433" cy="75474"/>
                </a:xfrm>
                <a:custGeom>
                  <a:avLst/>
                  <a:gdLst>
                    <a:gd name="T0" fmla="*/ 2147483647 w 57"/>
                    <a:gd name="T1" fmla="*/ 2147483647 h 51"/>
                    <a:gd name="T2" fmla="*/ 2147483647 w 57"/>
                    <a:gd name="T3" fmla="*/ 2147483647 h 51"/>
                    <a:gd name="T4" fmla="*/ 2147483647 w 57"/>
                    <a:gd name="T5" fmla="*/ 2147483647 h 51"/>
                    <a:gd name="T6" fmla="*/ 2147483647 w 57"/>
                    <a:gd name="T7" fmla="*/ 2147483647 h 51"/>
                    <a:gd name="T8" fmla="*/ 2147483647 w 57"/>
                    <a:gd name="T9" fmla="*/ 2147483647 h 51"/>
                    <a:gd name="T10" fmla="*/ 2147483647 w 57"/>
                    <a:gd name="T11" fmla="*/ 2147483647 h 51"/>
                    <a:gd name="T12" fmla="*/ 2147483647 w 57"/>
                    <a:gd name="T13" fmla="*/ 2147483647 h 51"/>
                    <a:gd name="T14" fmla="*/ 2147483647 w 57"/>
                    <a:gd name="T15" fmla="*/ 2147483647 h 51"/>
                    <a:gd name="T16" fmla="*/ 2147483647 w 57"/>
                    <a:gd name="T17" fmla="*/ 2147483647 h 51"/>
                    <a:gd name="T18" fmla="*/ 2147483647 w 57"/>
                    <a:gd name="T19" fmla="*/ 2147483647 h 51"/>
                    <a:gd name="T20" fmla="*/ 2147483647 w 57"/>
                    <a:gd name="T21" fmla="*/ 2147483647 h 51"/>
                    <a:gd name="T22" fmla="*/ 2147483647 w 57"/>
                    <a:gd name="T23" fmla="*/ 2147483647 h 51"/>
                    <a:gd name="T24" fmla="*/ 2147483647 w 57"/>
                    <a:gd name="T25" fmla="*/ 2147483647 h 51"/>
                    <a:gd name="T26" fmla="*/ 2147483647 w 57"/>
                    <a:gd name="T27" fmla="*/ 2147483647 h 51"/>
                    <a:gd name="T28" fmla="*/ 2147483647 w 57"/>
                    <a:gd name="T29" fmla="*/ 2147483647 h 51"/>
                    <a:gd name="T30" fmla="*/ 2147483647 w 57"/>
                    <a:gd name="T31" fmla="*/ 2147483647 h 51"/>
                    <a:gd name="T32" fmla="*/ 2147483647 w 57"/>
                    <a:gd name="T33" fmla="*/ 2147483647 h 51"/>
                    <a:gd name="T34" fmla="*/ 2147483647 w 57"/>
                    <a:gd name="T35" fmla="*/ 2147483647 h 51"/>
                    <a:gd name="T36" fmla="*/ 2147483647 w 57"/>
                    <a:gd name="T37" fmla="*/ 2147483647 h 51"/>
                    <a:gd name="T38" fmla="*/ 2147483647 w 57"/>
                    <a:gd name="T39" fmla="*/ 2147483647 h 51"/>
                    <a:gd name="T40" fmla="*/ 2147483647 w 57"/>
                    <a:gd name="T41" fmla="*/ 2147483647 h 51"/>
                    <a:gd name="T42" fmla="*/ 2147483647 w 57"/>
                    <a:gd name="T43" fmla="*/ 2147483647 h 51"/>
                    <a:gd name="T44" fmla="*/ 2147483647 w 57"/>
                    <a:gd name="T45" fmla="*/ 2147483647 h 51"/>
                    <a:gd name="T46" fmla="*/ 2147483647 w 57"/>
                    <a:gd name="T47" fmla="*/ 2147483647 h 51"/>
                    <a:gd name="T48" fmla="*/ 2147483647 w 57"/>
                    <a:gd name="T49" fmla="*/ 2147483647 h 51"/>
                    <a:gd name="T50" fmla="*/ 2147483647 w 57"/>
                    <a:gd name="T51" fmla="*/ 2147483647 h 51"/>
                    <a:gd name="T52" fmla="*/ 2147483647 w 57"/>
                    <a:gd name="T53" fmla="*/ 2147483647 h 51"/>
                    <a:gd name="T54" fmla="*/ 2147483647 w 57"/>
                    <a:gd name="T55" fmla="*/ 2147483647 h 51"/>
                    <a:gd name="T56" fmla="*/ 2147483647 w 57"/>
                    <a:gd name="T57" fmla="*/ 2147483647 h 51"/>
                    <a:gd name="T58" fmla="*/ 2147483647 w 57"/>
                    <a:gd name="T59" fmla="*/ 2147483647 h 51"/>
                    <a:gd name="T60" fmla="*/ 2147483647 w 57"/>
                    <a:gd name="T61" fmla="*/ 2147483647 h 51"/>
                    <a:gd name="T62" fmla="*/ 2147483647 w 57"/>
                    <a:gd name="T63" fmla="*/ 2147483647 h 51"/>
                    <a:gd name="T64" fmla="*/ 2147483647 w 57"/>
                    <a:gd name="T65" fmla="*/ 2147483647 h 51"/>
                    <a:gd name="T66" fmla="*/ 2147483647 w 57"/>
                    <a:gd name="T67" fmla="*/ 2147483647 h 51"/>
                    <a:gd name="T68" fmla="*/ 2147483647 w 57"/>
                    <a:gd name="T69" fmla="*/ 2147483647 h 51"/>
                    <a:gd name="T70" fmla="*/ 2147483647 w 57"/>
                    <a:gd name="T71" fmla="*/ 2147483647 h 51"/>
                    <a:gd name="T72" fmla="*/ 2147483647 w 57"/>
                    <a:gd name="T73" fmla="*/ 2147483647 h 51"/>
                    <a:gd name="T74" fmla="*/ 2147483647 w 57"/>
                    <a:gd name="T75" fmla="*/ 2147483647 h 51"/>
                    <a:gd name="T76" fmla="*/ 2147483647 w 57"/>
                    <a:gd name="T77" fmla="*/ 2147483647 h 51"/>
                    <a:gd name="T78" fmla="*/ 2147483647 w 57"/>
                    <a:gd name="T79" fmla="*/ 2147483647 h 51"/>
                    <a:gd name="T80" fmla="*/ 2147483647 w 57"/>
                    <a:gd name="T81" fmla="*/ 2147483647 h 51"/>
                    <a:gd name="T82" fmla="*/ 2147483647 w 57"/>
                    <a:gd name="T83" fmla="*/ 2147483647 h 51"/>
                    <a:gd name="T84" fmla="*/ 2147483647 w 57"/>
                    <a:gd name="T85" fmla="*/ 2147483647 h 51"/>
                    <a:gd name="T86" fmla="*/ 2147483647 w 57"/>
                    <a:gd name="T87" fmla="*/ 2147483647 h 51"/>
                    <a:gd name="T88" fmla="*/ 2147483647 w 57"/>
                    <a:gd name="T89" fmla="*/ 2147483647 h 51"/>
                    <a:gd name="T90" fmla="*/ 2147483647 w 57"/>
                    <a:gd name="T91" fmla="*/ 2147483647 h 51"/>
                    <a:gd name="T92" fmla="*/ 2147483647 w 57"/>
                    <a:gd name="T93" fmla="*/ 2147483647 h 51"/>
                    <a:gd name="T94" fmla="*/ 2147483647 w 57"/>
                    <a:gd name="T95" fmla="*/ 2147483647 h 51"/>
                    <a:gd name="T96" fmla="*/ 2147483647 w 57"/>
                    <a:gd name="T97" fmla="*/ 2147483647 h 51"/>
                    <a:gd name="T98" fmla="*/ 0 w 57"/>
                    <a:gd name="T99" fmla="*/ 2147483647 h 51"/>
                    <a:gd name="T100" fmla="*/ 0 w 57"/>
                    <a:gd name="T101" fmla="*/ 2147483647 h 51"/>
                    <a:gd name="T102" fmla="*/ 2147483647 w 57"/>
                    <a:gd name="T103" fmla="*/ 2147483647 h 51"/>
                    <a:gd name="T104" fmla="*/ 2147483647 w 57"/>
                    <a:gd name="T105" fmla="*/ 0 h 51"/>
                    <a:gd name="T106" fmla="*/ 2147483647 w 57"/>
                    <a:gd name="T107" fmla="*/ 0 h 51"/>
                    <a:gd name="T108" fmla="*/ 2147483647 w 57"/>
                    <a:gd name="T109" fmla="*/ 2147483647 h 51"/>
                    <a:gd name="T110" fmla="*/ 2147483647 w 57"/>
                    <a:gd name="T111" fmla="*/ 2147483647 h 51"/>
                    <a:gd name="T112" fmla="*/ 2147483647 w 57"/>
                    <a:gd name="T113" fmla="*/ 2147483647 h 51"/>
                    <a:gd name="T114" fmla="*/ 2147483647 w 57"/>
                    <a:gd name="T115" fmla="*/ 2147483647 h 51"/>
                    <a:gd name="T116" fmla="*/ 2147483647 w 57"/>
                    <a:gd name="T117" fmla="*/ 2147483647 h 51"/>
                    <a:gd name="T118" fmla="*/ 2147483647 w 57"/>
                    <a:gd name="T119" fmla="*/ 2147483647 h 5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7"/>
                    <a:gd name="T181" fmla="*/ 0 h 51"/>
                    <a:gd name="T182" fmla="*/ 57 w 57"/>
                    <a:gd name="T183" fmla="*/ 51 h 5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7" h="51">
                      <a:moveTo>
                        <a:pt x="36" y="2"/>
                      </a:moveTo>
                      <a:lnTo>
                        <a:pt x="36" y="2"/>
                      </a:lnTo>
                      <a:lnTo>
                        <a:pt x="38" y="4"/>
                      </a:lnTo>
                      <a:lnTo>
                        <a:pt x="41" y="7"/>
                      </a:lnTo>
                      <a:lnTo>
                        <a:pt x="42" y="11"/>
                      </a:lnTo>
                      <a:lnTo>
                        <a:pt x="43" y="19"/>
                      </a:lnTo>
                      <a:lnTo>
                        <a:pt x="46" y="20"/>
                      </a:lnTo>
                      <a:lnTo>
                        <a:pt x="48" y="21"/>
                      </a:lnTo>
                      <a:lnTo>
                        <a:pt x="51" y="21"/>
                      </a:lnTo>
                      <a:lnTo>
                        <a:pt x="55" y="22"/>
                      </a:lnTo>
                      <a:lnTo>
                        <a:pt x="51" y="29"/>
                      </a:lnTo>
                      <a:lnTo>
                        <a:pt x="51" y="33"/>
                      </a:lnTo>
                      <a:lnTo>
                        <a:pt x="52" y="35"/>
                      </a:lnTo>
                      <a:lnTo>
                        <a:pt x="56" y="42"/>
                      </a:lnTo>
                      <a:lnTo>
                        <a:pt x="57" y="46"/>
                      </a:lnTo>
                      <a:lnTo>
                        <a:pt x="55" y="49"/>
                      </a:lnTo>
                      <a:lnTo>
                        <a:pt x="50" y="49"/>
                      </a:lnTo>
                      <a:lnTo>
                        <a:pt x="45" y="51"/>
                      </a:lnTo>
                      <a:lnTo>
                        <a:pt x="42" y="51"/>
                      </a:lnTo>
                      <a:lnTo>
                        <a:pt x="41" y="49"/>
                      </a:lnTo>
                      <a:lnTo>
                        <a:pt x="38" y="46"/>
                      </a:lnTo>
                      <a:lnTo>
                        <a:pt x="38" y="41"/>
                      </a:lnTo>
                      <a:lnTo>
                        <a:pt x="37" y="36"/>
                      </a:lnTo>
                      <a:lnTo>
                        <a:pt x="36" y="35"/>
                      </a:lnTo>
                      <a:lnTo>
                        <a:pt x="34" y="34"/>
                      </a:lnTo>
                      <a:lnTo>
                        <a:pt x="31" y="33"/>
                      </a:lnTo>
                      <a:lnTo>
                        <a:pt x="28" y="30"/>
                      </a:lnTo>
                      <a:lnTo>
                        <a:pt x="26" y="28"/>
                      </a:lnTo>
                      <a:lnTo>
                        <a:pt x="23" y="27"/>
                      </a:lnTo>
                      <a:lnTo>
                        <a:pt x="22" y="27"/>
                      </a:lnTo>
                      <a:lnTo>
                        <a:pt x="20" y="28"/>
                      </a:lnTo>
                      <a:lnTo>
                        <a:pt x="20" y="30"/>
                      </a:lnTo>
                      <a:lnTo>
                        <a:pt x="19" y="30"/>
                      </a:lnTo>
                      <a:lnTo>
                        <a:pt x="14" y="32"/>
                      </a:lnTo>
                      <a:lnTo>
                        <a:pt x="9" y="29"/>
                      </a:lnTo>
                      <a:lnTo>
                        <a:pt x="7" y="27"/>
                      </a:lnTo>
                      <a:lnTo>
                        <a:pt x="4" y="22"/>
                      </a:lnTo>
                      <a:lnTo>
                        <a:pt x="3" y="14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13" y="1"/>
                      </a:lnTo>
                      <a:lnTo>
                        <a:pt x="20" y="2"/>
                      </a:lnTo>
                      <a:lnTo>
                        <a:pt x="28" y="3"/>
                      </a:lnTo>
                      <a:lnTo>
                        <a:pt x="32" y="3"/>
                      </a:lnTo>
                      <a:lnTo>
                        <a:pt x="36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3" name="Freeform 891">
                  <a:extLst>
                    <a:ext uri="{FF2B5EF4-FFF2-40B4-BE49-F238E27FC236}">
                      <a16:creationId xmlns:a16="http://schemas.microsoft.com/office/drawing/2014/main" id="{CB351B2A-BBF2-9C48-8BC9-0E69F66CAF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52299" y="4186243"/>
                  <a:ext cx="102112" cy="127269"/>
                </a:xfrm>
                <a:custGeom>
                  <a:avLst/>
                  <a:gdLst>
                    <a:gd name="T0" fmla="*/ 2147483647 w 75"/>
                    <a:gd name="T1" fmla="*/ 2147483647 h 86"/>
                    <a:gd name="T2" fmla="*/ 2147483647 w 75"/>
                    <a:gd name="T3" fmla="*/ 2147483647 h 86"/>
                    <a:gd name="T4" fmla="*/ 2147483647 w 75"/>
                    <a:gd name="T5" fmla="*/ 2147483647 h 86"/>
                    <a:gd name="T6" fmla="*/ 2147483647 w 75"/>
                    <a:gd name="T7" fmla="*/ 2147483647 h 86"/>
                    <a:gd name="T8" fmla="*/ 2147483647 w 75"/>
                    <a:gd name="T9" fmla="*/ 2147483647 h 86"/>
                    <a:gd name="T10" fmla="*/ 2147483647 w 75"/>
                    <a:gd name="T11" fmla="*/ 2147483647 h 86"/>
                    <a:gd name="T12" fmla="*/ 2147483647 w 75"/>
                    <a:gd name="T13" fmla="*/ 2147483647 h 86"/>
                    <a:gd name="T14" fmla="*/ 2147483647 w 75"/>
                    <a:gd name="T15" fmla="*/ 2147483647 h 86"/>
                    <a:gd name="T16" fmla="*/ 2147483647 w 75"/>
                    <a:gd name="T17" fmla="*/ 2147483647 h 86"/>
                    <a:gd name="T18" fmla="*/ 2147483647 w 75"/>
                    <a:gd name="T19" fmla="*/ 2147483647 h 86"/>
                    <a:gd name="T20" fmla="*/ 2147483647 w 75"/>
                    <a:gd name="T21" fmla="*/ 2147483647 h 86"/>
                    <a:gd name="T22" fmla="*/ 2147483647 w 75"/>
                    <a:gd name="T23" fmla="*/ 2147483647 h 86"/>
                    <a:gd name="T24" fmla="*/ 2147483647 w 75"/>
                    <a:gd name="T25" fmla="*/ 2147483647 h 86"/>
                    <a:gd name="T26" fmla="*/ 2147483647 w 75"/>
                    <a:gd name="T27" fmla="*/ 2147483647 h 86"/>
                    <a:gd name="T28" fmla="*/ 2147483647 w 75"/>
                    <a:gd name="T29" fmla="*/ 2147483647 h 86"/>
                    <a:gd name="T30" fmla="*/ 2147483647 w 75"/>
                    <a:gd name="T31" fmla="*/ 2147483647 h 86"/>
                    <a:gd name="T32" fmla="*/ 2147483647 w 75"/>
                    <a:gd name="T33" fmla="*/ 2147483647 h 86"/>
                    <a:gd name="T34" fmla="*/ 2147483647 w 75"/>
                    <a:gd name="T35" fmla="*/ 2147483647 h 86"/>
                    <a:gd name="T36" fmla="*/ 2147483647 w 75"/>
                    <a:gd name="T37" fmla="*/ 2147483647 h 86"/>
                    <a:gd name="T38" fmla="*/ 2147483647 w 75"/>
                    <a:gd name="T39" fmla="*/ 2147483647 h 86"/>
                    <a:gd name="T40" fmla="*/ 2147483647 w 75"/>
                    <a:gd name="T41" fmla="*/ 0 h 86"/>
                    <a:gd name="T42" fmla="*/ 2147483647 w 75"/>
                    <a:gd name="T43" fmla="*/ 2147483647 h 86"/>
                    <a:gd name="T44" fmla="*/ 2147483647 w 75"/>
                    <a:gd name="T45" fmla="*/ 2147483647 h 86"/>
                    <a:gd name="T46" fmla="*/ 2147483647 w 75"/>
                    <a:gd name="T47" fmla="*/ 2147483647 h 86"/>
                    <a:gd name="T48" fmla="*/ 2147483647 w 75"/>
                    <a:gd name="T49" fmla="*/ 2147483647 h 86"/>
                    <a:gd name="T50" fmla="*/ 2147483647 w 75"/>
                    <a:gd name="T51" fmla="*/ 2147483647 h 86"/>
                    <a:gd name="T52" fmla="*/ 2147483647 w 75"/>
                    <a:gd name="T53" fmla="*/ 2147483647 h 86"/>
                    <a:gd name="T54" fmla="*/ 2147483647 w 75"/>
                    <a:gd name="T55" fmla="*/ 2147483647 h 86"/>
                    <a:gd name="T56" fmla="*/ 2147483647 w 75"/>
                    <a:gd name="T57" fmla="*/ 2147483647 h 86"/>
                    <a:gd name="T58" fmla="*/ 2147483647 w 75"/>
                    <a:gd name="T59" fmla="*/ 2147483647 h 86"/>
                    <a:gd name="T60" fmla="*/ 2147483647 w 75"/>
                    <a:gd name="T61" fmla="*/ 2147483647 h 86"/>
                    <a:gd name="T62" fmla="*/ 2147483647 w 75"/>
                    <a:gd name="T63" fmla="*/ 2147483647 h 86"/>
                    <a:gd name="T64" fmla="*/ 2147483647 w 75"/>
                    <a:gd name="T65" fmla="*/ 2147483647 h 86"/>
                    <a:gd name="T66" fmla="*/ 2147483647 w 75"/>
                    <a:gd name="T67" fmla="*/ 2147483647 h 86"/>
                    <a:gd name="T68" fmla="*/ 2147483647 w 75"/>
                    <a:gd name="T69" fmla="*/ 2147483647 h 86"/>
                    <a:gd name="T70" fmla="*/ 2147483647 w 75"/>
                    <a:gd name="T71" fmla="*/ 2147483647 h 86"/>
                    <a:gd name="T72" fmla="*/ 2147483647 w 75"/>
                    <a:gd name="T73" fmla="*/ 2147483647 h 86"/>
                    <a:gd name="T74" fmla="*/ 2147483647 w 75"/>
                    <a:gd name="T75" fmla="*/ 2147483647 h 86"/>
                    <a:gd name="T76" fmla="*/ 0 w 75"/>
                    <a:gd name="T77" fmla="*/ 2147483647 h 86"/>
                    <a:gd name="T78" fmla="*/ 2147483647 w 75"/>
                    <a:gd name="T79" fmla="*/ 2147483647 h 86"/>
                    <a:gd name="T80" fmla="*/ 2147483647 w 75"/>
                    <a:gd name="T81" fmla="*/ 2147483647 h 86"/>
                    <a:gd name="T82" fmla="*/ 2147483647 w 75"/>
                    <a:gd name="T83" fmla="*/ 2147483647 h 86"/>
                    <a:gd name="T84" fmla="*/ 2147483647 w 75"/>
                    <a:gd name="T85" fmla="*/ 2147483647 h 86"/>
                    <a:gd name="T86" fmla="*/ 2147483647 w 75"/>
                    <a:gd name="T87" fmla="*/ 2147483647 h 86"/>
                    <a:gd name="T88" fmla="*/ 2147483647 w 75"/>
                    <a:gd name="T89" fmla="*/ 2147483647 h 86"/>
                    <a:gd name="T90" fmla="*/ 2147483647 w 75"/>
                    <a:gd name="T91" fmla="*/ 2147483647 h 8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75"/>
                    <a:gd name="T139" fmla="*/ 0 h 86"/>
                    <a:gd name="T140" fmla="*/ 75 w 75"/>
                    <a:gd name="T141" fmla="*/ 86 h 8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75" h="86">
                      <a:moveTo>
                        <a:pt x="30" y="86"/>
                      </a:moveTo>
                      <a:lnTo>
                        <a:pt x="33" y="84"/>
                      </a:lnTo>
                      <a:lnTo>
                        <a:pt x="34" y="82"/>
                      </a:lnTo>
                      <a:lnTo>
                        <a:pt x="43" y="83"/>
                      </a:lnTo>
                      <a:lnTo>
                        <a:pt x="51" y="84"/>
                      </a:lnTo>
                      <a:lnTo>
                        <a:pt x="58" y="85"/>
                      </a:lnTo>
                      <a:lnTo>
                        <a:pt x="62" y="85"/>
                      </a:lnTo>
                      <a:lnTo>
                        <a:pt x="66" y="84"/>
                      </a:lnTo>
                      <a:lnTo>
                        <a:pt x="65" y="82"/>
                      </a:lnTo>
                      <a:lnTo>
                        <a:pt x="65" y="78"/>
                      </a:lnTo>
                      <a:lnTo>
                        <a:pt x="65" y="75"/>
                      </a:lnTo>
                      <a:lnTo>
                        <a:pt x="67" y="68"/>
                      </a:lnTo>
                      <a:lnTo>
                        <a:pt x="69" y="60"/>
                      </a:lnTo>
                      <a:lnTo>
                        <a:pt x="69" y="52"/>
                      </a:lnTo>
                      <a:lnTo>
                        <a:pt x="70" y="50"/>
                      </a:lnTo>
                      <a:lnTo>
                        <a:pt x="71" y="46"/>
                      </a:lnTo>
                      <a:lnTo>
                        <a:pt x="72" y="38"/>
                      </a:lnTo>
                      <a:lnTo>
                        <a:pt x="72" y="30"/>
                      </a:lnTo>
                      <a:lnTo>
                        <a:pt x="71" y="21"/>
                      </a:lnTo>
                      <a:lnTo>
                        <a:pt x="72" y="12"/>
                      </a:lnTo>
                      <a:lnTo>
                        <a:pt x="75" y="0"/>
                      </a:lnTo>
                      <a:lnTo>
                        <a:pt x="71" y="1"/>
                      </a:lnTo>
                      <a:lnTo>
                        <a:pt x="66" y="2"/>
                      </a:lnTo>
                      <a:lnTo>
                        <a:pt x="58" y="8"/>
                      </a:lnTo>
                      <a:lnTo>
                        <a:pt x="55" y="9"/>
                      </a:lnTo>
                      <a:lnTo>
                        <a:pt x="51" y="9"/>
                      </a:lnTo>
                      <a:lnTo>
                        <a:pt x="47" y="9"/>
                      </a:lnTo>
                      <a:lnTo>
                        <a:pt x="44" y="12"/>
                      </a:lnTo>
                      <a:lnTo>
                        <a:pt x="34" y="20"/>
                      </a:lnTo>
                      <a:lnTo>
                        <a:pt x="30" y="24"/>
                      </a:lnTo>
                      <a:lnTo>
                        <a:pt x="27" y="25"/>
                      </a:lnTo>
                      <a:lnTo>
                        <a:pt x="22" y="26"/>
                      </a:lnTo>
                      <a:lnTo>
                        <a:pt x="16" y="27"/>
                      </a:lnTo>
                      <a:lnTo>
                        <a:pt x="11" y="28"/>
                      </a:lnTo>
                      <a:lnTo>
                        <a:pt x="10" y="30"/>
                      </a:lnTo>
                      <a:lnTo>
                        <a:pt x="10" y="32"/>
                      </a:lnTo>
                      <a:lnTo>
                        <a:pt x="9" y="34"/>
                      </a:lnTo>
                      <a:lnTo>
                        <a:pt x="4" y="38"/>
                      </a:lnTo>
                      <a:lnTo>
                        <a:pt x="0" y="41"/>
                      </a:lnTo>
                      <a:lnTo>
                        <a:pt x="5" y="46"/>
                      </a:lnTo>
                      <a:lnTo>
                        <a:pt x="8" y="52"/>
                      </a:lnTo>
                      <a:lnTo>
                        <a:pt x="11" y="60"/>
                      </a:lnTo>
                      <a:lnTo>
                        <a:pt x="15" y="66"/>
                      </a:lnTo>
                      <a:lnTo>
                        <a:pt x="27" y="79"/>
                      </a:lnTo>
                      <a:lnTo>
                        <a:pt x="29" y="83"/>
                      </a:lnTo>
                      <a:lnTo>
                        <a:pt x="30" y="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4" name="Freeform 892">
                  <a:extLst>
                    <a:ext uri="{FF2B5EF4-FFF2-40B4-BE49-F238E27FC236}">
                      <a16:creationId xmlns:a16="http://schemas.microsoft.com/office/drawing/2014/main" id="{9EF9169C-CD00-D34D-AB80-3C11878004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2342" y="4167000"/>
                  <a:ext cx="142068" cy="79913"/>
                </a:xfrm>
                <a:custGeom>
                  <a:avLst/>
                  <a:gdLst>
                    <a:gd name="T0" fmla="*/ 2147483647 w 104"/>
                    <a:gd name="T1" fmla="*/ 2147483647 h 54"/>
                    <a:gd name="T2" fmla="*/ 2147483647 w 104"/>
                    <a:gd name="T3" fmla="*/ 2147483647 h 54"/>
                    <a:gd name="T4" fmla="*/ 2147483647 w 104"/>
                    <a:gd name="T5" fmla="*/ 2147483647 h 54"/>
                    <a:gd name="T6" fmla="*/ 2147483647 w 104"/>
                    <a:gd name="T7" fmla="*/ 2147483647 h 54"/>
                    <a:gd name="T8" fmla="*/ 2147483647 w 104"/>
                    <a:gd name="T9" fmla="*/ 2147483647 h 54"/>
                    <a:gd name="T10" fmla="*/ 2147483647 w 104"/>
                    <a:gd name="T11" fmla="*/ 2147483647 h 54"/>
                    <a:gd name="T12" fmla="*/ 2147483647 w 104"/>
                    <a:gd name="T13" fmla="*/ 2147483647 h 54"/>
                    <a:gd name="T14" fmla="*/ 2147483647 w 104"/>
                    <a:gd name="T15" fmla="*/ 2147483647 h 54"/>
                    <a:gd name="T16" fmla="*/ 2147483647 w 104"/>
                    <a:gd name="T17" fmla="*/ 2147483647 h 54"/>
                    <a:gd name="T18" fmla="*/ 2147483647 w 104"/>
                    <a:gd name="T19" fmla="*/ 2147483647 h 54"/>
                    <a:gd name="T20" fmla="*/ 2147483647 w 104"/>
                    <a:gd name="T21" fmla="*/ 2147483647 h 54"/>
                    <a:gd name="T22" fmla="*/ 2147483647 w 104"/>
                    <a:gd name="T23" fmla="*/ 2147483647 h 54"/>
                    <a:gd name="T24" fmla="*/ 2147483647 w 104"/>
                    <a:gd name="T25" fmla="*/ 2147483647 h 54"/>
                    <a:gd name="T26" fmla="*/ 2147483647 w 104"/>
                    <a:gd name="T27" fmla="*/ 2147483647 h 54"/>
                    <a:gd name="T28" fmla="*/ 2147483647 w 104"/>
                    <a:gd name="T29" fmla="*/ 2147483647 h 54"/>
                    <a:gd name="T30" fmla="*/ 2147483647 w 104"/>
                    <a:gd name="T31" fmla="*/ 2147483647 h 54"/>
                    <a:gd name="T32" fmla="*/ 2147483647 w 104"/>
                    <a:gd name="T33" fmla="*/ 2147483647 h 54"/>
                    <a:gd name="T34" fmla="*/ 2147483647 w 104"/>
                    <a:gd name="T35" fmla="*/ 2147483647 h 54"/>
                    <a:gd name="T36" fmla="*/ 2147483647 w 104"/>
                    <a:gd name="T37" fmla="*/ 2147483647 h 54"/>
                    <a:gd name="T38" fmla="*/ 2147483647 w 104"/>
                    <a:gd name="T39" fmla="*/ 2147483647 h 54"/>
                    <a:gd name="T40" fmla="*/ 2147483647 w 104"/>
                    <a:gd name="T41" fmla="*/ 2147483647 h 54"/>
                    <a:gd name="T42" fmla="*/ 2147483647 w 104"/>
                    <a:gd name="T43" fmla="*/ 2147483647 h 54"/>
                    <a:gd name="T44" fmla="*/ 2147483647 w 104"/>
                    <a:gd name="T45" fmla="*/ 2147483647 h 54"/>
                    <a:gd name="T46" fmla="*/ 2147483647 w 104"/>
                    <a:gd name="T47" fmla="*/ 0 h 54"/>
                    <a:gd name="T48" fmla="*/ 2147483647 w 104"/>
                    <a:gd name="T49" fmla="*/ 2147483647 h 54"/>
                    <a:gd name="T50" fmla="*/ 2147483647 w 104"/>
                    <a:gd name="T51" fmla="*/ 2147483647 h 54"/>
                    <a:gd name="T52" fmla="*/ 2147483647 w 104"/>
                    <a:gd name="T53" fmla="*/ 0 h 54"/>
                    <a:gd name="T54" fmla="*/ 2147483647 w 104"/>
                    <a:gd name="T55" fmla="*/ 0 h 54"/>
                    <a:gd name="T56" fmla="*/ 2147483647 w 104"/>
                    <a:gd name="T57" fmla="*/ 2147483647 h 54"/>
                    <a:gd name="T58" fmla="*/ 2147483647 w 104"/>
                    <a:gd name="T59" fmla="*/ 2147483647 h 54"/>
                    <a:gd name="T60" fmla="*/ 2147483647 w 104"/>
                    <a:gd name="T61" fmla="*/ 2147483647 h 54"/>
                    <a:gd name="T62" fmla="*/ 2147483647 w 104"/>
                    <a:gd name="T63" fmla="*/ 2147483647 h 54"/>
                    <a:gd name="T64" fmla="*/ 2147483647 w 104"/>
                    <a:gd name="T65" fmla="*/ 2147483647 h 54"/>
                    <a:gd name="T66" fmla="*/ 2147483647 w 104"/>
                    <a:gd name="T67" fmla="*/ 2147483647 h 54"/>
                    <a:gd name="T68" fmla="*/ 2147483647 w 104"/>
                    <a:gd name="T69" fmla="*/ 2147483647 h 54"/>
                    <a:gd name="T70" fmla="*/ 2147483647 w 104"/>
                    <a:gd name="T71" fmla="*/ 2147483647 h 54"/>
                    <a:gd name="T72" fmla="*/ 0 w 104"/>
                    <a:gd name="T73" fmla="*/ 2147483647 h 54"/>
                    <a:gd name="T74" fmla="*/ 0 w 104"/>
                    <a:gd name="T75" fmla="*/ 2147483647 h 54"/>
                    <a:gd name="T76" fmla="*/ 0 w 104"/>
                    <a:gd name="T77" fmla="*/ 2147483647 h 54"/>
                    <a:gd name="T78" fmla="*/ 2147483647 w 104"/>
                    <a:gd name="T79" fmla="*/ 2147483647 h 54"/>
                    <a:gd name="T80" fmla="*/ 2147483647 w 104"/>
                    <a:gd name="T81" fmla="*/ 2147483647 h 54"/>
                    <a:gd name="T82" fmla="*/ 2147483647 w 104"/>
                    <a:gd name="T83" fmla="*/ 2147483647 h 54"/>
                    <a:gd name="T84" fmla="*/ 2147483647 w 104"/>
                    <a:gd name="T85" fmla="*/ 2147483647 h 54"/>
                    <a:gd name="T86" fmla="*/ 2147483647 w 104"/>
                    <a:gd name="T87" fmla="*/ 2147483647 h 54"/>
                    <a:gd name="T88" fmla="*/ 2147483647 w 104"/>
                    <a:gd name="T89" fmla="*/ 2147483647 h 54"/>
                    <a:gd name="T90" fmla="*/ 2147483647 w 104"/>
                    <a:gd name="T91" fmla="*/ 2147483647 h 54"/>
                    <a:gd name="T92" fmla="*/ 2147483647 w 104"/>
                    <a:gd name="T93" fmla="*/ 2147483647 h 54"/>
                    <a:gd name="T94" fmla="*/ 2147483647 w 104"/>
                    <a:gd name="T95" fmla="*/ 2147483647 h 54"/>
                    <a:gd name="T96" fmla="*/ 2147483647 w 104"/>
                    <a:gd name="T97" fmla="*/ 2147483647 h 54"/>
                    <a:gd name="T98" fmla="*/ 2147483647 w 104"/>
                    <a:gd name="T99" fmla="*/ 2147483647 h 54"/>
                    <a:gd name="T100" fmla="*/ 2147483647 w 104"/>
                    <a:gd name="T101" fmla="*/ 2147483647 h 54"/>
                    <a:gd name="T102" fmla="*/ 2147483647 w 104"/>
                    <a:gd name="T103" fmla="*/ 2147483647 h 5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04"/>
                    <a:gd name="T157" fmla="*/ 0 h 54"/>
                    <a:gd name="T158" fmla="*/ 104 w 104"/>
                    <a:gd name="T159" fmla="*/ 54 h 5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04" h="54">
                      <a:moveTo>
                        <a:pt x="29" y="54"/>
                      </a:moveTo>
                      <a:lnTo>
                        <a:pt x="33" y="51"/>
                      </a:lnTo>
                      <a:lnTo>
                        <a:pt x="38" y="47"/>
                      </a:lnTo>
                      <a:lnTo>
                        <a:pt x="39" y="45"/>
                      </a:lnTo>
                      <a:lnTo>
                        <a:pt x="39" y="43"/>
                      </a:lnTo>
                      <a:lnTo>
                        <a:pt x="40" y="41"/>
                      </a:lnTo>
                      <a:lnTo>
                        <a:pt x="45" y="40"/>
                      </a:lnTo>
                      <a:lnTo>
                        <a:pt x="51" y="39"/>
                      </a:lnTo>
                      <a:lnTo>
                        <a:pt x="56" y="38"/>
                      </a:lnTo>
                      <a:lnTo>
                        <a:pt x="59" y="37"/>
                      </a:lnTo>
                      <a:lnTo>
                        <a:pt x="63" y="33"/>
                      </a:lnTo>
                      <a:lnTo>
                        <a:pt x="73" y="25"/>
                      </a:lnTo>
                      <a:lnTo>
                        <a:pt x="76" y="22"/>
                      </a:lnTo>
                      <a:lnTo>
                        <a:pt x="80" y="22"/>
                      </a:lnTo>
                      <a:lnTo>
                        <a:pt x="84" y="22"/>
                      </a:lnTo>
                      <a:lnTo>
                        <a:pt x="87" y="21"/>
                      </a:lnTo>
                      <a:lnTo>
                        <a:pt x="95" y="15"/>
                      </a:lnTo>
                      <a:lnTo>
                        <a:pt x="100" y="14"/>
                      </a:lnTo>
                      <a:lnTo>
                        <a:pt x="104" y="13"/>
                      </a:lnTo>
                      <a:lnTo>
                        <a:pt x="104" y="8"/>
                      </a:lnTo>
                      <a:lnTo>
                        <a:pt x="104" y="5"/>
                      </a:lnTo>
                      <a:lnTo>
                        <a:pt x="101" y="2"/>
                      </a:lnTo>
                      <a:lnTo>
                        <a:pt x="98" y="1"/>
                      </a:lnTo>
                      <a:lnTo>
                        <a:pt x="82" y="0"/>
                      </a:lnTo>
                      <a:lnTo>
                        <a:pt x="67" y="1"/>
                      </a:lnTo>
                      <a:lnTo>
                        <a:pt x="52" y="1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9" y="1"/>
                      </a:lnTo>
                      <a:lnTo>
                        <a:pt x="25" y="2"/>
                      </a:lnTo>
                      <a:lnTo>
                        <a:pt x="21" y="2"/>
                      </a:lnTo>
                      <a:lnTo>
                        <a:pt x="16" y="2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7"/>
                      </a:lnTo>
                      <a:lnTo>
                        <a:pt x="2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1" y="22"/>
                      </a:lnTo>
                      <a:lnTo>
                        <a:pt x="4" y="26"/>
                      </a:lnTo>
                      <a:lnTo>
                        <a:pt x="6" y="28"/>
                      </a:lnTo>
                      <a:lnTo>
                        <a:pt x="9" y="30"/>
                      </a:lnTo>
                      <a:lnTo>
                        <a:pt x="15" y="32"/>
                      </a:lnTo>
                      <a:lnTo>
                        <a:pt x="21" y="32"/>
                      </a:lnTo>
                      <a:lnTo>
                        <a:pt x="26" y="34"/>
                      </a:lnTo>
                      <a:lnTo>
                        <a:pt x="28" y="35"/>
                      </a:lnTo>
                      <a:lnTo>
                        <a:pt x="29" y="37"/>
                      </a:lnTo>
                      <a:lnTo>
                        <a:pt x="28" y="41"/>
                      </a:lnTo>
                      <a:lnTo>
                        <a:pt x="25" y="46"/>
                      </a:lnTo>
                      <a:lnTo>
                        <a:pt x="21" y="50"/>
                      </a:lnTo>
                      <a:lnTo>
                        <a:pt x="29" y="5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5" name="Freeform 893">
                  <a:extLst>
                    <a:ext uri="{FF2B5EF4-FFF2-40B4-BE49-F238E27FC236}">
                      <a16:creationId xmlns:a16="http://schemas.microsoft.com/office/drawing/2014/main" id="{114F7A8C-AE97-5149-B1A6-80C86001D4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50822" y="4184763"/>
                  <a:ext cx="102111" cy="127269"/>
                </a:xfrm>
                <a:custGeom>
                  <a:avLst/>
                  <a:gdLst>
                    <a:gd name="T0" fmla="*/ 2147483647 w 75"/>
                    <a:gd name="T1" fmla="*/ 2147483647 h 86"/>
                    <a:gd name="T2" fmla="*/ 2147483647 w 75"/>
                    <a:gd name="T3" fmla="*/ 2147483647 h 86"/>
                    <a:gd name="T4" fmla="*/ 2147483647 w 75"/>
                    <a:gd name="T5" fmla="*/ 2147483647 h 86"/>
                    <a:gd name="T6" fmla="*/ 2147483647 w 75"/>
                    <a:gd name="T7" fmla="*/ 2147483647 h 86"/>
                    <a:gd name="T8" fmla="*/ 2147483647 w 75"/>
                    <a:gd name="T9" fmla="*/ 2147483647 h 86"/>
                    <a:gd name="T10" fmla="*/ 2147483647 w 75"/>
                    <a:gd name="T11" fmla="*/ 2147483647 h 86"/>
                    <a:gd name="T12" fmla="*/ 2147483647 w 75"/>
                    <a:gd name="T13" fmla="*/ 2147483647 h 86"/>
                    <a:gd name="T14" fmla="*/ 2147483647 w 75"/>
                    <a:gd name="T15" fmla="*/ 2147483647 h 86"/>
                    <a:gd name="T16" fmla="*/ 2147483647 w 75"/>
                    <a:gd name="T17" fmla="*/ 2147483647 h 86"/>
                    <a:gd name="T18" fmla="*/ 2147483647 w 75"/>
                    <a:gd name="T19" fmla="*/ 2147483647 h 86"/>
                    <a:gd name="T20" fmla="*/ 2147483647 w 75"/>
                    <a:gd name="T21" fmla="*/ 2147483647 h 86"/>
                    <a:gd name="T22" fmla="*/ 2147483647 w 75"/>
                    <a:gd name="T23" fmla="*/ 2147483647 h 86"/>
                    <a:gd name="T24" fmla="*/ 2147483647 w 75"/>
                    <a:gd name="T25" fmla="*/ 2147483647 h 86"/>
                    <a:gd name="T26" fmla="*/ 2147483647 w 75"/>
                    <a:gd name="T27" fmla="*/ 0 h 86"/>
                    <a:gd name="T28" fmla="*/ 2147483647 w 75"/>
                    <a:gd name="T29" fmla="*/ 2147483647 h 86"/>
                    <a:gd name="T30" fmla="*/ 2147483647 w 75"/>
                    <a:gd name="T31" fmla="*/ 2147483647 h 86"/>
                    <a:gd name="T32" fmla="*/ 2147483647 w 75"/>
                    <a:gd name="T33" fmla="*/ 2147483647 h 86"/>
                    <a:gd name="T34" fmla="*/ 2147483647 w 75"/>
                    <a:gd name="T35" fmla="*/ 2147483647 h 86"/>
                    <a:gd name="T36" fmla="*/ 2147483647 w 75"/>
                    <a:gd name="T37" fmla="*/ 2147483647 h 86"/>
                    <a:gd name="T38" fmla="*/ 2147483647 w 75"/>
                    <a:gd name="T39" fmla="*/ 2147483647 h 86"/>
                    <a:gd name="T40" fmla="*/ 2147483647 w 75"/>
                    <a:gd name="T41" fmla="*/ 2147483647 h 86"/>
                    <a:gd name="T42" fmla="*/ 2147483647 w 75"/>
                    <a:gd name="T43" fmla="*/ 2147483647 h 86"/>
                    <a:gd name="T44" fmla="*/ 2147483647 w 75"/>
                    <a:gd name="T45" fmla="*/ 2147483647 h 86"/>
                    <a:gd name="T46" fmla="*/ 2147483647 w 75"/>
                    <a:gd name="T47" fmla="*/ 2147483647 h 86"/>
                    <a:gd name="T48" fmla="*/ 2147483647 w 75"/>
                    <a:gd name="T49" fmla="*/ 2147483647 h 86"/>
                    <a:gd name="T50" fmla="*/ 2147483647 w 75"/>
                    <a:gd name="T51" fmla="*/ 2147483647 h 86"/>
                    <a:gd name="T52" fmla="*/ 0 w 75"/>
                    <a:gd name="T53" fmla="*/ 2147483647 h 86"/>
                    <a:gd name="T54" fmla="*/ 2147483647 w 75"/>
                    <a:gd name="T55" fmla="*/ 2147483647 h 86"/>
                    <a:gd name="T56" fmla="*/ 2147483647 w 75"/>
                    <a:gd name="T57" fmla="*/ 2147483647 h 86"/>
                    <a:gd name="T58" fmla="*/ 2147483647 w 75"/>
                    <a:gd name="T59" fmla="*/ 2147483647 h 86"/>
                    <a:gd name="T60" fmla="*/ 2147483647 w 75"/>
                    <a:gd name="T61" fmla="*/ 2147483647 h 86"/>
                    <a:gd name="T62" fmla="*/ 2147483647 w 75"/>
                    <a:gd name="T63" fmla="*/ 2147483647 h 8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75"/>
                    <a:gd name="T97" fmla="*/ 0 h 86"/>
                    <a:gd name="T98" fmla="*/ 75 w 75"/>
                    <a:gd name="T99" fmla="*/ 86 h 8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75" h="86">
                      <a:moveTo>
                        <a:pt x="30" y="86"/>
                      </a:moveTo>
                      <a:lnTo>
                        <a:pt x="30" y="86"/>
                      </a:lnTo>
                      <a:lnTo>
                        <a:pt x="33" y="84"/>
                      </a:lnTo>
                      <a:lnTo>
                        <a:pt x="34" y="82"/>
                      </a:lnTo>
                      <a:lnTo>
                        <a:pt x="43" y="83"/>
                      </a:lnTo>
                      <a:lnTo>
                        <a:pt x="50" y="84"/>
                      </a:lnTo>
                      <a:lnTo>
                        <a:pt x="58" y="85"/>
                      </a:lnTo>
                      <a:lnTo>
                        <a:pt x="62" y="85"/>
                      </a:lnTo>
                      <a:lnTo>
                        <a:pt x="66" y="84"/>
                      </a:lnTo>
                      <a:lnTo>
                        <a:pt x="64" y="82"/>
                      </a:lnTo>
                      <a:lnTo>
                        <a:pt x="64" y="78"/>
                      </a:lnTo>
                      <a:lnTo>
                        <a:pt x="64" y="74"/>
                      </a:lnTo>
                      <a:lnTo>
                        <a:pt x="67" y="67"/>
                      </a:lnTo>
                      <a:lnTo>
                        <a:pt x="68" y="60"/>
                      </a:lnTo>
                      <a:lnTo>
                        <a:pt x="68" y="52"/>
                      </a:lnTo>
                      <a:lnTo>
                        <a:pt x="70" y="50"/>
                      </a:lnTo>
                      <a:lnTo>
                        <a:pt x="71" y="46"/>
                      </a:lnTo>
                      <a:lnTo>
                        <a:pt x="72" y="38"/>
                      </a:lnTo>
                      <a:lnTo>
                        <a:pt x="72" y="29"/>
                      </a:lnTo>
                      <a:lnTo>
                        <a:pt x="71" y="21"/>
                      </a:lnTo>
                      <a:lnTo>
                        <a:pt x="72" y="12"/>
                      </a:lnTo>
                      <a:lnTo>
                        <a:pt x="75" y="0"/>
                      </a:lnTo>
                      <a:lnTo>
                        <a:pt x="71" y="1"/>
                      </a:lnTo>
                      <a:lnTo>
                        <a:pt x="66" y="2"/>
                      </a:lnTo>
                      <a:lnTo>
                        <a:pt x="58" y="8"/>
                      </a:lnTo>
                      <a:lnTo>
                        <a:pt x="54" y="9"/>
                      </a:lnTo>
                      <a:lnTo>
                        <a:pt x="50" y="9"/>
                      </a:lnTo>
                      <a:lnTo>
                        <a:pt x="47" y="9"/>
                      </a:lnTo>
                      <a:lnTo>
                        <a:pt x="44" y="12"/>
                      </a:lnTo>
                      <a:lnTo>
                        <a:pt x="34" y="20"/>
                      </a:lnTo>
                      <a:lnTo>
                        <a:pt x="30" y="23"/>
                      </a:lnTo>
                      <a:lnTo>
                        <a:pt x="26" y="25"/>
                      </a:lnTo>
                      <a:lnTo>
                        <a:pt x="21" y="26"/>
                      </a:lnTo>
                      <a:lnTo>
                        <a:pt x="16" y="27"/>
                      </a:lnTo>
                      <a:lnTo>
                        <a:pt x="11" y="28"/>
                      </a:lnTo>
                      <a:lnTo>
                        <a:pt x="10" y="29"/>
                      </a:lnTo>
                      <a:lnTo>
                        <a:pt x="10" y="32"/>
                      </a:lnTo>
                      <a:lnTo>
                        <a:pt x="9" y="34"/>
                      </a:lnTo>
                      <a:lnTo>
                        <a:pt x="4" y="38"/>
                      </a:lnTo>
                      <a:lnTo>
                        <a:pt x="0" y="41"/>
                      </a:lnTo>
                      <a:lnTo>
                        <a:pt x="5" y="46"/>
                      </a:lnTo>
                      <a:lnTo>
                        <a:pt x="7" y="52"/>
                      </a:lnTo>
                      <a:lnTo>
                        <a:pt x="11" y="60"/>
                      </a:lnTo>
                      <a:lnTo>
                        <a:pt x="15" y="66"/>
                      </a:lnTo>
                      <a:lnTo>
                        <a:pt x="26" y="79"/>
                      </a:lnTo>
                      <a:lnTo>
                        <a:pt x="29" y="83"/>
                      </a:lnTo>
                      <a:lnTo>
                        <a:pt x="30" y="8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6" name="Freeform 894">
                  <a:extLst>
                    <a:ext uri="{FF2B5EF4-FFF2-40B4-BE49-F238E27FC236}">
                      <a16:creationId xmlns:a16="http://schemas.microsoft.com/office/drawing/2014/main" id="{1CB20666-5138-634D-92AA-8519619E34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0862" y="4165524"/>
                  <a:ext cx="142068" cy="79913"/>
                </a:xfrm>
                <a:custGeom>
                  <a:avLst/>
                  <a:gdLst>
                    <a:gd name="T0" fmla="*/ 2147483647 w 105"/>
                    <a:gd name="T1" fmla="*/ 2147483647 h 54"/>
                    <a:gd name="T2" fmla="*/ 2147483647 w 105"/>
                    <a:gd name="T3" fmla="*/ 2147483647 h 54"/>
                    <a:gd name="T4" fmla="*/ 2147483647 w 105"/>
                    <a:gd name="T5" fmla="*/ 2147483647 h 54"/>
                    <a:gd name="T6" fmla="*/ 2147483647 w 105"/>
                    <a:gd name="T7" fmla="*/ 2147483647 h 54"/>
                    <a:gd name="T8" fmla="*/ 2147483647 w 105"/>
                    <a:gd name="T9" fmla="*/ 2147483647 h 54"/>
                    <a:gd name="T10" fmla="*/ 2147483647 w 105"/>
                    <a:gd name="T11" fmla="*/ 2147483647 h 54"/>
                    <a:gd name="T12" fmla="*/ 2147483647 w 105"/>
                    <a:gd name="T13" fmla="*/ 2147483647 h 54"/>
                    <a:gd name="T14" fmla="*/ 2147483647 w 105"/>
                    <a:gd name="T15" fmla="*/ 2147483647 h 54"/>
                    <a:gd name="T16" fmla="*/ 2147483647 w 105"/>
                    <a:gd name="T17" fmla="*/ 2147483647 h 54"/>
                    <a:gd name="T18" fmla="*/ 2147483647 w 105"/>
                    <a:gd name="T19" fmla="*/ 2147483647 h 54"/>
                    <a:gd name="T20" fmla="*/ 2147483647 w 105"/>
                    <a:gd name="T21" fmla="*/ 2147483647 h 54"/>
                    <a:gd name="T22" fmla="*/ 2147483647 w 105"/>
                    <a:gd name="T23" fmla="*/ 2147483647 h 54"/>
                    <a:gd name="T24" fmla="*/ 2147483647 w 105"/>
                    <a:gd name="T25" fmla="*/ 2147483647 h 54"/>
                    <a:gd name="T26" fmla="*/ 2147483647 w 105"/>
                    <a:gd name="T27" fmla="*/ 2147483647 h 54"/>
                    <a:gd name="T28" fmla="*/ 2147483647 w 105"/>
                    <a:gd name="T29" fmla="*/ 2147483647 h 54"/>
                    <a:gd name="T30" fmla="*/ 2147483647 w 105"/>
                    <a:gd name="T31" fmla="*/ 2147483647 h 54"/>
                    <a:gd name="T32" fmla="*/ 2147483647 w 105"/>
                    <a:gd name="T33" fmla="*/ 2147483647 h 54"/>
                    <a:gd name="T34" fmla="*/ 2147483647 w 105"/>
                    <a:gd name="T35" fmla="*/ 0 h 54"/>
                    <a:gd name="T36" fmla="*/ 2147483647 w 105"/>
                    <a:gd name="T37" fmla="*/ 0 h 54"/>
                    <a:gd name="T38" fmla="*/ 2147483647 w 105"/>
                    <a:gd name="T39" fmla="*/ 2147483647 h 54"/>
                    <a:gd name="T40" fmla="*/ 2147483647 w 105"/>
                    <a:gd name="T41" fmla="*/ 2147483647 h 54"/>
                    <a:gd name="T42" fmla="*/ 2147483647 w 105"/>
                    <a:gd name="T43" fmla="*/ 2147483647 h 54"/>
                    <a:gd name="T44" fmla="*/ 2147483647 w 105"/>
                    <a:gd name="T45" fmla="*/ 2147483647 h 54"/>
                    <a:gd name="T46" fmla="*/ 2147483647 w 105"/>
                    <a:gd name="T47" fmla="*/ 2147483647 h 54"/>
                    <a:gd name="T48" fmla="*/ 0 w 105"/>
                    <a:gd name="T49" fmla="*/ 2147483647 h 54"/>
                    <a:gd name="T50" fmla="*/ 0 w 105"/>
                    <a:gd name="T51" fmla="*/ 2147483647 h 54"/>
                    <a:gd name="T52" fmla="*/ 2147483647 w 105"/>
                    <a:gd name="T53" fmla="*/ 2147483647 h 54"/>
                    <a:gd name="T54" fmla="*/ 2147483647 w 105"/>
                    <a:gd name="T55" fmla="*/ 2147483647 h 54"/>
                    <a:gd name="T56" fmla="*/ 2147483647 w 105"/>
                    <a:gd name="T57" fmla="*/ 2147483647 h 54"/>
                    <a:gd name="T58" fmla="*/ 2147483647 w 105"/>
                    <a:gd name="T59" fmla="*/ 2147483647 h 54"/>
                    <a:gd name="T60" fmla="*/ 2147483647 w 105"/>
                    <a:gd name="T61" fmla="*/ 2147483647 h 54"/>
                    <a:gd name="T62" fmla="*/ 2147483647 w 105"/>
                    <a:gd name="T63" fmla="*/ 2147483647 h 54"/>
                    <a:gd name="T64" fmla="*/ 2147483647 w 105"/>
                    <a:gd name="T65" fmla="*/ 2147483647 h 54"/>
                    <a:gd name="T66" fmla="*/ 2147483647 w 105"/>
                    <a:gd name="T67" fmla="*/ 2147483647 h 54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05"/>
                    <a:gd name="T103" fmla="*/ 0 h 54"/>
                    <a:gd name="T104" fmla="*/ 105 w 105"/>
                    <a:gd name="T105" fmla="*/ 54 h 54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05" h="54">
                      <a:moveTo>
                        <a:pt x="30" y="54"/>
                      </a:moveTo>
                      <a:lnTo>
                        <a:pt x="30" y="54"/>
                      </a:lnTo>
                      <a:lnTo>
                        <a:pt x="34" y="51"/>
                      </a:lnTo>
                      <a:lnTo>
                        <a:pt x="39" y="47"/>
                      </a:lnTo>
                      <a:lnTo>
                        <a:pt x="40" y="45"/>
                      </a:lnTo>
                      <a:lnTo>
                        <a:pt x="40" y="42"/>
                      </a:lnTo>
                      <a:lnTo>
                        <a:pt x="41" y="41"/>
                      </a:lnTo>
                      <a:lnTo>
                        <a:pt x="46" y="40"/>
                      </a:lnTo>
                      <a:lnTo>
                        <a:pt x="51" y="39"/>
                      </a:lnTo>
                      <a:lnTo>
                        <a:pt x="56" y="38"/>
                      </a:lnTo>
                      <a:lnTo>
                        <a:pt x="60" y="36"/>
                      </a:lnTo>
                      <a:lnTo>
                        <a:pt x="64" y="33"/>
                      </a:lnTo>
                      <a:lnTo>
                        <a:pt x="74" y="25"/>
                      </a:lnTo>
                      <a:lnTo>
                        <a:pt x="77" y="22"/>
                      </a:lnTo>
                      <a:lnTo>
                        <a:pt x="80" y="22"/>
                      </a:lnTo>
                      <a:lnTo>
                        <a:pt x="84" y="22"/>
                      </a:lnTo>
                      <a:lnTo>
                        <a:pt x="88" y="21"/>
                      </a:lnTo>
                      <a:lnTo>
                        <a:pt x="96" y="15"/>
                      </a:lnTo>
                      <a:lnTo>
                        <a:pt x="101" y="14"/>
                      </a:lnTo>
                      <a:lnTo>
                        <a:pt x="105" y="13"/>
                      </a:lnTo>
                      <a:lnTo>
                        <a:pt x="105" y="8"/>
                      </a:lnTo>
                      <a:lnTo>
                        <a:pt x="105" y="4"/>
                      </a:lnTo>
                      <a:lnTo>
                        <a:pt x="102" y="2"/>
                      </a:lnTo>
                      <a:lnTo>
                        <a:pt x="98" y="1"/>
                      </a:lnTo>
                      <a:lnTo>
                        <a:pt x="83" y="0"/>
                      </a:lnTo>
                      <a:lnTo>
                        <a:pt x="68" y="1"/>
                      </a:lnTo>
                      <a:lnTo>
                        <a:pt x="53" y="1"/>
                      </a:lnTo>
                      <a:lnTo>
                        <a:pt x="37" y="0"/>
                      </a:lnTo>
                      <a:lnTo>
                        <a:pt x="34" y="0"/>
                      </a:lnTo>
                      <a:lnTo>
                        <a:pt x="30" y="1"/>
                      </a:lnTo>
                      <a:lnTo>
                        <a:pt x="26" y="2"/>
                      </a:lnTo>
                      <a:lnTo>
                        <a:pt x="22" y="2"/>
                      </a:lnTo>
                      <a:lnTo>
                        <a:pt x="17" y="2"/>
                      </a:lnTo>
                      <a:lnTo>
                        <a:pt x="12" y="1"/>
                      </a:lnTo>
                      <a:lnTo>
                        <a:pt x="11" y="3"/>
                      </a:lnTo>
                      <a:lnTo>
                        <a:pt x="8" y="7"/>
                      </a:lnTo>
                      <a:lnTo>
                        <a:pt x="3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4" y="26"/>
                      </a:lnTo>
                      <a:lnTo>
                        <a:pt x="7" y="28"/>
                      </a:lnTo>
                      <a:lnTo>
                        <a:pt x="9" y="29"/>
                      </a:lnTo>
                      <a:lnTo>
                        <a:pt x="16" y="32"/>
                      </a:lnTo>
                      <a:lnTo>
                        <a:pt x="22" y="32"/>
                      </a:lnTo>
                      <a:lnTo>
                        <a:pt x="27" y="34"/>
                      </a:lnTo>
                      <a:lnTo>
                        <a:pt x="28" y="35"/>
                      </a:lnTo>
                      <a:lnTo>
                        <a:pt x="30" y="36"/>
                      </a:lnTo>
                      <a:lnTo>
                        <a:pt x="28" y="41"/>
                      </a:lnTo>
                      <a:lnTo>
                        <a:pt x="26" y="46"/>
                      </a:lnTo>
                      <a:lnTo>
                        <a:pt x="22" y="49"/>
                      </a:lnTo>
                      <a:lnTo>
                        <a:pt x="30" y="5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7" name="Freeform 895">
                  <a:extLst>
                    <a:ext uri="{FF2B5EF4-FFF2-40B4-BE49-F238E27FC236}">
                      <a16:creationId xmlns:a16="http://schemas.microsoft.com/office/drawing/2014/main" id="{99D14120-F317-4746-B54A-C7D5EC6AD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4584" y="4204001"/>
                  <a:ext cx="57715" cy="36996"/>
                </a:xfrm>
                <a:custGeom>
                  <a:avLst/>
                  <a:gdLst>
                    <a:gd name="T0" fmla="*/ 2147483647 w 42"/>
                    <a:gd name="T1" fmla="*/ 2147483647 h 25"/>
                    <a:gd name="T2" fmla="*/ 2147483647 w 42"/>
                    <a:gd name="T3" fmla="*/ 2147483647 h 25"/>
                    <a:gd name="T4" fmla="*/ 2147483647 w 42"/>
                    <a:gd name="T5" fmla="*/ 2147483647 h 25"/>
                    <a:gd name="T6" fmla="*/ 2147483647 w 42"/>
                    <a:gd name="T7" fmla="*/ 2147483647 h 25"/>
                    <a:gd name="T8" fmla="*/ 2147483647 w 42"/>
                    <a:gd name="T9" fmla="*/ 2147483647 h 25"/>
                    <a:gd name="T10" fmla="*/ 2147483647 w 42"/>
                    <a:gd name="T11" fmla="*/ 2147483647 h 25"/>
                    <a:gd name="T12" fmla="*/ 2147483647 w 42"/>
                    <a:gd name="T13" fmla="*/ 2147483647 h 25"/>
                    <a:gd name="T14" fmla="*/ 2147483647 w 42"/>
                    <a:gd name="T15" fmla="*/ 2147483647 h 25"/>
                    <a:gd name="T16" fmla="*/ 2147483647 w 42"/>
                    <a:gd name="T17" fmla="*/ 2147483647 h 25"/>
                    <a:gd name="T18" fmla="*/ 2147483647 w 42"/>
                    <a:gd name="T19" fmla="*/ 2147483647 h 25"/>
                    <a:gd name="T20" fmla="*/ 2147483647 w 42"/>
                    <a:gd name="T21" fmla="*/ 2147483647 h 25"/>
                    <a:gd name="T22" fmla="*/ 2147483647 w 42"/>
                    <a:gd name="T23" fmla="*/ 2147483647 h 25"/>
                    <a:gd name="T24" fmla="*/ 2147483647 w 42"/>
                    <a:gd name="T25" fmla="*/ 2147483647 h 25"/>
                    <a:gd name="T26" fmla="*/ 2147483647 w 42"/>
                    <a:gd name="T27" fmla="*/ 0 h 25"/>
                    <a:gd name="T28" fmla="*/ 2147483647 w 42"/>
                    <a:gd name="T29" fmla="*/ 2147483647 h 25"/>
                    <a:gd name="T30" fmla="*/ 2147483647 w 42"/>
                    <a:gd name="T31" fmla="*/ 2147483647 h 25"/>
                    <a:gd name="T32" fmla="*/ 2147483647 w 42"/>
                    <a:gd name="T33" fmla="*/ 2147483647 h 25"/>
                    <a:gd name="T34" fmla="*/ 2147483647 w 42"/>
                    <a:gd name="T35" fmla="*/ 2147483647 h 25"/>
                    <a:gd name="T36" fmla="*/ 2147483647 w 42"/>
                    <a:gd name="T37" fmla="*/ 2147483647 h 25"/>
                    <a:gd name="T38" fmla="*/ 0 w 42"/>
                    <a:gd name="T39" fmla="*/ 2147483647 h 25"/>
                    <a:gd name="T40" fmla="*/ 2147483647 w 42"/>
                    <a:gd name="T41" fmla="*/ 2147483647 h 25"/>
                    <a:gd name="T42" fmla="*/ 2147483647 w 42"/>
                    <a:gd name="T43" fmla="*/ 2147483647 h 25"/>
                    <a:gd name="T44" fmla="*/ 2147483647 w 42"/>
                    <a:gd name="T45" fmla="*/ 2147483647 h 25"/>
                    <a:gd name="T46" fmla="*/ 2147483647 w 42"/>
                    <a:gd name="T47" fmla="*/ 2147483647 h 2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42"/>
                    <a:gd name="T73" fmla="*/ 0 h 25"/>
                    <a:gd name="T74" fmla="*/ 42 w 42"/>
                    <a:gd name="T75" fmla="*/ 25 h 2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42" h="25">
                      <a:moveTo>
                        <a:pt x="34" y="25"/>
                      </a:moveTo>
                      <a:lnTo>
                        <a:pt x="38" y="21"/>
                      </a:lnTo>
                      <a:lnTo>
                        <a:pt x="41" y="16"/>
                      </a:lnTo>
                      <a:lnTo>
                        <a:pt x="42" y="12"/>
                      </a:lnTo>
                      <a:lnTo>
                        <a:pt x="41" y="10"/>
                      </a:lnTo>
                      <a:lnTo>
                        <a:pt x="39" y="9"/>
                      </a:lnTo>
                      <a:lnTo>
                        <a:pt x="34" y="7"/>
                      </a:lnTo>
                      <a:lnTo>
                        <a:pt x="28" y="7"/>
                      </a:lnTo>
                      <a:lnTo>
                        <a:pt x="22" y="5"/>
                      </a:lnTo>
                      <a:lnTo>
                        <a:pt x="19" y="3"/>
                      </a:lnTo>
                      <a:lnTo>
                        <a:pt x="17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4" y="2"/>
                      </a:lnTo>
                      <a:lnTo>
                        <a:pt x="3" y="5"/>
                      </a:lnTo>
                      <a:lnTo>
                        <a:pt x="1" y="8"/>
                      </a:lnTo>
                      <a:lnTo>
                        <a:pt x="1" y="13"/>
                      </a:lnTo>
                      <a:lnTo>
                        <a:pt x="0" y="18"/>
                      </a:lnTo>
                      <a:lnTo>
                        <a:pt x="3" y="19"/>
                      </a:lnTo>
                      <a:lnTo>
                        <a:pt x="18" y="21"/>
                      </a:lnTo>
                      <a:lnTo>
                        <a:pt x="27" y="22"/>
                      </a:lnTo>
                      <a:lnTo>
                        <a:pt x="34" y="2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8" name="Freeform 896">
                  <a:extLst>
                    <a:ext uri="{FF2B5EF4-FFF2-40B4-BE49-F238E27FC236}">
                      <a16:creationId xmlns:a16="http://schemas.microsoft.com/office/drawing/2014/main" id="{1EAA1C22-413C-6D40-84F6-EC15025FC0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0952" y="4107809"/>
                  <a:ext cx="97672" cy="122830"/>
                </a:xfrm>
                <a:custGeom>
                  <a:avLst/>
                  <a:gdLst>
                    <a:gd name="T0" fmla="*/ 2147483647 w 71"/>
                    <a:gd name="T1" fmla="*/ 2147483647 h 83"/>
                    <a:gd name="T2" fmla="*/ 2147483647 w 71"/>
                    <a:gd name="T3" fmla="*/ 2147483647 h 83"/>
                    <a:gd name="T4" fmla="*/ 2147483647 w 71"/>
                    <a:gd name="T5" fmla="*/ 2147483647 h 83"/>
                    <a:gd name="T6" fmla="*/ 2147483647 w 71"/>
                    <a:gd name="T7" fmla="*/ 2147483647 h 83"/>
                    <a:gd name="T8" fmla="*/ 2147483647 w 71"/>
                    <a:gd name="T9" fmla="*/ 2147483647 h 83"/>
                    <a:gd name="T10" fmla="*/ 2147483647 w 71"/>
                    <a:gd name="T11" fmla="*/ 2147483647 h 83"/>
                    <a:gd name="T12" fmla="*/ 2147483647 w 71"/>
                    <a:gd name="T13" fmla="*/ 2147483647 h 83"/>
                    <a:gd name="T14" fmla="*/ 2147483647 w 71"/>
                    <a:gd name="T15" fmla="*/ 2147483647 h 83"/>
                    <a:gd name="T16" fmla="*/ 2147483647 w 71"/>
                    <a:gd name="T17" fmla="*/ 2147483647 h 83"/>
                    <a:gd name="T18" fmla="*/ 2147483647 w 71"/>
                    <a:gd name="T19" fmla="*/ 2147483647 h 83"/>
                    <a:gd name="T20" fmla="*/ 2147483647 w 71"/>
                    <a:gd name="T21" fmla="*/ 2147483647 h 83"/>
                    <a:gd name="T22" fmla="*/ 2147483647 w 71"/>
                    <a:gd name="T23" fmla="*/ 2147483647 h 83"/>
                    <a:gd name="T24" fmla="*/ 2147483647 w 71"/>
                    <a:gd name="T25" fmla="*/ 2147483647 h 83"/>
                    <a:gd name="T26" fmla="*/ 2147483647 w 71"/>
                    <a:gd name="T27" fmla="*/ 2147483647 h 83"/>
                    <a:gd name="T28" fmla="*/ 2147483647 w 71"/>
                    <a:gd name="T29" fmla="*/ 2147483647 h 83"/>
                    <a:gd name="T30" fmla="*/ 2147483647 w 71"/>
                    <a:gd name="T31" fmla="*/ 2147483647 h 83"/>
                    <a:gd name="T32" fmla="*/ 2147483647 w 71"/>
                    <a:gd name="T33" fmla="*/ 2147483647 h 83"/>
                    <a:gd name="T34" fmla="*/ 2147483647 w 71"/>
                    <a:gd name="T35" fmla="*/ 2147483647 h 83"/>
                    <a:gd name="T36" fmla="*/ 2147483647 w 71"/>
                    <a:gd name="T37" fmla="*/ 2147483647 h 83"/>
                    <a:gd name="T38" fmla="*/ 2147483647 w 71"/>
                    <a:gd name="T39" fmla="*/ 2147483647 h 83"/>
                    <a:gd name="T40" fmla="*/ 2147483647 w 71"/>
                    <a:gd name="T41" fmla="*/ 2147483647 h 83"/>
                    <a:gd name="T42" fmla="*/ 2147483647 w 71"/>
                    <a:gd name="T43" fmla="*/ 2147483647 h 83"/>
                    <a:gd name="T44" fmla="*/ 2147483647 w 71"/>
                    <a:gd name="T45" fmla="*/ 2147483647 h 83"/>
                    <a:gd name="T46" fmla="*/ 2147483647 w 71"/>
                    <a:gd name="T47" fmla="*/ 2147483647 h 83"/>
                    <a:gd name="T48" fmla="*/ 2147483647 w 71"/>
                    <a:gd name="T49" fmla="*/ 2147483647 h 83"/>
                    <a:gd name="T50" fmla="*/ 2147483647 w 71"/>
                    <a:gd name="T51" fmla="*/ 0 h 83"/>
                    <a:gd name="T52" fmla="*/ 2147483647 w 71"/>
                    <a:gd name="T53" fmla="*/ 2147483647 h 83"/>
                    <a:gd name="T54" fmla="*/ 2147483647 w 71"/>
                    <a:gd name="T55" fmla="*/ 2147483647 h 83"/>
                    <a:gd name="T56" fmla="*/ 2147483647 w 71"/>
                    <a:gd name="T57" fmla="*/ 0 h 83"/>
                    <a:gd name="T58" fmla="*/ 2147483647 w 71"/>
                    <a:gd name="T59" fmla="*/ 0 h 83"/>
                    <a:gd name="T60" fmla="*/ 2147483647 w 71"/>
                    <a:gd name="T61" fmla="*/ 2147483647 h 83"/>
                    <a:gd name="T62" fmla="*/ 2147483647 w 71"/>
                    <a:gd name="T63" fmla="*/ 2147483647 h 83"/>
                    <a:gd name="T64" fmla="*/ 2147483647 w 71"/>
                    <a:gd name="T65" fmla="*/ 2147483647 h 83"/>
                    <a:gd name="T66" fmla="*/ 2147483647 w 71"/>
                    <a:gd name="T67" fmla="*/ 2147483647 h 83"/>
                    <a:gd name="T68" fmla="*/ 2147483647 w 71"/>
                    <a:gd name="T69" fmla="*/ 2147483647 h 83"/>
                    <a:gd name="T70" fmla="*/ 2147483647 w 71"/>
                    <a:gd name="T71" fmla="*/ 2147483647 h 83"/>
                    <a:gd name="T72" fmla="*/ 2147483647 w 71"/>
                    <a:gd name="T73" fmla="*/ 2147483647 h 83"/>
                    <a:gd name="T74" fmla="*/ 2147483647 w 71"/>
                    <a:gd name="T75" fmla="*/ 2147483647 h 83"/>
                    <a:gd name="T76" fmla="*/ 2147483647 w 71"/>
                    <a:gd name="T77" fmla="*/ 2147483647 h 83"/>
                    <a:gd name="T78" fmla="*/ 2147483647 w 71"/>
                    <a:gd name="T79" fmla="*/ 2147483647 h 83"/>
                    <a:gd name="T80" fmla="*/ 2147483647 w 71"/>
                    <a:gd name="T81" fmla="*/ 2147483647 h 83"/>
                    <a:gd name="T82" fmla="*/ 2147483647 w 71"/>
                    <a:gd name="T83" fmla="*/ 2147483647 h 83"/>
                    <a:gd name="T84" fmla="*/ 2147483647 w 71"/>
                    <a:gd name="T85" fmla="*/ 2147483647 h 83"/>
                    <a:gd name="T86" fmla="*/ 2147483647 w 71"/>
                    <a:gd name="T87" fmla="*/ 2147483647 h 83"/>
                    <a:gd name="T88" fmla="*/ 2147483647 w 71"/>
                    <a:gd name="T89" fmla="*/ 2147483647 h 83"/>
                    <a:gd name="T90" fmla="*/ 2147483647 w 71"/>
                    <a:gd name="T91" fmla="*/ 2147483647 h 83"/>
                    <a:gd name="T92" fmla="*/ 2147483647 w 71"/>
                    <a:gd name="T93" fmla="*/ 2147483647 h 83"/>
                    <a:gd name="T94" fmla="*/ 2147483647 w 71"/>
                    <a:gd name="T95" fmla="*/ 2147483647 h 83"/>
                    <a:gd name="T96" fmla="*/ 2147483647 w 71"/>
                    <a:gd name="T97" fmla="*/ 2147483647 h 83"/>
                    <a:gd name="T98" fmla="*/ 2147483647 w 71"/>
                    <a:gd name="T99" fmla="*/ 2147483647 h 83"/>
                    <a:gd name="T100" fmla="*/ 0 w 71"/>
                    <a:gd name="T101" fmla="*/ 2147483647 h 83"/>
                    <a:gd name="T102" fmla="*/ 2147483647 w 71"/>
                    <a:gd name="T103" fmla="*/ 2147483647 h 83"/>
                    <a:gd name="T104" fmla="*/ 2147483647 w 71"/>
                    <a:gd name="T105" fmla="*/ 2147483647 h 83"/>
                    <a:gd name="T106" fmla="*/ 2147483647 w 71"/>
                    <a:gd name="T107" fmla="*/ 2147483647 h 83"/>
                    <a:gd name="T108" fmla="*/ 2147483647 w 71"/>
                    <a:gd name="T109" fmla="*/ 2147483647 h 83"/>
                    <a:gd name="T110" fmla="*/ 2147483647 w 71"/>
                    <a:gd name="T111" fmla="*/ 2147483647 h 83"/>
                    <a:gd name="T112" fmla="*/ 2147483647 w 71"/>
                    <a:gd name="T113" fmla="*/ 2147483647 h 83"/>
                    <a:gd name="T114" fmla="*/ 2147483647 w 71"/>
                    <a:gd name="T115" fmla="*/ 2147483647 h 83"/>
                    <a:gd name="T116" fmla="*/ 2147483647 w 71"/>
                    <a:gd name="T117" fmla="*/ 2147483647 h 83"/>
                    <a:gd name="T118" fmla="*/ 2147483647 w 71"/>
                    <a:gd name="T119" fmla="*/ 2147483647 h 83"/>
                    <a:gd name="T120" fmla="*/ 2147483647 w 71"/>
                    <a:gd name="T121" fmla="*/ 2147483647 h 8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71"/>
                    <a:gd name="T184" fmla="*/ 0 h 83"/>
                    <a:gd name="T185" fmla="*/ 71 w 71"/>
                    <a:gd name="T186" fmla="*/ 83 h 8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71" h="83">
                      <a:moveTo>
                        <a:pt x="47" y="83"/>
                      </a:moveTo>
                      <a:lnTo>
                        <a:pt x="48" y="78"/>
                      </a:lnTo>
                      <a:lnTo>
                        <a:pt x="48" y="73"/>
                      </a:lnTo>
                      <a:lnTo>
                        <a:pt x="50" y="70"/>
                      </a:lnTo>
                      <a:lnTo>
                        <a:pt x="51" y="67"/>
                      </a:lnTo>
                      <a:lnTo>
                        <a:pt x="52" y="66"/>
                      </a:lnTo>
                      <a:lnTo>
                        <a:pt x="55" y="65"/>
                      </a:lnTo>
                      <a:lnTo>
                        <a:pt x="57" y="66"/>
                      </a:lnTo>
                      <a:lnTo>
                        <a:pt x="61" y="66"/>
                      </a:lnTo>
                      <a:lnTo>
                        <a:pt x="64" y="66"/>
                      </a:lnTo>
                      <a:lnTo>
                        <a:pt x="61" y="62"/>
                      </a:lnTo>
                      <a:lnTo>
                        <a:pt x="60" y="58"/>
                      </a:lnTo>
                      <a:lnTo>
                        <a:pt x="60" y="54"/>
                      </a:lnTo>
                      <a:lnTo>
                        <a:pt x="60" y="53"/>
                      </a:lnTo>
                      <a:lnTo>
                        <a:pt x="62" y="52"/>
                      </a:lnTo>
                      <a:lnTo>
                        <a:pt x="67" y="47"/>
                      </a:lnTo>
                      <a:lnTo>
                        <a:pt x="70" y="43"/>
                      </a:lnTo>
                      <a:lnTo>
                        <a:pt x="71" y="41"/>
                      </a:lnTo>
                      <a:lnTo>
                        <a:pt x="69" y="41"/>
                      </a:lnTo>
                      <a:lnTo>
                        <a:pt x="66" y="41"/>
                      </a:lnTo>
                      <a:lnTo>
                        <a:pt x="64" y="40"/>
                      </a:lnTo>
                      <a:lnTo>
                        <a:pt x="64" y="39"/>
                      </a:lnTo>
                      <a:lnTo>
                        <a:pt x="64" y="36"/>
                      </a:lnTo>
                      <a:lnTo>
                        <a:pt x="57" y="36"/>
                      </a:lnTo>
                      <a:lnTo>
                        <a:pt x="55" y="38"/>
                      </a:lnTo>
                      <a:lnTo>
                        <a:pt x="55" y="0"/>
                      </a:lnTo>
                      <a:lnTo>
                        <a:pt x="51" y="1"/>
                      </a:lnTo>
                      <a:lnTo>
                        <a:pt x="46" y="1"/>
                      </a:lnTo>
                      <a:lnTo>
                        <a:pt x="41" y="0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9" y="3"/>
                      </a:lnTo>
                      <a:lnTo>
                        <a:pt x="28" y="6"/>
                      </a:lnTo>
                      <a:lnTo>
                        <a:pt x="28" y="7"/>
                      </a:lnTo>
                      <a:lnTo>
                        <a:pt x="29" y="8"/>
                      </a:lnTo>
                      <a:lnTo>
                        <a:pt x="31" y="10"/>
                      </a:lnTo>
                      <a:lnTo>
                        <a:pt x="31" y="16"/>
                      </a:lnTo>
                      <a:lnTo>
                        <a:pt x="32" y="19"/>
                      </a:lnTo>
                      <a:lnTo>
                        <a:pt x="33" y="21"/>
                      </a:lnTo>
                      <a:lnTo>
                        <a:pt x="34" y="22"/>
                      </a:lnTo>
                      <a:lnTo>
                        <a:pt x="36" y="23"/>
                      </a:lnTo>
                      <a:lnTo>
                        <a:pt x="37" y="23"/>
                      </a:lnTo>
                      <a:lnTo>
                        <a:pt x="38" y="26"/>
                      </a:lnTo>
                      <a:lnTo>
                        <a:pt x="37" y="28"/>
                      </a:lnTo>
                      <a:lnTo>
                        <a:pt x="34" y="30"/>
                      </a:lnTo>
                      <a:lnTo>
                        <a:pt x="24" y="32"/>
                      </a:lnTo>
                      <a:lnTo>
                        <a:pt x="20" y="33"/>
                      </a:lnTo>
                      <a:lnTo>
                        <a:pt x="17" y="36"/>
                      </a:lnTo>
                      <a:lnTo>
                        <a:pt x="9" y="45"/>
                      </a:lnTo>
                      <a:lnTo>
                        <a:pt x="4" y="48"/>
                      </a:lnTo>
                      <a:lnTo>
                        <a:pt x="0" y="52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3" y="68"/>
                      </a:lnTo>
                      <a:lnTo>
                        <a:pt x="15" y="70"/>
                      </a:lnTo>
                      <a:lnTo>
                        <a:pt x="22" y="70"/>
                      </a:lnTo>
                      <a:lnTo>
                        <a:pt x="27" y="71"/>
                      </a:lnTo>
                      <a:lnTo>
                        <a:pt x="32" y="73"/>
                      </a:lnTo>
                      <a:lnTo>
                        <a:pt x="37" y="77"/>
                      </a:lnTo>
                      <a:lnTo>
                        <a:pt x="42" y="79"/>
                      </a:lnTo>
                      <a:lnTo>
                        <a:pt x="47" y="8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9" name="Freeform 897">
                  <a:extLst>
                    <a:ext uri="{FF2B5EF4-FFF2-40B4-BE49-F238E27FC236}">
                      <a16:creationId xmlns:a16="http://schemas.microsoft.com/office/drawing/2014/main" id="{FC5E4031-350B-9245-8B24-05279D5521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3107" y="4202517"/>
                  <a:ext cx="57715" cy="35517"/>
                </a:xfrm>
                <a:custGeom>
                  <a:avLst/>
                  <a:gdLst>
                    <a:gd name="T0" fmla="*/ 2147483647 w 42"/>
                    <a:gd name="T1" fmla="*/ 2147483647 h 24"/>
                    <a:gd name="T2" fmla="*/ 2147483647 w 42"/>
                    <a:gd name="T3" fmla="*/ 2147483647 h 24"/>
                    <a:gd name="T4" fmla="*/ 2147483647 w 42"/>
                    <a:gd name="T5" fmla="*/ 2147483647 h 24"/>
                    <a:gd name="T6" fmla="*/ 2147483647 w 42"/>
                    <a:gd name="T7" fmla="*/ 2147483647 h 24"/>
                    <a:gd name="T8" fmla="*/ 2147483647 w 42"/>
                    <a:gd name="T9" fmla="*/ 2147483647 h 24"/>
                    <a:gd name="T10" fmla="*/ 2147483647 w 42"/>
                    <a:gd name="T11" fmla="*/ 2147483647 h 24"/>
                    <a:gd name="T12" fmla="*/ 2147483647 w 42"/>
                    <a:gd name="T13" fmla="*/ 2147483647 h 24"/>
                    <a:gd name="T14" fmla="*/ 2147483647 w 42"/>
                    <a:gd name="T15" fmla="*/ 2147483647 h 24"/>
                    <a:gd name="T16" fmla="*/ 2147483647 w 42"/>
                    <a:gd name="T17" fmla="*/ 2147483647 h 24"/>
                    <a:gd name="T18" fmla="*/ 2147483647 w 42"/>
                    <a:gd name="T19" fmla="*/ 2147483647 h 24"/>
                    <a:gd name="T20" fmla="*/ 2147483647 w 42"/>
                    <a:gd name="T21" fmla="*/ 2147483647 h 24"/>
                    <a:gd name="T22" fmla="*/ 2147483647 w 42"/>
                    <a:gd name="T23" fmla="*/ 2147483647 h 24"/>
                    <a:gd name="T24" fmla="*/ 2147483647 w 42"/>
                    <a:gd name="T25" fmla="*/ 2147483647 h 24"/>
                    <a:gd name="T26" fmla="*/ 2147483647 w 42"/>
                    <a:gd name="T27" fmla="*/ 2147483647 h 24"/>
                    <a:gd name="T28" fmla="*/ 2147483647 w 42"/>
                    <a:gd name="T29" fmla="*/ 2147483647 h 24"/>
                    <a:gd name="T30" fmla="*/ 2147483647 w 42"/>
                    <a:gd name="T31" fmla="*/ 2147483647 h 24"/>
                    <a:gd name="T32" fmla="*/ 2147483647 w 42"/>
                    <a:gd name="T33" fmla="*/ 0 h 24"/>
                    <a:gd name="T34" fmla="*/ 2147483647 w 42"/>
                    <a:gd name="T35" fmla="*/ 2147483647 h 24"/>
                    <a:gd name="T36" fmla="*/ 2147483647 w 42"/>
                    <a:gd name="T37" fmla="*/ 2147483647 h 24"/>
                    <a:gd name="T38" fmla="*/ 2147483647 w 42"/>
                    <a:gd name="T39" fmla="*/ 2147483647 h 24"/>
                    <a:gd name="T40" fmla="*/ 2147483647 w 42"/>
                    <a:gd name="T41" fmla="*/ 2147483647 h 24"/>
                    <a:gd name="T42" fmla="*/ 2147483647 w 42"/>
                    <a:gd name="T43" fmla="*/ 2147483647 h 24"/>
                    <a:gd name="T44" fmla="*/ 2147483647 w 42"/>
                    <a:gd name="T45" fmla="*/ 2147483647 h 24"/>
                    <a:gd name="T46" fmla="*/ 0 w 42"/>
                    <a:gd name="T47" fmla="*/ 2147483647 h 24"/>
                    <a:gd name="T48" fmla="*/ 0 w 42"/>
                    <a:gd name="T49" fmla="*/ 2147483647 h 24"/>
                    <a:gd name="T50" fmla="*/ 2147483647 w 42"/>
                    <a:gd name="T51" fmla="*/ 2147483647 h 24"/>
                    <a:gd name="T52" fmla="*/ 2147483647 w 42"/>
                    <a:gd name="T53" fmla="*/ 2147483647 h 24"/>
                    <a:gd name="T54" fmla="*/ 2147483647 w 42"/>
                    <a:gd name="T55" fmla="*/ 2147483647 h 24"/>
                    <a:gd name="T56" fmla="*/ 2147483647 w 42"/>
                    <a:gd name="T57" fmla="*/ 2147483647 h 24"/>
                    <a:gd name="T58" fmla="*/ 2147483647 w 42"/>
                    <a:gd name="T59" fmla="*/ 2147483647 h 24"/>
                    <a:gd name="T60" fmla="*/ 2147483647 w 42"/>
                    <a:gd name="T61" fmla="*/ 2147483647 h 2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42"/>
                    <a:gd name="T94" fmla="*/ 0 h 24"/>
                    <a:gd name="T95" fmla="*/ 42 w 42"/>
                    <a:gd name="T96" fmla="*/ 24 h 2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42" h="24">
                      <a:moveTo>
                        <a:pt x="34" y="24"/>
                      </a:moveTo>
                      <a:lnTo>
                        <a:pt x="34" y="24"/>
                      </a:lnTo>
                      <a:lnTo>
                        <a:pt x="38" y="21"/>
                      </a:lnTo>
                      <a:lnTo>
                        <a:pt x="40" y="16"/>
                      </a:lnTo>
                      <a:lnTo>
                        <a:pt x="42" y="11"/>
                      </a:lnTo>
                      <a:lnTo>
                        <a:pt x="40" y="10"/>
                      </a:lnTo>
                      <a:lnTo>
                        <a:pt x="39" y="9"/>
                      </a:lnTo>
                      <a:lnTo>
                        <a:pt x="34" y="7"/>
                      </a:lnTo>
                      <a:lnTo>
                        <a:pt x="28" y="7"/>
                      </a:lnTo>
                      <a:lnTo>
                        <a:pt x="21" y="4"/>
                      </a:lnTo>
                      <a:lnTo>
                        <a:pt x="19" y="3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4" y="2"/>
                      </a:lnTo>
                      <a:lnTo>
                        <a:pt x="2" y="4"/>
                      </a:lnTo>
                      <a:lnTo>
                        <a:pt x="1" y="8"/>
                      </a:lnTo>
                      <a:lnTo>
                        <a:pt x="1" y="13"/>
                      </a:lnTo>
                      <a:lnTo>
                        <a:pt x="0" y="17"/>
                      </a:lnTo>
                      <a:lnTo>
                        <a:pt x="2" y="19"/>
                      </a:lnTo>
                      <a:lnTo>
                        <a:pt x="18" y="21"/>
                      </a:lnTo>
                      <a:lnTo>
                        <a:pt x="26" y="22"/>
                      </a:lnTo>
                      <a:lnTo>
                        <a:pt x="34" y="2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0" name="Freeform 898">
                  <a:extLst>
                    <a:ext uri="{FF2B5EF4-FFF2-40B4-BE49-F238E27FC236}">
                      <a16:creationId xmlns:a16="http://schemas.microsoft.com/office/drawing/2014/main" id="{3B155FAF-EF5D-0C47-95E5-D1627E3E62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9471" y="4104848"/>
                  <a:ext cx="97672" cy="122830"/>
                </a:xfrm>
                <a:custGeom>
                  <a:avLst/>
                  <a:gdLst>
                    <a:gd name="T0" fmla="*/ 2147483647 w 71"/>
                    <a:gd name="T1" fmla="*/ 2147483647 h 83"/>
                    <a:gd name="T2" fmla="*/ 2147483647 w 71"/>
                    <a:gd name="T3" fmla="*/ 2147483647 h 83"/>
                    <a:gd name="T4" fmla="*/ 2147483647 w 71"/>
                    <a:gd name="T5" fmla="*/ 2147483647 h 83"/>
                    <a:gd name="T6" fmla="*/ 2147483647 w 71"/>
                    <a:gd name="T7" fmla="*/ 2147483647 h 83"/>
                    <a:gd name="T8" fmla="*/ 2147483647 w 71"/>
                    <a:gd name="T9" fmla="*/ 2147483647 h 83"/>
                    <a:gd name="T10" fmla="*/ 2147483647 w 71"/>
                    <a:gd name="T11" fmla="*/ 2147483647 h 83"/>
                    <a:gd name="T12" fmla="*/ 2147483647 w 71"/>
                    <a:gd name="T13" fmla="*/ 2147483647 h 83"/>
                    <a:gd name="T14" fmla="*/ 2147483647 w 71"/>
                    <a:gd name="T15" fmla="*/ 2147483647 h 83"/>
                    <a:gd name="T16" fmla="*/ 2147483647 w 71"/>
                    <a:gd name="T17" fmla="*/ 2147483647 h 83"/>
                    <a:gd name="T18" fmla="*/ 2147483647 w 71"/>
                    <a:gd name="T19" fmla="*/ 2147483647 h 83"/>
                    <a:gd name="T20" fmla="*/ 2147483647 w 71"/>
                    <a:gd name="T21" fmla="*/ 2147483647 h 83"/>
                    <a:gd name="T22" fmla="*/ 2147483647 w 71"/>
                    <a:gd name="T23" fmla="*/ 2147483647 h 83"/>
                    <a:gd name="T24" fmla="*/ 2147483647 w 71"/>
                    <a:gd name="T25" fmla="*/ 2147483647 h 83"/>
                    <a:gd name="T26" fmla="*/ 2147483647 w 71"/>
                    <a:gd name="T27" fmla="*/ 2147483647 h 83"/>
                    <a:gd name="T28" fmla="*/ 2147483647 w 71"/>
                    <a:gd name="T29" fmla="*/ 2147483647 h 83"/>
                    <a:gd name="T30" fmla="*/ 2147483647 w 71"/>
                    <a:gd name="T31" fmla="*/ 2147483647 h 83"/>
                    <a:gd name="T32" fmla="*/ 2147483647 w 71"/>
                    <a:gd name="T33" fmla="*/ 0 h 83"/>
                    <a:gd name="T34" fmla="*/ 2147483647 w 71"/>
                    <a:gd name="T35" fmla="*/ 2147483647 h 83"/>
                    <a:gd name="T36" fmla="*/ 2147483647 w 71"/>
                    <a:gd name="T37" fmla="*/ 0 h 83"/>
                    <a:gd name="T38" fmla="*/ 2147483647 w 71"/>
                    <a:gd name="T39" fmla="*/ 0 h 83"/>
                    <a:gd name="T40" fmla="*/ 2147483647 w 71"/>
                    <a:gd name="T41" fmla="*/ 2147483647 h 83"/>
                    <a:gd name="T42" fmla="*/ 2147483647 w 71"/>
                    <a:gd name="T43" fmla="*/ 2147483647 h 83"/>
                    <a:gd name="T44" fmla="*/ 2147483647 w 71"/>
                    <a:gd name="T45" fmla="*/ 2147483647 h 83"/>
                    <a:gd name="T46" fmla="*/ 2147483647 w 71"/>
                    <a:gd name="T47" fmla="*/ 2147483647 h 83"/>
                    <a:gd name="T48" fmla="*/ 2147483647 w 71"/>
                    <a:gd name="T49" fmla="*/ 2147483647 h 83"/>
                    <a:gd name="T50" fmla="*/ 2147483647 w 71"/>
                    <a:gd name="T51" fmla="*/ 2147483647 h 83"/>
                    <a:gd name="T52" fmla="*/ 2147483647 w 71"/>
                    <a:gd name="T53" fmla="*/ 2147483647 h 83"/>
                    <a:gd name="T54" fmla="*/ 2147483647 w 71"/>
                    <a:gd name="T55" fmla="*/ 2147483647 h 83"/>
                    <a:gd name="T56" fmla="*/ 2147483647 w 71"/>
                    <a:gd name="T57" fmla="*/ 2147483647 h 83"/>
                    <a:gd name="T58" fmla="*/ 2147483647 w 71"/>
                    <a:gd name="T59" fmla="*/ 2147483647 h 83"/>
                    <a:gd name="T60" fmla="*/ 2147483647 w 71"/>
                    <a:gd name="T61" fmla="*/ 2147483647 h 83"/>
                    <a:gd name="T62" fmla="*/ 2147483647 w 71"/>
                    <a:gd name="T63" fmla="*/ 2147483647 h 83"/>
                    <a:gd name="T64" fmla="*/ 2147483647 w 71"/>
                    <a:gd name="T65" fmla="*/ 2147483647 h 83"/>
                    <a:gd name="T66" fmla="*/ 0 w 71"/>
                    <a:gd name="T67" fmla="*/ 2147483647 h 83"/>
                    <a:gd name="T68" fmla="*/ 2147483647 w 71"/>
                    <a:gd name="T69" fmla="*/ 2147483647 h 83"/>
                    <a:gd name="T70" fmla="*/ 2147483647 w 71"/>
                    <a:gd name="T71" fmla="*/ 2147483647 h 83"/>
                    <a:gd name="T72" fmla="*/ 2147483647 w 71"/>
                    <a:gd name="T73" fmla="*/ 2147483647 h 83"/>
                    <a:gd name="T74" fmla="*/ 2147483647 w 71"/>
                    <a:gd name="T75" fmla="*/ 2147483647 h 83"/>
                    <a:gd name="T76" fmla="*/ 2147483647 w 71"/>
                    <a:gd name="T77" fmla="*/ 2147483647 h 83"/>
                    <a:gd name="T78" fmla="*/ 2147483647 w 71"/>
                    <a:gd name="T79" fmla="*/ 2147483647 h 83"/>
                    <a:gd name="T80" fmla="*/ 2147483647 w 71"/>
                    <a:gd name="T81" fmla="*/ 2147483647 h 83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1"/>
                    <a:gd name="T124" fmla="*/ 0 h 83"/>
                    <a:gd name="T125" fmla="*/ 71 w 71"/>
                    <a:gd name="T126" fmla="*/ 83 h 83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1" h="83">
                      <a:moveTo>
                        <a:pt x="47" y="83"/>
                      </a:moveTo>
                      <a:lnTo>
                        <a:pt x="47" y="83"/>
                      </a:lnTo>
                      <a:lnTo>
                        <a:pt x="48" y="79"/>
                      </a:lnTo>
                      <a:lnTo>
                        <a:pt x="48" y="74"/>
                      </a:lnTo>
                      <a:lnTo>
                        <a:pt x="49" y="70"/>
                      </a:lnTo>
                      <a:lnTo>
                        <a:pt x="51" y="68"/>
                      </a:lnTo>
                      <a:lnTo>
                        <a:pt x="52" y="67"/>
                      </a:lnTo>
                      <a:lnTo>
                        <a:pt x="54" y="66"/>
                      </a:lnTo>
                      <a:lnTo>
                        <a:pt x="57" y="67"/>
                      </a:lnTo>
                      <a:lnTo>
                        <a:pt x="61" y="67"/>
                      </a:lnTo>
                      <a:lnTo>
                        <a:pt x="63" y="67"/>
                      </a:lnTo>
                      <a:lnTo>
                        <a:pt x="61" y="63"/>
                      </a:lnTo>
                      <a:lnTo>
                        <a:pt x="59" y="58"/>
                      </a:lnTo>
                      <a:lnTo>
                        <a:pt x="59" y="55"/>
                      </a:lnTo>
                      <a:lnTo>
                        <a:pt x="59" y="54"/>
                      </a:lnTo>
                      <a:lnTo>
                        <a:pt x="62" y="53"/>
                      </a:lnTo>
                      <a:lnTo>
                        <a:pt x="67" y="48"/>
                      </a:lnTo>
                      <a:lnTo>
                        <a:pt x="70" y="44"/>
                      </a:lnTo>
                      <a:lnTo>
                        <a:pt x="71" y="42"/>
                      </a:lnTo>
                      <a:lnTo>
                        <a:pt x="68" y="42"/>
                      </a:lnTo>
                      <a:lnTo>
                        <a:pt x="66" y="42"/>
                      </a:lnTo>
                      <a:lnTo>
                        <a:pt x="63" y="41"/>
                      </a:lnTo>
                      <a:lnTo>
                        <a:pt x="63" y="40"/>
                      </a:lnTo>
                      <a:lnTo>
                        <a:pt x="63" y="37"/>
                      </a:lnTo>
                      <a:lnTo>
                        <a:pt x="57" y="37"/>
                      </a:lnTo>
                      <a:lnTo>
                        <a:pt x="54" y="38"/>
                      </a:lnTo>
                      <a:lnTo>
                        <a:pt x="54" y="0"/>
                      </a:lnTo>
                      <a:lnTo>
                        <a:pt x="51" y="2"/>
                      </a:lnTo>
                      <a:lnTo>
                        <a:pt x="46" y="2"/>
                      </a:lnTo>
                      <a:lnTo>
                        <a:pt x="40" y="0"/>
                      </a:lnTo>
                      <a:lnTo>
                        <a:pt x="34" y="0"/>
                      </a:lnTo>
                      <a:lnTo>
                        <a:pt x="30" y="3"/>
                      </a:lnTo>
                      <a:lnTo>
                        <a:pt x="29" y="4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9" y="9"/>
                      </a:lnTo>
                      <a:lnTo>
                        <a:pt x="30" y="11"/>
                      </a:lnTo>
                      <a:lnTo>
                        <a:pt x="30" y="17"/>
                      </a:lnTo>
                      <a:lnTo>
                        <a:pt x="32" y="19"/>
                      </a:lnTo>
                      <a:lnTo>
                        <a:pt x="33" y="22"/>
                      </a:lnTo>
                      <a:lnTo>
                        <a:pt x="34" y="23"/>
                      </a:lnTo>
                      <a:lnTo>
                        <a:pt x="35" y="24"/>
                      </a:lnTo>
                      <a:lnTo>
                        <a:pt x="37" y="24"/>
                      </a:lnTo>
                      <a:lnTo>
                        <a:pt x="38" y="26"/>
                      </a:lnTo>
                      <a:lnTo>
                        <a:pt x="37" y="29"/>
                      </a:lnTo>
                      <a:lnTo>
                        <a:pt x="34" y="31"/>
                      </a:lnTo>
                      <a:lnTo>
                        <a:pt x="24" y="32"/>
                      </a:lnTo>
                      <a:lnTo>
                        <a:pt x="20" y="34"/>
                      </a:lnTo>
                      <a:lnTo>
                        <a:pt x="16" y="37"/>
                      </a:lnTo>
                      <a:lnTo>
                        <a:pt x="9" y="45"/>
                      </a:lnTo>
                      <a:lnTo>
                        <a:pt x="4" y="49"/>
                      </a:lnTo>
                      <a:lnTo>
                        <a:pt x="0" y="53"/>
                      </a:lnTo>
                      <a:lnTo>
                        <a:pt x="5" y="60"/>
                      </a:lnTo>
                      <a:lnTo>
                        <a:pt x="10" y="67"/>
                      </a:lnTo>
                      <a:lnTo>
                        <a:pt x="13" y="69"/>
                      </a:lnTo>
                      <a:lnTo>
                        <a:pt x="15" y="70"/>
                      </a:lnTo>
                      <a:lnTo>
                        <a:pt x="21" y="70"/>
                      </a:lnTo>
                      <a:lnTo>
                        <a:pt x="26" y="72"/>
                      </a:lnTo>
                      <a:lnTo>
                        <a:pt x="32" y="74"/>
                      </a:lnTo>
                      <a:lnTo>
                        <a:pt x="37" y="77"/>
                      </a:lnTo>
                      <a:lnTo>
                        <a:pt x="42" y="80"/>
                      </a:lnTo>
                      <a:lnTo>
                        <a:pt x="47" y="8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1" name="Freeform 899">
                  <a:extLst>
                    <a:ext uri="{FF2B5EF4-FFF2-40B4-BE49-F238E27FC236}">
                      <a16:creationId xmlns:a16="http://schemas.microsoft.com/office/drawing/2014/main" id="{4771079A-2C94-AA41-926B-356B2DE07C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423" y="4093007"/>
                  <a:ext cx="39956" cy="71034"/>
                </a:xfrm>
                <a:custGeom>
                  <a:avLst/>
                  <a:gdLst>
                    <a:gd name="T0" fmla="*/ 2147483647 w 30"/>
                    <a:gd name="T1" fmla="*/ 2147483647 h 48"/>
                    <a:gd name="T2" fmla="*/ 2147483647 w 30"/>
                    <a:gd name="T3" fmla="*/ 2147483647 h 48"/>
                    <a:gd name="T4" fmla="*/ 0 w 30"/>
                    <a:gd name="T5" fmla="*/ 2147483647 h 48"/>
                    <a:gd name="T6" fmla="*/ 0 w 30"/>
                    <a:gd name="T7" fmla="*/ 2147483647 h 48"/>
                    <a:gd name="T8" fmla="*/ 2147483647 w 30"/>
                    <a:gd name="T9" fmla="*/ 2147483647 h 48"/>
                    <a:gd name="T10" fmla="*/ 2147483647 w 30"/>
                    <a:gd name="T11" fmla="*/ 2147483647 h 48"/>
                    <a:gd name="T12" fmla="*/ 2147483647 w 30"/>
                    <a:gd name="T13" fmla="*/ 2147483647 h 48"/>
                    <a:gd name="T14" fmla="*/ 2147483647 w 30"/>
                    <a:gd name="T15" fmla="*/ 2147483647 h 48"/>
                    <a:gd name="T16" fmla="*/ 2147483647 w 30"/>
                    <a:gd name="T17" fmla="*/ 2147483647 h 48"/>
                    <a:gd name="T18" fmla="*/ 2147483647 w 30"/>
                    <a:gd name="T19" fmla="*/ 0 h 48"/>
                    <a:gd name="T20" fmla="*/ 2147483647 w 30"/>
                    <a:gd name="T21" fmla="*/ 0 h 48"/>
                    <a:gd name="T22" fmla="*/ 2147483647 w 30"/>
                    <a:gd name="T23" fmla="*/ 0 h 48"/>
                    <a:gd name="T24" fmla="*/ 2147483647 w 30"/>
                    <a:gd name="T25" fmla="*/ 2147483647 h 48"/>
                    <a:gd name="T26" fmla="*/ 2147483647 w 30"/>
                    <a:gd name="T27" fmla="*/ 2147483647 h 48"/>
                    <a:gd name="T28" fmla="*/ 2147483647 w 30"/>
                    <a:gd name="T29" fmla="*/ 2147483647 h 48"/>
                    <a:gd name="T30" fmla="*/ 2147483647 w 30"/>
                    <a:gd name="T31" fmla="*/ 2147483647 h 48"/>
                    <a:gd name="T32" fmla="*/ 2147483647 w 30"/>
                    <a:gd name="T33" fmla="*/ 2147483647 h 48"/>
                    <a:gd name="T34" fmla="*/ 2147483647 w 30"/>
                    <a:gd name="T35" fmla="*/ 2147483647 h 48"/>
                    <a:gd name="T36" fmla="*/ 2147483647 w 30"/>
                    <a:gd name="T37" fmla="*/ 2147483647 h 48"/>
                    <a:gd name="T38" fmla="*/ 2147483647 w 30"/>
                    <a:gd name="T39" fmla="*/ 2147483647 h 48"/>
                    <a:gd name="T40" fmla="*/ 2147483647 w 30"/>
                    <a:gd name="T41" fmla="*/ 2147483647 h 48"/>
                    <a:gd name="T42" fmla="*/ 2147483647 w 30"/>
                    <a:gd name="T43" fmla="*/ 2147483647 h 48"/>
                    <a:gd name="T44" fmla="*/ 2147483647 w 30"/>
                    <a:gd name="T45" fmla="*/ 2147483647 h 48"/>
                    <a:gd name="T46" fmla="*/ 2147483647 w 30"/>
                    <a:gd name="T47" fmla="*/ 2147483647 h 4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0"/>
                    <a:gd name="T73" fmla="*/ 0 h 48"/>
                    <a:gd name="T74" fmla="*/ 30 w 30"/>
                    <a:gd name="T75" fmla="*/ 48 h 4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0" h="48">
                      <a:moveTo>
                        <a:pt x="9" y="46"/>
                      </a:moveTo>
                      <a:lnTo>
                        <a:pt x="2" y="46"/>
                      </a:lnTo>
                      <a:lnTo>
                        <a:pt x="0" y="48"/>
                      </a:lnTo>
                      <a:lnTo>
                        <a:pt x="0" y="10"/>
                      </a:lnTo>
                      <a:lnTo>
                        <a:pt x="5" y="8"/>
                      </a:lnTo>
                      <a:lnTo>
                        <a:pt x="12" y="8"/>
                      </a:lnTo>
                      <a:lnTo>
                        <a:pt x="15" y="7"/>
                      </a:lnTo>
                      <a:lnTo>
                        <a:pt x="17" y="5"/>
                      </a:lnTo>
                      <a:lnTo>
                        <a:pt x="20" y="1"/>
                      </a:lnTo>
                      <a:lnTo>
                        <a:pt x="24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26" y="4"/>
                      </a:lnTo>
                      <a:lnTo>
                        <a:pt x="24" y="7"/>
                      </a:lnTo>
                      <a:lnTo>
                        <a:pt x="23" y="11"/>
                      </a:lnTo>
                      <a:lnTo>
                        <a:pt x="21" y="16"/>
                      </a:lnTo>
                      <a:lnTo>
                        <a:pt x="21" y="25"/>
                      </a:lnTo>
                      <a:lnTo>
                        <a:pt x="20" y="33"/>
                      </a:lnTo>
                      <a:lnTo>
                        <a:pt x="19" y="37"/>
                      </a:lnTo>
                      <a:lnTo>
                        <a:pt x="16" y="42"/>
                      </a:lnTo>
                      <a:lnTo>
                        <a:pt x="14" y="43"/>
                      </a:lnTo>
                      <a:lnTo>
                        <a:pt x="11" y="43"/>
                      </a:lnTo>
                      <a:lnTo>
                        <a:pt x="10" y="43"/>
                      </a:lnTo>
                      <a:lnTo>
                        <a:pt x="9" y="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2" name="Freeform 900">
                  <a:extLst>
                    <a:ext uri="{FF2B5EF4-FFF2-40B4-BE49-F238E27FC236}">
                      <a16:creationId xmlns:a16="http://schemas.microsoft.com/office/drawing/2014/main" id="{3D7A9241-0E2A-FF43-B5B7-D960D4DB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6759" y="3649049"/>
                  <a:ext cx="710340" cy="535714"/>
                </a:xfrm>
                <a:custGeom>
                  <a:avLst/>
                  <a:gdLst>
                    <a:gd name="T0" fmla="*/ 2147483647 w 520"/>
                    <a:gd name="T1" fmla="*/ 2147483647 h 362"/>
                    <a:gd name="T2" fmla="*/ 2147483647 w 520"/>
                    <a:gd name="T3" fmla="*/ 2147483647 h 362"/>
                    <a:gd name="T4" fmla="*/ 2147483647 w 520"/>
                    <a:gd name="T5" fmla="*/ 2147483647 h 362"/>
                    <a:gd name="T6" fmla="*/ 2147483647 w 520"/>
                    <a:gd name="T7" fmla="*/ 2147483647 h 362"/>
                    <a:gd name="T8" fmla="*/ 2147483647 w 520"/>
                    <a:gd name="T9" fmla="*/ 2147483647 h 362"/>
                    <a:gd name="T10" fmla="*/ 2147483647 w 520"/>
                    <a:gd name="T11" fmla="*/ 2147483647 h 362"/>
                    <a:gd name="T12" fmla="*/ 2147483647 w 520"/>
                    <a:gd name="T13" fmla="*/ 2147483647 h 362"/>
                    <a:gd name="T14" fmla="*/ 2147483647 w 520"/>
                    <a:gd name="T15" fmla="*/ 2147483647 h 362"/>
                    <a:gd name="T16" fmla="*/ 2147483647 w 520"/>
                    <a:gd name="T17" fmla="*/ 2147483647 h 362"/>
                    <a:gd name="T18" fmla="*/ 2147483647 w 520"/>
                    <a:gd name="T19" fmla="*/ 2147483647 h 362"/>
                    <a:gd name="T20" fmla="*/ 2147483647 w 520"/>
                    <a:gd name="T21" fmla="*/ 2147483647 h 362"/>
                    <a:gd name="T22" fmla="*/ 2147483647 w 520"/>
                    <a:gd name="T23" fmla="*/ 2147483647 h 362"/>
                    <a:gd name="T24" fmla="*/ 2147483647 w 520"/>
                    <a:gd name="T25" fmla="*/ 2147483647 h 362"/>
                    <a:gd name="T26" fmla="*/ 2147483647 w 520"/>
                    <a:gd name="T27" fmla="*/ 2147483647 h 362"/>
                    <a:gd name="T28" fmla="*/ 2147483647 w 520"/>
                    <a:gd name="T29" fmla="*/ 2147483647 h 362"/>
                    <a:gd name="T30" fmla="*/ 2147483647 w 520"/>
                    <a:gd name="T31" fmla="*/ 2147483647 h 362"/>
                    <a:gd name="T32" fmla="*/ 2147483647 w 520"/>
                    <a:gd name="T33" fmla="*/ 2147483647 h 362"/>
                    <a:gd name="T34" fmla="*/ 2147483647 w 520"/>
                    <a:gd name="T35" fmla="*/ 2147483647 h 362"/>
                    <a:gd name="T36" fmla="*/ 2147483647 w 520"/>
                    <a:gd name="T37" fmla="*/ 2147483647 h 362"/>
                    <a:gd name="T38" fmla="*/ 2147483647 w 520"/>
                    <a:gd name="T39" fmla="*/ 2147483647 h 362"/>
                    <a:gd name="T40" fmla="*/ 2147483647 w 520"/>
                    <a:gd name="T41" fmla="*/ 2147483647 h 362"/>
                    <a:gd name="T42" fmla="*/ 2147483647 w 520"/>
                    <a:gd name="T43" fmla="*/ 2147483647 h 362"/>
                    <a:gd name="T44" fmla="*/ 2147483647 w 520"/>
                    <a:gd name="T45" fmla="*/ 2147483647 h 362"/>
                    <a:gd name="T46" fmla="*/ 2147483647 w 520"/>
                    <a:gd name="T47" fmla="*/ 2147483647 h 362"/>
                    <a:gd name="T48" fmla="*/ 2147483647 w 520"/>
                    <a:gd name="T49" fmla="*/ 2147483647 h 362"/>
                    <a:gd name="T50" fmla="*/ 2147483647 w 520"/>
                    <a:gd name="T51" fmla="*/ 2147483647 h 362"/>
                    <a:gd name="T52" fmla="*/ 2147483647 w 520"/>
                    <a:gd name="T53" fmla="*/ 2147483647 h 362"/>
                    <a:gd name="T54" fmla="*/ 2147483647 w 520"/>
                    <a:gd name="T55" fmla="*/ 2147483647 h 362"/>
                    <a:gd name="T56" fmla="*/ 2147483647 w 520"/>
                    <a:gd name="T57" fmla="*/ 2147483647 h 362"/>
                    <a:gd name="T58" fmla="*/ 2147483647 w 520"/>
                    <a:gd name="T59" fmla="*/ 2147483647 h 362"/>
                    <a:gd name="T60" fmla="*/ 2147483647 w 520"/>
                    <a:gd name="T61" fmla="*/ 2147483647 h 362"/>
                    <a:gd name="T62" fmla="*/ 2147483647 w 520"/>
                    <a:gd name="T63" fmla="*/ 2147483647 h 362"/>
                    <a:gd name="T64" fmla="*/ 2147483647 w 520"/>
                    <a:gd name="T65" fmla="*/ 2147483647 h 362"/>
                    <a:gd name="T66" fmla="*/ 2147483647 w 520"/>
                    <a:gd name="T67" fmla="*/ 2147483647 h 362"/>
                    <a:gd name="T68" fmla="*/ 2147483647 w 520"/>
                    <a:gd name="T69" fmla="*/ 2147483647 h 362"/>
                    <a:gd name="T70" fmla="*/ 2147483647 w 520"/>
                    <a:gd name="T71" fmla="*/ 0 h 362"/>
                    <a:gd name="T72" fmla="*/ 2147483647 w 520"/>
                    <a:gd name="T73" fmla="*/ 2147483647 h 362"/>
                    <a:gd name="T74" fmla="*/ 2147483647 w 520"/>
                    <a:gd name="T75" fmla="*/ 2147483647 h 362"/>
                    <a:gd name="T76" fmla="*/ 2147483647 w 520"/>
                    <a:gd name="T77" fmla="*/ 2147483647 h 362"/>
                    <a:gd name="T78" fmla="*/ 2147483647 w 520"/>
                    <a:gd name="T79" fmla="*/ 2147483647 h 362"/>
                    <a:gd name="T80" fmla="*/ 2147483647 w 520"/>
                    <a:gd name="T81" fmla="*/ 2147483647 h 362"/>
                    <a:gd name="T82" fmla="*/ 2147483647 w 520"/>
                    <a:gd name="T83" fmla="*/ 2147483647 h 362"/>
                    <a:gd name="T84" fmla="*/ 2147483647 w 520"/>
                    <a:gd name="T85" fmla="*/ 2147483647 h 362"/>
                    <a:gd name="T86" fmla="*/ 2147483647 w 520"/>
                    <a:gd name="T87" fmla="*/ 2147483647 h 362"/>
                    <a:gd name="T88" fmla="*/ 2147483647 w 520"/>
                    <a:gd name="T89" fmla="*/ 2147483647 h 362"/>
                    <a:gd name="T90" fmla="*/ 2147483647 w 520"/>
                    <a:gd name="T91" fmla="*/ 2147483647 h 362"/>
                    <a:gd name="T92" fmla="*/ 2147483647 w 520"/>
                    <a:gd name="T93" fmla="*/ 2147483647 h 362"/>
                    <a:gd name="T94" fmla="*/ 2147483647 w 520"/>
                    <a:gd name="T95" fmla="*/ 2147483647 h 362"/>
                    <a:gd name="T96" fmla="*/ 2147483647 w 520"/>
                    <a:gd name="T97" fmla="*/ 2147483647 h 362"/>
                    <a:gd name="T98" fmla="*/ 2147483647 w 520"/>
                    <a:gd name="T99" fmla="*/ 2147483647 h 362"/>
                    <a:gd name="T100" fmla="*/ 2147483647 w 520"/>
                    <a:gd name="T101" fmla="*/ 2147483647 h 362"/>
                    <a:gd name="T102" fmla="*/ 2147483647 w 520"/>
                    <a:gd name="T103" fmla="*/ 2147483647 h 362"/>
                    <a:gd name="T104" fmla="*/ 2147483647 w 520"/>
                    <a:gd name="T105" fmla="*/ 2147483647 h 362"/>
                    <a:gd name="T106" fmla="*/ 2147483647 w 520"/>
                    <a:gd name="T107" fmla="*/ 2147483647 h 362"/>
                    <a:gd name="T108" fmla="*/ 2147483647 w 520"/>
                    <a:gd name="T109" fmla="*/ 2147483647 h 362"/>
                    <a:gd name="T110" fmla="*/ 2147483647 w 520"/>
                    <a:gd name="T111" fmla="*/ 2147483647 h 362"/>
                    <a:gd name="T112" fmla="*/ 2147483647 w 520"/>
                    <a:gd name="T113" fmla="*/ 2147483647 h 362"/>
                    <a:gd name="T114" fmla="*/ 2147483647 w 520"/>
                    <a:gd name="T115" fmla="*/ 2147483647 h 362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20"/>
                    <a:gd name="T175" fmla="*/ 0 h 362"/>
                    <a:gd name="T176" fmla="*/ 520 w 520"/>
                    <a:gd name="T177" fmla="*/ 362 h 362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20" h="362">
                      <a:moveTo>
                        <a:pt x="505" y="300"/>
                      </a:moveTo>
                      <a:lnTo>
                        <a:pt x="501" y="300"/>
                      </a:lnTo>
                      <a:lnTo>
                        <a:pt x="499" y="300"/>
                      </a:lnTo>
                      <a:lnTo>
                        <a:pt x="495" y="301"/>
                      </a:lnTo>
                      <a:lnTo>
                        <a:pt x="492" y="305"/>
                      </a:lnTo>
                      <a:lnTo>
                        <a:pt x="490" y="307"/>
                      </a:lnTo>
                      <a:lnTo>
                        <a:pt x="487" y="308"/>
                      </a:lnTo>
                      <a:lnTo>
                        <a:pt x="480" y="308"/>
                      </a:lnTo>
                      <a:lnTo>
                        <a:pt x="475" y="310"/>
                      </a:lnTo>
                      <a:lnTo>
                        <a:pt x="471" y="311"/>
                      </a:lnTo>
                      <a:lnTo>
                        <a:pt x="466" y="311"/>
                      </a:lnTo>
                      <a:lnTo>
                        <a:pt x="461" y="310"/>
                      </a:lnTo>
                      <a:lnTo>
                        <a:pt x="454" y="310"/>
                      </a:lnTo>
                      <a:lnTo>
                        <a:pt x="451" y="312"/>
                      </a:lnTo>
                      <a:lnTo>
                        <a:pt x="449" y="313"/>
                      </a:lnTo>
                      <a:lnTo>
                        <a:pt x="448" y="316"/>
                      </a:lnTo>
                      <a:lnTo>
                        <a:pt x="448" y="317"/>
                      </a:lnTo>
                      <a:lnTo>
                        <a:pt x="449" y="318"/>
                      </a:lnTo>
                      <a:lnTo>
                        <a:pt x="451" y="320"/>
                      </a:lnTo>
                      <a:lnTo>
                        <a:pt x="451" y="326"/>
                      </a:lnTo>
                      <a:lnTo>
                        <a:pt x="452" y="329"/>
                      </a:lnTo>
                      <a:lnTo>
                        <a:pt x="453" y="331"/>
                      </a:lnTo>
                      <a:lnTo>
                        <a:pt x="454" y="332"/>
                      </a:lnTo>
                      <a:lnTo>
                        <a:pt x="456" y="333"/>
                      </a:lnTo>
                      <a:lnTo>
                        <a:pt x="457" y="333"/>
                      </a:lnTo>
                      <a:lnTo>
                        <a:pt x="458" y="336"/>
                      </a:lnTo>
                      <a:lnTo>
                        <a:pt x="457" y="338"/>
                      </a:lnTo>
                      <a:lnTo>
                        <a:pt x="454" y="340"/>
                      </a:lnTo>
                      <a:lnTo>
                        <a:pt x="444" y="342"/>
                      </a:lnTo>
                      <a:lnTo>
                        <a:pt x="440" y="343"/>
                      </a:lnTo>
                      <a:lnTo>
                        <a:pt x="437" y="346"/>
                      </a:lnTo>
                      <a:lnTo>
                        <a:pt x="429" y="355"/>
                      </a:lnTo>
                      <a:lnTo>
                        <a:pt x="424" y="358"/>
                      </a:lnTo>
                      <a:lnTo>
                        <a:pt x="420" y="362"/>
                      </a:lnTo>
                      <a:lnTo>
                        <a:pt x="415" y="355"/>
                      </a:lnTo>
                      <a:lnTo>
                        <a:pt x="410" y="348"/>
                      </a:lnTo>
                      <a:lnTo>
                        <a:pt x="404" y="343"/>
                      </a:lnTo>
                      <a:lnTo>
                        <a:pt x="398" y="340"/>
                      </a:lnTo>
                      <a:lnTo>
                        <a:pt x="395" y="339"/>
                      </a:lnTo>
                      <a:lnTo>
                        <a:pt x="391" y="339"/>
                      </a:lnTo>
                      <a:lnTo>
                        <a:pt x="387" y="342"/>
                      </a:lnTo>
                      <a:lnTo>
                        <a:pt x="382" y="346"/>
                      </a:lnTo>
                      <a:lnTo>
                        <a:pt x="378" y="350"/>
                      </a:lnTo>
                      <a:lnTo>
                        <a:pt x="374" y="352"/>
                      </a:lnTo>
                      <a:lnTo>
                        <a:pt x="369" y="353"/>
                      </a:lnTo>
                      <a:lnTo>
                        <a:pt x="365" y="353"/>
                      </a:lnTo>
                      <a:lnTo>
                        <a:pt x="355" y="351"/>
                      </a:lnTo>
                      <a:lnTo>
                        <a:pt x="346" y="348"/>
                      </a:lnTo>
                      <a:lnTo>
                        <a:pt x="343" y="346"/>
                      </a:lnTo>
                      <a:lnTo>
                        <a:pt x="340" y="346"/>
                      </a:lnTo>
                      <a:lnTo>
                        <a:pt x="334" y="346"/>
                      </a:lnTo>
                      <a:lnTo>
                        <a:pt x="325" y="344"/>
                      </a:lnTo>
                      <a:lnTo>
                        <a:pt x="317" y="339"/>
                      </a:lnTo>
                      <a:lnTo>
                        <a:pt x="312" y="338"/>
                      </a:lnTo>
                      <a:lnTo>
                        <a:pt x="307" y="338"/>
                      </a:lnTo>
                      <a:lnTo>
                        <a:pt x="302" y="338"/>
                      </a:lnTo>
                      <a:lnTo>
                        <a:pt x="299" y="337"/>
                      </a:lnTo>
                      <a:lnTo>
                        <a:pt x="297" y="336"/>
                      </a:lnTo>
                      <a:lnTo>
                        <a:pt x="293" y="332"/>
                      </a:lnTo>
                      <a:lnTo>
                        <a:pt x="291" y="330"/>
                      </a:lnTo>
                      <a:lnTo>
                        <a:pt x="289" y="329"/>
                      </a:lnTo>
                      <a:lnTo>
                        <a:pt x="280" y="326"/>
                      </a:lnTo>
                      <a:lnTo>
                        <a:pt x="273" y="323"/>
                      </a:lnTo>
                      <a:lnTo>
                        <a:pt x="265" y="317"/>
                      </a:lnTo>
                      <a:lnTo>
                        <a:pt x="263" y="313"/>
                      </a:lnTo>
                      <a:lnTo>
                        <a:pt x="261" y="310"/>
                      </a:lnTo>
                      <a:lnTo>
                        <a:pt x="259" y="308"/>
                      </a:lnTo>
                      <a:lnTo>
                        <a:pt x="256" y="307"/>
                      </a:lnTo>
                      <a:lnTo>
                        <a:pt x="242" y="306"/>
                      </a:lnTo>
                      <a:lnTo>
                        <a:pt x="235" y="304"/>
                      </a:lnTo>
                      <a:lnTo>
                        <a:pt x="230" y="300"/>
                      </a:lnTo>
                      <a:lnTo>
                        <a:pt x="225" y="295"/>
                      </a:lnTo>
                      <a:lnTo>
                        <a:pt x="223" y="292"/>
                      </a:lnTo>
                      <a:lnTo>
                        <a:pt x="221" y="291"/>
                      </a:lnTo>
                      <a:lnTo>
                        <a:pt x="213" y="288"/>
                      </a:lnTo>
                      <a:lnTo>
                        <a:pt x="207" y="283"/>
                      </a:lnTo>
                      <a:lnTo>
                        <a:pt x="202" y="279"/>
                      </a:lnTo>
                      <a:lnTo>
                        <a:pt x="198" y="273"/>
                      </a:lnTo>
                      <a:lnTo>
                        <a:pt x="195" y="266"/>
                      </a:lnTo>
                      <a:lnTo>
                        <a:pt x="195" y="259"/>
                      </a:lnTo>
                      <a:lnTo>
                        <a:pt x="195" y="251"/>
                      </a:lnTo>
                      <a:lnTo>
                        <a:pt x="198" y="244"/>
                      </a:lnTo>
                      <a:lnTo>
                        <a:pt x="199" y="241"/>
                      </a:lnTo>
                      <a:lnTo>
                        <a:pt x="199" y="237"/>
                      </a:lnTo>
                      <a:lnTo>
                        <a:pt x="198" y="234"/>
                      </a:lnTo>
                      <a:lnTo>
                        <a:pt x="195" y="230"/>
                      </a:lnTo>
                      <a:lnTo>
                        <a:pt x="192" y="223"/>
                      </a:lnTo>
                      <a:lnTo>
                        <a:pt x="185" y="212"/>
                      </a:lnTo>
                      <a:lnTo>
                        <a:pt x="179" y="204"/>
                      </a:lnTo>
                      <a:lnTo>
                        <a:pt x="165" y="186"/>
                      </a:lnTo>
                      <a:lnTo>
                        <a:pt x="162" y="183"/>
                      </a:lnTo>
                      <a:lnTo>
                        <a:pt x="160" y="178"/>
                      </a:lnTo>
                      <a:lnTo>
                        <a:pt x="152" y="166"/>
                      </a:lnTo>
                      <a:lnTo>
                        <a:pt x="147" y="160"/>
                      </a:lnTo>
                      <a:lnTo>
                        <a:pt x="142" y="155"/>
                      </a:lnTo>
                      <a:lnTo>
                        <a:pt x="137" y="150"/>
                      </a:lnTo>
                      <a:lnTo>
                        <a:pt x="134" y="144"/>
                      </a:lnTo>
                      <a:lnTo>
                        <a:pt x="132" y="136"/>
                      </a:lnTo>
                      <a:lnTo>
                        <a:pt x="128" y="131"/>
                      </a:lnTo>
                      <a:lnTo>
                        <a:pt x="125" y="129"/>
                      </a:lnTo>
                      <a:lnTo>
                        <a:pt x="124" y="128"/>
                      </a:lnTo>
                      <a:lnTo>
                        <a:pt x="119" y="123"/>
                      </a:lnTo>
                      <a:lnTo>
                        <a:pt x="115" y="119"/>
                      </a:lnTo>
                      <a:lnTo>
                        <a:pt x="108" y="110"/>
                      </a:lnTo>
                      <a:lnTo>
                        <a:pt x="104" y="107"/>
                      </a:lnTo>
                      <a:lnTo>
                        <a:pt x="99" y="104"/>
                      </a:lnTo>
                      <a:lnTo>
                        <a:pt x="96" y="102"/>
                      </a:lnTo>
                      <a:lnTo>
                        <a:pt x="94" y="100"/>
                      </a:lnTo>
                      <a:lnTo>
                        <a:pt x="91" y="94"/>
                      </a:lnTo>
                      <a:lnTo>
                        <a:pt x="89" y="87"/>
                      </a:lnTo>
                      <a:lnTo>
                        <a:pt x="86" y="83"/>
                      </a:lnTo>
                      <a:lnTo>
                        <a:pt x="84" y="81"/>
                      </a:lnTo>
                      <a:lnTo>
                        <a:pt x="80" y="78"/>
                      </a:lnTo>
                      <a:lnTo>
                        <a:pt x="77" y="76"/>
                      </a:lnTo>
                      <a:lnTo>
                        <a:pt x="76" y="72"/>
                      </a:lnTo>
                      <a:lnTo>
                        <a:pt x="75" y="69"/>
                      </a:lnTo>
                      <a:lnTo>
                        <a:pt x="73" y="62"/>
                      </a:lnTo>
                      <a:lnTo>
                        <a:pt x="71" y="55"/>
                      </a:lnTo>
                      <a:lnTo>
                        <a:pt x="70" y="52"/>
                      </a:lnTo>
                      <a:lnTo>
                        <a:pt x="66" y="50"/>
                      </a:lnTo>
                      <a:lnTo>
                        <a:pt x="65" y="49"/>
                      </a:lnTo>
                      <a:lnTo>
                        <a:pt x="63" y="46"/>
                      </a:lnTo>
                      <a:lnTo>
                        <a:pt x="65" y="43"/>
                      </a:lnTo>
                      <a:lnTo>
                        <a:pt x="66" y="39"/>
                      </a:lnTo>
                      <a:lnTo>
                        <a:pt x="66" y="36"/>
                      </a:lnTo>
                      <a:lnTo>
                        <a:pt x="66" y="35"/>
                      </a:lnTo>
                      <a:lnTo>
                        <a:pt x="63" y="33"/>
                      </a:lnTo>
                      <a:lnTo>
                        <a:pt x="61" y="33"/>
                      </a:lnTo>
                      <a:lnTo>
                        <a:pt x="59" y="35"/>
                      </a:lnTo>
                      <a:lnTo>
                        <a:pt x="58" y="33"/>
                      </a:lnTo>
                      <a:lnTo>
                        <a:pt x="56" y="32"/>
                      </a:lnTo>
                      <a:lnTo>
                        <a:pt x="53" y="32"/>
                      </a:lnTo>
                      <a:lnTo>
                        <a:pt x="47" y="35"/>
                      </a:lnTo>
                      <a:lnTo>
                        <a:pt x="44" y="33"/>
                      </a:lnTo>
                      <a:lnTo>
                        <a:pt x="43" y="32"/>
                      </a:lnTo>
                      <a:lnTo>
                        <a:pt x="42" y="30"/>
                      </a:lnTo>
                      <a:lnTo>
                        <a:pt x="40" y="29"/>
                      </a:lnTo>
                      <a:lnTo>
                        <a:pt x="39" y="27"/>
                      </a:lnTo>
                      <a:lnTo>
                        <a:pt x="38" y="27"/>
                      </a:lnTo>
                      <a:lnTo>
                        <a:pt x="37" y="33"/>
                      </a:lnTo>
                      <a:lnTo>
                        <a:pt x="37" y="38"/>
                      </a:lnTo>
                      <a:lnTo>
                        <a:pt x="38" y="45"/>
                      </a:lnTo>
                      <a:lnTo>
                        <a:pt x="39" y="51"/>
                      </a:lnTo>
                      <a:lnTo>
                        <a:pt x="40" y="64"/>
                      </a:lnTo>
                      <a:lnTo>
                        <a:pt x="42" y="68"/>
                      </a:lnTo>
                      <a:lnTo>
                        <a:pt x="43" y="70"/>
                      </a:lnTo>
                      <a:lnTo>
                        <a:pt x="47" y="72"/>
                      </a:lnTo>
                      <a:lnTo>
                        <a:pt x="52" y="75"/>
                      </a:lnTo>
                      <a:lnTo>
                        <a:pt x="56" y="77"/>
                      </a:lnTo>
                      <a:lnTo>
                        <a:pt x="58" y="81"/>
                      </a:lnTo>
                      <a:lnTo>
                        <a:pt x="61" y="90"/>
                      </a:lnTo>
                      <a:lnTo>
                        <a:pt x="59" y="91"/>
                      </a:lnTo>
                      <a:lnTo>
                        <a:pt x="62" y="93"/>
                      </a:lnTo>
                      <a:lnTo>
                        <a:pt x="70" y="100"/>
                      </a:lnTo>
                      <a:lnTo>
                        <a:pt x="71" y="102"/>
                      </a:lnTo>
                      <a:lnTo>
                        <a:pt x="71" y="104"/>
                      </a:lnTo>
                      <a:lnTo>
                        <a:pt x="71" y="108"/>
                      </a:lnTo>
                      <a:lnTo>
                        <a:pt x="71" y="110"/>
                      </a:lnTo>
                      <a:lnTo>
                        <a:pt x="73" y="113"/>
                      </a:lnTo>
                      <a:lnTo>
                        <a:pt x="77" y="116"/>
                      </a:lnTo>
                      <a:lnTo>
                        <a:pt x="78" y="121"/>
                      </a:lnTo>
                      <a:lnTo>
                        <a:pt x="80" y="123"/>
                      </a:lnTo>
                      <a:lnTo>
                        <a:pt x="82" y="123"/>
                      </a:lnTo>
                      <a:lnTo>
                        <a:pt x="84" y="129"/>
                      </a:lnTo>
                      <a:lnTo>
                        <a:pt x="86" y="133"/>
                      </a:lnTo>
                      <a:lnTo>
                        <a:pt x="90" y="135"/>
                      </a:lnTo>
                      <a:lnTo>
                        <a:pt x="94" y="136"/>
                      </a:lnTo>
                      <a:lnTo>
                        <a:pt x="95" y="138"/>
                      </a:lnTo>
                      <a:lnTo>
                        <a:pt x="95" y="140"/>
                      </a:lnTo>
                      <a:lnTo>
                        <a:pt x="94" y="142"/>
                      </a:lnTo>
                      <a:lnTo>
                        <a:pt x="94" y="145"/>
                      </a:lnTo>
                      <a:lnTo>
                        <a:pt x="99" y="158"/>
                      </a:lnTo>
                      <a:lnTo>
                        <a:pt x="103" y="161"/>
                      </a:lnTo>
                      <a:lnTo>
                        <a:pt x="106" y="165"/>
                      </a:lnTo>
                      <a:lnTo>
                        <a:pt x="108" y="170"/>
                      </a:lnTo>
                      <a:lnTo>
                        <a:pt x="108" y="173"/>
                      </a:lnTo>
                      <a:lnTo>
                        <a:pt x="110" y="177"/>
                      </a:lnTo>
                      <a:lnTo>
                        <a:pt x="114" y="179"/>
                      </a:lnTo>
                      <a:lnTo>
                        <a:pt x="118" y="182"/>
                      </a:lnTo>
                      <a:lnTo>
                        <a:pt x="120" y="184"/>
                      </a:lnTo>
                      <a:lnTo>
                        <a:pt x="125" y="191"/>
                      </a:lnTo>
                      <a:lnTo>
                        <a:pt x="129" y="199"/>
                      </a:lnTo>
                      <a:lnTo>
                        <a:pt x="131" y="201"/>
                      </a:lnTo>
                      <a:lnTo>
                        <a:pt x="129" y="202"/>
                      </a:lnTo>
                      <a:lnTo>
                        <a:pt x="128" y="204"/>
                      </a:lnTo>
                      <a:lnTo>
                        <a:pt x="120" y="206"/>
                      </a:lnTo>
                      <a:lnTo>
                        <a:pt x="118" y="206"/>
                      </a:lnTo>
                      <a:lnTo>
                        <a:pt x="117" y="205"/>
                      </a:lnTo>
                      <a:lnTo>
                        <a:pt x="115" y="203"/>
                      </a:lnTo>
                      <a:lnTo>
                        <a:pt x="115" y="201"/>
                      </a:lnTo>
                      <a:lnTo>
                        <a:pt x="114" y="196"/>
                      </a:lnTo>
                      <a:lnTo>
                        <a:pt x="112" y="193"/>
                      </a:lnTo>
                      <a:lnTo>
                        <a:pt x="108" y="191"/>
                      </a:lnTo>
                      <a:lnTo>
                        <a:pt x="103" y="191"/>
                      </a:lnTo>
                      <a:lnTo>
                        <a:pt x="101" y="186"/>
                      </a:lnTo>
                      <a:lnTo>
                        <a:pt x="99" y="183"/>
                      </a:lnTo>
                      <a:lnTo>
                        <a:pt x="92" y="179"/>
                      </a:lnTo>
                      <a:lnTo>
                        <a:pt x="87" y="174"/>
                      </a:lnTo>
                      <a:lnTo>
                        <a:pt x="85" y="173"/>
                      </a:lnTo>
                      <a:lnTo>
                        <a:pt x="82" y="172"/>
                      </a:lnTo>
                      <a:lnTo>
                        <a:pt x="81" y="167"/>
                      </a:lnTo>
                      <a:lnTo>
                        <a:pt x="80" y="163"/>
                      </a:lnTo>
                      <a:lnTo>
                        <a:pt x="78" y="152"/>
                      </a:lnTo>
                      <a:lnTo>
                        <a:pt x="77" y="146"/>
                      </a:lnTo>
                      <a:lnTo>
                        <a:pt x="76" y="141"/>
                      </a:lnTo>
                      <a:lnTo>
                        <a:pt x="72" y="138"/>
                      </a:lnTo>
                      <a:lnTo>
                        <a:pt x="67" y="135"/>
                      </a:lnTo>
                      <a:lnTo>
                        <a:pt x="66" y="134"/>
                      </a:lnTo>
                      <a:lnTo>
                        <a:pt x="65" y="131"/>
                      </a:lnTo>
                      <a:lnTo>
                        <a:pt x="63" y="128"/>
                      </a:lnTo>
                      <a:lnTo>
                        <a:pt x="62" y="128"/>
                      </a:lnTo>
                      <a:lnTo>
                        <a:pt x="58" y="129"/>
                      </a:lnTo>
                      <a:lnTo>
                        <a:pt x="56" y="131"/>
                      </a:lnTo>
                      <a:lnTo>
                        <a:pt x="53" y="131"/>
                      </a:lnTo>
                      <a:lnTo>
                        <a:pt x="52" y="129"/>
                      </a:lnTo>
                      <a:lnTo>
                        <a:pt x="52" y="128"/>
                      </a:lnTo>
                      <a:lnTo>
                        <a:pt x="51" y="126"/>
                      </a:lnTo>
                      <a:lnTo>
                        <a:pt x="47" y="125"/>
                      </a:lnTo>
                      <a:lnTo>
                        <a:pt x="43" y="116"/>
                      </a:lnTo>
                      <a:lnTo>
                        <a:pt x="37" y="108"/>
                      </a:lnTo>
                      <a:lnTo>
                        <a:pt x="40" y="107"/>
                      </a:lnTo>
                      <a:lnTo>
                        <a:pt x="43" y="108"/>
                      </a:lnTo>
                      <a:lnTo>
                        <a:pt x="45" y="107"/>
                      </a:lnTo>
                      <a:lnTo>
                        <a:pt x="48" y="106"/>
                      </a:lnTo>
                      <a:lnTo>
                        <a:pt x="51" y="103"/>
                      </a:lnTo>
                      <a:lnTo>
                        <a:pt x="51" y="102"/>
                      </a:lnTo>
                      <a:lnTo>
                        <a:pt x="51" y="101"/>
                      </a:lnTo>
                      <a:lnTo>
                        <a:pt x="48" y="97"/>
                      </a:lnTo>
                      <a:lnTo>
                        <a:pt x="47" y="96"/>
                      </a:lnTo>
                      <a:lnTo>
                        <a:pt x="45" y="94"/>
                      </a:lnTo>
                      <a:lnTo>
                        <a:pt x="44" y="93"/>
                      </a:lnTo>
                      <a:lnTo>
                        <a:pt x="43" y="93"/>
                      </a:lnTo>
                      <a:lnTo>
                        <a:pt x="42" y="88"/>
                      </a:lnTo>
                      <a:lnTo>
                        <a:pt x="39" y="86"/>
                      </a:lnTo>
                      <a:lnTo>
                        <a:pt x="32" y="81"/>
                      </a:lnTo>
                      <a:lnTo>
                        <a:pt x="30" y="78"/>
                      </a:lnTo>
                      <a:lnTo>
                        <a:pt x="30" y="76"/>
                      </a:lnTo>
                      <a:lnTo>
                        <a:pt x="29" y="74"/>
                      </a:lnTo>
                      <a:lnTo>
                        <a:pt x="28" y="72"/>
                      </a:lnTo>
                      <a:lnTo>
                        <a:pt x="26" y="71"/>
                      </a:lnTo>
                      <a:lnTo>
                        <a:pt x="25" y="70"/>
                      </a:lnTo>
                      <a:lnTo>
                        <a:pt x="23" y="61"/>
                      </a:lnTo>
                      <a:lnTo>
                        <a:pt x="19" y="51"/>
                      </a:lnTo>
                      <a:lnTo>
                        <a:pt x="10" y="32"/>
                      </a:lnTo>
                      <a:lnTo>
                        <a:pt x="10" y="29"/>
                      </a:lnTo>
                      <a:lnTo>
                        <a:pt x="9" y="25"/>
                      </a:lnTo>
                      <a:lnTo>
                        <a:pt x="6" y="23"/>
                      </a:lnTo>
                      <a:lnTo>
                        <a:pt x="5" y="20"/>
                      </a:lnTo>
                      <a:lnTo>
                        <a:pt x="4" y="17"/>
                      </a:lnTo>
                      <a:lnTo>
                        <a:pt x="2" y="8"/>
                      </a:lnTo>
                      <a:lnTo>
                        <a:pt x="0" y="1"/>
                      </a:lnTo>
                      <a:lnTo>
                        <a:pt x="40" y="0"/>
                      </a:lnTo>
                      <a:lnTo>
                        <a:pt x="43" y="1"/>
                      </a:lnTo>
                      <a:lnTo>
                        <a:pt x="45" y="3"/>
                      </a:lnTo>
                      <a:lnTo>
                        <a:pt x="45" y="5"/>
                      </a:lnTo>
                      <a:lnTo>
                        <a:pt x="43" y="7"/>
                      </a:lnTo>
                      <a:lnTo>
                        <a:pt x="42" y="8"/>
                      </a:lnTo>
                      <a:lnTo>
                        <a:pt x="42" y="10"/>
                      </a:lnTo>
                      <a:lnTo>
                        <a:pt x="43" y="12"/>
                      </a:lnTo>
                      <a:lnTo>
                        <a:pt x="47" y="13"/>
                      </a:lnTo>
                      <a:lnTo>
                        <a:pt x="57" y="14"/>
                      </a:lnTo>
                      <a:lnTo>
                        <a:pt x="73" y="19"/>
                      </a:lnTo>
                      <a:lnTo>
                        <a:pt x="89" y="25"/>
                      </a:lnTo>
                      <a:lnTo>
                        <a:pt x="99" y="29"/>
                      </a:lnTo>
                      <a:lnTo>
                        <a:pt x="109" y="32"/>
                      </a:lnTo>
                      <a:lnTo>
                        <a:pt x="114" y="32"/>
                      </a:lnTo>
                      <a:lnTo>
                        <a:pt x="117" y="32"/>
                      </a:lnTo>
                      <a:lnTo>
                        <a:pt x="125" y="31"/>
                      </a:lnTo>
                      <a:lnTo>
                        <a:pt x="136" y="32"/>
                      </a:lnTo>
                      <a:lnTo>
                        <a:pt x="138" y="31"/>
                      </a:lnTo>
                      <a:lnTo>
                        <a:pt x="139" y="31"/>
                      </a:lnTo>
                      <a:lnTo>
                        <a:pt x="141" y="29"/>
                      </a:lnTo>
                      <a:lnTo>
                        <a:pt x="141" y="25"/>
                      </a:lnTo>
                      <a:lnTo>
                        <a:pt x="142" y="23"/>
                      </a:lnTo>
                      <a:lnTo>
                        <a:pt x="143" y="21"/>
                      </a:lnTo>
                      <a:lnTo>
                        <a:pt x="145" y="20"/>
                      </a:lnTo>
                      <a:lnTo>
                        <a:pt x="185" y="19"/>
                      </a:lnTo>
                      <a:lnTo>
                        <a:pt x="188" y="19"/>
                      </a:lnTo>
                      <a:lnTo>
                        <a:pt x="189" y="20"/>
                      </a:lnTo>
                      <a:lnTo>
                        <a:pt x="192" y="24"/>
                      </a:lnTo>
                      <a:lnTo>
                        <a:pt x="207" y="44"/>
                      </a:lnTo>
                      <a:lnTo>
                        <a:pt x="218" y="59"/>
                      </a:lnTo>
                      <a:lnTo>
                        <a:pt x="230" y="70"/>
                      </a:lnTo>
                      <a:lnTo>
                        <a:pt x="233" y="74"/>
                      </a:lnTo>
                      <a:lnTo>
                        <a:pt x="237" y="75"/>
                      </a:lnTo>
                      <a:lnTo>
                        <a:pt x="240" y="75"/>
                      </a:lnTo>
                      <a:lnTo>
                        <a:pt x="242" y="74"/>
                      </a:lnTo>
                      <a:lnTo>
                        <a:pt x="245" y="70"/>
                      </a:lnTo>
                      <a:lnTo>
                        <a:pt x="247" y="65"/>
                      </a:lnTo>
                      <a:lnTo>
                        <a:pt x="250" y="63"/>
                      </a:lnTo>
                      <a:lnTo>
                        <a:pt x="254" y="62"/>
                      </a:lnTo>
                      <a:lnTo>
                        <a:pt x="256" y="62"/>
                      </a:lnTo>
                      <a:lnTo>
                        <a:pt x="259" y="63"/>
                      </a:lnTo>
                      <a:lnTo>
                        <a:pt x="261" y="64"/>
                      </a:lnTo>
                      <a:lnTo>
                        <a:pt x="265" y="65"/>
                      </a:lnTo>
                      <a:lnTo>
                        <a:pt x="273" y="68"/>
                      </a:lnTo>
                      <a:lnTo>
                        <a:pt x="275" y="69"/>
                      </a:lnTo>
                      <a:lnTo>
                        <a:pt x="279" y="71"/>
                      </a:lnTo>
                      <a:lnTo>
                        <a:pt x="283" y="76"/>
                      </a:lnTo>
                      <a:lnTo>
                        <a:pt x="284" y="81"/>
                      </a:lnTo>
                      <a:lnTo>
                        <a:pt x="284" y="86"/>
                      </a:lnTo>
                      <a:lnTo>
                        <a:pt x="287" y="91"/>
                      </a:lnTo>
                      <a:lnTo>
                        <a:pt x="289" y="97"/>
                      </a:lnTo>
                      <a:lnTo>
                        <a:pt x="292" y="101"/>
                      </a:lnTo>
                      <a:lnTo>
                        <a:pt x="296" y="104"/>
                      </a:lnTo>
                      <a:lnTo>
                        <a:pt x="298" y="113"/>
                      </a:lnTo>
                      <a:lnTo>
                        <a:pt x="303" y="126"/>
                      </a:lnTo>
                      <a:lnTo>
                        <a:pt x="305" y="128"/>
                      </a:lnTo>
                      <a:lnTo>
                        <a:pt x="307" y="132"/>
                      </a:lnTo>
                      <a:lnTo>
                        <a:pt x="310" y="133"/>
                      </a:lnTo>
                      <a:lnTo>
                        <a:pt x="316" y="134"/>
                      </a:lnTo>
                      <a:lnTo>
                        <a:pt x="322" y="135"/>
                      </a:lnTo>
                      <a:lnTo>
                        <a:pt x="331" y="138"/>
                      </a:lnTo>
                      <a:lnTo>
                        <a:pt x="340" y="141"/>
                      </a:lnTo>
                      <a:lnTo>
                        <a:pt x="340" y="146"/>
                      </a:lnTo>
                      <a:lnTo>
                        <a:pt x="340" y="151"/>
                      </a:lnTo>
                      <a:lnTo>
                        <a:pt x="340" y="158"/>
                      </a:lnTo>
                      <a:lnTo>
                        <a:pt x="340" y="163"/>
                      </a:lnTo>
                      <a:lnTo>
                        <a:pt x="339" y="164"/>
                      </a:lnTo>
                      <a:lnTo>
                        <a:pt x="338" y="164"/>
                      </a:lnTo>
                      <a:lnTo>
                        <a:pt x="336" y="161"/>
                      </a:lnTo>
                      <a:lnTo>
                        <a:pt x="334" y="159"/>
                      </a:lnTo>
                      <a:lnTo>
                        <a:pt x="332" y="158"/>
                      </a:lnTo>
                      <a:lnTo>
                        <a:pt x="331" y="158"/>
                      </a:lnTo>
                      <a:lnTo>
                        <a:pt x="330" y="160"/>
                      </a:lnTo>
                      <a:lnTo>
                        <a:pt x="330" y="167"/>
                      </a:lnTo>
                      <a:lnTo>
                        <a:pt x="330" y="174"/>
                      </a:lnTo>
                      <a:lnTo>
                        <a:pt x="331" y="182"/>
                      </a:lnTo>
                      <a:lnTo>
                        <a:pt x="332" y="180"/>
                      </a:lnTo>
                      <a:lnTo>
                        <a:pt x="332" y="179"/>
                      </a:lnTo>
                      <a:lnTo>
                        <a:pt x="334" y="174"/>
                      </a:lnTo>
                      <a:lnTo>
                        <a:pt x="335" y="177"/>
                      </a:lnTo>
                      <a:lnTo>
                        <a:pt x="336" y="182"/>
                      </a:lnTo>
                      <a:lnTo>
                        <a:pt x="336" y="192"/>
                      </a:lnTo>
                      <a:lnTo>
                        <a:pt x="336" y="203"/>
                      </a:lnTo>
                      <a:lnTo>
                        <a:pt x="332" y="224"/>
                      </a:lnTo>
                      <a:lnTo>
                        <a:pt x="332" y="223"/>
                      </a:lnTo>
                      <a:lnTo>
                        <a:pt x="332" y="225"/>
                      </a:lnTo>
                      <a:lnTo>
                        <a:pt x="332" y="228"/>
                      </a:lnTo>
                      <a:lnTo>
                        <a:pt x="335" y="229"/>
                      </a:lnTo>
                      <a:lnTo>
                        <a:pt x="336" y="231"/>
                      </a:lnTo>
                      <a:lnTo>
                        <a:pt x="340" y="244"/>
                      </a:lnTo>
                      <a:lnTo>
                        <a:pt x="345" y="256"/>
                      </a:lnTo>
                      <a:lnTo>
                        <a:pt x="352" y="267"/>
                      </a:lnTo>
                      <a:lnTo>
                        <a:pt x="362" y="276"/>
                      </a:lnTo>
                      <a:lnTo>
                        <a:pt x="365" y="281"/>
                      </a:lnTo>
                      <a:lnTo>
                        <a:pt x="367" y="283"/>
                      </a:lnTo>
                      <a:lnTo>
                        <a:pt x="369" y="286"/>
                      </a:lnTo>
                      <a:lnTo>
                        <a:pt x="374" y="291"/>
                      </a:lnTo>
                      <a:lnTo>
                        <a:pt x="379" y="295"/>
                      </a:lnTo>
                      <a:lnTo>
                        <a:pt x="385" y="300"/>
                      </a:lnTo>
                      <a:lnTo>
                        <a:pt x="388" y="301"/>
                      </a:lnTo>
                      <a:lnTo>
                        <a:pt x="392" y="301"/>
                      </a:lnTo>
                      <a:lnTo>
                        <a:pt x="396" y="301"/>
                      </a:lnTo>
                      <a:lnTo>
                        <a:pt x="400" y="300"/>
                      </a:lnTo>
                      <a:lnTo>
                        <a:pt x="402" y="300"/>
                      </a:lnTo>
                      <a:lnTo>
                        <a:pt x="406" y="301"/>
                      </a:lnTo>
                      <a:lnTo>
                        <a:pt x="409" y="299"/>
                      </a:lnTo>
                      <a:lnTo>
                        <a:pt x="412" y="298"/>
                      </a:lnTo>
                      <a:lnTo>
                        <a:pt x="414" y="298"/>
                      </a:lnTo>
                      <a:lnTo>
                        <a:pt x="416" y="299"/>
                      </a:lnTo>
                      <a:lnTo>
                        <a:pt x="418" y="300"/>
                      </a:lnTo>
                      <a:lnTo>
                        <a:pt x="420" y="300"/>
                      </a:lnTo>
                      <a:lnTo>
                        <a:pt x="426" y="298"/>
                      </a:lnTo>
                      <a:lnTo>
                        <a:pt x="429" y="297"/>
                      </a:lnTo>
                      <a:lnTo>
                        <a:pt x="433" y="298"/>
                      </a:lnTo>
                      <a:lnTo>
                        <a:pt x="434" y="300"/>
                      </a:lnTo>
                      <a:lnTo>
                        <a:pt x="435" y="301"/>
                      </a:lnTo>
                      <a:lnTo>
                        <a:pt x="435" y="304"/>
                      </a:lnTo>
                      <a:lnTo>
                        <a:pt x="438" y="304"/>
                      </a:lnTo>
                      <a:lnTo>
                        <a:pt x="444" y="302"/>
                      </a:lnTo>
                      <a:lnTo>
                        <a:pt x="447" y="300"/>
                      </a:lnTo>
                      <a:lnTo>
                        <a:pt x="448" y="299"/>
                      </a:lnTo>
                      <a:lnTo>
                        <a:pt x="449" y="293"/>
                      </a:lnTo>
                      <a:lnTo>
                        <a:pt x="451" y="291"/>
                      </a:lnTo>
                      <a:lnTo>
                        <a:pt x="452" y="288"/>
                      </a:lnTo>
                      <a:lnTo>
                        <a:pt x="453" y="286"/>
                      </a:lnTo>
                      <a:lnTo>
                        <a:pt x="453" y="285"/>
                      </a:lnTo>
                      <a:lnTo>
                        <a:pt x="453" y="280"/>
                      </a:lnTo>
                      <a:lnTo>
                        <a:pt x="454" y="274"/>
                      </a:lnTo>
                      <a:lnTo>
                        <a:pt x="456" y="269"/>
                      </a:lnTo>
                      <a:lnTo>
                        <a:pt x="458" y="267"/>
                      </a:lnTo>
                      <a:lnTo>
                        <a:pt x="461" y="263"/>
                      </a:lnTo>
                      <a:lnTo>
                        <a:pt x="462" y="261"/>
                      </a:lnTo>
                      <a:lnTo>
                        <a:pt x="462" y="259"/>
                      </a:lnTo>
                      <a:lnTo>
                        <a:pt x="463" y="254"/>
                      </a:lnTo>
                      <a:lnTo>
                        <a:pt x="466" y="250"/>
                      </a:lnTo>
                      <a:lnTo>
                        <a:pt x="468" y="248"/>
                      </a:lnTo>
                      <a:lnTo>
                        <a:pt x="471" y="248"/>
                      </a:lnTo>
                      <a:lnTo>
                        <a:pt x="475" y="248"/>
                      </a:lnTo>
                      <a:lnTo>
                        <a:pt x="477" y="248"/>
                      </a:lnTo>
                      <a:lnTo>
                        <a:pt x="480" y="248"/>
                      </a:lnTo>
                      <a:lnTo>
                        <a:pt x="489" y="244"/>
                      </a:lnTo>
                      <a:lnTo>
                        <a:pt x="498" y="242"/>
                      </a:lnTo>
                      <a:lnTo>
                        <a:pt x="517" y="241"/>
                      </a:lnTo>
                      <a:lnTo>
                        <a:pt x="518" y="241"/>
                      </a:lnTo>
                      <a:lnTo>
                        <a:pt x="519" y="243"/>
                      </a:lnTo>
                      <a:lnTo>
                        <a:pt x="520" y="246"/>
                      </a:lnTo>
                      <a:lnTo>
                        <a:pt x="519" y="248"/>
                      </a:lnTo>
                      <a:lnTo>
                        <a:pt x="515" y="254"/>
                      </a:lnTo>
                      <a:lnTo>
                        <a:pt x="513" y="260"/>
                      </a:lnTo>
                      <a:lnTo>
                        <a:pt x="512" y="266"/>
                      </a:lnTo>
                      <a:lnTo>
                        <a:pt x="510" y="272"/>
                      </a:lnTo>
                      <a:lnTo>
                        <a:pt x="510" y="283"/>
                      </a:lnTo>
                      <a:lnTo>
                        <a:pt x="510" y="297"/>
                      </a:lnTo>
                      <a:lnTo>
                        <a:pt x="510" y="298"/>
                      </a:lnTo>
                      <a:lnTo>
                        <a:pt x="508" y="299"/>
                      </a:lnTo>
                      <a:lnTo>
                        <a:pt x="505" y="30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3" name="Freeform 901">
                  <a:extLst>
                    <a:ext uri="{FF2B5EF4-FFF2-40B4-BE49-F238E27FC236}">
                      <a16:creationId xmlns:a16="http://schemas.microsoft.com/office/drawing/2014/main" id="{9E84269C-DB36-6843-9EBF-0AAC880528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3465" y="4091528"/>
                  <a:ext cx="42916" cy="69554"/>
                </a:xfrm>
                <a:custGeom>
                  <a:avLst/>
                  <a:gdLst>
                    <a:gd name="T0" fmla="*/ 2147483647 w 31"/>
                    <a:gd name="T1" fmla="*/ 2147483647 h 47"/>
                    <a:gd name="T2" fmla="*/ 2147483647 w 31"/>
                    <a:gd name="T3" fmla="*/ 2147483647 h 47"/>
                    <a:gd name="T4" fmla="*/ 2147483647 w 31"/>
                    <a:gd name="T5" fmla="*/ 2147483647 h 47"/>
                    <a:gd name="T6" fmla="*/ 0 w 31"/>
                    <a:gd name="T7" fmla="*/ 2147483647 h 47"/>
                    <a:gd name="T8" fmla="*/ 0 w 31"/>
                    <a:gd name="T9" fmla="*/ 2147483647 h 47"/>
                    <a:gd name="T10" fmla="*/ 0 w 31"/>
                    <a:gd name="T11" fmla="*/ 2147483647 h 47"/>
                    <a:gd name="T12" fmla="*/ 2147483647 w 31"/>
                    <a:gd name="T13" fmla="*/ 2147483647 h 47"/>
                    <a:gd name="T14" fmla="*/ 2147483647 w 31"/>
                    <a:gd name="T15" fmla="*/ 2147483647 h 47"/>
                    <a:gd name="T16" fmla="*/ 2147483647 w 31"/>
                    <a:gd name="T17" fmla="*/ 2147483647 h 47"/>
                    <a:gd name="T18" fmla="*/ 2147483647 w 31"/>
                    <a:gd name="T19" fmla="*/ 2147483647 h 47"/>
                    <a:gd name="T20" fmla="*/ 2147483647 w 31"/>
                    <a:gd name="T21" fmla="*/ 2147483647 h 47"/>
                    <a:gd name="T22" fmla="*/ 2147483647 w 31"/>
                    <a:gd name="T23" fmla="*/ 2147483647 h 47"/>
                    <a:gd name="T24" fmla="*/ 2147483647 w 31"/>
                    <a:gd name="T25" fmla="*/ 0 h 47"/>
                    <a:gd name="T26" fmla="*/ 2147483647 w 31"/>
                    <a:gd name="T27" fmla="*/ 0 h 47"/>
                    <a:gd name="T28" fmla="*/ 2147483647 w 31"/>
                    <a:gd name="T29" fmla="*/ 0 h 47"/>
                    <a:gd name="T30" fmla="*/ 2147483647 w 31"/>
                    <a:gd name="T31" fmla="*/ 0 h 47"/>
                    <a:gd name="T32" fmla="*/ 2147483647 w 31"/>
                    <a:gd name="T33" fmla="*/ 0 h 47"/>
                    <a:gd name="T34" fmla="*/ 2147483647 w 31"/>
                    <a:gd name="T35" fmla="*/ 2147483647 h 47"/>
                    <a:gd name="T36" fmla="*/ 2147483647 w 31"/>
                    <a:gd name="T37" fmla="*/ 2147483647 h 47"/>
                    <a:gd name="T38" fmla="*/ 2147483647 w 31"/>
                    <a:gd name="T39" fmla="*/ 2147483647 h 47"/>
                    <a:gd name="T40" fmla="*/ 2147483647 w 31"/>
                    <a:gd name="T41" fmla="*/ 2147483647 h 47"/>
                    <a:gd name="T42" fmla="*/ 2147483647 w 31"/>
                    <a:gd name="T43" fmla="*/ 2147483647 h 47"/>
                    <a:gd name="T44" fmla="*/ 2147483647 w 31"/>
                    <a:gd name="T45" fmla="*/ 2147483647 h 47"/>
                    <a:gd name="T46" fmla="*/ 2147483647 w 31"/>
                    <a:gd name="T47" fmla="*/ 2147483647 h 47"/>
                    <a:gd name="T48" fmla="*/ 2147483647 w 31"/>
                    <a:gd name="T49" fmla="*/ 2147483647 h 47"/>
                    <a:gd name="T50" fmla="*/ 2147483647 w 31"/>
                    <a:gd name="T51" fmla="*/ 2147483647 h 47"/>
                    <a:gd name="T52" fmla="*/ 2147483647 w 31"/>
                    <a:gd name="T53" fmla="*/ 2147483647 h 47"/>
                    <a:gd name="T54" fmla="*/ 2147483647 w 31"/>
                    <a:gd name="T55" fmla="*/ 2147483647 h 47"/>
                    <a:gd name="T56" fmla="*/ 2147483647 w 31"/>
                    <a:gd name="T57" fmla="*/ 2147483647 h 47"/>
                    <a:gd name="T58" fmla="*/ 2147483647 w 31"/>
                    <a:gd name="T59" fmla="*/ 2147483647 h 47"/>
                    <a:gd name="T60" fmla="*/ 2147483647 w 31"/>
                    <a:gd name="T61" fmla="*/ 2147483647 h 47"/>
                    <a:gd name="T62" fmla="*/ 2147483647 w 31"/>
                    <a:gd name="T63" fmla="*/ 2147483647 h 4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1"/>
                    <a:gd name="T97" fmla="*/ 0 h 47"/>
                    <a:gd name="T98" fmla="*/ 31 w 31"/>
                    <a:gd name="T99" fmla="*/ 47 h 4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1" h="47">
                      <a:moveTo>
                        <a:pt x="9" y="46"/>
                      </a:moveTo>
                      <a:lnTo>
                        <a:pt x="9" y="46"/>
                      </a:lnTo>
                      <a:lnTo>
                        <a:pt x="3" y="46"/>
                      </a:lnTo>
                      <a:lnTo>
                        <a:pt x="0" y="47"/>
                      </a:lnTo>
                      <a:lnTo>
                        <a:pt x="0" y="9"/>
                      </a:lnTo>
                      <a:lnTo>
                        <a:pt x="5" y="8"/>
                      </a:lnTo>
                      <a:lnTo>
                        <a:pt x="13" y="8"/>
                      </a:lnTo>
                      <a:lnTo>
                        <a:pt x="16" y="7"/>
                      </a:lnTo>
                      <a:lnTo>
                        <a:pt x="18" y="5"/>
                      </a:lnTo>
                      <a:lnTo>
                        <a:pt x="21" y="1"/>
                      </a:lnTo>
                      <a:lnTo>
                        <a:pt x="25" y="0"/>
                      </a:lnTo>
                      <a:lnTo>
                        <a:pt x="27" y="0"/>
                      </a:lnTo>
                      <a:lnTo>
                        <a:pt x="31" y="0"/>
                      </a:lnTo>
                      <a:lnTo>
                        <a:pt x="27" y="3"/>
                      </a:lnTo>
                      <a:lnTo>
                        <a:pt x="25" y="7"/>
                      </a:lnTo>
                      <a:lnTo>
                        <a:pt x="23" y="11"/>
                      </a:lnTo>
                      <a:lnTo>
                        <a:pt x="22" y="15"/>
                      </a:lnTo>
                      <a:lnTo>
                        <a:pt x="22" y="25"/>
                      </a:lnTo>
                      <a:lnTo>
                        <a:pt x="21" y="33"/>
                      </a:lnTo>
                      <a:lnTo>
                        <a:pt x="19" y="37"/>
                      </a:lnTo>
                      <a:lnTo>
                        <a:pt x="17" y="41"/>
                      </a:lnTo>
                      <a:lnTo>
                        <a:pt x="14" y="43"/>
                      </a:lnTo>
                      <a:lnTo>
                        <a:pt x="12" y="43"/>
                      </a:lnTo>
                      <a:lnTo>
                        <a:pt x="11" y="43"/>
                      </a:lnTo>
                      <a:lnTo>
                        <a:pt x="9" y="4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4" name="Freeform 902">
                  <a:extLst>
                    <a:ext uri="{FF2B5EF4-FFF2-40B4-BE49-F238E27FC236}">
                      <a16:creationId xmlns:a16="http://schemas.microsoft.com/office/drawing/2014/main" id="{8712374D-1A28-1546-9A74-40ECF7A26B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799" y="3647570"/>
                  <a:ext cx="711819" cy="535714"/>
                </a:xfrm>
                <a:custGeom>
                  <a:avLst/>
                  <a:gdLst>
                    <a:gd name="T0" fmla="*/ 2147483647 w 521"/>
                    <a:gd name="T1" fmla="*/ 2147483647 h 362"/>
                    <a:gd name="T2" fmla="*/ 2147483647 w 521"/>
                    <a:gd name="T3" fmla="*/ 2147483647 h 362"/>
                    <a:gd name="T4" fmla="*/ 2147483647 w 521"/>
                    <a:gd name="T5" fmla="*/ 2147483647 h 362"/>
                    <a:gd name="T6" fmla="*/ 2147483647 w 521"/>
                    <a:gd name="T7" fmla="*/ 2147483647 h 362"/>
                    <a:gd name="T8" fmla="*/ 2147483647 w 521"/>
                    <a:gd name="T9" fmla="*/ 2147483647 h 362"/>
                    <a:gd name="T10" fmla="*/ 2147483647 w 521"/>
                    <a:gd name="T11" fmla="*/ 2147483647 h 362"/>
                    <a:gd name="T12" fmla="*/ 2147483647 w 521"/>
                    <a:gd name="T13" fmla="*/ 2147483647 h 362"/>
                    <a:gd name="T14" fmla="*/ 2147483647 w 521"/>
                    <a:gd name="T15" fmla="*/ 2147483647 h 362"/>
                    <a:gd name="T16" fmla="*/ 2147483647 w 521"/>
                    <a:gd name="T17" fmla="*/ 2147483647 h 362"/>
                    <a:gd name="T18" fmla="*/ 2147483647 w 521"/>
                    <a:gd name="T19" fmla="*/ 2147483647 h 362"/>
                    <a:gd name="T20" fmla="*/ 2147483647 w 521"/>
                    <a:gd name="T21" fmla="*/ 2147483647 h 362"/>
                    <a:gd name="T22" fmla="*/ 2147483647 w 521"/>
                    <a:gd name="T23" fmla="*/ 2147483647 h 362"/>
                    <a:gd name="T24" fmla="*/ 2147483647 w 521"/>
                    <a:gd name="T25" fmla="*/ 2147483647 h 362"/>
                    <a:gd name="T26" fmla="*/ 2147483647 w 521"/>
                    <a:gd name="T27" fmla="*/ 2147483647 h 362"/>
                    <a:gd name="T28" fmla="*/ 2147483647 w 521"/>
                    <a:gd name="T29" fmla="*/ 2147483647 h 362"/>
                    <a:gd name="T30" fmla="*/ 2147483647 w 521"/>
                    <a:gd name="T31" fmla="*/ 2147483647 h 362"/>
                    <a:gd name="T32" fmla="*/ 2147483647 w 521"/>
                    <a:gd name="T33" fmla="*/ 2147483647 h 362"/>
                    <a:gd name="T34" fmla="*/ 2147483647 w 521"/>
                    <a:gd name="T35" fmla="*/ 2147483647 h 362"/>
                    <a:gd name="T36" fmla="*/ 2147483647 w 521"/>
                    <a:gd name="T37" fmla="*/ 2147483647 h 362"/>
                    <a:gd name="T38" fmla="*/ 2147483647 w 521"/>
                    <a:gd name="T39" fmla="*/ 2147483647 h 362"/>
                    <a:gd name="T40" fmla="*/ 2147483647 w 521"/>
                    <a:gd name="T41" fmla="*/ 2147483647 h 362"/>
                    <a:gd name="T42" fmla="*/ 2147483647 w 521"/>
                    <a:gd name="T43" fmla="*/ 2147483647 h 362"/>
                    <a:gd name="T44" fmla="*/ 2147483647 w 521"/>
                    <a:gd name="T45" fmla="*/ 2147483647 h 362"/>
                    <a:gd name="T46" fmla="*/ 2147483647 w 521"/>
                    <a:gd name="T47" fmla="*/ 2147483647 h 362"/>
                    <a:gd name="T48" fmla="*/ 2147483647 w 521"/>
                    <a:gd name="T49" fmla="*/ 2147483647 h 362"/>
                    <a:gd name="T50" fmla="*/ 2147483647 w 521"/>
                    <a:gd name="T51" fmla="*/ 2147483647 h 362"/>
                    <a:gd name="T52" fmla="*/ 2147483647 w 521"/>
                    <a:gd name="T53" fmla="*/ 2147483647 h 362"/>
                    <a:gd name="T54" fmla="*/ 2147483647 w 521"/>
                    <a:gd name="T55" fmla="*/ 2147483647 h 362"/>
                    <a:gd name="T56" fmla="*/ 2147483647 w 521"/>
                    <a:gd name="T57" fmla="*/ 2147483647 h 362"/>
                    <a:gd name="T58" fmla="*/ 2147483647 w 521"/>
                    <a:gd name="T59" fmla="*/ 2147483647 h 362"/>
                    <a:gd name="T60" fmla="*/ 2147483647 w 521"/>
                    <a:gd name="T61" fmla="*/ 2147483647 h 362"/>
                    <a:gd name="T62" fmla="*/ 2147483647 w 521"/>
                    <a:gd name="T63" fmla="*/ 2147483647 h 362"/>
                    <a:gd name="T64" fmla="*/ 2147483647 w 521"/>
                    <a:gd name="T65" fmla="*/ 2147483647 h 362"/>
                    <a:gd name="T66" fmla="*/ 2147483647 w 521"/>
                    <a:gd name="T67" fmla="*/ 2147483647 h 362"/>
                    <a:gd name="T68" fmla="*/ 2147483647 w 521"/>
                    <a:gd name="T69" fmla="*/ 2147483647 h 362"/>
                    <a:gd name="T70" fmla="*/ 2147483647 w 521"/>
                    <a:gd name="T71" fmla="*/ 2147483647 h 362"/>
                    <a:gd name="T72" fmla="*/ 0 w 521"/>
                    <a:gd name="T73" fmla="*/ 2147483647 h 362"/>
                    <a:gd name="T74" fmla="*/ 2147483647 w 521"/>
                    <a:gd name="T75" fmla="*/ 2147483647 h 362"/>
                    <a:gd name="T76" fmla="*/ 2147483647 w 521"/>
                    <a:gd name="T77" fmla="*/ 2147483647 h 362"/>
                    <a:gd name="T78" fmla="*/ 2147483647 w 521"/>
                    <a:gd name="T79" fmla="*/ 2147483647 h 362"/>
                    <a:gd name="T80" fmla="*/ 2147483647 w 521"/>
                    <a:gd name="T81" fmla="*/ 2147483647 h 362"/>
                    <a:gd name="T82" fmla="*/ 2147483647 w 521"/>
                    <a:gd name="T83" fmla="*/ 2147483647 h 362"/>
                    <a:gd name="T84" fmla="*/ 2147483647 w 521"/>
                    <a:gd name="T85" fmla="*/ 2147483647 h 362"/>
                    <a:gd name="T86" fmla="*/ 2147483647 w 521"/>
                    <a:gd name="T87" fmla="*/ 2147483647 h 362"/>
                    <a:gd name="T88" fmla="*/ 2147483647 w 521"/>
                    <a:gd name="T89" fmla="*/ 2147483647 h 362"/>
                    <a:gd name="T90" fmla="*/ 2147483647 w 521"/>
                    <a:gd name="T91" fmla="*/ 2147483647 h 362"/>
                    <a:gd name="T92" fmla="*/ 2147483647 w 521"/>
                    <a:gd name="T93" fmla="*/ 2147483647 h 362"/>
                    <a:gd name="T94" fmla="*/ 2147483647 w 521"/>
                    <a:gd name="T95" fmla="*/ 2147483647 h 362"/>
                    <a:gd name="T96" fmla="*/ 2147483647 w 521"/>
                    <a:gd name="T97" fmla="*/ 2147483647 h 362"/>
                    <a:gd name="T98" fmla="*/ 2147483647 w 521"/>
                    <a:gd name="T99" fmla="*/ 2147483647 h 362"/>
                    <a:gd name="T100" fmla="*/ 2147483647 w 521"/>
                    <a:gd name="T101" fmla="*/ 2147483647 h 362"/>
                    <a:gd name="T102" fmla="*/ 2147483647 w 521"/>
                    <a:gd name="T103" fmla="*/ 2147483647 h 362"/>
                    <a:gd name="T104" fmla="*/ 2147483647 w 521"/>
                    <a:gd name="T105" fmla="*/ 2147483647 h 362"/>
                    <a:gd name="T106" fmla="*/ 2147483647 w 521"/>
                    <a:gd name="T107" fmla="*/ 2147483647 h 362"/>
                    <a:gd name="T108" fmla="*/ 2147483647 w 521"/>
                    <a:gd name="T109" fmla="*/ 2147483647 h 362"/>
                    <a:gd name="T110" fmla="*/ 2147483647 w 521"/>
                    <a:gd name="T111" fmla="*/ 2147483647 h 362"/>
                    <a:gd name="T112" fmla="*/ 2147483647 w 521"/>
                    <a:gd name="T113" fmla="*/ 2147483647 h 362"/>
                    <a:gd name="T114" fmla="*/ 2147483647 w 521"/>
                    <a:gd name="T115" fmla="*/ 2147483647 h 362"/>
                    <a:gd name="T116" fmla="*/ 2147483647 w 521"/>
                    <a:gd name="T117" fmla="*/ 2147483647 h 362"/>
                    <a:gd name="T118" fmla="*/ 2147483647 w 521"/>
                    <a:gd name="T119" fmla="*/ 2147483647 h 36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21"/>
                    <a:gd name="T181" fmla="*/ 0 h 362"/>
                    <a:gd name="T182" fmla="*/ 521 w 521"/>
                    <a:gd name="T183" fmla="*/ 362 h 36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21" h="362">
                      <a:moveTo>
                        <a:pt x="506" y="300"/>
                      </a:moveTo>
                      <a:lnTo>
                        <a:pt x="506" y="300"/>
                      </a:lnTo>
                      <a:lnTo>
                        <a:pt x="502" y="300"/>
                      </a:lnTo>
                      <a:lnTo>
                        <a:pt x="500" y="300"/>
                      </a:lnTo>
                      <a:lnTo>
                        <a:pt x="496" y="301"/>
                      </a:lnTo>
                      <a:lnTo>
                        <a:pt x="493" y="305"/>
                      </a:lnTo>
                      <a:lnTo>
                        <a:pt x="491" y="307"/>
                      </a:lnTo>
                      <a:lnTo>
                        <a:pt x="488" y="308"/>
                      </a:lnTo>
                      <a:lnTo>
                        <a:pt x="480" y="308"/>
                      </a:lnTo>
                      <a:lnTo>
                        <a:pt x="475" y="309"/>
                      </a:lnTo>
                      <a:lnTo>
                        <a:pt x="472" y="311"/>
                      </a:lnTo>
                      <a:lnTo>
                        <a:pt x="467" y="311"/>
                      </a:lnTo>
                      <a:lnTo>
                        <a:pt x="461" y="309"/>
                      </a:lnTo>
                      <a:lnTo>
                        <a:pt x="455" y="309"/>
                      </a:lnTo>
                      <a:lnTo>
                        <a:pt x="451" y="312"/>
                      </a:lnTo>
                      <a:lnTo>
                        <a:pt x="450" y="313"/>
                      </a:lnTo>
                      <a:lnTo>
                        <a:pt x="449" y="315"/>
                      </a:lnTo>
                      <a:lnTo>
                        <a:pt x="449" y="317"/>
                      </a:lnTo>
                      <a:lnTo>
                        <a:pt x="450" y="318"/>
                      </a:lnTo>
                      <a:lnTo>
                        <a:pt x="451" y="320"/>
                      </a:lnTo>
                      <a:lnTo>
                        <a:pt x="451" y="326"/>
                      </a:lnTo>
                      <a:lnTo>
                        <a:pt x="453" y="328"/>
                      </a:lnTo>
                      <a:lnTo>
                        <a:pt x="454" y="331"/>
                      </a:lnTo>
                      <a:lnTo>
                        <a:pt x="455" y="332"/>
                      </a:lnTo>
                      <a:lnTo>
                        <a:pt x="456" y="333"/>
                      </a:lnTo>
                      <a:lnTo>
                        <a:pt x="458" y="333"/>
                      </a:lnTo>
                      <a:lnTo>
                        <a:pt x="459" y="335"/>
                      </a:lnTo>
                      <a:lnTo>
                        <a:pt x="458" y="338"/>
                      </a:lnTo>
                      <a:lnTo>
                        <a:pt x="455" y="340"/>
                      </a:lnTo>
                      <a:lnTo>
                        <a:pt x="445" y="341"/>
                      </a:lnTo>
                      <a:lnTo>
                        <a:pt x="441" y="343"/>
                      </a:lnTo>
                      <a:lnTo>
                        <a:pt x="437" y="346"/>
                      </a:lnTo>
                      <a:lnTo>
                        <a:pt x="430" y="354"/>
                      </a:lnTo>
                      <a:lnTo>
                        <a:pt x="425" y="358"/>
                      </a:lnTo>
                      <a:lnTo>
                        <a:pt x="421" y="362"/>
                      </a:lnTo>
                      <a:lnTo>
                        <a:pt x="416" y="354"/>
                      </a:lnTo>
                      <a:lnTo>
                        <a:pt x="411" y="347"/>
                      </a:lnTo>
                      <a:lnTo>
                        <a:pt x="404" y="343"/>
                      </a:lnTo>
                      <a:lnTo>
                        <a:pt x="399" y="340"/>
                      </a:lnTo>
                      <a:lnTo>
                        <a:pt x="395" y="339"/>
                      </a:lnTo>
                      <a:lnTo>
                        <a:pt x="392" y="339"/>
                      </a:lnTo>
                      <a:lnTo>
                        <a:pt x="388" y="341"/>
                      </a:lnTo>
                      <a:lnTo>
                        <a:pt x="383" y="346"/>
                      </a:lnTo>
                      <a:lnTo>
                        <a:pt x="379" y="350"/>
                      </a:lnTo>
                      <a:lnTo>
                        <a:pt x="375" y="352"/>
                      </a:lnTo>
                      <a:lnTo>
                        <a:pt x="370" y="353"/>
                      </a:lnTo>
                      <a:lnTo>
                        <a:pt x="366" y="353"/>
                      </a:lnTo>
                      <a:lnTo>
                        <a:pt x="356" y="351"/>
                      </a:lnTo>
                      <a:lnTo>
                        <a:pt x="347" y="347"/>
                      </a:lnTo>
                      <a:lnTo>
                        <a:pt x="343" y="346"/>
                      </a:lnTo>
                      <a:lnTo>
                        <a:pt x="341" y="346"/>
                      </a:lnTo>
                      <a:lnTo>
                        <a:pt x="334" y="346"/>
                      </a:lnTo>
                      <a:lnTo>
                        <a:pt x="326" y="344"/>
                      </a:lnTo>
                      <a:lnTo>
                        <a:pt x="318" y="339"/>
                      </a:lnTo>
                      <a:lnTo>
                        <a:pt x="313" y="338"/>
                      </a:lnTo>
                      <a:lnTo>
                        <a:pt x="308" y="338"/>
                      </a:lnTo>
                      <a:lnTo>
                        <a:pt x="303" y="338"/>
                      </a:lnTo>
                      <a:lnTo>
                        <a:pt x="300" y="337"/>
                      </a:lnTo>
                      <a:lnTo>
                        <a:pt x="298" y="335"/>
                      </a:lnTo>
                      <a:lnTo>
                        <a:pt x="294" y="332"/>
                      </a:lnTo>
                      <a:lnTo>
                        <a:pt x="291" y="330"/>
                      </a:lnTo>
                      <a:lnTo>
                        <a:pt x="290" y="328"/>
                      </a:lnTo>
                      <a:lnTo>
                        <a:pt x="281" y="326"/>
                      </a:lnTo>
                      <a:lnTo>
                        <a:pt x="274" y="322"/>
                      </a:lnTo>
                      <a:lnTo>
                        <a:pt x="266" y="317"/>
                      </a:lnTo>
                      <a:lnTo>
                        <a:pt x="263" y="313"/>
                      </a:lnTo>
                      <a:lnTo>
                        <a:pt x="262" y="309"/>
                      </a:lnTo>
                      <a:lnTo>
                        <a:pt x="260" y="308"/>
                      </a:lnTo>
                      <a:lnTo>
                        <a:pt x="257" y="307"/>
                      </a:lnTo>
                      <a:lnTo>
                        <a:pt x="243" y="306"/>
                      </a:lnTo>
                      <a:lnTo>
                        <a:pt x="235" y="303"/>
                      </a:lnTo>
                      <a:lnTo>
                        <a:pt x="230" y="300"/>
                      </a:lnTo>
                      <a:lnTo>
                        <a:pt x="225" y="295"/>
                      </a:lnTo>
                      <a:lnTo>
                        <a:pt x="224" y="292"/>
                      </a:lnTo>
                      <a:lnTo>
                        <a:pt x="221" y="290"/>
                      </a:lnTo>
                      <a:lnTo>
                        <a:pt x="214" y="288"/>
                      </a:lnTo>
                      <a:lnTo>
                        <a:pt x="207" y="283"/>
                      </a:lnTo>
                      <a:lnTo>
                        <a:pt x="202" y="279"/>
                      </a:lnTo>
                      <a:lnTo>
                        <a:pt x="199" y="273"/>
                      </a:lnTo>
                      <a:lnTo>
                        <a:pt x="196" y="266"/>
                      </a:lnTo>
                      <a:lnTo>
                        <a:pt x="196" y="258"/>
                      </a:lnTo>
                      <a:lnTo>
                        <a:pt x="196" y="251"/>
                      </a:lnTo>
                      <a:lnTo>
                        <a:pt x="199" y="244"/>
                      </a:lnTo>
                      <a:lnTo>
                        <a:pt x="200" y="241"/>
                      </a:lnTo>
                      <a:lnTo>
                        <a:pt x="200" y="237"/>
                      </a:lnTo>
                      <a:lnTo>
                        <a:pt x="199" y="234"/>
                      </a:lnTo>
                      <a:lnTo>
                        <a:pt x="196" y="230"/>
                      </a:lnTo>
                      <a:lnTo>
                        <a:pt x="192" y="223"/>
                      </a:lnTo>
                      <a:lnTo>
                        <a:pt x="186" y="212"/>
                      </a:lnTo>
                      <a:lnTo>
                        <a:pt x="180" y="204"/>
                      </a:lnTo>
                      <a:lnTo>
                        <a:pt x="166" y="186"/>
                      </a:lnTo>
                      <a:lnTo>
                        <a:pt x="163" y="183"/>
                      </a:lnTo>
                      <a:lnTo>
                        <a:pt x="160" y="178"/>
                      </a:lnTo>
                      <a:lnTo>
                        <a:pt x="153" y="166"/>
                      </a:lnTo>
                      <a:lnTo>
                        <a:pt x="148" y="160"/>
                      </a:lnTo>
                      <a:lnTo>
                        <a:pt x="143" y="155"/>
                      </a:lnTo>
                      <a:lnTo>
                        <a:pt x="138" y="149"/>
                      </a:lnTo>
                      <a:lnTo>
                        <a:pt x="135" y="143"/>
                      </a:lnTo>
                      <a:lnTo>
                        <a:pt x="133" y="136"/>
                      </a:lnTo>
                      <a:lnTo>
                        <a:pt x="129" y="130"/>
                      </a:lnTo>
                      <a:lnTo>
                        <a:pt x="126" y="129"/>
                      </a:lnTo>
                      <a:lnTo>
                        <a:pt x="125" y="128"/>
                      </a:lnTo>
                      <a:lnTo>
                        <a:pt x="120" y="123"/>
                      </a:lnTo>
                      <a:lnTo>
                        <a:pt x="116" y="119"/>
                      </a:lnTo>
                      <a:lnTo>
                        <a:pt x="108" y="110"/>
                      </a:lnTo>
                      <a:lnTo>
                        <a:pt x="105" y="107"/>
                      </a:lnTo>
                      <a:lnTo>
                        <a:pt x="100" y="104"/>
                      </a:lnTo>
                      <a:lnTo>
                        <a:pt x="97" y="102"/>
                      </a:lnTo>
                      <a:lnTo>
                        <a:pt x="94" y="100"/>
                      </a:lnTo>
                      <a:lnTo>
                        <a:pt x="92" y="94"/>
                      </a:lnTo>
                      <a:lnTo>
                        <a:pt x="89" y="87"/>
                      </a:lnTo>
                      <a:lnTo>
                        <a:pt x="87" y="83"/>
                      </a:lnTo>
                      <a:lnTo>
                        <a:pt x="84" y="81"/>
                      </a:lnTo>
                      <a:lnTo>
                        <a:pt x="80" y="78"/>
                      </a:lnTo>
                      <a:lnTo>
                        <a:pt x="78" y="76"/>
                      </a:lnTo>
                      <a:lnTo>
                        <a:pt x="77" y="72"/>
                      </a:lnTo>
                      <a:lnTo>
                        <a:pt x="75" y="69"/>
                      </a:lnTo>
                      <a:lnTo>
                        <a:pt x="74" y="62"/>
                      </a:lnTo>
                      <a:lnTo>
                        <a:pt x="72" y="54"/>
                      </a:lnTo>
                      <a:lnTo>
                        <a:pt x="70" y="52"/>
                      </a:lnTo>
                      <a:lnTo>
                        <a:pt x="67" y="50"/>
                      </a:lnTo>
                      <a:lnTo>
                        <a:pt x="65" y="49"/>
                      </a:lnTo>
                      <a:lnTo>
                        <a:pt x="64" y="46"/>
                      </a:lnTo>
                      <a:lnTo>
                        <a:pt x="65" y="43"/>
                      </a:lnTo>
                      <a:lnTo>
                        <a:pt x="67" y="39"/>
                      </a:lnTo>
                      <a:lnTo>
                        <a:pt x="67" y="36"/>
                      </a:lnTo>
                      <a:lnTo>
                        <a:pt x="67" y="34"/>
                      </a:lnTo>
                      <a:lnTo>
                        <a:pt x="64" y="33"/>
                      </a:lnTo>
                      <a:lnTo>
                        <a:pt x="61" y="33"/>
                      </a:lnTo>
                      <a:lnTo>
                        <a:pt x="60" y="34"/>
                      </a:lnTo>
                      <a:lnTo>
                        <a:pt x="59" y="33"/>
                      </a:lnTo>
                      <a:lnTo>
                        <a:pt x="56" y="32"/>
                      </a:lnTo>
                      <a:lnTo>
                        <a:pt x="54" y="32"/>
                      </a:lnTo>
                      <a:lnTo>
                        <a:pt x="47" y="34"/>
                      </a:lnTo>
                      <a:lnTo>
                        <a:pt x="45" y="33"/>
                      </a:lnTo>
                      <a:lnTo>
                        <a:pt x="44" y="32"/>
                      </a:lnTo>
                      <a:lnTo>
                        <a:pt x="42" y="30"/>
                      </a:lnTo>
                      <a:lnTo>
                        <a:pt x="41" y="28"/>
                      </a:lnTo>
                      <a:lnTo>
                        <a:pt x="40" y="27"/>
                      </a:lnTo>
                      <a:lnTo>
                        <a:pt x="39" y="27"/>
                      </a:lnTo>
                      <a:lnTo>
                        <a:pt x="37" y="33"/>
                      </a:lnTo>
                      <a:lnTo>
                        <a:pt x="37" y="38"/>
                      </a:lnTo>
                      <a:lnTo>
                        <a:pt x="39" y="45"/>
                      </a:lnTo>
                      <a:lnTo>
                        <a:pt x="40" y="51"/>
                      </a:lnTo>
                      <a:lnTo>
                        <a:pt x="41" y="64"/>
                      </a:lnTo>
                      <a:lnTo>
                        <a:pt x="42" y="68"/>
                      </a:lnTo>
                      <a:lnTo>
                        <a:pt x="44" y="70"/>
                      </a:lnTo>
                      <a:lnTo>
                        <a:pt x="47" y="72"/>
                      </a:lnTo>
                      <a:lnTo>
                        <a:pt x="53" y="75"/>
                      </a:lnTo>
                      <a:lnTo>
                        <a:pt x="56" y="77"/>
                      </a:lnTo>
                      <a:lnTo>
                        <a:pt x="59" y="81"/>
                      </a:lnTo>
                      <a:lnTo>
                        <a:pt x="61" y="90"/>
                      </a:lnTo>
                      <a:lnTo>
                        <a:pt x="60" y="91"/>
                      </a:lnTo>
                      <a:lnTo>
                        <a:pt x="63" y="92"/>
                      </a:lnTo>
                      <a:lnTo>
                        <a:pt x="70" y="100"/>
                      </a:lnTo>
                      <a:lnTo>
                        <a:pt x="72" y="102"/>
                      </a:lnTo>
                      <a:lnTo>
                        <a:pt x="72" y="104"/>
                      </a:lnTo>
                      <a:lnTo>
                        <a:pt x="72" y="108"/>
                      </a:lnTo>
                      <a:lnTo>
                        <a:pt x="72" y="110"/>
                      </a:lnTo>
                      <a:lnTo>
                        <a:pt x="74" y="113"/>
                      </a:lnTo>
                      <a:lnTo>
                        <a:pt x="78" y="116"/>
                      </a:lnTo>
                      <a:lnTo>
                        <a:pt x="79" y="121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4" y="129"/>
                      </a:lnTo>
                      <a:lnTo>
                        <a:pt x="87" y="133"/>
                      </a:lnTo>
                      <a:lnTo>
                        <a:pt x="91" y="135"/>
                      </a:lnTo>
                      <a:lnTo>
                        <a:pt x="94" y="136"/>
                      </a:lnTo>
                      <a:lnTo>
                        <a:pt x="96" y="137"/>
                      </a:lnTo>
                      <a:lnTo>
                        <a:pt x="96" y="140"/>
                      </a:lnTo>
                      <a:lnTo>
                        <a:pt x="94" y="142"/>
                      </a:lnTo>
                      <a:lnTo>
                        <a:pt x="94" y="145"/>
                      </a:lnTo>
                      <a:lnTo>
                        <a:pt x="100" y="158"/>
                      </a:lnTo>
                      <a:lnTo>
                        <a:pt x="103" y="161"/>
                      </a:lnTo>
                      <a:lnTo>
                        <a:pt x="107" y="165"/>
                      </a:lnTo>
                      <a:lnTo>
                        <a:pt x="108" y="169"/>
                      </a:lnTo>
                      <a:lnTo>
                        <a:pt x="108" y="173"/>
                      </a:lnTo>
                      <a:lnTo>
                        <a:pt x="111" y="177"/>
                      </a:lnTo>
                      <a:lnTo>
                        <a:pt x="115" y="179"/>
                      </a:lnTo>
                      <a:lnTo>
                        <a:pt x="119" y="181"/>
                      </a:lnTo>
                      <a:lnTo>
                        <a:pt x="121" y="184"/>
                      </a:lnTo>
                      <a:lnTo>
                        <a:pt x="126" y="191"/>
                      </a:lnTo>
                      <a:lnTo>
                        <a:pt x="130" y="199"/>
                      </a:lnTo>
                      <a:lnTo>
                        <a:pt x="131" y="200"/>
                      </a:lnTo>
                      <a:lnTo>
                        <a:pt x="130" y="202"/>
                      </a:lnTo>
                      <a:lnTo>
                        <a:pt x="129" y="204"/>
                      </a:lnTo>
                      <a:lnTo>
                        <a:pt x="121" y="206"/>
                      </a:lnTo>
                      <a:lnTo>
                        <a:pt x="119" y="206"/>
                      </a:lnTo>
                      <a:lnTo>
                        <a:pt x="117" y="205"/>
                      </a:lnTo>
                      <a:lnTo>
                        <a:pt x="116" y="203"/>
                      </a:lnTo>
                      <a:lnTo>
                        <a:pt x="116" y="200"/>
                      </a:lnTo>
                      <a:lnTo>
                        <a:pt x="115" y="196"/>
                      </a:lnTo>
                      <a:lnTo>
                        <a:pt x="112" y="193"/>
                      </a:lnTo>
                      <a:lnTo>
                        <a:pt x="108" y="191"/>
                      </a:lnTo>
                      <a:lnTo>
                        <a:pt x="103" y="191"/>
                      </a:lnTo>
                      <a:lnTo>
                        <a:pt x="102" y="186"/>
                      </a:lnTo>
                      <a:lnTo>
                        <a:pt x="100" y="183"/>
                      </a:lnTo>
                      <a:lnTo>
                        <a:pt x="93" y="179"/>
                      </a:lnTo>
                      <a:lnTo>
                        <a:pt x="88" y="174"/>
                      </a:lnTo>
                      <a:lnTo>
                        <a:pt x="86" y="173"/>
                      </a:lnTo>
                      <a:lnTo>
                        <a:pt x="83" y="172"/>
                      </a:lnTo>
                      <a:lnTo>
                        <a:pt x="82" y="167"/>
                      </a:lnTo>
                      <a:lnTo>
                        <a:pt x="80" y="162"/>
                      </a:lnTo>
                      <a:lnTo>
                        <a:pt x="79" y="152"/>
                      </a:lnTo>
                      <a:lnTo>
                        <a:pt x="78" y="146"/>
                      </a:lnTo>
                      <a:lnTo>
                        <a:pt x="77" y="141"/>
                      </a:lnTo>
                      <a:lnTo>
                        <a:pt x="73" y="137"/>
                      </a:lnTo>
                      <a:lnTo>
                        <a:pt x="68" y="135"/>
                      </a:lnTo>
                      <a:lnTo>
                        <a:pt x="67" y="134"/>
                      </a:lnTo>
                      <a:lnTo>
                        <a:pt x="65" y="130"/>
                      </a:lnTo>
                      <a:lnTo>
                        <a:pt x="64" y="128"/>
                      </a:lnTo>
                      <a:lnTo>
                        <a:pt x="63" y="128"/>
                      </a:lnTo>
                      <a:lnTo>
                        <a:pt x="59" y="129"/>
                      </a:lnTo>
                      <a:lnTo>
                        <a:pt x="56" y="130"/>
                      </a:lnTo>
                      <a:lnTo>
                        <a:pt x="54" y="130"/>
                      </a:lnTo>
                      <a:lnTo>
                        <a:pt x="53" y="129"/>
                      </a:lnTo>
                      <a:lnTo>
                        <a:pt x="53" y="128"/>
                      </a:lnTo>
                      <a:lnTo>
                        <a:pt x="51" y="126"/>
                      </a:lnTo>
                      <a:lnTo>
                        <a:pt x="47" y="124"/>
                      </a:lnTo>
                      <a:lnTo>
                        <a:pt x="44" y="116"/>
                      </a:lnTo>
                      <a:lnTo>
                        <a:pt x="37" y="108"/>
                      </a:lnTo>
                      <a:lnTo>
                        <a:pt x="41" y="107"/>
                      </a:lnTo>
                      <a:lnTo>
                        <a:pt x="44" y="108"/>
                      </a:lnTo>
                      <a:lnTo>
                        <a:pt x="46" y="107"/>
                      </a:lnTo>
                      <a:lnTo>
                        <a:pt x="49" y="105"/>
                      </a:lnTo>
                      <a:lnTo>
                        <a:pt x="51" y="103"/>
                      </a:lnTo>
                      <a:lnTo>
                        <a:pt x="51" y="102"/>
                      </a:lnTo>
                      <a:lnTo>
                        <a:pt x="51" y="101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4"/>
                      </a:lnTo>
                      <a:lnTo>
                        <a:pt x="45" y="92"/>
                      </a:lnTo>
                      <a:lnTo>
                        <a:pt x="44" y="92"/>
                      </a:lnTo>
                      <a:lnTo>
                        <a:pt x="42" y="88"/>
                      </a:lnTo>
                      <a:lnTo>
                        <a:pt x="40" y="85"/>
                      </a:lnTo>
                      <a:lnTo>
                        <a:pt x="32" y="81"/>
                      </a:lnTo>
                      <a:lnTo>
                        <a:pt x="31" y="78"/>
                      </a:lnTo>
                      <a:lnTo>
                        <a:pt x="31" y="76"/>
                      </a:lnTo>
                      <a:lnTo>
                        <a:pt x="30" y="73"/>
                      </a:lnTo>
                      <a:lnTo>
                        <a:pt x="28" y="72"/>
                      </a:lnTo>
                      <a:lnTo>
                        <a:pt x="27" y="71"/>
                      </a:lnTo>
                      <a:lnTo>
                        <a:pt x="26" y="70"/>
                      </a:lnTo>
                      <a:lnTo>
                        <a:pt x="23" y="60"/>
                      </a:lnTo>
                      <a:lnTo>
                        <a:pt x="20" y="51"/>
                      </a:lnTo>
                      <a:lnTo>
                        <a:pt x="11" y="32"/>
                      </a:lnTo>
                      <a:lnTo>
                        <a:pt x="11" y="28"/>
                      </a:lnTo>
                      <a:lnTo>
                        <a:pt x="9" y="25"/>
                      </a:lnTo>
                      <a:lnTo>
                        <a:pt x="7" y="22"/>
                      </a:lnTo>
                      <a:lnTo>
                        <a:pt x="6" y="20"/>
                      </a:lnTo>
                      <a:lnTo>
                        <a:pt x="4" y="17"/>
                      </a:lnTo>
                      <a:lnTo>
                        <a:pt x="3" y="8"/>
                      </a:lnTo>
                      <a:lnTo>
                        <a:pt x="0" y="1"/>
                      </a:lnTo>
                      <a:lnTo>
                        <a:pt x="41" y="0"/>
                      </a:lnTo>
                      <a:lnTo>
                        <a:pt x="44" y="1"/>
                      </a:lnTo>
                      <a:lnTo>
                        <a:pt x="46" y="2"/>
                      </a:lnTo>
                      <a:lnTo>
                        <a:pt x="46" y="5"/>
                      </a:lnTo>
                      <a:lnTo>
                        <a:pt x="44" y="7"/>
                      </a:lnTo>
                      <a:lnTo>
                        <a:pt x="42" y="8"/>
                      </a:lnTo>
                      <a:lnTo>
                        <a:pt x="42" y="9"/>
                      </a:lnTo>
                      <a:lnTo>
                        <a:pt x="44" y="12"/>
                      </a:lnTo>
                      <a:lnTo>
                        <a:pt x="47" y="13"/>
                      </a:lnTo>
                      <a:lnTo>
                        <a:pt x="58" y="14"/>
                      </a:lnTo>
                      <a:lnTo>
                        <a:pt x="74" y="19"/>
                      </a:lnTo>
                      <a:lnTo>
                        <a:pt x="89" y="25"/>
                      </a:lnTo>
                      <a:lnTo>
                        <a:pt x="100" y="28"/>
                      </a:lnTo>
                      <a:lnTo>
                        <a:pt x="110" y="32"/>
                      </a:lnTo>
                      <a:lnTo>
                        <a:pt x="115" y="32"/>
                      </a:lnTo>
                      <a:lnTo>
                        <a:pt x="117" y="32"/>
                      </a:lnTo>
                      <a:lnTo>
                        <a:pt x="126" y="31"/>
                      </a:lnTo>
                      <a:lnTo>
                        <a:pt x="136" y="32"/>
                      </a:lnTo>
                      <a:lnTo>
                        <a:pt x="139" y="31"/>
                      </a:lnTo>
                      <a:lnTo>
                        <a:pt x="140" y="31"/>
                      </a:lnTo>
                      <a:lnTo>
                        <a:pt x="141" y="28"/>
                      </a:lnTo>
                      <a:lnTo>
                        <a:pt x="141" y="25"/>
                      </a:lnTo>
                      <a:lnTo>
                        <a:pt x="143" y="22"/>
                      </a:lnTo>
                      <a:lnTo>
                        <a:pt x="144" y="21"/>
                      </a:lnTo>
                      <a:lnTo>
                        <a:pt x="145" y="20"/>
                      </a:lnTo>
                      <a:lnTo>
                        <a:pt x="186" y="19"/>
                      </a:lnTo>
                      <a:lnTo>
                        <a:pt x="188" y="19"/>
                      </a:lnTo>
                      <a:lnTo>
                        <a:pt x="190" y="20"/>
                      </a:lnTo>
                      <a:lnTo>
                        <a:pt x="192" y="24"/>
                      </a:lnTo>
                      <a:lnTo>
                        <a:pt x="207" y="44"/>
                      </a:lnTo>
                      <a:lnTo>
                        <a:pt x="219" y="59"/>
                      </a:lnTo>
                      <a:lnTo>
                        <a:pt x="230" y="70"/>
                      </a:lnTo>
                      <a:lnTo>
                        <a:pt x="234" y="73"/>
                      </a:lnTo>
                      <a:lnTo>
                        <a:pt x="238" y="75"/>
                      </a:lnTo>
                      <a:lnTo>
                        <a:pt x="240" y="75"/>
                      </a:lnTo>
                      <a:lnTo>
                        <a:pt x="243" y="73"/>
                      </a:lnTo>
                      <a:lnTo>
                        <a:pt x="246" y="70"/>
                      </a:lnTo>
                      <a:lnTo>
                        <a:pt x="248" y="65"/>
                      </a:lnTo>
                      <a:lnTo>
                        <a:pt x="251" y="63"/>
                      </a:lnTo>
                      <a:lnTo>
                        <a:pt x="254" y="62"/>
                      </a:lnTo>
                      <a:lnTo>
                        <a:pt x="257" y="62"/>
                      </a:lnTo>
                      <a:lnTo>
                        <a:pt x="260" y="63"/>
                      </a:lnTo>
                      <a:lnTo>
                        <a:pt x="262" y="64"/>
                      </a:lnTo>
                      <a:lnTo>
                        <a:pt x="266" y="65"/>
                      </a:lnTo>
                      <a:lnTo>
                        <a:pt x="274" y="68"/>
                      </a:lnTo>
                      <a:lnTo>
                        <a:pt x="276" y="69"/>
                      </a:lnTo>
                      <a:lnTo>
                        <a:pt x="280" y="71"/>
                      </a:lnTo>
                      <a:lnTo>
                        <a:pt x="284" y="76"/>
                      </a:lnTo>
                      <a:lnTo>
                        <a:pt x="285" y="81"/>
                      </a:lnTo>
                      <a:lnTo>
                        <a:pt x="285" y="85"/>
                      </a:lnTo>
                      <a:lnTo>
                        <a:pt x="287" y="91"/>
                      </a:lnTo>
                      <a:lnTo>
                        <a:pt x="290" y="97"/>
                      </a:lnTo>
                      <a:lnTo>
                        <a:pt x="293" y="101"/>
                      </a:lnTo>
                      <a:lnTo>
                        <a:pt x="296" y="104"/>
                      </a:lnTo>
                      <a:lnTo>
                        <a:pt x="299" y="113"/>
                      </a:lnTo>
                      <a:lnTo>
                        <a:pt x="304" y="126"/>
                      </a:lnTo>
                      <a:lnTo>
                        <a:pt x="305" y="128"/>
                      </a:lnTo>
                      <a:lnTo>
                        <a:pt x="308" y="132"/>
                      </a:lnTo>
                      <a:lnTo>
                        <a:pt x="310" y="133"/>
                      </a:lnTo>
                      <a:lnTo>
                        <a:pt x="317" y="134"/>
                      </a:lnTo>
                      <a:lnTo>
                        <a:pt x="323" y="135"/>
                      </a:lnTo>
                      <a:lnTo>
                        <a:pt x="332" y="137"/>
                      </a:lnTo>
                      <a:lnTo>
                        <a:pt x="341" y="141"/>
                      </a:lnTo>
                      <a:lnTo>
                        <a:pt x="341" y="146"/>
                      </a:lnTo>
                      <a:lnTo>
                        <a:pt x="341" y="151"/>
                      </a:lnTo>
                      <a:lnTo>
                        <a:pt x="341" y="158"/>
                      </a:lnTo>
                      <a:lnTo>
                        <a:pt x="341" y="162"/>
                      </a:lnTo>
                      <a:lnTo>
                        <a:pt x="340" y="164"/>
                      </a:lnTo>
                      <a:lnTo>
                        <a:pt x="338" y="164"/>
                      </a:lnTo>
                      <a:lnTo>
                        <a:pt x="337" y="161"/>
                      </a:lnTo>
                      <a:lnTo>
                        <a:pt x="334" y="159"/>
                      </a:lnTo>
                      <a:lnTo>
                        <a:pt x="333" y="158"/>
                      </a:lnTo>
                      <a:lnTo>
                        <a:pt x="332" y="158"/>
                      </a:lnTo>
                      <a:lnTo>
                        <a:pt x="331" y="160"/>
                      </a:lnTo>
                      <a:lnTo>
                        <a:pt x="331" y="167"/>
                      </a:lnTo>
                      <a:lnTo>
                        <a:pt x="331" y="174"/>
                      </a:lnTo>
                      <a:lnTo>
                        <a:pt x="332" y="181"/>
                      </a:lnTo>
                      <a:lnTo>
                        <a:pt x="333" y="180"/>
                      </a:lnTo>
                      <a:lnTo>
                        <a:pt x="333" y="179"/>
                      </a:lnTo>
                      <a:lnTo>
                        <a:pt x="334" y="174"/>
                      </a:lnTo>
                      <a:lnTo>
                        <a:pt x="336" y="177"/>
                      </a:lnTo>
                      <a:lnTo>
                        <a:pt x="337" y="181"/>
                      </a:lnTo>
                      <a:lnTo>
                        <a:pt x="337" y="192"/>
                      </a:lnTo>
                      <a:lnTo>
                        <a:pt x="337" y="203"/>
                      </a:lnTo>
                      <a:lnTo>
                        <a:pt x="333" y="224"/>
                      </a:lnTo>
                      <a:lnTo>
                        <a:pt x="333" y="223"/>
                      </a:lnTo>
                      <a:lnTo>
                        <a:pt x="333" y="225"/>
                      </a:lnTo>
                      <a:lnTo>
                        <a:pt x="333" y="228"/>
                      </a:lnTo>
                      <a:lnTo>
                        <a:pt x="336" y="229"/>
                      </a:lnTo>
                      <a:lnTo>
                        <a:pt x="337" y="231"/>
                      </a:lnTo>
                      <a:lnTo>
                        <a:pt x="341" y="244"/>
                      </a:lnTo>
                      <a:lnTo>
                        <a:pt x="346" y="256"/>
                      </a:lnTo>
                      <a:lnTo>
                        <a:pt x="352" y="267"/>
                      </a:lnTo>
                      <a:lnTo>
                        <a:pt x="362" y="276"/>
                      </a:lnTo>
                      <a:lnTo>
                        <a:pt x="366" y="281"/>
                      </a:lnTo>
                      <a:lnTo>
                        <a:pt x="367" y="283"/>
                      </a:lnTo>
                      <a:lnTo>
                        <a:pt x="370" y="286"/>
                      </a:lnTo>
                      <a:lnTo>
                        <a:pt x="375" y="290"/>
                      </a:lnTo>
                      <a:lnTo>
                        <a:pt x="380" y="295"/>
                      </a:lnTo>
                      <a:lnTo>
                        <a:pt x="385" y="300"/>
                      </a:lnTo>
                      <a:lnTo>
                        <a:pt x="389" y="301"/>
                      </a:lnTo>
                      <a:lnTo>
                        <a:pt x="393" y="301"/>
                      </a:lnTo>
                      <a:lnTo>
                        <a:pt x="397" y="301"/>
                      </a:lnTo>
                      <a:lnTo>
                        <a:pt x="400" y="300"/>
                      </a:lnTo>
                      <a:lnTo>
                        <a:pt x="403" y="300"/>
                      </a:lnTo>
                      <a:lnTo>
                        <a:pt x="407" y="301"/>
                      </a:lnTo>
                      <a:lnTo>
                        <a:pt x="409" y="299"/>
                      </a:lnTo>
                      <a:lnTo>
                        <a:pt x="413" y="298"/>
                      </a:lnTo>
                      <a:lnTo>
                        <a:pt x="414" y="298"/>
                      </a:lnTo>
                      <a:lnTo>
                        <a:pt x="417" y="299"/>
                      </a:lnTo>
                      <a:lnTo>
                        <a:pt x="418" y="300"/>
                      </a:lnTo>
                      <a:lnTo>
                        <a:pt x="421" y="300"/>
                      </a:lnTo>
                      <a:lnTo>
                        <a:pt x="427" y="298"/>
                      </a:lnTo>
                      <a:lnTo>
                        <a:pt x="430" y="296"/>
                      </a:lnTo>
                      <a:lnTo>
                        <a:pt x="434" y="298"/>
                      </a:lnTo>
                      <a:lnTo>
                        <a:pt x="435" y="300"/>
                      </a:lnTo>
                      <a:lnTo>
                        <a:pt x="436" y="301"/>
                      </a:lnTo>
                      <a:lnTo>
                        <a:pt x="436" y="303"/>
                      </a:lnTo>
                      <a:lnTo>
                        <a:pt x="439" y="303"/>
                      </a:lnTo>
                      <a:lnTo>
                        <a:pt x="445" y="302"/>
                      </a:lnTo>
                      <a:lnTo>
                        <a:pt x="447" y="300"/>
                      </a:lnTo>
                      <a:lnTo>
                        <a:pt x="449" y="299"/>
                      </a:lnTo>
                      <a:lnTo>
                        <a:pt x="450" y="293"/>
                      </a:lnTo>
                      <a:lnTo>
                        <a:pt x="451" y="290"/>
                      </a:lnTo>
                      <a:lnTo>
                        <a:pt x="453" y="288"/>
                      </a:lnTo>
                      <a:lnTo>
                        <a:pt x="454" y="286"/>
                      </a:lnTo>
                      <a:lnTo>
                        <a:pt x="454" y="284"/>
                      </a:lnTo>
                      <a:lnTo>
                        <a:pt x="454" y="280"/>
                      </a:lnTo>
                      <a:lnTo>
                        <a:pt x="455" y="274"/>
                      </a:lnTo>
                      <a:lnTo>
                        <a:pt x="456" y="269"/>
                      </a:lnTo>
                      <a:lnTo>
                        <a:pt x="459" y="267"/>
                      </a:lnTo>
                      <a:lnTo>
                        <a:pt x="461" y="263"/>
                      </a:lnTo>
                      <a:lnTo>
                        <a:pt x="463" y="261"/>
                      </a:lnTo>
                      <a:lnTo>
                        <a:pt x="463" y="258"/>
                      </a:lnTo>
                      <a:lnTo>
                        <a:pt x="464" y="254"/>
                      </a:lnTo>
                      <a:lnTo>
                        <a:pt x="467" y="250"/>
                      </a:lnTo>
                      <a:lnTo>
                        <a:pt x="469" y="248"/>
                      </a:lnTo>
                      <a:lnTo>
                        <a:pt x="472" y="248"/>
                      </a:lnTo>
                      <a:lnTo>
                        <a:pt x="475" y="248"/>
                      </a:lnTo>
                      <a:lnTo>
                        <a:pt x="478" y="248"/>
                      </a:lnTo>
                      <a:lnTo>
                        <a:pt x="480" y="248"/>
                      </a:lnTo>
                      <a:lnTo>
                        <a:pt x="489" y="244"/>
                      </a:lnTo>
                      <a:lnTo>
                        <a:pt x="498" y="242"/>
                      </a:lnTo>
                      <a:lnTo>
                        <a:pt x="517" y="241"/>
                      </a:lnTo>
                      <a:lnTo>
                        <a:pt x="519" y="241"/>
                      </a:lnTo>
                      <a:lnTo>
                        <a:pt x="520" y="243"/>
                      </a:lnTo>
                      <a:lnTo>
                        <a:pt x="521" y="245"/>
                      </a:lnTo>
                      <a:lnTo>
                        <a:pt x="520" y="248"/>
                      </a:lnTo>
                      <a:lnTo>
                        <a:pt x="516" y="254"/>
                      </a:lnTo>
                      <a:lnTo>
                        <a:pt x="514" y="260"/>
                      </a:lnTo>
                      <a:lnTo>
                        <a:pt x="512" y="266"/>
                      </a:lnTo>
                      <a:lnTo>
                        <a:pt x="511" y="271"/>
                      </a:lnTo>
                      <a:lnTo>
                        <a:pt x="511" y="283"/>
                      </a:lnTo>
                      <a:lnTo>
                        <a:pt x="511" y="296"/>
                      </a:lnTo>
                      <a:lnTo>
                        <a:pt x="511" y="298"/>
                      </a:lnTo>
                      <a:lnTo>
                        <a:pt x="508" y="299"/>
                      </a:lnTo>
                      <a:lnTo>
                        <a:pt x="506" y="30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5" name="Freeform 1039">
                  <a:extLst>
                    <a:ext uri="{FF2B5EF4-FFF2-40B4-BE49-F238E27FC236}">
                      <a16:creationId xmlns:a16="http://schemas.microsoft.com/office/drawing/2014/main" id="{60F21C88-304E-F04C-B96A-A48EBB97CA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3289" y="4340149"/>
                  <a:ext cx="134668" cy="66594"/>
                </a:xfrm>
                <a:custGeom>
                  <a:avLst/>
                  <a:gdLst>
                    <a:gd name="T0" fmla="*/ 2147483647 w 99"/>
                    <a:gd name="T1" fmla="*/ 2147483647 h 45"/>
                    <a:gd name="T2" fmla="*/ 2147483647 w 99"/>
                    <a:gd name="T3" fmla="*/ 2147483647 h 45"/>
                    <a:gd name="T4" fmla="*/ 2147483647 w 99"/>
                    <a:gd name="T5" fmla="*/ 2147483647 h 45"/>
                    <a:gd name="T6" fmla="*/ 2147483647 w 99"/>
                    <a:gd name="T7" fmla="*/ 2147483647 h 45"/>
                    <a:gd name="T8" fmla="*/ 2147483647 w 99"/>
                    <a:gd name="T9" fmla="*/ 2147483647 h 45"/>
                    <a:gd name="T10" fmla="*/ 2147483647 w 99"/>
                    <a:gd name="T11" fmla="*/ 2147483647 h 45"/>
                    <a:gd name="T12" fmla="*/ 2147483647 w 99"/>
                    <a:gd name="T13" fmla="*/ 2147483647 h 45"/>
                    <a:gd name="T14" fmla="*/ 2147483647 w 99"/>
                    <a:gd name="T15" fmla="*/ 2147483647 h 45"/>
                    <a:gd name="T16" fmla="*/ 2147483647 w 99"/>
                    <a:gd name="T17" fmla="*/ 2147483647 h 45"/>
                    <a:gd name="T18" fmla="*/ 2147483647 w 99"/>
                    <a:gd name="T19" fmla="*/ 2147483647 h 45"/>
                    <a:gd name="T20" fmla="*/ 2147483647 w 99"/>
                    <a:gd name="T21" fmla="*/ 2147483647 h 45"/>
                    <a:gd name="T22" fmla="*/ 2147483647 w 99"/>
                    <a:gd name="T23" fmla="*/ 2147483647 h 45"/>
                    <a:gd name="T24" fmla="*/ 2147483647 w 99"/>
                    <a:gd name="T25" fmla="*/ 2147483647 h 45"/>
                    <a:gd name="T26" fmla="*/ 2147483647 w 99"/>
                    <a:gd name="T27" fmla="*/ 2147483647 h 45"/>
                    <a:gd name="T28" fmla="*/ 2147483647 w 99"/>
                    <a:gd name="T29" fmla="*/ 2147483647 h 45"/>
                    <a:gd name="T30" fmla="*/ 2147483647 w 99"/>
                    <a:gd name="T31" fmla="*/ 2147483647 h 45"/>
                    <a:gd name="T32" fmla="*/ 2147483647 w 99"/>
                    <a:gd name="T33" fmla="*/ 2147483647 h 45"/>
                    <a:gd name="T34" fmla="*/ 2147483647 w 99"/>
                    <a:gd name="T35" fmla="*/ 2147483647 h 45"/>
                    <a:gd name="T36" fmla="*/ 2147483647 w 99"/>
                    <a:gd name="T37" fmla="*/ 2147483647 h 45"/>
                    <a:gd name="T38" fmla="*/ 2147483647 w 99"/>
                    <a:gd name="T39" fmla="*/ 2147483647 h 45"/>
                    <a:gd name="T40" fmla="*/ 2147483647 w 99"/>
                    <a:gd name="T41" fmla="*/ 2147483647 h 45"/>
                    <a:gd name="T42" fmla="*/ 2147483647 w 99"/>
                    <a:gd name="T43" fmla="*/ 2147483647 h 45"/>
                    <a:gd name="T44" fmla="*/ 2147483647 w 99"/>
                    <a:gd name="T45" fmla="*/ 2147483647 h 45"/>
                    <a:gd name="T46" fmla="*/ 2147483647 w 99"/>
                    <a:gd name="T47" fmla="*/ 0 h 45"/>
                    <a:gd name="T48" fmla="*/ 0 w 99"/>
                    <a:gd name="T49" fmla="*/ 2147483647 h 45"/>
                    <a:gd name="T50" fmla="*/ 0 w 99"/>
                    <a:gd name="T51" fmla="*/ 2147483647 h 45"/>
                    <a:gd name="T52" fmla="*/ 2147483647 w 99"/>
                    <a:gd name="T53" fmla="*/ 2147483647 h 45"/>
                    <a:gd name="T54" fmla="*/ 2147483647 w 99"/>
                    <a:gd name="T55" fmla="*/ 2147483647 h 45"/>
                    <a:gd name="T56" fmla="*/ 2147483647 w 99"/>
                    <a:gd name="T57" fmla="*/ 2147483647 h 45"/>
                    <a:gd name="T58" fmla="*/ 2147483647 w 99"/>
                    <a:gd name="T59" fmla="*/ 2147483647 h 45"/>
                    <a:gd name="T60" fmla="*/ 2147483647 w 99"/>
                    <a:gd name="T61" fmla="*/ 2147483647 h 45"/>
                    <a:gd name="T62" fmla="*/ 2147483647 w 99"/>
                    <a:gd name="T63" fmla="*/ 2147483647 h 45"/>
                    <a:gd name="T64" fmla="*/ 2147483647 w 99"/>
                    <a:gd name="T65" fmla="*/ 2147483647 h 45"/>
                    <a:gd name="T66" fmla="*/ 2147483647 w 99"/>
                    <a:gd name="T67" fmla="*/ 2147483647 h 45"/>
                    <a:gd name="T68" fmla="*/ 2147483647 w 99"/>
                    <a:gd name="T69" fmla="*/ 2147483647 h 45"/>
                    <a:gd name="T70" fmla="*/ 2147483647 w 99"/>
                    <a:gd name="T71" fmla="*/ 2147483647 h 45"/>
                    <a:gd name="T72" fmla="*/ 2147483647 w 99"/>
                    <a:gd name="T73" fmla="*/ 2147483647 h 45"/>
                    <a:gd name="T74" fmla="*/ 2147483647 w 99"/>
                    <a:gd name="T75" fmla="*/ 2147483647 h 45"/>
                    <a:gd name="T76" fmla="*/ 2147483647 w 99"/>
                    <a:gd name="T77" fmla="*/ 2147483647 h 45"/>
                    <a:gd name="T78" fmla="*/ 2147483647 w 99"/>
                    <a:gd name="T79" fmla="*/ 2147483647 h 45"/>
                    <a:gd name="T80" fmla="*/ 2147483647 w 99"/>
                    <a:gd name="T81" fmla="*/ 2147483647 h 45"/>
                    <a:gd name="T82" fmla="*/ 2147483647 w 99"/>
                    <a:gd name="T83" fmla="*/ 2147483647 h 45"/>
                    <a:gd name="T84" fmla="*/ 2147483647 w 99"/>
                    <a:gd name="T85" fmla="*/ 2147483647 h 45"/>
                    <a:gd name="T86" fmla="*/ 2147483647 w 99"/>
                    <a:gd name="T87" fmla="*/ 2147483647 h 45"/>
                    <a:gd name="T88" fmla="*/ 2147483647 w 99"/>
                    <a:gd name="T89" fmla="*/ 2147483647 h 45"/>
                    <a:gd name="T90" fmla="*/ 2147483647 w 99"/>
                    <a:gd name="T91" fmla="*/ 2147483647 h 45"/>
                    <a:gd name="T92" fmla="*/ 2147483647 w 99"/>
                    <a:gd name="T93" fmla="*/ 2147483647 h 45"/>
                    <a:gd name="T94" fmla="*/ 2147483647 w 99"/>
                    <a:gd name="T95" fmla="*/ 2147483647 h 45"/>
                    <a:gd name="T96" fmla="*/ 2147483647 w 99"/>
                    <a:gd name="T97" fmla="*/ 2147483647 h 45"/>
                    <a:gd name="T98" fmla="*/ 2147483647 w 99"/>
                    <a:gd name="T99" fmla="*/ 2147483647 h 45"/>
                    <a:gd name="T100" fmla="*/ 2147483647 w 99"/>
                    <a:gd name="T101" fmla="*/ 2147483647 h 45"/>
                    <a:gd name="T102" fmla="*/ 2147483647 w 99"/>
                    <a:gd name="T103" fmla="*/ 2147483647 h 45"/>
                    <a:gd name="T104" fmla="*/ 2147483647 w 99"/>
                    <a:gd name="T105" fmla="*/ 2147483647 h 45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99"/>
                    <a:gd name="T160" fmla="*/ 0 h 45"/>
                    <a:gd name="T161" fmla="*/ 99 w 99"/>
                    <a:gd name="T162" fmla="*/ 45 h 45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99" h="45">
                      <a:moveTo>
                        <a:pt x="89" y="42"/>
                      </a:moveTo>
                      <a:lnTo>
                        <a:pt x="92" y="41"/>
                      </a:lnTo>
                      <a:lnTo>
                        <a:pt x="94" y="38"/>
                      </a:lnTo>
                      <a:lnTo>
                        <a:pt x="97" y="31"/>
                      </a:lnTo>
                      <a:lnTo>
                        <a:pt x="98" y="28"/>
                      </a:lnTo>
                      <a:lnTo>
                        <a:pt x="99" y="24"/>
                      </a:lnTo>
                      <a:lnTo>
                        <a:pt x="95" y="18"/>
                      </a:lnTo>
                      <a:lnTo>
                        <a:pt x="93" y="14"/>
                      </a:lnTo>
                      <a:lnTo>
                        <a:pt x="90" y="13"/>
                      </a:lnTo>
                      <a:lnTo>
                        <a:pt x="80" y="9"/>
                      </a:lnTo>
                      <a:lnTo>
                        <a:pt x="69" y="5"/>
                      </a:lnTo>
                      <a:lnTo>
                        <a:pt x="65" y="5"/>
                      </a:lnTo>
                      <a:lnTo>
                        <a:pt x="62" y="6"/>
                      </a:lnTo>
                      <a:lnTo>
                        <a:pt x="52" y="11"/>
                      </a:lnTo>
                      <a:lnTo>
                        <a:pt x="41" y="13"/>
                      </a:lnTo>
                      <a:lnTo>
                        <a:pt x="31" y="14"/>
                      </a:lnTo>
                      <a:lnTo>
                        <a:pt x="19" y="14"/>
                      </a:lnTo>
                      <a:lnTo>
                        <a:pt x="17" y="14"/>
                      </a:lnTo>
                      <a:lnTo>
                        <a:pt x="13" y="16"/>
                      </a:lnTo>
                      <a:lnTo>
                        <a:pt x="10" y="16"/>
                      </a:lnTo>
                      <a:lnTo>
                        <a:pt x="9" y="14"/>
                      </a:lnTo>
                      <a:lnTo>
                        <a:pt x="8" y="7"/>
                      </a:ln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2" y="13"/>
                      </a:lnTo>
                      <a:lnTo>
                        <a:pt x="5" y="20"/>
                      </a:lnTo>
                      <a:lnTo>
                        <a:pt x="7" y="24"/>
                      </a:lnTo>
                      <a:lnTo>
                        <a:pt x="4" y="28"/>
                      </a:lnTo>
                      <a:lnTo>
                        <a:pt x="5" y="29"/>
                      </a:lnTo>
                      <a:lnTo>
                        <a:pt x="7" y="30"/>
                      </a:lnTo>
                      <a:lnTo>
                        <a:pt x="14" y="32"/>
                      </a:lnTo>
                      <a:lnTo>
                        <a:pt x="21" y="36"/>
                      </a:lnTo>
                      <a:lnTo>
                        <a:pt x="33" y="44"/>
                      </a:lnTo>
                      <a:lnTo>
                        <a:pt x="38" y="45"/>
                      </a:lnTo>
                      <a:lnTo>
                        <a:pt x="40" y="45"/>
                      </a:lnTo>
                      <a:lnTo>
                        <a:pt x="42" y="44"/>
                      </a:lnTo>
                      <a:lnTo>
                        <a:pt x="43" y="39"/>
                      </a:lnTo>
                      <a:lnTo>
                        <a:pt x="43" y="36"/>
                      </a:lnTo>
                      <a:lnTo>
                        <a:pt x="46" y="31"/>
                      </a:lnTo>
                      <a:lnTo>
                        <a:pt x="50" y="28"/>
                      </a:lnTo>
                      <a:lnTo>
                        <a:pt x="54" y="25"/>
                      </a:lnTo>
                      <a:lnTo>
                        <a:pt x="57" y="23"/>
                      </a:lnTo>
                      <a:lnTo>
                        <a:pt x="61" y="20"/>
                      </a:lnTo>
                      <a:lnTo>
                        <a:pt x="66" y="19"/>
                      </a:lnTo>
                      <a:lnTo>
                        <a:pt x="71" y="19"/>
                      </a:lnTo>
                      <a:lnTo>
                        <a:pt x="76" y="19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9"/>
                      </a:lnTo>
                      <a:lnTo>
                        <a:pt x="88" y="35"/>
                      </a:lnTo>
                      <a:lnTo>
                        <a:pt x="89" y="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6" name="Freeform 1040">
                  <a:extLst>
                    <a:ext uri="{FF2B5EF4-FFF2-40B4-BE49-F238E27FC236}">
                      <a16:creationId xmlns:a16="http://schemas.microsoft.com/office/drawing/2014/main" id="{E72A4CE1-28D3-334A-A76F-2CFC92C3D2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3922" y="4270595"/>
                  <a:ext cx="284135" cy="470599"/>
                </a:xfrm>
                <a:custGeom>
                  <a:avLst/>
                  <a:gdLst>
                    <a:gd name="T0" fmla="*/ 2147483647 w 208"/>
                    <a:gd name="T1" fmla="*/ 2147483647 h 318"/>
                    <a:gd name="T2" fmla="*/ 2147483647 w 208"/>
                    <a:gd name="T3" fmla="*/ 2147483647 h 318"/>
                    <a:gd name="T4" fmla="*/ 2147483647 w 208"/>
                    <a:gd name="T5" fmla="*/ 2147483647 h 318"/>
                    <a:gd name="T6" fmla="*/ 2147483647 w 208"/>
                    <a:gd name="T7" fmla="*/ 2147483647 h 318"/>
                    <a:gd name="T8" fmla="*/ 2147483647 w 208"/>
                    <a:gd name="T9" fmla="*/ 2147483647 h 318"/>
                    <a:gd name="T10" fmla="*/ 2147483647 w 208"/>
                    <a:gd name="T11" fmla="*/ 2147483647 h 318"/>
                    <a:gd name="T12" fmla="*/ 2147483647 w 208"/>
                    <a:gd name="T13" fmla="*/ 2147483647 h 318"/>
                    <a:gd name="T14" fmla="*/ 2147483647 w 208"/>
                    <a:gd name="T15" fmla="*/ 2147483647 h 318"/>
                    <a:gd name="T16" fmla="*/ 2147483647 w 208"/>
                    <a:gd name="T17" fmla="*/ 2147483647 h 318"/>
                    <a:gd name="T18" fmla="*/ 2147483647 w 208"/>
                    <a:gd name="T19" fmla="*/ 2147483647 h 318"/>
                    <a:gd name="T20" fmla="*/ 2147483647 w 208"/>
                    <a:gd name="T21" fmla="*/ 2147483647 h 318"/>
                    <a:gd name="T22" fmla="*/ 2147483647 w 208"/>
                    <a:gd name="T23" fmla="*/ 2147483647 h 318"/>
                    <a:gd name="T24" fmla="*/ 2147483647 w 208"/>
                    <a:gd name="T25" fmla="*/ 2147483647 h 318"/>
                    <a:gd name="T26" fmla="*/ 2147483647 w 208"/>
                    <a:gd name="T27" fmla="*/ 2147483647 h 318"/>
                    <a:gd name="T28" fmla="*/ 2147483647 w 208"/>
                    <a:gd name="T29" fmla="*/ 2147483647 h 318"/>
                    <a:gd name="T30" fmla="*/ 2147483647 w 208"/>
                    <a:gd name="T31" fmla="*/ 2147483647 h 318"/>
                    <a:gd name="T32" fmla="*/ 2147483647 w 208"/>
                    <a:gd name="T33" fmla="*/ 2147483647 h 318"/>
                    <a:gd name="T34" fmla="*/ 2147483647 w 208"/>
                    <a:gd name="T35" fmla="*/ 2147483647 h 318"/>
                    <a:gd name="T36" fmla="*/ 2147483647 w 208"/>
                    <a:gd name="T37" fmla="*/ 2147483647 h 318"/>
                    <a:gd name="T38" fmla="*/ 2147483647 w 208"/>
                    <a:gd name="T39" fmla="*/ 2147483647 h 318"/>
                    <a:gd name="T40" fmla="*/ 2147483647 w 208"/>
                    <a:gd name="T41" fmla="*/ 2147483647 h 318"/>
                    <a:gd name="T42" fmla="*/ 2147483647 w 208"/>
                    <a:gd name="T43" fmla="*/ 2147483647 h 318"/>
                    <a:gd name="T44" fmla="*/ 2147483647 w 208"/>
                    <a:gd name="T45" fmla="*/ 2147483647 h 318"/>
                    <a:gd name="T46" fmla="*/ 2147483647 w 208"/>
                    <a:gd name="T47" fmla="*/ 2147483647 h 318"/>
                    <a:gd name="T48" fmla="*/ 2147483647 w 208"/>
                    <a:gd name="T49" fmla="*/ 2147483647 h 318"/>
                    <a:gd name="T50" fmla="*/ 2147483647 w 208"/>
                    <a:gd name="T51" fmla="*/ 2147483647 h 318"/>
                    <a:gd name="T52" fmla="*/ 2147483647 w 208"/>
                    <a:gd name="T53" fmla="*/ 2147483647 h 318"/>
                    <a:gd name="T54" fmla="*/ 2147483647 w 208"/>
                    <a:gd name="T55" fmla="*/ 2147483647 h 318"/>
                    <a:gd name="T56" fmla="*/ 2147483647 w 208"/>
                    <a:gd name="T57" fmla="*/ 2147483647 h 318"/>
                    <a:gd name="T58" fmla="*/ 2147483647 w 208"/>
                    <a:gd name="T59" fmla="*/ 2147483647 h 318"/>
                    <a:gd name="T60" fmla="*/ 2147483647 w 208"/>
                    <a:gd name="T61" fmla="*/ 2147483647 h 318"/>
                    <a:gd name="T62" fmla="*/ 2147483647 w 208"/>
                    <a:gd name="T63" fmla="*/ 2147483647 h 318"/>
                    <a:gd name="T64" fmla="*/ 2147483647 w 208"/>
                    <a:gd name="T65" fmla="*/ 2147483647 h 318"/>
                    <a:gd name="T66" fmla="*/ 2147483647 w 208"/>
                    <a:gd name="T67" fmla="*/ 2147483647 h 318"/>
                    <a:gd name="T68" fmla="*/ 2147483647 w 208"/>
                    <a:gd name="T69" fmla="*/ 2147483647 h 318"/>
                    <a:gd name="T70" fmla="*/ 2147483647 w 208"/>
                    <a:gd name="T71" fmla="*/ 2147483647 h 318"/>
                    <a:gd name="T72" fmla="*/ 2147483647 w 208"/>
                    <a:gd name="T73" fmla="*/ 2147483647 h 318"/>
                    <a:gd name="T74" fmla="*/ 2147483647 w 208"/>
                    <a:gd name="T75" fmla="*/ 2147483647 h 318"/>
                    <a:gd name="T76" fmla="*/ 2147483647 w 208"/>
                    <a:gd name="T77" fmla="*/ 2147483647 h 318"/>
                    <a:gd name="T78" fmla="*/ 2147483647 w 208"/>
                    <a:gd name="T79" fmla="*/ 2147483647 h 318"/>
                    <a:gd name="T80" fmla="*/ 2147483647 w 208"/>
                    <a:gd name="T81" fmla="*/ 2147483647 h 318"/>
                    <a:gd name="T82" fmla="*/ 0 w 208"/>
                    <a:gd name="T83" fmla="*/ 2147483647 h 318"/>
                    <a:gd name="T84" fmla="*/ 2147483647 w 208"/>
                    <a:gd name="T85" fmla="*/ 2147483647 h 318"/>
                    <a:gd name="T86" fmla="*/ 2147483647 w 208"/>
                    <a:gd name="T87" fmla="*/ 2147483647 h 318"/>
                    <a:gd name="T88" fmla="*/ 2147483647 w 208"/>
                    <a:gd name="T89" fmla="*/ 2147483647 h 318"/>
                    <a:gd name="T90" fmla="*/ 2147483647 w 208"/>
                    <a:gd name="T91" fmla="*/ 2147483647 h 318"/>
                    <a:gd name="T92" fmla="*/ 2147483647 w 208"/>
                    <a:gd name="T93" fmla="*/ 2147483647 h 318"/>
                    <a:gd name="T94" fmla="*/ 2147483647 w 208"/>
                    <a:gd name="T95" fmla="*/ 2147483647 h 318"/>
                    <a:gd name="T96" fmla="*/ 2147483647 w 208"/>
                    <a:gd name="T97" fmla="*/ 2147483647 h 318"/>
                    <a:gd name="T98" fmla="*/ 2147483647 w 208"/>
                    <a:gd name="T99" fmla="*/ 2147483647 h 318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8"/>
                    <a:gd name="T151" fmla="*/ 0 h 318"/>
                    <a:gd name="T152" fmla="*/ 208 w 208"/>
                    <a:gd name="T153" fmla="*/ 318 h 318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8" h="318">
                      <a:moveTo>
                        <a:pt x="15" y="89"/>
                      </a:moveTo>
                      <a:lnTo>
                        <a:pt x="18" y="88"/>
                      </a:lnTo>
                      <a:lnTo>
                        <a:pt x="20" y="85"/>
                      </a:lnTo>
                      <a:lnTo>
                        <a:pt x="23" y="78"/>
                      </a:lnTo>
                      <a:lnTo>
                        <a:pt x="24" y="75"/>
                      </a:lnTo>
                      <a:lnTo>
                        <a:pt x="25" y="71"/>
                      </a:lnTo>
                      <a:lnTo>
                        <a:pt x="25" y="72"/>
                      </a:lnTo>
                      <a:lnTo>
                        <a:pt x="27" y="72"/>
                      </a:lnTo>
                      <a:lnTo>
                        <a:pt x="29" y="72"/>
                      </a:lnTo>
                      <a:lnTo>
                        <a:pt x="32" y="66"/>
                      </a:lnTo>
                      <a:lnTo>
                        <a:pt x="37" y="61"/>
                      </a:lnTo>
                      <a:lnTo>
                        <a:pt x="47" y="56"/>
                      </a:lnTo>
                      <a:lnTo>
                        <a:pt x="52" y="50"/>
                      </a:lnTo>
                      <a:lnTo>
                        <a:pt x="56" y="44"/>
                      </a:lnTo>
                      <a:lnTo>
                        <a:pt x="54" y="38"/>
                      </a:lnTo>
                      <a:lnTo>
                        <a:pt x="57" y="33"/>
                      </a:lnTo>
                      <a:lnTo>
                        <a:pt x="61" y="29"/>
                      </a:lnTo>
                      <a:lnTo>
                        <a:pt x="66" y="27"/>
                      </a:lnTo>
                      <a:lnTo>
                        <a:pt x="72" y="25"/>
                      </a:lnTo>
                      <a:lnTo>
                        <a:pt x="79" y="24"/>
                      </a:lnTo>
                      <a:lnTo>
                        <a:pt x="90" y="21"/>
                      </a:lnTo>
                      <a:lnTo>
                        <a:pt x="95" y="20"/>
                      </a:lnTo>
                      <a:lnTo>
                        <a:pt x="98" y="19"/>
                      </a:lnTo>
                      <a:lnTo>
                        <a:pt x="100" y="18"/>
                      </a:lnTo>
                      <a:lnTo>
                        <a:pt x="101" y="15"/>
                      </a:lnTo>
                      <a:lnTo>
                        <a:pt x="104" y="13"/>
                      </a:lnTo>
                      <a:lnTo>
                        <a:pt x="108" y="11"/>
                      </a:lnTo>
                      <a:lnTo>
                        <a:pt x="110" y="7"/>
                      </a:lnTo>
                      <a:lnTo>
                        <a:pt x="115" y="1"/>
                      </a:lnTo>
                      <a:lnTo>
                        <a:pt x="118" y="0"/>
                      </a:lnTo>
                      <a:lnTo>
                        <a:pt x="122" y="0"/>
                      </a:lnTo>
                      <a:lnTo>
                        <a:pt x="124" y="1"/>
                      </a:lnTo>
                      <a:lnTo>
                        <a:pt x="126" y="3"/>
                      </a:lnTo>
                      <a:lnTo>
                        <a:pt x="124" y="7"/>
                      </a:lnTo>
                      <a:lnTo>
                        <a:pt x="123" y="11"/>
                      </a:lnTo>
                      <a:lnTo>
                        <a:pt x="119" y="15"/>
                      </a:lnTo>
                      <a:lnTo>
                        <a:pt x="115" y="18"/>
                      </a:lnTo>
                      <a:lnTo>
                        <a:pt x="108" y="19"/>
                      </a:lnTo>
                      <a:lnTo>
                        <a:pt x="103" y="22"/>
                      </a:lnTo>
                      <a:lnTo>
                        <a:pt x="99" y="27"/>
                      </a:lnTo>
                      <a:lnTo>
                        <a:pt x="98" y="33"/>
                      </a:lnTo>
                      <a:lnTo>
                        <a:pt x="95" y="46"/>
                      </a:lnTo>
                      <a:lnTo>
                        <a:pt x="94" y="59"/>
                      </a:lnTo>
                      <a:lnTo>
                        <a:pt x="94" y="61"/>
                      </a:lnTo>
                      <a:lnTo>
                        <a:pt x="94" y="64"/>
                      </a:lnTo>
                      <a:lnTo>
                        <a:pt x="99" y="67"/>
                      </a:lnTo>
                      <a:lnTo>
                        <a:pt x="104" y="70"/>
                      </a:lnTo>
                      <a:lnTo>
                        <a:pt x="109" y="73"/>
                      </a:lnTo>
                      <a:lnTo>
                        <a:pt x="110" y="75"/>
                      </a:lnTo>
                      <a:lnTo>
                        <a:pt x="110" y="76"/>
                      </a:lnTo>
                      <a:lnTo>
                        <a:pt x="109" y="79"/>
                      </a:lnTo>
                      <a:lnTo>
                        <a:pt x="109" y="85"/>
                      </a:lnTo>
                      <a:lnTo>
                        <a:pt x="112" y="91"/>
                      </a:lnTo>
                      <a:lnTo>
                        <a:pt x="117" y="96"/>
                      </a:lnTo>
                      <a:lnTo>
                        <a:pt x="122" y="99"/>
                      </a:lnTo>
                      <a:lnTo>
                        <a:pt x="128" y="103"/>
                      </a:lnTo>
                      <a:lnTo>
                        <a:pt x="134" y="105"/>
                      </a:lnTo>
                      <a:lnTo>
                        <a:pt x="142" y="107"/>
                      </a:lnTo>
                      <a:lnTo>
                        <a:pt x="148" y="108"/>
                      </a:lnTo>
                      <a:lnTo>
                        <a:pt x="150" y="108"/>
                      </a:lnTo>
                      <a:lnTo>
                        <a:pt x="151" y="109"/>
                      </a:lnTo>
                      <a:lnTo>
                        <a:pt x="154" y="114"/>
                      </a:lnTo>
                      <a:lnTo>
                        <a:pt x="157" y="117"/>
                      </a:lnTo>
                      <a:lnTo>
                        <a:pt x="162" y="120"/>
                      </a:lnTo>
                      <a:lnTo>
                        <a:pt x="168" y="121"/>
                      </a:lnTo>
                      <a:lnTo>
                        <a:pt x="173" y="121"/>
                      </a:lnTo>
                      <a:lnTo>
                        <a:pt x="178" y="120"/>
                      </a:lnTo>
                      <a:lnTo>
                        <a:pt x="183" y="117"/>
                      </a:lnTo>
                      <a:lnTo>
                        <a:pt x="188" y="115"/>
                      </a:lnTo>
                      <a:lnTo>
                        <a:pt x="187" y="121"/>
                      </a:lnTo>
                      <a:lnTo>
                        <a:pt x="188" y="128"/>
                      </a:lnTo>
                      <a:lnTo>
                        <a:pt x="189" y="141"/>
                      </a:lnTo>
                      <a:lnTo>
                        <a:pt x="193" y="154"/>
                      </a:lnTo>
                      <a:lnTo>
                        <a:pt x="194" y="167"/>
                      </a:lnTo>
                      <a:lnTo>
                        <a:pt x="194" y="169"/>
                      </a:lnTo>
                      <a:lnTo>
                        <a:pt x="193" y="171"/>
                      </a:lnTo>
                      <a:lnTo>
                        <a:pt x="189" y="175"/>
                      </a:lnTo>
                      <a:lnTo>
                        <a:pt x="188" y="179"/>
                      </a:lnTo>
                      <a:lnTo>
                        <a:pt x="187" y="180"/>
                      </a:lnTo>
                      <a:lnTo>
                        <a:pt x="188" y="181"/>
                      </a:lnTo>
                      <a:lnTo>
                        <a:pt x="198" y="186"/>
                      </a:lnTo>
                      <a:lnTo>
                        <a:pt x="203" y="188"/>
                      </a:lnTo>
                      <a:lnTo>
                        <a:pt x="206" y="193"/>
                      </a:lnTo>
                      <a:lnTo>
                        <a:pt x="207" y="198"/>
                      </a:lnTo>
                      <a:lnTo>
                        <a:pt x="208" y="203"/>
                      </a:lnTo>
                      <a:lnTo>
                        <a:pt x="207" y="207"/>
                      </a:lnTo>
                      <a:lnTo>
                        <a:pt x="206" y="212"/>
                      </a:lnTo>
                      <a:lnTo>
                        <a:pt x="203" y="212"/>
                      </a:lnTo>
                      <a:lnTo>
                        <a:pt x="201" y="212"/>
                      </a:lnTo>
                      <a:lnTo>
                        <a:pt x="199" y="210"/>
                      </a:lnTo>
                      <a:lnTo>
                        <a:pt x="198" y="206"/>
                      </a:lnTo>
                      <a:lnTo>
                        <a:pt x="198" y="201"/>
                      </a:lnTo>
                      <a:lnTo>
                        <a:pt x="195" y="197"/>
                      </a:lnTo>
                      <a:lnTo>
                        <a:pt x="193" y="198"/>
                      </a:lnTo>
                      <a:lnTo>
                        <a:pt x="192" y="200"/>
                      </a:lnTo>
                      <a:lnTo>
                        <a:pt x="190" y="204"/>
                      </a:lnTo>
                      <a:lnTo>
                        <a:pt x="188" y="207"/>
                      </a:lnTo>
                      <a:lnTo>
                        <a:pt x="184" y="210"/>
                      </a:lnTo>
                      <a:lnTo>
                        <a:pt x="180" y="211"/>
                      </a:lnTo>
                      <a:lnTo>
                        <a:pt x="171" y="212"/>
                      </a:lnTo>
                      <a:lnTo>
                        <a:pt x="166" y="213"/>
                      </a:lnTo>
                      <a:lnTo>
                        <a:pt x="162" y="216"/>
                      </a:lnTo>
                      <a:lnTo>
                        <a:pt x="160" y="218"/>
                      </a:lnTo>
                      <a:lnTo>
                        <a:pt x="160" y="220"/>
                      </a:lnTo>
                      <a:lnTo>
                        <a:pt x="160" y="223"/>
                      </a:lnTo>
                      <a:lnTo>
                        <a:pt x="162" y="224"/>
                      </a:lnTo>
                      <a:lnTo>
                        <a:pt x="168" y="224"/>
                      </a:lnTo>
                      <a:lnTo>
                        <a:pt x="171" y="225"/>
                      </a:lnTo>
                      <a:lnTo>
                        <a:pt x="174" y="227"/>
                      </a:lnTo>
                      <a:lnTo>
                        <a:pt x="176" y="231"/>
                      </a:lnTo>
                      <a:lnTo>
                        <a:pt x="179" y="231"/>
                      </a:lnTo>
                      <a:lnTo>
                        <a:pt x="180" y="231"/>
                      </a:lnTo>
                      <a:lnTo>
                        <a:pt x="180" y="232"/>
                      </a:lnTo>
                      <a:lnTo>
                        <a:pt x="180" y="235"/>
                      </a:lnTo>
                      <a:lnTo>
                        <a:pt x="176" y="236"/>
                      </a:lnTo>
                      <a:lnTo>
                        <a:pt x="169" y="238"/>
                      </a:lnTo>
                      <a:lnTo>
                        <a:pt x="159" y="238"/>
                      </a:lnTo>
                      <a:lnTo>
                        <a:pt x="156" y="238"/>
                      </a:lnTo>
                      <a:lnTo>
                        <a:pt x="156" y="241"/>
                      </a:lnTo>
                      <a:lnTo>
                        <a:pt x="155" y="249"/>
                      </a:lnTo>
                      <a:lnTo>
                        <a:pt x="155" y="252"/>
                      </a:lnTo>
                      <a:lnTo>
                        <a:pt x="156" y="254"/>
                      </a:lnTo>
                      <a:lnTo>
                        <a:pt x="160" y="256"/>
                      </a:lnTo>
                      <a:lnTo>
                        <a:pt x="161" y="258"/>
                      </a:lnTo>
                      <a:lnTo>
                        <a:pt x="164" y="264"/>
                      </a:lnTo>
                      <a:lnTo>
                        <a:pt x="165" y="270"/>
                      </a:lnTo>
                      <a:lnTo>
                        <a:pt x="162" y="277"/>
                      </a:lnTo>
                      <a:lnTo>
                        <a:pt x="157" y="290"/>
                      </a:lnTo>
                      <a:lnTo>
                        <a:pt x="150" y="302"/>
                      </a:lnTo>
                      <a:lnTo>
                        <a:pt x="147" y="310"/>
                      </a:lnTo>
                      <a:lnTo>
                        <a:pt x="146" y="314"/>
                      </a:lnTo>
                      <a:lnTo>
                        <a:pt x="145" y="316"/>
                      </a:lnTo>
                      <a:lnTo>
                        <a:pt x="141" y="318"/>
                      </a:lnTo>
                      <a:lnTo>
                        <a:pt x="137" y="318"/>
                      </a:lnTo>
                      <a:lnTo>
                        <a:pt x="133" y="316"/>
                      </a:lnTo>
                      <a:lnTo>
                        <a:pt x="131" y="314"/>
                      </a:lnTo>
                      <a:lnTo>
                        <a:pt x="133" y="308"/>
                      </a:lnTo>
                      <a:lnTo>
                        <a:pt x="137" y="300"/>
                      </a:lnTo>
                      <a:lnTo>
                        <a:pt x="147" y="283"/>
                      </a:lnTo>
                      <a:lnTo>
                        <a:pt x="145" y="281"/>
                      </a:lnTo>
                      <a:lnTo>
                        <a:pt x="141" y="280"/>
                      </a:lnTo>
                      <a:lnTo>
                        <a:pt x="137" y="280"/>
                      </a:lnTo>
                      <a:lnTo>
                        <a:pt x="133" y="278"/>
                      </a:lnTo>
                      <a:lnTo>
                        <a:pt x="128" y="275"/>
                      </a:lnTo>
                      <a:lnTo>
                        <a:pt x="124" y="271"/>
                      </a:lnTo>
                      <a:lnTo>
                        <a:pt x="121" y="270"/>
                      </a:lnTo>
                      <a:lnTo>
                        <a:pt x="115" y="271"/>
                      </a:lnTo>
                      <a:lnTo>
                        <a:pt x="112" y="273"/>
                      </a:lnTo>
                      <a:lnTo>
                        <a:pt x="108" y="271"/>
                      </a:lnTo>
                      <a:lnTo>
                        <a:pt x="104" y="269"/>
                      </a:lnTo>
                      <a:lnTo>
                        <a:pt x="101" y="265"/>
                      </a:lnTo>
                      <a:lnTo>
                        <a:pt x="100" y="262"/>
                      </a:lnTo>
                      <a:lnTo>
                        <a:pt x="98" y="259"/>
                      </a:lnTo>
                      <a:lnTo>
                        <a:pt x="85" y="256"/>
                      </a:lnTo>
                      <a:lnTo>
                        <a:pt x="81" y="255"/>
                      </a:lnTo>
                      <a:lnTo>
                        <a:pt x="66" y="241"/>
                      </a:lnTo>
                      <a:lnTo>
                        <a:pt x="62" y="238"/>
                      </a:lnTo>
                      <a:lnTo>
                        <a:pt x="56" y="235"/>
                      </a:lnTo>
                      <a:lnTo>
                        <a:pt x="42" y="231"/>
                      </a:lnTo>
                      <a:lnTo>
                        <a:pt x="33" y="230"/>
                      </a:lnTo>
                      <a:lnTo>
                        <a:pt x="27" y="230"/>
                      </a:lnTo>
                      <a:lnTo>
                        <a:pt x="24" y="227"/>
                      </a:lnTo>
                      <a:lnTo>
                        <a:pt x="21" y="225"/>
                      </a:lnTo>
                      <a:lnTo>
                        <a:pt x="18" y="219"/>
                      </a:lnTo>
                      <a:lnTo>
                        <a:pt x="15" y="217"/>
                      </a:lnTo>
                      <a:lnTo>
                        <a:pt x="11" y="214"/>
                      </a:lnTo>
                      <a:lnTo>
                        <a:pt x="6" y="212"/>
                      </a:lnTo>
                      <a:lnTo>
                        <a:pt x="0" y="211"/>
                      </a:lnTo>
                      <a:lnTo>
                        <a:pt x="0" y="210"/>
                      </a:lnTo>
                      <a:lnTo>
                        <a:pt x="0" y="207"/>
                      </a:lnTo>
                      <a:lnTo>
                        <a:pt x="0" y="205"/>
                      </a:lnTo>
                      <a:lnTo>
                        <a:pt x="1" y="204"/>
                      </a:lnTo>
                      <a:lnTo>
                        <a:pt x="5" y="200"/>
                      </a:lnTo>
                      <a:lnTo>
                        <a:pt x="6" y="199"/>
                      </a:lnTo>
                      <a:lnTo>
                        <a:pt x="8" y="198"/>
                      </a:lnTo>
                      <a:lnTo>
                        <a:pt x="9" y="194"/>
                      </a:lnTo>
                      <a:lnTo>
                        <a:pt x="9" y="192"/>
                      </a:lnTo>
                      <a:lnTo>
                        <a:pt x="10" y="191"/>
                      </a:lnTo>
                      <a:lnTo>
                        <a:pt x="16" y="182"/>
                      </a:lnTo>
                      <a:lnTo>
                        <a:pt x="24" y="173"/>
                      </a:lnTo>
                      <a:lnTo>
                        <a:pt x="28" y="166"/>
                      </a:lnTo>
                      <a:lnTo>
                        <a:pt x="28" y="162"/>
                      </a:lnTo>
                      <a:lnTo>
                        <a:pt x="27" y="160"/>
                      </a:lnTo>
                      <a:lnTo>
                        <a:pt x="23" y="155"/>
                      </a:lnTo>
                      <a:lnTo>
                        <a:pt x="21" y="149"/>
                      </a:lnTo>
                      <a:lnTo>
                        <a:pt x="21" y="142"/>
                      </a:lnTo>
                      <a:lnTo>
                        <a:pt x="24" y="136"/>
                      </a:lnTo>
                      <a:lnTo>
                        <a:pt x="25" y="134"/>
                      </a:lnTo>
                      <a:lnTo>
                        <a:pt x="27" y="130"/>
                      </a:lnTo>
                      <a:lnTo>
                        <a:pt x="29" y="128"/>
                      </a:lnTo>
                      <a:lnTo>
                        <a:pt x="29" y="126"/>
                      </a:lnTo>
                      <a:lnTo>
                        <a:pt x="28" y="122"/>
                      </a:lnTo>
                      <a:lnTo>
                        <a:pt x="27" y="118"/>
                      </a:lnTo>
                      <a:lnTo>
                        <a:pt x="23" y="112"/>
                      </a:lnTo>
                      <a:lnTo>
                        <a:pt x="23" y="109"/>
                      </a:lnTo>
                      <a:lnTo>
                        <a:pt x="23" y="105"/>
                      </a:lnTo>
                      <a:lnTo>
                        <a:pt x="23" y="97"/>
                      </a:lnTo>
                      <a:lnTo>
                        <a:pt x="21" y="96"/>
                      </a:lnTo>
                      <a:lnTo>
                        <a:pt x="19" y="95"/>
                      </a:lnTo>
                      <a:lnTo>
                        <a:pt x="16" y="93"/>
                      </a:lnTo>
                      <a:lnTo>
                        <a:pt x="15" y="91"/>
                      </a:lnTo>
                      <a:lnTo>
                        <a:pt x="15" y="8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7" name="Freeform 1042">
                  <a:extLst>
                    <a:ext uri="{FF2B5EF4-FFF2-40B4-BE49-F238E27FC236}">
                      <a16:creationId xmlns:a16="http://schemas.microsoft.com/office/drawing/2014/main" id="{AA33E7C7-057D-F54B-89E5-04326ECCE2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1809" y="4269116"/>
                  <a:ext cx="384767" cy="469119"/>
                </a:xfrm>
                <a:custGeom>
                  <a:avLst/>
                  <a:gdLst>
                    <a:gd name="T0" fmla="*/ 2147483647 w 282"/>
                    <a:gd name="T1" fmla="*/ 2147483647 h 317"/>
                    <a:gd name="T2" fmla="*/ 2147483647 w 282"/>
                    <a:gd name="T3" fmla="*/ 2147483647 h 317"/>
                    <a:gd name="T4" fmla="*/ 2147483647 w 282"/>
                    <a:gd name="T5" fmla="*/ 2147483647 h 317"/>
                    <a:gd name="T6" fmla="*/ 2147483647 w 282"/>
                    <a:gd name="T7" fmla="*/ 2147483647 h 317"/>
                    <a:gd name="T8" fmla="*/ 2147483647 w 282"/>
                    <a:gd name="T9" fmla="*/ 2147483647 h 317"/>
                    <a:gd name="T10" fmla="*/ 0 w 282"/>
                    <a:gd name="T11" fmla="*/ 2147483647 h 317"/>
                    <a:gd name="T12" fmla="*/ 2147483647 w 282"/>
                    <a:gd name="T13" fmla="*/ 2147483647 h 317"/>
                    <a:gd name="T14" fmla="*/ 2147483647 w 282"/>
                    <a:gd name="T15" fmla="*/ 2147483647 h 317"/>
                    <a:gd name="T16" fmla="*/ 2147483647 w 282"/>
                    <a:gd name="T17" fmla="*/ 2147483647 h 317"/>
                    <a:gd name="T18" fmla="*/ 2147483647 w 282"/>
                    <a:gd name="T19" fmla="*/ 2147483647 h 317"/>
                    <a:gd name="T20" fmla="*/ 2147483647 w 282"/>
                    <a:gd name="T21" fmla="*/ 2147483647 h 317"/>
                    <a:gd name="T22" fmla="*/ 2147483647 w 282"/>
                    <a:gd name="T23" fmla="*/ 2147483647 h 317"/>
                    <a:gd name="T24" fmla="*/ 2147483647 w 282"/>
                    <a:gd name="T25" fmla="*/ 2147483647 h 317"/>
                    <a:gd name="T26" fmla="*/ 2147483647 w 282"/>
                    <a:gd name="T27" fmla="*/ 2147483647 h 317"/>
                    <a:gd name="T28" fmla="*/ 2147483647 w 282"/>
                    <a:gd name="T29" fmla="*/ 2147483647 h 317"/>
                    <a:gd name="T30" fmla="*/ 2147483647 w 282"/>
                    <a:gd name="T31" fmla="*/ 2147483647 h 317"/>
                    <a:gd name="T32" fmla="*/ 2147483647 w 282"/>
                    <a:gd name="T33" fmla="*/ 2147483647 h 317"/>
                    <a:gd name="T34" fmla="*/ 2147483647 w 282"/>
                    <a:gd name="T35" fmla="*/ 2147483647 h 317"/>
                    <a:gd name="T36" fmla="*/ 2147483647 w 282"/>
                    <a:gd name="T37" fmla="*/ 0 h 317"/>
                    <a:gd name="T38" fmla="*/ 2147483647 w 282"/>
                    <a:gd name="T39" fmla="*/ 2147483647 h 317"/>
                    <a:gd name="T40" fmla="*/ 2147483647 w 282"/>
                    <a:gd name="T41" fmla="*/ 2147483647 h 317"/>
                    <a:gd name="T42" fmla="*/ 2147483647 w 282"/>
                    <a:gd name="T43" fmla="*/ 2147483647 h 317"/>
                    <a:gd name="T44" fmla="*/ 2147483647 w 282"/>
                    <a:gd name="T45" fmla="*/ 2147483647 h 317"/>
                    <a:gd name="T46" fmla="*/ 2147483647 w 282"/>
                    <a:gd name="T47" fmla="*/ 2147483647 h 317"/>
                    <a:gd name="T48" fmla="*/ 2147483647 w 282"/>
                    <a:gd name="T49" fmla="*/ 2147483647 h 317"/>
                    <a:gd name="T50" fmla="*/ 2147483647 w 282"/>
                    <a:gd name="T51" fmla="*/ 2147483647 h 317"/>
                    <a:gd name="T52" fmla="*/ 2147483647 w 282"/>
                    <a:gd name="T53" fmla="*/ 2147483647 h 317"/>
                    <a:gd name="T54" fmla="*/ 2147483647 w 282"/>
                    <a:gd name="T55" fmla="*/ 2147483647 h 317"/>
                    <a:gd name="T56" fmla="*/ 2147483647 w 282"/>
                    <a:gd name="T57" fmla="*/ 2147483647 h 317"/>
                    <a:gd name="T58" fmla="*/ 2147483647 w 282"/>
                    <a:gd name="T59" fmla="*/ 2147483647 h 317"/>
                    <a:gd name="T60" fmla="*/ 2147483647 w 282"/>
                    <a:gd name="T61" fmla="*/ 2147483647 h 317"/>
                    <a:gd name="T62" fmla="*/ 2147483647 w 282"/>
                    <a:gd name="T63" fmla="*/ 2147483647 h 317"/>
                    <a:gd name="T64" fmla="*/ 2147483647 w 282"/>
                    <a:gd name="T65" fmla="*/ 2147483647 h 317"/>
                    <a:gd name="T66" fmla="*/ 2147483647 w 282"/>
                    <a:gd name="T67" fmla="*/ 2147483647 h 317"/>
                    <a:gd name="T68" fmla="*/ 2147483647 w 282"/>
                    <a:gd name="T69" fmla="*/ 2147483647 h 317"/>
                    <a:gd name="T70" fmla="*/ 2147483647 w 282"/>
                    <a:gd name="T71" fmla="*/ 2147483647 h 317"/>
                    <a:gd name="T72" fmla="*/ 2147483647 w 282"/>
                    <a:gd name="T73" fmla="*/ 2147483647 h 317"/>
                    <a:gd name="T74" fmla="*/ 2147483647 w 282"/>
                    <a:gd name="T75" fmla="*/ 2147483647 h 317"/>
                    <a:gd name="T76" fmla="*/ 2147483647 w 282"/>
                    <a:gd name="T77" fmla="*/ 2147483647 h 317"/>
                    <a:gd name="T78" fmla="*/ 2147483647 w 282"/>
                    <a:gd name="T79" fmla="*/ 2147483647 h 317"/>
                    <a:gd name="T80" fmla="*/ 2147483647 w 282"/>
                    <a:gd name="T81" fmla="*/ 2147483647 h 317"/>
                    <a:gd name="T82" fmla="*/ 2147483647 w 282"/>
                    <a:gd name="T83" fmla="*/ 2147483647 h 317"/>
                    <a:gd name="T84" fmla="*/ 2147483647 w 282"/>
                    <a:gd name="T85" fmla="*/ 2147483647 h 317"/>
                    <a:gd name="T86" fmla="*/ 2147483647 w 282"/>
                    <a:gd name="T87" fmla="*/ 2147483647 h 317"/>
                    <a:gd name="T88" fmla="*/ 2147483647 w 282"/>
                    <a:gd name="T89" fmla="*/ 2147483647 h 317"/>
                    <a:gd name="T90" fmla="*/ 2147483647 w 282"/>
                    <a:gd name="T91" fmla="*/ 2147483647 h 317"/>
                    <a:gd name="T92" fmla="*/ 2147483647 w 282"/>
                    <a:gd name="T93" fmla="*/ 2147483647 h 317"/>
                    <a:gd name="T94" fmla="*/ 2147483647 w 282"/>
                    <a:gd name="T95" fmla="*/ 2147483647 h 317"/>
                    <a:gd name="T96" fmla="*/ 2147483647 w 282"/>
                    <a:gd name="T97" fmla="*/ 2147483647 h 317"/>
                    <a:gd name="T98" fmla="*/ 2147483647 w 282"/>
                    <a:gd name="T99" fmla="*/ 2147483647 h 317"/>
                    <a:gd name="T100" fmla="*/ 2147483647 w 282"/>
                    <a:gd name="T101" fmla="*/ 2147483647 h 317"/>
                    <a:gd name="T102" fmla="*/ 2147483647 w 282"/>
                    <a:gd name="T103" fmla="*/ 2147483647 h 317"/>
                    <a:gd name="T104" fmla="*/ 2147483647 w 282"/>
                    <a:gd name="T105" fmla="*/ 2147483647 h 317"/>
                    <a:gd name="T106" fmla="*/ 2147483647 w 282"/>
                    <a:gd name="T107" fmla="*/ 2147483647 h 317"/>
                    <a:gd name="T108" fmla="*/ 2147483647 w 282"/>
                    <a:gd name="T109" fmla="*/ 2147483647 h 31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82"/>
                    <a:gd name="T166" fmla="*/ 0 h 317"/>
                    <a:gd name="T167" fmla="*/ 282 w 282"/>
                    <a:gd name="T168" fmla="*/ 317 h 31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82" h="317">
                      <a:moveTo>
                        <a:pt x="89" y="89"/>
                      </a:moveTo>
                      <a:lnTo>
                        <a:pt x="89" y="89"/>
                      </a:lnTo>
                      <a:lnTo>
                        <a:pt x="91" y="87"/>
                      </a:lnTo>
                      <a:lnTo>
                        <a:pt x="94" y="85"/>
                      </a:lnTo>
                      <a:lnTo>
                        <a:pt x="96" y="78"/>
                      </a:lnTo>
                      <a:lnTo>
                        <a:pt x="98" y="74"/>
                      </a:lnTo>
                      <a:lnTo>
                        <a:pt x="99" y="71"/>
                      </a:lnTo>
                      <a:lnTo>
                        <a:pt x="95" y="65"/>
                      </a:lnTo>
                      <a:lnTo>
                        <a:pt x="93" y="61"/>
                      </a:lnTo>
                      <a:lnTo>
                        <a:pt x="90" y="60"/>
                      </a:lnTo>
                      <a:lnTo>
                        <a:pt x="80" y="55"/>
                      </a:lnTo>
                      <a:lnTo>
                        <a:pt x="69" y="52"/>
                      </a:lnTo>
                      <a:lnTo>
                        <a:pt x="65" y="52"/>
                      </a:lnTo>
                      <a:lnTo>
                        <a:pt x="62" y="53"/>
                      </a:lnTo>
                      <a:lnTo>
                        <a:pt x="52" y="58"/>
                      </a:lnTo>
                      <a:lnTo>
                        <a:pt x="41" y="60"/>
                      </a:lnTo>
                      <a:lnTo>
                        <a:pt x="30" y="61"/>
                      </a:lnTo>
                      <a:lnTo>
                        <a:pt x="19" y="61"/>
                      </a:lnTo>
                      <a:lnTo>
                        <a:pt x="16" y="61"/>
                      </a:lnTo>
                      <a:lnTo>
                        <a:pt x="13" y="62"/>
                      </a:lnTo>
                      <a:lnTo>
                        <a:pt x="10" y="62"/>
                      </a:lnTo>
                      <a:lnTo>
                        <a:pt x="9" y="61"/>
                      </a:lnTo>
                      <a:lnTo>
                        <a:pt x="8" y="54"/>
                      </a:lnTo>
                      <a:lnTo>
                        <a:pt x="6" y="51"/>
                      </a:lnTo>
                      <a:lnTo>
                        <a:pt x="4" y="47"/>
                      </a:lnTo>
                      <a:lnTo>
                        <a:pt x="0" y="54"/>
                      </a:lnTo>
                      <a:lnTo>
                        <a:pt x="0" y="58"/>
                      </a:lnTo>
                      <a:lnTo>
                        <a:pt x="1" y="60"/>
                      </a:lnTo>
                      <a:lnTo>
                        <a:pt x="5" y="67"/>
                      </a:lnTo>
                      <a:lnTo>
                        <a:pt x="6" y="71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6" y="77"/>
                      </a:lnTo>
                      <a:lnTo>
                        <a:pt x="14" y="79"/>
                      </a:lnTo>
                      <a:lnTo>
                        <a:pt x="20" y="83"/>
                      </a:lnTo>
                      <a:lnTo>
                        <a:pt x="33" y="91"/>
                      </a:lnTo>
                      <a:lnTo>
                        <a:pt x="38" y="92"/>
                      </a:lnTo>
                      <a:lnTo>
                        <a:pt x="39" y="92"/>
                      </a:lnTo>
                      <a:lnTo>
                        <a:pt x="42" y="91"/>
                      </a:lnTo>
                      <a:lnTo>
                        <a:pt x="43" y="86"/>
                      </a:lnTo>
                      <a:lnTo>
                        <a:pt x="43" y="83"/>
                      </a:lnTo>
                      <a:lnTo>
                        <a:pt x="46" y="78"/>
                      </a:lnTo>
                      <a:lnTo>
                        <a:pt x="49" y="74"/>
                      </a:lnTo>
                      <a:lnTo>
                        <a:pt x="53" y="72"/>
                      </a:lnTo>
                      <a:lnTo>
                        <a:pt x="57" y="70"/>
                      </a:lnTo>
                      <a:lnTo>
                        <a:pt x="61" y="67"/>
                      </a:lnTo>
                      <a:lnTo>
                        <a:pt x="66" y="66"/>
                      </a:lnTo>
                      <a:lnTo>
                        <a:pt x="71" y="66"/>
                      </a:lnTo>
                      <a:lnTo>
                        <a:pt x="76" y="66"/>
                      </a:lnTo>
                      <a:lnTo>
                        <a:pt x="79" y="67"/>
                      </a:lnTo>
                      <a:lnTo>
                        <a:pt x="81" y="70"/>
                      </a:lnTo>
                      <a:lnTo>
                        <a:pt x="85" y="76"/>
                      </a:lnTo>
                      <a:lnTo>
                        <a:pt x="88" y="81"/>
                      </a:lnTo>
                      <a:lnTo>
                        <a:pt x="89" y="89"/>
                      </a:lnTo>
                      <a:lnTo>
                        <a:pt x="91" y="87"/>
                      </a:lnTo>
                      <a:lnTo>
                        <a:pt x="94" y="85"/>
                      </a:lnTo>
                      <a:lnTo>
                        <a:pt x="96" y="78"/>
                      </a:lnTo>
                      <a:lnTo>
                        <a:pt x="98" y="74"/>
                      </a:lnTo>
                      <a:lnTo>
                        <a:pt x="99" y="71"/>
                      </a:lnTo>
                      <a:lnTo>
                        <a:pt x="99" y="72"/>
                      </a:lnTo>
                      <a:lnTo>
                        <a:pt x="100" y="72"/>
                      </a:lnTo>
                      <a:lnTo>
                        <a:pt x="103" y="72"/>
                      </a:lnTo>
                      <a:lnTo>
                        <a:pt x="105" y="66"/>
                      </a:lnTo>
                      <a:lnTo>
                        <a:pt x="110" y="61"/>
                      </a:lnTo>
                      <a:lnTo>
                        <a:pt x="121" y="55"/>
                      </a:lnTo>
                      <a:lnTo>
                        <a:pt x="126" y="49"/>
                      </a:lnTo>
                      <a:lnTo>
                        <a:pt x="129" y="44"/>
                      </a:lnTo>
                      <a:lnTo>
                        <a:pt x="128" y="38"/>
                      </a:lnTo>
                      <a:lnTo>
                        <a:pt x="131" y="33"/>
                      </a:lnTo>
                      <a:lnTo>
                        <a:pt x="135" y="29"/>
                      </a:lnTo>
                      <a:lnTo>
                        <a:pt x="140" y="27"/>
                      </a:lnTo>
                      <a:lnTo>
                        <a:pt x="146" y="25"/>
                      </a:lnTo>
                      <a:lnTo>
                        <a:pt x="152" y="23"/>
                      </a:lnTo>
                      <a:lnTo>
                        <a:pt x="164" y="21"/>
                      </a:lnTo>
                      <a:lnTo>
                        <a:pt x="169" y="20"/>
                      </a:lnTo>
                      <a:lnTo>
                        <a:pt x="171" y="19"/>
                      </a:lnTo>
                      <a:lnTo>
                        <a:pt x="174" y="17"/>
                      </a:lnTo>
                      <a:lnTo>
                        <a:pt x="175" y="15"/>
                      </a:lnTo>
                      <a:lnTo>
                        <a:pt x="178" y="13"/>
                      </a:lnTo>
                      <a:lnTo>
                        <a:pt x="182" y="10"/>
                      </a:lnTo>
                      <a:lnTo>
                        <a:pt x="184" y="7"/>
                      </a:lnTo>
                      <a:lnTo>
                        <a:pt x="189" y="1"/>
                      </a:lnTo>
                      <a:lnTo>
                        <a:pt x="192" y="0"/>
                      </a:lnTo>
                      <a:lnTo>
                        <a:pt x="196" y="0"/>
                      </a:lnTo>
                      <a:lnTo>
                        <a:pt x="198" y="1"/>
                      </a:lnTo>
                      <a:lnTo>
                        <a:pt x="199" y="3"/>
                      </a:lnTo>
                      <a:lnTo>
                        <a:pt x="198" y="7"/>
                      </a:lnTo>
                      <a:lnTo>
                        <a:pt x="197" y="10"/>
                      </a:lnTo>
                      <a:lnTo>
                        <a:pt x="193" y="15"/>
                      </a:lnTo>
                      <a:lnTo>
                        <a:pt x="189" y="17"/>
                      </a:lnTo>
                      <a:lnTo>
                        <a:pt x="182" y="19"/>
                      </a:lnTo>
                      <a:lnTo>
                        <a:pt x="176" y="22"/>
                      </a:lnTo>
                      <a:lnTo>
                        <a:pt x="173" y="27"/>
                      </a:lnTo>
                      <a:lnTo>
                        <a:pt x="171" y="33"/>
                      </a:lnTo>
                      <a:lnTo>
                        <a:pt x="169" y="46"/>
                      </a:lnTo>
                      <a:lnTo>
                        <a:pt x="168" y="59"/>
                      </a:lnTo>
                      <a:lnTo>
                        <a:pt x="168" y="61"/>
                      </a:lnTo>
                      <a:lnTo>
                        <a:pt x="168" y="64"/>
                      </a:lnTo>
                      <a:lnTo>
                        <a:pt x="173" y="67"/>
                      </a:lnTo>
                      <a:lnTo>
                        <a:pt x="178" y="70"/>
                      </a:lnTo>
                      <a:lnTo>
                        <a:pt x="183" y="73"/>
                      </a:lnTo>
                      <a:lnTo>
                        <a:pt x="184" y="74"/>
                      </a:lnTo>
                      <a:lnTo>
                        <a:pt x="184" y="76"/>
                      </a:lnTo>
                      <a:lnTo>
                        <a:pt x="183" y="79"/>
                      </a:lnTo>
                      <a:lnTo>
                        <a:pt x="183" y="85"/>
                      </a:lnTo>
                      <a:lnTo>
                        <a:pt x="185" y="91"/>
                      </a:lnTo>
                      <a:lnTo>
                        <a:pt x="190" y="96"/>
                      </a:lnTo>
                      <a:lnTo>
                        <a:pt x="196" y="99"/>
                      </a:lnTo>
                      <a:lnTo>
                        <a:pt x="202" y="103"/>
                      </a:lnTo>
                      <a:lnTo>
                        <a:pt x="208" y="105"/>
                      </a:lnTo>
                      <a:lnTo>
                        <a:pt x="216" y="106"/>
                      </a:lnTo>
                      <a:lnTo>
                        <a:pt x="222" y="108"/>
                      </a:lnTo>
                      <a:lnTo>
                        <a:pt x="223" y="108"/>
                      </a:lnTo>
                      <a:lnTo>
                        <a:pt x="225" y="109"/>
                      </a:lnTo>
                      <a:lnTo>
                        <a:pt x="227" y="113"/>
                      </a:lnTo>
                      <a:lnTo>
                        <a:pt x="231" y="117"/>
                      </a:lnTo>
                      <a:lnTo>
                        <a:pt x="236" y="119"/>
                      </a:lnTo>
                      <a:lnTo>
                        <a:pt x="241" y="121"/>
                      </a:lnTo>
                      <a:lnTo>
                        <a:pt x="246" y="121"/>
                      </a:lnTo>
                      <a:lnTo>
                        <a:pt x="251" y="119"/>
                      </a:lnTo>
                      <a:lnTo>
                        <a:pt x="256" y="117"/>
                      </a:lnTo>
                      <a:lnTo>
                        <a:pt x="262" y="115"/>
                      </a:lnTo>
                      <a:lnTo>
                        <a:pt x="260" y="121"/>
                      </a:lnTo>
                      <a:lnTo>
                        <a:pt x="262" y="128"/>
                      </a:lnTo>
                      <a:lnTo>
                        <a:pt x="263" y="141"/>
                      </a:lnTo>
                      <a:lnTo>
                        <a:pt x="267" y="154"/>
                      </a:lnTo>
                      <a:lnTo>
                        <a:pt x="268" y="167"/>
                      </a:lnTo>
                      <a:lnTo>
                        <a:pt x="268" y="169"/>
                      </a:lnTo>
                      <a:lnTo>
                        <a:pt x="267" y="170"/>
                      </a:lnTo>
                      <a:lnTo>
                        <a:pt x="263" y="175"/>
                      </a:lnTo>
                      <a:lnTo>
                        <a:pt x="262" y="179"/>
                      </a:lnTo>
                      <a:lnTo>
                        <a:pt x="260" y="180"/>
                      </a:lnTo>
                      <a:lnTo>
                        <a:pt x="262" y="181"/>
                      </a:lnTo>
                      <a:lnTo>
                        <a:pt x="272" y="186"/>
                      </a:lnTo>
                      <a:lnTo>
                        <a:pt x="277" y="188"/>
                      </a:lnTo>
                      <a:lnTo>
                        <a:pt x="279" y="193"/>
                      </a:lnTo>
                      <a:lnTo>
                        <a:pt x="281" y="198"/>
                      </a:lnTo>
                      <a:lnTo>
                        <a:pt x="282" y="202"/>
                      </a:lnTo>
                      <a:lnTo>
                        <a:pt x="281" y="207"/>
                      </a:lnTo>
                      <a:lnTo>
                        <a:pt x="279" y="212"/>
                      </a:lnTo>
                      <a:lnTo>
                        <a:pt x="277" y="212"/>
                      </a:lnTo>
                      <a:lnTo>
                        <a:pt x="274" y="212"/>
                      </a:lnTo>
                      <a:lnTo>
                        <a:pt x="273" y="209"/>
                      </a:lnTo>
                      <a:lnTo>
                        <a:pt x="272" y="206"/>
                      </a:lnTo>
                      <a:lnTo>
                        <a:pt x="272" y="201"/>
                      </a:lnTo>
                      <a:lnTo>
                        <a:pt x="269" y="196"/>
                      </a:lnTo>
                      <a:lnTo>
                        <a:pt x="267" y="198"/>
                      </a:lnTo>
                      <a:lnTo>
                        <a:pt x="265" y="200"/>
                      </a:lnTo>
                      <a:lnTo>
                        <a:pt x="264" y="204"/>
                      </a:lnTo>
                      <a:lnTo>
                        <a:pt x="262" y="207"/>
                      </a:lnTo>
                      <a:lnTo>
                        <a:pt x="258" y="209"/>
                      </a:lnTo>
                      <a:lnTo>
                        <a:pt x="254" y="211"/>
                      </a:lnTo>
                      <a:lnTo>
                        <a:pt x="245" y="212"/>
                      </a:lnTo>
                      <a:lnTo>
                        <a:pt x="240" y="213"/>
                      </a:lnTo>
                      <a:lnTo>
                        <a:pt x="236" y="215"/>
                      </a:lnTo>
                      <a:lnTo>
                        <a:pt x="234" y="218"/>
                      </a:lnTo>
                      <a:lnTo>
                        <a:pt x="234" y="220"/>
                      </a:lnTo>
                      <a:lnTo>
                        <a:pt x="234" y="223"/>
                      </a:lnTo>
                      <a:lnTo>
                        <a:pt x="236" y="224"/>
                      </a:lnTo>
                      <a:lnTo>
                        <a:pt x="241" y="224"/>
                      </a:lnTo>
                      <a:lnTo>
                        <a:pt x="245" y="225"/>
                      </a:lnTo>
                      <a:lnTo>
                        <a:pt x="248" y="227"/>
                      </a:lnTo>
                      <a:lnTo>
                        <a:pt x="250" y="231"/>
                      </a:lnTo>
                      <a:lnTo>
                        <a:pt x="253" y="231"/>
                      </a:lnTo>
                      <a:lnTo>
                        <a:pt x="254" y="231"/>
                      </a:lnTo>
                      <a:lnTo>
                        <a:pt x="254" y="232"/>
                      </a:lnTo>
                      <a:lnTo>
                        <a:pt x="254" y="234"/>
                      </a:lnTo>
                      <a:lnTo>
                        <a:pt x="250" y="236"/>
                      </a:lnTo>
                      <a:lnTo>
                        <a:pt x="243" y="238"/>
                      </a:lnTo>
                      <a:lnTo>
                        <a:pt x="232" y="238"/>
                      </a:lnTo>
                      <a:lnTo>
                        <a:pt x="230" y="238"/>
                      </a:lnTo>
                      <a:lnTo>
                        <a:pt x="230" y="240"/>
                      </a:lnTo>
                      <a:lnTo>
                        <a:pt x="229" y="249"/>
                      </a:lnTo>
                      <a:lnTo>
                        <a:pt x="229" y="252"/>
                      </a:lnTo>
                      <a:lnTo>
                        <a:pt x="230" y="253"/>
                      </a:lnTo>
                      <a:lnTo>
                        <a:pt x="234" y="256"/>
                      </a:lnTo>
                      <a:lnTo>
                        <a:pt x="235" y="258"/>
                      </a:lnTo>
                      <a:lnTo>
                        <a:pt x="237" y="264"/>
                      </a:lnTo>
                      <a:lnTo>
                        <a:pt x="239" y="270"/>
                      </a:lnTo>
                      <a:lnTo>
                        <a:pt x="236" y="277"/>
                      </a:lnTo>
                      <a:lnTo>
                        <a:pt x="231" y="290"/>
                      </a:lnTo>
                      <a:lnTo>
                        <a:pt x="223" y="302"/>
                      </a:lnTo>
                      <a:lnTo>
                        <a:pt x="221" y="310"/>
                      </a:lnTo>
                      <a:lnTo>
                        <a:pt x="220" y="314"/>
                      </a:lnTo>
                      <a:lnTo>
                        <a:pt x="218" y="316"/>
                      </a:lnTo>
                      <a:lnTo>
                        <a:pt x="215" y="317"/>
                      </a:lnTo>
                      <a:lnTo>
                        <a:pt x="211" y="317"/>
                      </a:lnTo>
                      <a:lnTo>
                        <a:pt x="207" y="316"/>
                      </a:lnTo>
                      <a:lnTo>
                        <a:pt x="204" y="314"/>
                      </a:lnTo>
                      <a:lnTo>
                        <a:pt x="207" y="308"/>
                      </a:lnTo>
                      <a:lnTo>
                        <a:pt x="211" y="300"/>
                      </a:lnTo>
                      <a:lnTo>
                        <a:pt x="221" y="283"/>
                      </a:lnTo>
                      <a:lnTo>
                        <a:pt x="218" y="281"/>
                      </a:lnTo>
                      <a:lnTo>
                        <a:pt x="215" y="279"/>
                      </a:lnTo>
                      <a:lnTo>
                        <a:pt x="211" y="279"/>
                      </a:lnTo>
                      <a:lnTo>
                        <a:pt x="207" y="278"/>
                      </a:lnTo>
                      <a:lnTo>
                        <a:pt x="202" y="275"/>
                      </a:lnTo>
                      <a:lnTo>
                        <a:pt x="198" y="271"/>
                      </a:lnTo>
                      <a:lnTo>
                        <a:pt x="194" y="270"/>
                      </a:lnTo>
                      <a:lnTo>
                        <a:pt x="189" y="271"/>
                      </a:lnTo>
                      <a:lnTo>
                        <a:pt x="185" y="272"/>
                      </a:lnTo>
                      <a:lnTo>
                        <a:pt x="182" y="271"/>
                      </a:lnTo>
                      <a:lnTo>
                        <a:pt x="178" y="269"/>
                      </a:lnTo>
                      <a:lnTo>
                        <a:pt x="175" y="265"/>
                      </a:lnTo>
                      <a:lnTo>
                        <a:pt x="174" y="262"/>
                      </a:lnTo>
                      <a:lnTo>
                        <a:pt x="171" y="259"/>
                      </a:lnTo>
                      <a:lnTo>
                        <a:pt x="159" y="256"/>
                      </a:lnTo>
                      <a:lnTo>
                        <a:pt x="155" y="255"/>
                      </a:lnTo>
                      <a:lnTo>
                        <a:pt x="140" y="240"/>
                      </a:lnTo>
                      <a:lnTo>
                        <a:pt x="136" y="238"/>
                      </a:lnTo>
                      <a:lnTo>
                        <a:pt x="129" y="234"/>
                      </a:lnTo>
                      <a:lnTo>
                        <a:pt x="116" y="231"/>
                      </a:lnTo>
                      <a:lnTo>
                        <a:pt x="107" y="230"/>
                      </a:lnTo>
                      <a:lnTo>
                        <a:pt x="100" y="230"/>
                      </a:lnTo>
                      <a:lnTo>
                        <a:pt x="98" y="227"/>
                      </a:lnTo>
                      <a:lnTo>
                        <a:pt x="95" y="225"/>
                      </a:lnTo>
                      <a:lnTo>
                        <a:pt x="91" y="219"/>
                      </a:lnTo>
                      <a:lnTo>
                        <a:pt x="89" y="217"/>
                      </a:lnTo>
                      <a:lnTo>
                        <a:pt x="85" y="214"/>
                      </a:lnTo>
                      <a:lnTo>
                        <a:pt x="80" y="212"/>
                      </a:lnTo>
                      <a:lnTo>
                        <a:pt x="74" y="211"/>
                      </a:lnTo>
                      <a:lnTo>
                        <a:pt x="74" y="209"/>
                      </a:lnTo>
                      <a:lnTo>
                        <a:pt x="74" y="207"/>
                      </a:lnTo>
                      <a:lnTo>
                        <a:pt x="74" y="205"/>
                      </a:lnTo>
                      <a:lnTo>
                        <a:pt x="75" y="204"/>
                      </a:lnTo>
                      <a:lnTo>
                        <a:pt x="79" y="200"/>
                      </a:lnTo>
                      <a:lnTo>
                        <a:pt x="80" y="199"/>
                      </a:lnTo>
                      <a:lnTo>
                        <a:pt x="81" y="198"/>
                      </a:lnTo>
                      <a:lnTo>
                        <a:pt x="83" y="194"/>
                      </a:lnTo>
                      <a:lnTo>
                        <a:pt x="83" y="192"/>
                      </a:lnTo>
                      <a:lnTo>
                        <a:pt x="84" y="191"/>
                      </a:lnTo>
                      <a:lnTo>
                        <a:pt x="90" y="182"/>
                      </a:lnTo>
                      <a:lnTo>
                        <a:pt x="98" y="173"/>
                      </a:lnTo>
                      <a:lnTo>
                        <a:pt x="102" y="166"/>
                      </a:lnTo>
                      <a:lnTo>
                        <a:pt x="102" y="162"/>
                      </a:lnTo>
                      <a:lnTo>
                        <a:pt x="100" y="160"/>
                      </a:lnTo>
                      <a:lnTo>
                        <a:pt x="96" y="155"/>
                      </a:lnTo>
                      <a:lnTo>
                        <a:pt x="95" y="149"/>
                      </a:lnTo>
                      <a:lnTo>
                        <a:pt x="95" y="142"/>
                      </a:lnTo>
                      <a:lnTo>
                        <a:pt x="98" y="136"/>
                      </a:lnTo>
                      <a:lnTo>
                        <a:pt x="99" y="134"/>
                      </a:lnTo>
                      <a:lnTo>
                        <a:pt x="100" y="130"/>
                      </a:lnTo>
                      <a:lnTo>
                        <a:pt x="103" y="128"/>
                      </a:lnTo>
                      <a:lnTo>
                        <a:pt x="103" y="125"/>
                      </a:lnTo>
                      <a:lnTo>
                        <a:pt x="102" y="122"/>
                      </a:lnTo>
                      <a:lnTo>
                        <a:pt x="100" y="118"/>
                      </a:lnTo>
                      <a:lnTo>
                        <a:pt x="96" y="112"/>
                      </a:lnTo>
                      <a:lnTo>
                        <a:pt x="96" y="109"/>
                      </a:lnTo>
                      <a:lnTo>
                        <a:pt x="96" y="105"/>
                      </a:lnTo>
                      <a:lnTo>
                        <a:pt x="96" y="97"/>
                      </a:lnTo>
                      <a:lnTo>
                        <a:pt x="95" y="96"/>
                      </a:lnTo>
                      <a:lnTo>
                        <a:pt x="93" y="94"/>
                      </a:lnTo>
                      <a:lnTo>
                        <a:pt x="90" y="93"/>
                      </a:lnTo>
                      <a:lnTo>
                        <a:pt x="89" y="91"/>
                      </a:lnTo>
                      <a:lnTo>
                        <a:pt x="89" y="8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8" name="Freeform 1084">
                  <a:extLst>
                    <a:ext uri="{FF2B5EF4-FFF2-40B4-BE49-F238E27FC236}">
                      <a16:creationId xmlns:a16="http://schemas.microsoft.com/office/drawing/2014/main" id="{CD6E00EB-C730-9046-ADF8-232797C026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5274" y="5266546"/>
                  <a:ext cx="464680" cy="978195"/>
                </a:xfrm>
                <a:custGeom>
                  <a:avLst/>
                  <a:gdLst>
                    <a:gd name="T0" fmla="*/ 2147483647 w 340"/>
                    <a:gd name="T1" fmla="*/ 2147483647 h 661"/>
                    <a:gd name="T2" fmla="*/ 2147483647 w 340"/>
                    <a:gd name="T3" fmla="*/ 2147483647 h 661"/>
                    <a:gd name="T4" fmla="*/ 2147483647 w 340"/>
                    <a:gd name="T5" fmla="*/ 2147483647 h 661"/>
                    <a:gd name="T6" fmla="*/ 2147483647 w 340"/>
                    <a:gd name="T7" fmla="*/ 2147483647 h 661"/>
                    <a:gd name="T8" fmla="*/ 2147483647 w 340"/>
                    <a:gd name="T9" fmla="*/ 2147483647 h 661"/>
                    <a:gd name="T10" fmla="*/ 2147483647 w 340"/>
                    <a:gd name="T11" fmla="*/ 2147483647 h 661"/>
                    <a:gd name="T12" fmla="*/ 2147483647 w 340"/>
                    <a:gd name="T13" fmla="*/ 2147483647 h 661"/>
                    <a:gd name="T14" fmla="*/ 2147483647 w 340"/>
                    <a:gd name="T15" fmla="*/ 2147483647 h 661"/>
                    <a:gd name="T16" fmla="*/ 2147483647 w 340"/>
                    <a:gd name="T17" fmla="*/ 2147483647 h 661"/>
                    <a:gd name="T18" fmla="*/ 2147483647 w 340"/>
                    <a:gd name="T19" fmla="*/ 2147483647 h 661"/>
                    <a:gd name="T20" fmla="*/ 2147483647 w 340"/>
                    <a:gd name="T21" fmla="*/ 2147483647 h 661"/>
                    <a:gd name="T22" fmla="*/ 2147483647 w 340"/>
                    <a:gd name="T23" fmla="*/ 2147483647 h 661"/>
                    <a:gd name="T24" fmla="*/ 2147483647 w 340"/>
                    <a:gd name="T25" fmla="*/ 2147483647 h 661"/>
                    <a:gd name="T26" fmla="*/ 2147483647 w 340"/>
                    <a:gd name="T27" fmla="*/ 2147483647 h 661"/>
                    <a:gd name="T28" fmla="*/ 2147483647 w 340"/>
                    <a:gd name="T29" fmla="*/ 2147483647 h 661"/>
                    <a:gd name="T30" fmla="*/ 2147483647 w 340"/>
                    <a:gd name="T31" fmla="*/ 2147483647 h 661"/>
                    <a:gd name="T32" fmla="*/ 2147483647 w 340"/>
                    <a:gd name="T33" fmla="*/ 2147483647 h 661"/>
                    <a:gd name="T34" fmla="*/ 2147483647 w 340"/>
                    <a:gd name="T35" fmla="*/ 2147483647 h 661"/>
                    <a:gd name="T36" fmla="*/ 2147483647 w 340"/>
                    <a:gd name="T37" fmla="*/ 2147483647 h 661"/>
                    <a:gd name="T38" fmla="*/ 2147483647 w 340"/>
                    <a:gd name="T39" fmla="*/ 2147483647 h 661"/>
                    <a:gd name="T40" fmla="*/ 2147483647 w 340"/>
                    <a:gd name="T41" fmla="*/ 2147483647 h 661"/>
                    <a:gd name="T42" fmla="*/ 2147483647 w 340"/>
                    <a:gd name="T43" fmla="*/ 2147483647 h 661"/>
                    <a:gd name="T44" fmla="*/ 2147483647 w 340"/>
                    <a:gd name="T45" fmla="*/ 2147483647 h 661"/>
                    <a:gd name="T46" fmla="*/ 2147483647 w 340"/>
                    <a:gd name="T47" fmla="*/ 2147483647 h 661"/>
                    <a:gd name="T48" fmla="*/ 2147483647 w 340"/>
                    <a:gd name="T49" fmla="*/ 2147483647 h 661"/>
                    <a:gd name="T50" fmla="*/ 2147483647 w 340"/>
                    <a:gd name="T51" fmla="*/ 2147483647 h 661"/>
                    <a:gd name="T52" fmla="*/ 2147483647 w 340"/>
                    <a:gd name="T53" fmla="*/ 2147483647 h 661"/>
                    <a:gd name="T54" fmla="*/ 2147483647 w 340"/>
                    <a:gd name="T55" fmla="*/ 2147483647 h 661"/>
                    <a:gd name="T56" fmla="*/ 2147483647 w 340"/>
                    <a:gd name="T57" fmla="*/ 2147483647 h 661"/>
                    <a:gd name="T58" fmla="*/ 2147483647 w 340"/>
                    <a:gd name="T59" fmla="*/ 2147483647 h 661"/>
                    <a:gd name="T60" fmla="*/ 2147483647 w 340"/>
                    <a:gd name="T61" fmla="*/ 2147483647 h 661"/>
                    <a:gd name="T62" fmla="*/ 2147483647 w 340"/>
                    <a:gd name="T63" fmla="*/ 2147483647 h 661"/>
                    <a:gd name="T64" fmla="*/ 2147483647 w 340"/>
                    <a:gd name="T65" fmla="*/ 2147483647 h 661"/>
                    <a:gd name="T66" fmla="*/ 2147483647 w 340"/>
                    <a:gd name="T67" fmla="*/ 2147483647 h 661"/>
                    <a:gd name="T68" fmla="*/ 2147483647 w 340"/>
                    <a:gd name="T69" fmla="*/ 2147483647 h 661"/>
                    <a:gd name="T70" fmla="*/ 2147483647 w 340"/>
                    <a:gd name="T71" fmla="*/ 2147483647 h 661"/>
                    <a:gd name="T72" fmla="*/ 2147483647 w 340"/>
                    <a:gd name="T73" fmla="*/ 2147483647 h 661"/>
                    <a:gd name="T74" fmla="*/ 2147483647 w 340"/>
                    <a:gd name="T75" fmla="*/ 2147483647 h 661"/>
                    <a:gd name="T76" fmla="*/ 2147483647 w 340"/>
                    <a:gd name="T77" fmla="*/ 2147483647 h 661"/>
                    <a:gd name="T78" fmla="*/ 2147483647 w 340"/>
                    <a:gd name="T79" fmla="*/ 2147483647 h 661"/>
                    <a:gd name="T80" fmla="*/ 2147483647 w 340"/>
                    <a:gd name="T81" fmla="*/ 2147483647 h 661"/>
                    <a:gd name="T82" fmla="*/ 2147483647 w 340"/>
                    <a:gd name="T83" fmla="*/ 2147483647 h 661"/>
                    <a:gd name="T84" fmla="*/ 2147483647 w 340"/>
                    <a:gd name="T85" fmla="*/ 2147483647 h 661"/>
                    <a:gd name="T86" fmla="*/ 2147483647 w 340"/>
                    <a:gd name="T87" fmla="*/ 2147483647 h 661"/>
                    <a:gd name="T88" fmla="*/ 2147483647 w 340"/>
                    <a:gd name="T89" fmla="*/ 2147483647 h 661"/>
                    <a:gd name="T90" fmla="*/ 2147483647 w 340"/>
                    <a:gd name="T91" fmla="*/ 2147483647 h 661"/>
                    <a:gd name="T92" fmla="*/ 2147483647 w 340"/>
                    <a:gd name="T93" fmla="*/ 2147483647 h 661"/>
                    <a:gd name="T94" fmla="*/ 2147483647 w 340"/>
                    <a:gd name="T95" fmla="*/ 2147483647 h 661"/>
                    <a:gd name="T96" fmla="*/ 2147483647 w 340"/>
                    <a:gd name="T97" fmla="*/ 2147483647 h 661"/>
                    <a:gd name="T98" fmla="*/ 2147483647 w 340"/>
                    <a:gd name="T99" fmla="*/ 2147483647 h 661"/>
                    <a:gd name="T100" fmla="*/ 2147483647 w 340"/>
                    <a:gd name="T101" fmla="*/ 2147483647 h 661"/>
                    <a:gd name="T102" fmla="*/ 2147483647 w 340"/>
                    <a:gd name="T103" fmla="*/ 2147483647 h 661"/>
                    <a:gd name="T104" fmla="*/ 2147483647 w 340"/>
                    <a:gd name="T105" fmla="*/ 2147483647 h 661"/>
                    <a:gd name="T106" fmla="*/ 2147483647 w 340"/>
                    <a:gd name="T107" fmla="*/ 2147483647 h 661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340"/>
                    <a:gd name="T163" fmla="*/ 0 h 661"/>
                    <a:gd name="T164" fmla="*/ 340 w 340"/>
                    <a:gd name="T165" fmla="*/ 661 h 661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340" h="661">
                      <a:moveTo>
                        <a:pt x="81" y="661"/>
                      </a:moveTo>
                      <a:lnTo>
                        <a:pt x="75" y="653"/>
                      </a:lnTo>
                      <a:lnTo>
                        <a:pt x="72" y="650"/>
                      </a:lnTo>
                      <a:lnTo>
                        <a:pt x="72" y="645"/>
                      </a:lnTo>
                      <a:lnTo>
                        <a:pt x="73" y="640"/>
                      </a:lnTo>
                      <a:lnTo>
                        <a:pt x="76" y="636"/>
                      </a:lnTo>
                      <a:lnTo>
                        <a:pt x="75" y="630"/>
                      </a:lnTo>
                      <a:lnTo>
                        <a:pt x="75" y="627"/>
                      </a:lnTo>
                      <a:lnTo>
                        <a:pt x="75" y="626"/>
                      </a:lnTo>
                      <a:lnTo>
                        <a:pt x="77" y="624"/>
                      </a:lnTo>
                      <a:lnTo>
                        <a:pt x="81" y="621"/>
                      </a:lnTo>
                      <a:lnTo>
                        <a:pt x="84" y="619"/>
                      </a:lnTo>
                      <a:lnTo>
                        <a:pt x="87" y="617"/>
                      </a:lnTo>
                      <a:lnTo>
                        <a:pt x="90" y="614"/>
                      </a:lnTo>
                      <a:lnTo>
                        <a:pt x="90" y="612"/>
                      </a:lnTo>
                      <a:lnTo>
                        <a:pt x="91" y="608"/>
                      </a:lnTo>
                      <a:lnTo>
                        <a:pt x="94" y="606"/>
                      </a:lnTo>
                      <a:lnTo>
                        <a:pt x="98" y="603"/>
                      </a:lnTo>
                      <a:lnTo>
                        <a:pt x="100" y="601"/>
                      </a:lnTo>
                      <a:lnTo>
                        <a:pt x="100" y="600"/>
                      </a:lnTo>
                      <a:lnTo>
                        <a:pt x="100" y="594"/>
                      </a:lnTo>
                      <a:lnTo>
                        <a:pt x="100" y="592"/>
                      </a:lnTo>
                      <a:lnTo>
                        <a:pt x="103" y="591"/>
                      </a:lnTo>
                      <a:lnTo>
                        <a:pt x="108" y="588"/>
                      </a:lnTo>
                      <a:lnTo>
                        <a:pt x="110" y="588"/>
                      </a:lnTo>
                      <a:lnTo>
                        <a:pt x="113" y="586"/>
                      </a:lnTo>
                      <a:lnTo>
                        <a:pt x="123" y="576"/>
                      </a:lnTo>
                      <a:lnTo>
                        <a:pt x="127" y="570"/>
                      </a:lnTo>
                      <a:lnTo>
                        <a:pt x="131" y="566"/>
                      </a:lnTo>
                      <a:lnTo>
                        <a:pt x="131" y="561"/>
                      </a:lnTo>
                      <a:lnTo>
                        <a:pt x="131" y="556"/>
                      </a:lnTo>
                      <a:lnTo>
                        <a:pt x="132" y="550"/>
                      </a:lnTo>
                      <a:lnTo>
                        <a:pt x="133" y="548"/>
                      </a:lnTo>
                      <a:lnTo>
                        <a:pt x="134" y="547"/>
                      </a:lnTo>
                      <a:lnTo>
                        <a:pt x="134" y="546"/>
                      </a:lnTo>
                      <a:lnTo>
                        <a:pt x="134" y="543"/>
                      </a:lnTo>
                      <a:lnTo>
                        <a:pt x="127" y="544"/>
                      </a:lnTo>
                      <a:lnTo>
                        <a:pt x="119" y="546"/>
                      </a:lnTo>
                      <a:lnTo>
                        <a:pt x="115" y="546"/>
                      </a:lnTo>
                      <a:lnTo>
                        <a:pt x="113" y="544"/>
                      </a:lnTo>
                      <a:lnTo>
                        <a:pt x="110" y="543"/>
                      </a:lnTo>
                      <a:lnTo>
                        <a:pt x="108" y="540"/>
                      </a:lnTo>
                      <a:lnTo>
                        <a:pt x="105" y="534"/>
                      </a:lnTo>
                      <a:lnTo>
                        <a:pt x="101" y="529"/>
                      </a:lnTo>
                      <a:lnTo>
                        <a:pt x="100" y="525"/>
                      </a:lnTo>
                      <a:lnTo>
                        <a:pt x="100" y="524"/>
                      </a:lnTo>
                      <a:lnTo>
                        <a:pt x="101" y="523"/>
                      </a:lnTo>
                      <a:lnTo>
                        <a:pt x="105" y="518"/>
                      </a:lnTo>
                      <a:lnTo>
                        <a:pt x="109" y="512"/>
                      </a:lnTo>
                      <a:lnTo>
                        <a:pt x="109" y="509"/>
                      </a:lnTo>
                      <a:lnTo>
                        <a:pt x="110" y="506"/>
                      </a:lnTo>
                      <a:lnTo>
                        <a:pt x="112" y="504"/>
                      </a:lnTo>
                      <a:lnTo>
                        <a:pt x="113" y="504"/>
                      </a:lnTo>
                      <a:lnTo>
                        <a:pt x="114" y="504"/>
                      </a:lnTo>
                      <a:lnTo>
                        <a:pt x="115" y="504"/>
                      </a:lnTo>
                      <a:lnTo>
                        <a:pt x="118" y="502"/>
                      </a:lnTo>
                      <a:lnTo>
                        <a:pt x="122" y="501"/>
                      </a:lnTo>
                      <a:lnTo>
                        <a:pt x="125" y="501"/>
                      </a:lnTo>
                      <a:lnTo>
                        <a:pt x="127" y="501"/>
                      </a:lnTo>
                      <a:lnTo>
                        <a:pt x="129" y="501"/>
                      </a:lnTo>
                      <a:lnTo>
                        <a:pt x="134" y="497"/>
                      </a:lnTo>
                      <a:lnTo>
                        <a:pt x="139" y="496"/>
                      </a:lnTo>
                      <a:lnTo>
                        <a:pt x="145" y="496"/>
                      </a:lnTo>
                      <a:lnTo>
                        <a:pt x="147" y="497"/>
                      </a:lnTo>
                      <a:lnTo>
                        <a:pt x="151" y="497"/>
                      </a:lnTo>
                      <a:lnTo>
                        <a:pt x="151" y="495"/>
                      </a:lnTo>
                      <a:lnTo>
                        <a:pt x="151" y="492"/>
                      </a:lnTo>
                      <a:lnTo>
                        <a:pt x="148" y="490"/>
                      </a:lnTo>
                      <a:lnTo>
                        <a:pt x="146" y="488"/>
                      </a:lnTo>
                      <a:lnTo>
                        <a:pt x="143" y="485"/>
                      </a:lnTo>
                      <a:lnTo>
                        <a:pt x="143" y="483"/>
                      </a:lnTo>
                      <a:lnTo>
                        <a:pt x="143" y="474"/>
                      </a:lnTo>
                      <a:lnTo>
                        <a:pt x="146" y="467"/>
                      </a:lnTo>
                      <a:lnTo>
                        <a:pt x="150" y="460"/>
                      </a:lnTo>
                      <a:lnTo>
                        <a:pt x="155" y="454"/>
                      </a:lnTo>
                      <a:lnTo>
                        <a:pt x="156" y="453"/>
                      </a:lnTo>
                      <a:lnTo>
                        <a:pt x="155" y="452"/>
                      </a:lnTo>
                      <a:lnTo>
                        <a:pt x="151" y="450"/>
                      </a:lnTo>
                      <a:lnTo>
                        <a:pt x="151" y="448"/>
                      </a:lnTo>
                      <a:lnTo>
                        <a:pt x="151" y="447"/>
                      </a:lnTo>
                      <a:lnTo>
                        <a:pt x="153" y="446"/>
                      </a:lnTo>
                      <a:lnTo>
                        <a:pt x="156" y="447"/>
                      </a:lnTo>
                      <a:lnTo>
                        <a:pt x="159" y="450"/>
                      </a:lnTo>
                      <a:lnTo>
                        <a:pt x="161" y="451"/>
                      </a:lnTo>
                      <a:lnTo>
                        <a:pt x="167" y="451"/>
                      </a:lnTo>
                      <a:lnTo>
                        <a:pt x="170" y="450"/>
                      </a:lnTo>
                      <a:lnTo>
                        <a:pt x="172" y="448"/>
                      </a:lnTo>
                      <a:lnTo>
                        <a:pt x="174" y="444"/>
                      </a:lnTo>
                      <a:lnTo>
                        <a:pt x="174" y="440"/>
                      </a:lnTo>
                      <a:lnTo>
                        <a:pt x="171" y="435"/>
                      </a:lnTo>
                      <a:lnTo>
                        <a:pt x="170" y="434"/>
                      </a:lnTo>
                      <a:lnTo>
                        <a:pt x="169" y="434"/>
                      </a:lnTo>
                      <a:lnTo>
                        <a:pt x="166" y="435"/>
                      </a:lnTo>
                      <a:lnTo>
                        <a:pt x="164" y="438"/>
                      </a:lnTo>
                      <a:lnTo>
                        <a:pt x="160" y="440"/>
                      </a:lnTo>
                      <a:lnTo>
                        <a:pt x="159" y="440"/>
                      </a:lnTo>
                      <a:lnTo>
                        <a:pt x="156" y="439"/>
                      </a:lnTo>
                      <a:lnTo>
                        <a:pt x="152" y="434"/>
                      </a:lnTo>
                      <a:lnTo>
                        <a:pt x="148" y="429"/>
                      </a:lnTo>
                      <a:lnTo>
                        <a:pt x="146" y="423"/>
                      </a:lnTo>
                      <a:lnTo>
                        <a:pt x="146" y="418"/>
                      </a:lnTo>
                      <a:lnTo>
                        <a:pt x="146" y="415"/>
                      </a:lnTo>
                      <a:lnTo>
                        <a:pt x="145" y="414"/>
                      </a:lnTo>
                      <a:lnTo>
                        <a:pt x="143" y="414"/>
                      </a:lnTo>
                      <a:lnTo>
                        <a:pt x="143" y="413"/>
                      </a:lnTo>
                      <a:lnTo>
                        <a:pt x="147" y="408"/>
                      </a:lnTo>
                      <a:lnTo>
                        <a:pt x="152" y="403"/>
                      </a:lnTo>
                      <a:lnTo>
                        <a:pt x="152" y="402"/>
                      </a:lnTo>
                      <a:lnTo>
                        <a:pt x="153" y="403"/>
                      </a:lnTo>
                      <a:lnTo>
                        <a:pt x="155" y="406"/>
                      </a:lnTo>
                      <a:lnTo>
                        <a:pt x="157" y="408"/>
                      </a:lnTo>
                      <a:lnTo>
                        <a:pt x="162" y="410"/>
                      </a:lnTo>
                      <a:lnTo>
                        <a:pt x="170" y="412"/>
                      </a:lnTo>
                      <a:lnTo>
                        <a:pt x="178" y="410"/>
                      </a:lnTo>
                      <a:lnTo>
                        <a:pt x="184" y="407"/>
                      </a:lnTo>
                      <a:lnTo>
                        <a:pt x="188" y="406"/>
                      </a:lnTo>
                      <a:lnTo>
                        <a:pt x="190" y="402"/>
                      </a:lnTo>
                      <a:lnTo>
                        <a:pt x="192" y="397"/>
                      </a:lnTo>
                      <a:lnTo>
                        <a:pt x="193" y="393"/>
                      </a:lnTo>
                      <a:lnTo>
                        <a:pt x="193" y="388"/>
                      </a:lnTo>
                      <a:lnTo>
                        <a:pt x="194" y="382"/>
                      </a:lnTo>
                      <a:lnTo>
                        <a:pt x="195" y="381"/>
                      </a:lnTo>
                      <a:lnTo>
                        <a:pt x="195" y="378"/>
                      </a:lnTo>
                      <a:lnTo>
                        <a:pt x="194" y="373"/>
                      </a:lnTo>
                      <a:lnTo>
                        <a:pt x="193" y="368"/>
                      </a:lnTo>
                      <a:lnTo>
                        <a:pt x="194" y="363"/>
                      </a:lnTo>
                      <a:lnTo>
                        <a:pt x="194" y="361"/>
                      </a:lnTo>
                      <a:lnTo>
                        <a:pt x="197" y="359"/>
                      </a:lnTo>
                      <a:lnTo>
                        <a:pt x="199" y="359"/>
                      </a:lnTo>
                      <a:lnTo>
                        <a:pt x="202" y="359"/>
                      </a:lnTo>
                      <a:lnTo>
                        <a:pt x="207" y="362"/>
                      </a:lnTo>
                      <a:lnTo>
                        <a:pt x="212" y="363"/>
                      </a:lnTo>
                      <a:lnTo>
                        <a:pt x="214" y="364"/>
                      </a:lnTo>
                      <a:lnTo>
                        <a:pt x="217" y="363"/>
                      </a:lnTo>
                      <a:lnTo>
                        <a:pt x="223" y="363"/>
                      </a:lnTo>
                      <a:lnTo>
                        <a:pt x="228" y="363"/>
                      </a:lnTo>
                      <a:lnTo>
                        <a:pt x="237" y="359"/>
                      </a:lnTo>
                      <a:lnTo>
                        <a:pt x="246" y="356"/>
                      </a:lnTo>
                      <a:lnTo>
                        <a:pt x="251" y="355"/>
                      </a:lnTo>
                      <a:lnTo>
                        <a:pt x="256" y="355"/>
                      </a:lnTo>
                      <a:lnTo>
                        <a:pt x="261" y="355"/>
                      </a:lnTo>
                      <a:lnTo>
                        <a:pt x="265" y="354"/>
                      </a:lnTo>
                      <a:lnTo>
                        <a:pt x="269" y="351"/>
                      </a:lnTo>
                      <a:lnTo>
                        <a:pt x="273" y="349"/>
                      </a:lnTo>
                      <a:lnTo>
                        <a:pt x="275" y="345"/>
                      </a:lnTo>
                      <a:lnTo>
                        <a:pt x="277" y="343"/>
                      </a:lnTo>
                      <a:lnTo>
                        <a:pt x="275" y="340"/>
                      </a:lnTo>
                      <a:lnTo>
                        <a:pt x="277" y="337"/>
                      </a:lnTo>
                      <a:lnTo>
                        <a:pt x="278" y="333"/>
                      </a:lnTo>
                      <a:lnTo>
                        <a:pt x="279" y="331"/>
                      </a:lnTo>
                      <a:lnTo>
                        <a:pt x="283" y="325"/>
                      </a:lnTo>
                      <a:lnTo>
                        <a:pt x="285" y="319"/>
                      </a:lnTo>
                      <a:lnTo>
                        <a:pt x="287" y="313"/>
                      </a:lnTo>
                      <a:lnTo>
                        <a:pt x="285" y="306"/>
                      </a:lnTo>
                      <a:lnTo>
                        <a:pt x="283" y="304"/>
                      </a:lnTo>
                      <a:lnTo>
                        <a:pt x="280" y="303"/>
                      </a:lnTo>
                      <a:lnTo>
                        <a:pt x="278" y="301"/>
                      </a:lnTo>
                      <a:lnTo>
                        <a:pt x="275" y="299"/>
                      </a:lnTo>
                      <a:lnTo>
                        <a:pt x="272" y="295"/>
                      </a:lnTo>
                      <a:lnTo>
                        <a:pt x="273" y="285"/>
                      </a:lnTo>
                      <a:lnTo>
                        <a:pt x="273" y="281"/>
                      </a:lnTo>
                      <a:lnTo>
                        <a:pt x="270" y="278"/>
                      </a:lnTo>
                      <a:lnTo>
                        <a:pt x="268" y="274"/>
                      </a:lnTo>
                      <a:lnTo>
                        <a:pt x="264" y="273"/>
                      </a:lnTo>
                      <a:lnTo>
                        <a:pt x="260" y="271"/>
                      </a:lnTo>
                      <a:lnTo>
                        <a:pt x="258" y="268"/>
                      </a:lnTo>
                      <a:lnTo>
                        <a:pt x="258" y="265"/>
                      </a:lnTo>
                      <a:lnTo>
                        <a:pt x="258" y="262"/>
                      </a:lnTo>
                      <a:lnTo>
                        <a:pt x="255" y="258"/>
                      </a:lnTo>
                      <a:lnTo>
                        <a:pt x="254" y="254"/>
                      </a:lnTo>
                      <a:lnTo>
                        <a:pt x="252" y="247"/>
                      </a:lnTo>
                      <a:lnTo>
                        <a:pt x="255" y="240"/>
                      </a:lnTo>
                      <a:lnTo>
                        <a:pt x="259" y="233"/>
                      </a:lnTo>
                      <a:lnTo>
                        <a:pt x="261" y="227"/>
                      </a:lnTo>
                      <a:lnTo>
                        <a:pt x="263" y="224"/>
                      </a:lnTo>
                      <a:lnTo>
                        <a:pt x="264" y="222"/>
                      </a:lnTo>
                      <a:lnTo>
                        <a:pt x="264" y="202"/>
                      </a:lnTo>
                      <a:lnTo>
                        <a:pt x="264" y="192"/>
                      </a:lnTo>
                      <a:lnTo>
                        <a:pt x="266" y="183"/>
                      </a:lnTo>
                      <a:lnTo>
                        <a:pt x="270" y="177"/>
                      </a:lnTo>
                      <a:lnTo>
                        <a:pt x="273" y="171"/>
                      </a:lnTo>
                      <a:lnTo>
                        <a:pt x="275" y="167"/>
                      </a:lnTo>
                      <a:lnTo>
                        <a:pt x="278" y="164"/>
                      </a:lnTo>
                      <a:lnTo>
                        <a:pt x="282" y="159"/>
                      </a:lnTo>
                      <a:lnTo>
                        <a:pt x="284" y="154"/>
                      </a:lnTo>
                      <a:lnTo>
                        <a:pt x="289" y="144"/>
                      </a:lnTo>
                      <a:lnTo>
                        <a:pt x="291" y="143"/>
                      </a:lnTo>
                      <a:lnTo>
                        <a:pt x="292" y="141"/>
                      </a:lnTo>
                      <a:lnTo>
                        <a:pt x="298" y="140"/>
                      </a:lnTo>
                      <a:lnTo>
                        <a:pt x="303" y="137"/>
                      </a:lnTo>
                      <a:lnTo>
                        <a:pt x="320" y="121"/>
                      </a:lnTo>
                      <a:lnTo>
                        <a:pt x="327" y="113"/>
                      </a:lnTo>
                      <a:lnTo>
                        <a:pt x="338" y="107"/>
                      </a:lnTo>
                      <a:lnTo>
                        <a:pt x="339" y="106"/>
                      </a:lnTo>
                      <a:lnTo>
                        <a:pt x="339" y="105"/>
                      </a:lnTo>
                      <a:lnTo>
                        <a:pt x="340" y="101"/>
                      </a:lnTo>
                      <a:lnTo>
                        <a:pt x="339" y="95"/>
                      </a:lnTo>
                      <a:lnTo>
                        <a:pt x="339" y="89"/>
                      </a:lnTo>
                      <a:lnTo>
                        <a:pt x="338" y="83"/>
                      </a:lnTo>
                      <a:lnTo>
                        <a:pt x="339" y="77"/>
                      </a:lnTo>
                      <a:lnTo>
                        <a:pt x="334" y="77"/>
                      </a:lnTo>
                      <a:lnTo>
                        <a:pt x="330" y="77"/>
                      </a:lnTo>
                      <a:lnTo>
                        <a:pt x="321" y="76"/>
                      </a:lnTo>
                      <a:lnTo>
                        <a:pt x="322" y="82"/>
                      </a:lnTo>
                      <a:lnTo>
                        <a:pt x="324" y="89"/>
                      </a:lnTo>
                      <a:lnTo>
                        <a:pt x="322" y="93"/>
                      </a:lnTo>
                      <a:lnTo>
                        <a:pt x="320" y="95"/>
                      </a:lnTo>
                      <a:lnTo>
                        <a:pt x="317" y="96"/>
                      </a:lnTo>
                      <a:lnTo>
                        <a:pt x="315" y="99"/>
                      </a:lnTo>
                      <a:lnTo>
                        <a:pt x="310" y="105"/>
                      </a:lnTo>
                      <a:lnTo>
                        <a:pt x="306" y="110"/>
                      </a:lnTo>
                      <a:lnTo>
                        <a:pt x="302" y="113"/>
                      </a:lnTo>
                      <a:lnTo>
                        <a:pt x="298" y="113"/>
                      </a:lnTo>
                      <a:lnTo>
                        <a:pt x="294" y="110"/>
                      </a:lnTo>
                      <a:lnTo>
                        <a:pt x="291" y="108"/>
                      </a:lnTo>
                      <a:lnTo>
                        <a:pt x="288" y="110"/>
                      </a:lnTo>
                      <a:lnTo>
                        <a:pt x="284" y="113"/>
                      </a:lnTo>
                      <a:lnTo>
                        <a:pt x="282" y="114"/>
                      </a:lnTo>
                      <a:lnTo>
                        <a:pt x="280" y="114"/>
                      </a:lnTo>
                      <a:lnTo>
                        <a:pt x="279" y="113"/>
                      </a:lnTo>
                      <a:lnTo>
                        <a:pt x="273" y="112"/>
                      </a:lnTo>
                      <a:lnTo>
                        <a:pt x="269" y="112"/>
                      </a:lnTo>
                      <a:lnTo>
                        <a:pt x="266" y="110"/>
                      </a:lnTo>
                      <a:lnTo>
                        <a:pt x="264" y="110"/>
                      </a:lnTo>
                      <a:lnTo>
                        <a:pt x="261" y="110"/>
                      </a:lnTo>
                      <a:lnTo>
                        <a:pt x="259" y="109"/>
                      </a:lnTo>
                      <a:lnTo>
                        <a:pt x="258" y="109"/>
                      </a:lnTo>
                      <a:lnTo>
                        <a:pt x="258" y="107"/>
                      </a:lnTo>
                      <a:lnTo>
                        <a:pt x="258" y="105"/>
                      </a:lnTo>
                      <a:lnTo>
                        <a:pt x="260" y="100"/>
                      </a:lnTo>
                      <a:lnTo>
                        <a:pt x="264" y="94"/>
                      </a:lnTo>
                      <a:lnTo>
                        <a:pt x="266" y="89"/>
                      </a:lnTo>
                      <a:lnTo>
                        <a:pt x="268" y="81"/>
                      </a:lnTo>
                      <a:lnTo>
                        <a:pt x="269" y="74"/>
                      </a:lnTo>
                      <a:lnTo>
                        <a:pt x="268" y="70"/>
                      </a:lnTo>
                      <a:lnTo>
                        <a:pt x="266" y="67"/>
                      </a:lnTo>
                      <a:lnTo>
                        <a:pt x="264" y="63"/>
                      </a:lnTo>
                      <a:lnTo>
                        <a:pt x="261" y="61"/>
                      </a:lnTo>
                      <a:lnTo>
                        <a:pt x="251" y="56"/>
                      </a:lnTo>
                      <a:lnTo>
                        <a:pt x="242" y="51"/>
                      </a:lnTo>
                      <a:lnTo>
                        <a:pt x="232" y="46"/>
                      </a:lnTo>
                      <a:lnTo>
                        <a:pt x="223" y="39"/>
                      </a:lnTo>
                      <a:lnTo>
                        <a:pt x="222" y="38"/>
                      </a:lnTo>
                      <a:lnTo>
                        <a:pt x="222" y="36"/>
                      </a:lnTo>
                      <a:lnTo>
                        <a:pt x="221" y="31"/>
                      </a:lnTo>
                      <a:lnTo>
                        <a:pt x="221" y="26"/>
                      </a:lnTo>
                      <a:lnTo>
                        <a:pt x="219" y="25"/>
                      </a:lnTo>
                      <a:lnTo>
                        <a:pt x="218" y="24"/>
                      </a:lnTo>
                      <a:lnTo>
                        <a:pt x="211" y="19"/>
                      </a:lnTo>
                      <a:lnTo>
                        <a:pt x="204" y="14"/>
                      </a:lnTo>
                      <a:lnTo>
                        <a:pt x="200" y="11"/>
                      </a:lnTo>
                      <a:lnTo>
                        <a:pt x="198" y="7"/>
                      </a:lnTo>
                      <a:lnTo>
                        <a:pt x="194" y="3"/>
                      </a:lnTo>
                      <a:lnTo>
                        <a:pt x="189" y="0"/>
                      </a:lnTo>
                      <a:lnTo>
                        <a:pt x="188" y="0"/>
                      </a:lnTo>
                      <a:lnTo>
                        <a:pt x="180" y="1"/>
                      </a:lnTo>
                      <a:lnTo>
                        <a:pt x="172" y="0"/>
                      </a:lnTo>
                      <a:lnTo>
                        <a:pt x="170" y="0"/>
                      </a:lnTo>
                      <a:lnTo>
                        <a:pt x="166" y="1"/>
                      </a:lnTo>
                      <a:lnTo>
                        <a:pt x="165" y="3"/>
                      </a:lnTo>
                      <a:lnTo>
                        <a:pt x="162" y="5"/>
                      </a:lnTo>
                      <a:lnTo>
                        <a:pt x="161" y="12"/>
                      </a:lnTo>
                      <a:lnTo>
                        <a:pt x="159" y="13"/>
                      </a:lnTo>
                      <a:lnTo>
                        <a:pt x="156" y="13"/>
                      </a:lnTo>
                      <a:lnTo>
                        <a:pt x="153" y="12"/>
                      </a:lnTo>
                      <a:lnTo>
                        <a:pt x="152" y="9"/>
                      </a:lnTo>
                      <a:lnTo>
                        <a:pt x="151" y="6"/>
                      </a:lnTo>
                      <a:lnTo>
                        <a:pt x="148" y="4"/>
                      </a:lnTo>
                      <a:lnTo>
                        <a:pt x="146" y="3"/>
                      </a:lnTo>
                      <a:lnTo>
                        <a:pt x="142" y="1"/>
                      </a:lnTo>
                      <a:lnTo>
                        <a:pt x="139" y="3"/>
                      </a:lnTo>
                      <a:lnTo>
                        <a:pt x="137" y="5"/>
                      </a:lnTo>
                      <a:lnTo>
                        <a:pt x="134" y="6"/>
                      </a:lnTo>
                      <a:lnTo>
                        <a:pt x="133" y="6"/>
                      </a:lnTo>
                      <a:lnTo>
                        <a:pt x="131" y="5"/>
                      </a:lnTo>
                      <a:lnTo>
                        <a:pt x="129" y="3"/>
                      </a:lnTo>
                      <a:lnTo>
                        <a:pt x="127" y="0"/>
                      </a:lnTo>
                      <a:lnTo>
                        <a:pt x="123" y="0"/>
                      </a:lnTo>
                      <a:lnTo>
                        <a:pt x="122" y="1"/>
                      </a:lnTo>
                      <a:lnTo>
                        <a:pt x="118" y="4"/>
                      </a:lnTo>
                      <a:lnTo>
                        <a:pt x="115" y="9"/>
                      </a:lnTo>
                      <a:lnTo>
                        <a:pt x="113" y="12"/>
                      </a:lnTo>
                      <a:lnTo>
                        <a:pt x="110" y="13"/>
                      </a:lnTo>
                      <a:lnTo>
                        <a:pt x="113" y="20"/>
                      </a:lnTo>
                      <a:lnTo>
                        <a:pt x="114" y="29"/>
                      </a:lnTo>
                      <a:lnTo>
                        <a:pt x="114" y="32"/>
                      </a:lnTo>
                      <a:lnTo>
                        <a:pt x="113" y="36"/>
                      </a:lnTo>
                      <a:lnTo>
                        <a:pt x="112" y="39"/>
                      </a:lnTo>
                      <a:lnTo>
                        <a:pt x="109" y="42"/>
                      </a:lnTo>
                      <a:lnTo>
                        <a:pt x="99" y="50"/>
                      </a:lnTo>
                      <a:lnTo>
                        <a:pt x="91" y="58"/>
                      </a:lnTo>
                      <a:lnTo>
                        <a:pt x="85" y="69"/>
                      </a:lnTo>
                      <a:lnTo>
                        <a:pt x="82" y="80"/>
                      </a:lnTo>
                      <a:lnTo>
                        <a:pt x="79" y="95"/>
                      </a:lnTo>
                      <a:lnTo>
                        <a:pt x="73" y="110"/>
                      </a:lnTo>
                      <a:lnTo>
                        <a:pt x="63" y="139"/>
                      </a:lnTo>
                      <a:lnTo>
                        <a:pt x="61" y="148"/>
                      </a:lnTo>
                      <a:lnTo>
                        <a:pt x="58" y="157"/>
                      </a:lnTo>
                      <a:lnTo>
                        <a:pt x="57" y="175"/>
                      </a:lnTo>
                      <a:lnTo>
                        <a:pt x="53" y="189"/>
                      </a:lnTo>
                      <a:lnTo>
                        <a:pt x="52" y="196"/>
                      </a:lnTo>
                      <a:lnTo>
                        <a:pt x="51" y="203"/>
                      </a:lnTo>
                      <a:lnTo>
                        <a:pt x="51" y="210"/>
                      </a:lnTo>
                      <a:lnTo>
                        <a:pt x="52" y="217"/>
                      </a:lnTo>
                      <a:lnTo>
                        <a:pt x="54" y="230"/>
                      </a:lnTo>
                      <a:lnTo>
                        <a:pt x="57" y="243"/>
                      </a:lnTo>
                      <a:lnTo>
                        <a:pt x="57" y="250"/>
                      </a:lnTo>
                      <a:lnTo>
                        <a:pt x="56" y="258"/>
                      </a:lnTo>
                      <a:lnTo>
                        <a:pt x="52" y="268"/>
                      </a:lnTo>
                      <a:lnTo>
                        <a:pt x="51" y="274"/>
                      </a:lnTo>
                      <a:lnTo>
                        <a:pt x="49" y="281"/>
                      </a:lnTo>
                      <a:lnTo>
                        <a:pt x="49" y="286"/>
                      </a:lnTo>
                      <a:lnTo>
                        <a:pt x="49" y="291"/>
                      </a:lnTo>
                      <a:lnTo>
                        <a:pt x="51" y="294"/>
                      </a:lnTo>
                      <a:lnTo>
                        <a:pt x="49" y="298"/>
                      </a:lnTo>
                      <a:lnTo>
                        <a:pt x="48" y="303"/>
                      </a:lnTo>
                      <a:lnTo>
                        <a:pt x="45" y="305"/>
                      </a:lnTo>
                      <a:lnTo>
                        <a:pt x="42" y="307"/>
                      </a:lnTo>
                      <a:lnTo>
                        <a:pt x="40" y="310"/>
                      </a:lnTo>
                      <a:lnTo>
                        <a:pt x="38" y="314"/>
                      </a:lnTo>
                      <a:lnTo>
                        <a:pt x="38" y="322"/>
                      </a:lnTo>
                      <a:lnTo>
                        <a:pt x="38" y="330"/>
                      </a:lnTo>
                      <a:lnTo>
                        <a:pt x="42" y="343"/>
                      </a:lnTo>
                      <a:lnTo>
                        <a:pt x="42" y="346"/>
                      </a:lnTo>
                      <a:lnTo>
                        <a:pt x="42" y="349"/>
                      </a:lnTo>
                      <a:lnTo>
                        <a:pt x="40" y="351"/>
                      </a:lnTo>
                      <a:lnTo>
                        <a:pt x="38" y="355"/>
                      </a:lnTo>
                      <a:lnTo>
                        <a:pt x="34" y="361"/>
                      </a:lnTo>
                      <a:lnTo>
                        <a:pt x="30" y="369"/>
                      </a:lnTo>
                      <a:lnTo>
                        <a:pt x="25" y="384"/>
                      </a:lnTo>
                      <a:lnTo>
                        <a:pt x="24" y="393"/>
                      </a:lnTo>
                      <a:lnTo>
                        <a:pt x="23" y="402"/>
                      </a:lnTo>
                      <a:lnTo>
                        <a:pt x="23" y="421"/>
                      </a:lnTo>
                      <a:lnTo>
                        <a:pt x="25" y="440"/>
                      </a:lnTo>
                      <a:lnTo>
                        <a:pt x="28" y="459"/>
                      </a:lnTo>
                      <a:lnTo>
                        <a:pt x="28" y="465"/>
                      </a:lnTo>
                      <a:lnTo>
                        <a:pt x="28" y="471"/>
                      </a:lnTo>
                      <a:lnTo>
                        <a:pt x="29" y="473"/>
                      </a:lnTo>
                      <a:lnTo>
                        <a:pt x="32" y="476"/>
                      </a:lnTo>
                      <a:lnTo>
                        <a:pt x="35" y="479"/>
                      </a:lnTo>
                      <a:lnTo>
                        <a:pt x="37" y="483"/>
                      </a:lnTo>
                      <a:lnTo>
                        <a:pt x="35" y="484"/>
                      </a:lnTo>
                      <a:lnTo>
                        <a:pt x="30" y="488"/>
                      </a:lnTo>
                      <a:lnTo>
                        <a:pt x="29" y="490"/>
                      </a:lnTo>
                      <a:lnTo>
                        <a:pt x="30" y="491"/>
                      </a:lnTo>
                      <a:lnTo>
                        <a:pt x="33" y="495"/>
                      </a:lnTo>
                      <a:lnTo>
                        <a:pt x="34" y="497"/>
                      </a:lnTo>
                      <a:lnTo>
                        <a:pt x="34" y="499"/>
                      </a:lnTo>
                      <a:lnTo>
                        <a:pt x="32" y="504"/>
                      </a:lnTo>
                      <a:lnTo>
                        <a:pt x="30" y="509"/>
                      </a:lnTo>
                      <a:lnTo>
                        <a:pt x="30" y="515"/>
                      </a:lnTo>
                      <a:lnTo>
                        <a:pt x="30" y="520"/>
                      </a:lnTo>
                      <a:lnTo>
                        <a:pt x="30" y="528"/>
                      </a:lnTo>
                      <a:lnTo>
                        <a:pt x="26" y="542"/>
                      </a:lnTo>
                      <a:lnTo>
                        <a:pt x="20" y="555"/>
                      </a:lnTo>
                      <a:lnTo>
                        <a:pt x="19" y="559"/>
                      </a:lnTo>
                      <a:lnTo>
                        <a:pt x="20" y="561"/>
                      </a:lnTo>
                      <a:lnTo>
                        <a:pt x="21" y="566"/>
                      </a:lnTo>
                      <a:lnTo>
                        <a:pt x="21" y="569"/>
                      </a:lnTo>
                      <a:lnTo>
                        <a:pt x="19" y="574"/>
                      </a:lnTo>
                      <a:lnTo>
                        <a:pt x="16" y="578"/>
                      </a:lnTo>
                      <a:lnTo>
                        <a:pt x="14" y="581"/>
                      </a:lnTo>
                      <a:lnTo>
                        <a:pt x="11" y="585"/>
                      </a:lnTo>
                      <a:lnTo>
                        <a:pt x="9" y="593"/>
                      </a:lnTo>
                      <a:lnTo>
                        <a:pt x="5" y="600"/>
                      </a:lnTo>
                      <a:lnTo>
                        <a:pt x="2" y="606"/>
                      </a:lnTo>
                      <a:lnTo>
                        <a:pt x="0" y="612"/>
                      </a:lnTo>
                      <a:lnTo>
                        <a:pt x="1" y="618"/>
                      </a:lnTo>
                      <a:lnTo>
                        <a:pt x="1" y="621"/>
                      </a:lnTo>
                      <a:lnTo>
                        <a:pt x="4" y="623"/>
                      </a:lnTo>
                      <a:lnTo>
                        <a:pt x="9" y="627"/>
                      </a:lnTo>
                      <a:lnTo>
                        <a:pt x="12" y="631"/>
                      </a:lnTo>
                      <a:lnTo>
                        <a:pt x="15" y="636"/>
                      </a:lnTo>
                      <a:lnTo>
                        <a:pt x="16" y="642"/>
                      </a:lnTo>
                      <a:lnTo>
                        <a:pt x="18" y="646"/>
                      </a:lnTo>
                      <a:lnTo>
                        <a:pt x="19" y="651"/>
                      </a:lnTo>
                      <a:lnTo>
                        <a:pt x="20" y="655"/>
                      </a:lnTo>
                      <a:lnTo>
                        <a:pt x="23" y="656"/>
                      </a:lnTo>
                      <a:lnTo>
                        <a:pt x="28" y="658"/>
                      </a:lnTo>
                      <a:lnTo>
                        <a:pt x="34" y="659"/>
                      </a:lnTo>
                      <a:lnTo>
                        <a:pt x="40" y="659"/>
                      </a:lnTo>
                      <a:lnTo>
                        <a:pt x="42" y="661"/>
                      </a:lnTo>
                      <a:lnTo>
                        <a:pt x="61" y="661"/>
                      </a:lnTo>
                      <a:lnTo>
                        <a:pt x="81" y="66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9" name="Freeform 1086">
                  <a:extLst>
                    <a:ext uri="{FF2B5EF4-FFF2-40B4-BE49-F238E27FC236}">
                      <a16:creationId xmlns:a16="http://schemas.microsoft.com/office/drawing/2014/main" id="{C5C52B1B-B943-9C4F-8AC1-10E7255B9D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794" y="5265065"/>
                  <a:ext cx="464680" cy="976715"/>
                </a:xfrm>
                <a:custGeom>
                  <a:avLst/>
                  <a:gdLst>
                    <a:gd name="T0" fmla="*/ 2147483647 w 340"/>
                    <a:gd name="T1" fmla="*/ 2147483647 h 660"/>
                    <a:gd name="T2" fmla="*/ 2147483647 w 340"/>
                    <a:gd name="T3" fmla="*/ 2147483647 h 660"/>
                    <a:gd name="T4" fmla="*/ 2147483647 w 340"/>
                    <a:gd name="T5" fmla="*/ 2147483647 h 660"/>
                    <a:gd name="T6" fmla="*/ 2147483647 w 340"/>
                    <a:gd name="T7" fmla="*/ 2147483647 h 660"/>
                    <a:gd name="T8" fmla="*/ 2147483647 w 340"/>
                    <a:gd name="T9" fmla="*/ 2147483647 h 660"/>
                    <a:gd name="T10" fmla="*/ 2147483647 w 340"/>
                    <a:gd name="T11" fmla="*/ 2147483647 h 660"/>
                    <a:gd name="T12" fmla="*/ 2147483647 w 340"/>
                    <a:gd name="T13" fmla="*/ 2147483647 h 660"/>
                    <a:gd name="T14" fmla="*/ 2147483647 w 340"/>
                    <a:gd name="T15" fmla="*/ 2147483647 h 660"/>
                    <a:gd name="T16" fmla="*/ 2147483647 w 340"/>
                    <a:gd name="T17" fmla="*/ 2147483647 h 660"/>
                    <a:gd name="T18" fmla="*/ 2147483647 w 340"/>
                    <a:gd name="T19" fmla="*/ 2147483647 h 660"/>
                    <a:gd name="T20" fmla="*/ 2147483647 w 340"/>
                    <a:gd name="T21" fmla="*/ 2147483647 h 660"/>
                    <a:gd name="T22" fmla="*/ 2147483647 w 340"/>
                    <a:gd name="T23" fmla="*/ 2147483647 h 660"/>
                    <a:gd name="T24" fmla="*/ 2147483647 w 340"/>
                    <a:gd name="T25" fmla="*/ 2147483647 h 660"/>
                    <a:gd name="T26" fmla="*/ 2147483647 w 340"/>
                    <a:gd name="T27" fmla="*/ 2147483647 h 660"/>
                    <a:gd name="T28" fmla="*/ 2147483647 w 340"/>
                    <a:gd name="T29" fmla="*/ 2147483647 h 660"/>
                    <a:gd name="T30" fmla="*/ 2147483647 w 340"/>
                    <a:gd name="T31" fmla="*/ 2147483647 h 660"/>
                    <a:gd name="T32" fmla="*/ 2147483647 w 340"/>
                    <a:gd name="T33" fmla="*/ 2147483647 h 660"/>
                    <a:gd name="T34" fmla="*/ 2147483647 w 340"/>
                    <a:gd name="T35" fmla="*/ 2147483647 h 660"/>
                    <a:gd name="T36" fmla="*/ 2147483647 w 340"/>
                    <a:gd name="T37" fmla="*/ 2147483647 h 660"/>
                    <a:gd name="T38" fmla="*/ 2147483647 w 340"/>
                    <a:gd name="T39" fmla="*/ 2147483647 h 660"/>
                    <a:gd name="T40" fmla="*/ 2147483647 w 340"/>
                    <a:gd name="T41" fmla="*/ 2147483647 h 660"/>
                    <a:gd name="T42" fmla="*/ 2147483647 w 340"/>
                    <a:gd name="T43" fmla="*/ 2147483647 h 660"/>
                    <a:gd name="T44" fmla="*/ 2147483647 w 340"/>
                    <a:gd name="T45" fmla="*/ 2147483647 h 660"/>
                    <a:gd name="T46" fmla="*/ 2147483647 w 340"/>
                    <a:gd name="T47" fmla="*/ 2147483647 h 660"/>
                    <a:gd name="T48" fmla="*/ 2147483647 w 340"/>
                    <a:gd name="T49" fmla="*/ 2147483647 h 660"/>
                    <a:gd name="T50" fmla="*/ 2147483647 w 340"/>
                    <a:gd name="T51" fmla="*/ 2147483647 h 660"/>
                    <a:gd name="T52" fmla="*/ 2147483647 w 340"/>
                    <a:gd name="T53" fmla="*/ 2147483647 h 660"/>
                    <a:gd name="T54" fmla="*/ 2147483647 w 340"/>
                    <a:gd name="T55" fmla="*/ 2147483647 h 660"/>
                    <a:gd name="T56" fmla="*/ 2147483647 w 340"/>
                    <a:gd name="T57" fmla="*/ 2147483647 h 660"/>
                    <a:gd name="T58" fmla="*/ 2147483647 w 340"/>
                    <a:gd name="T59" fmla="*/ 2147483647 h 660"/>
                    <a:gd name="T60" fmla="*/ 2147483647 w 340"/>
                    <a:gd name="T61" fmla="*/ 2147483647 h 660"/>
                    <a:gd name="T62" fmla="*/ 2147483647 w 340"/>
                    <a:gd name="T63" fmla="*/ 2147483647 h 660"/>
                    <a:gd name="T64" fmla="*/ 2147483647 w 340"/>
                    <a:gd name="T65" fmla="*/ 2147483647 h 660"/>
                    <a:gd name="T66" fmla="*/ 2147483647 w 340"/>
                    <a:gd name="T67" fmla="*/ 2147483647 h 660"/>
                    <a:gd name="T68" fmla="*/ 2147483647 w 340"/>
                    <a:gd name="T69" fmla="*/ 2147483647 h 660"/>
                    <a:gd name="T70" fmla="*/ 2147483647 w 340"/>
                    <a:gd name="T71" fmla="*/ 2147483647 h 660"/>
                    <a:gd name="T72" fmla="*/ 2147483647 w 340"/>
                    <a:gd name="T73" fmla="*/ 2147483647 h 660"/>
                    <a:gd name="T74" fmla="*/ 2147483647 w 340"/>
                    <a:gd name="T75" fmla="*/ 2147483647 h 660"/>
                    <a:gd name="T76" fmla="*/ 2147483647 w 340"/>
                    <a:gd name="T77" fmla="*/ 2147483647 h 660"/>
                    <a:gd name="T78" fmla="*/ 2147483647 w 340"/>
                    <a:gd name="T79" fmla="*/ 2147483647 h 660"/>
                    <a:gd name="T80" fmla="*/ 2147483647 w 340"/>
                    <a:gd name="T81" fmla="*/ 2147483647 h 660"/>
                    <a:gd name="T82" fmla="*/ 2147483647 w 340"/>
                    <a:gd name="T83" fmla="*/ 0 h 660"/>
                    <a:gd name="T84" fmla="*/ 2147483647 w 340"/>
                    <a:gd name="T85" fmla="*/ 2147483647 h 660"/>
                    <a:gd name="T86" fmla="*/ 2147483647 w 340"/>
                    <a:gd name="T87" fmla="*/ 2147483647 h 660"/>
                    <a:gd name="T88" fmla="*/ 2147483647 w 340"/>
                    <a:gd name="T89" fmla="*/ 2147483647 h 660"/>
                    <a:gd name="T90" fmla="*/ 2147483647 w 340"/>
                    <a:gd name="T91" fmla="*/ 2147483647 h 660"/>
                    <a:gd name="T92" fmla="*/ 2147483647 w 340"/>
                    <a:gd name="T93" fmla="*/ 2147483647 h 660"/>
                    <a:gd name="T94" fmla="*/ 2147483647 w 340"/>
                    <a:gd name="T95" fmla="*/ 2147483647 h 660"/>
                    <a:gd name="T96" fmla="*/ 2147483647 w 340"/>
                    <a:gd name="T97" fmla="*/ 2147483647 h 660"/>
                    <a:gd name="T98" fmla="*/ 2147483647 w 340"/>
                    <a:gd name="T99" fmla="*/ 2147483647 h 660"/>
                    <a:gd name="T100" fmla="*/ 2147483647 w 340"/>
                    <a:gd name="T101" fmla="*/ 2147483647 h 660"/>
                    <a:gd name="T102" fmla="*/ 2147483647 w 340"/>
                    <a:gd name="T103" fmla="*/ 2147483647 h 660"/>
                    <a:gd name="T104" fmla="*/ 2147483647 w 340"/>
                    <a:gd name="T105" fmla="*/ 2147483647 h 660"/>
                    <a:gd name="T106" fmla="*/ 2147483647 w 340"/>
                    <a:gd name="T107" fmla="*/ 2147483647 h 660"/>
                    <a:gd name="T108" fmla="*/ 2147483647 w 340"/>
                    <a:gd name="T109" fmla="*/ 2147483647 h 660"/>
                    <a:gd name="T110" fmla="*/ 2147483647 w 340"/>
                    <a:gd name="T111" fmla="*/ 2147483647 h 660"/>
                    <a:gd name="T112" fmla="*/ 2147483647 w 340"/>
                    <a:gd name="T113" fmla="*/ 2147483647 h 660"/>
                    <a:gd name="T114" fmla="*/ 2147483647 w 340"/>
                    <a:gd name="T115" fmla="*/ 2147483647 h 660"/>
                    <a:gd name="T116" fmla="*/ 2147483647 w 340"/>
                    <a:gd name="T117" fmla="*/ 2147483647 h 660"/>
                    <a:gd name="T118" fmla="*/ 2147483647 w 340"/>
                    <a:gd name="T119" fmla="*/ 2147483647 h 660"/>
                    <a:gd name="T120" fmla="*/ 2147483647 w 340"/>
                    <a:gd name="T121" fmla="*/ 2147483647 h 660"/>
                    <a:gd name="T122" fmla="*/ 2147483647 w 340"/>
                    <a:gd name="T123" fmla="*/ 2147483647 h 660"/>
                    <a:gd name="T124" fmla="*/ 2147483647 w 340"/>
                    <a:gd name="T125" fmla="*/ 2147483647 h 66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40"/>
                    <a:gd name="T190" fmla="*/ 0 h 660"/>
                    <a:gd name="T191" fmla="*/ 340 w 340"/>
                    <a:gd name="T192" fmla="*/ 660 h 66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40" h="660">
                      <a:moveTo>
                        <a:pt x="81" y="660"/>
                      </a:moveTo>
                      <a:lnTo>
                        <a:pt x="81" y="660"/>
                      </a:lnTo>
                      <a:lnTo>
                        <a:pt x="74" y="653"/>
                      </a:lnTo>
                      <a:lnTo>
                        <a:pt x="72" y="650"/>
                      </a:lnTo>
                      <a:lnTo>
                        <a:pt x="72" y="645"/>
                      </a:lnTo>
                      <a:lnTo>
                        <a:pt x="73" y="640"/>
                      </a:lnTo>
                      <a:lnTo>
                        <a:pt x="76" y="636"/>
                      </a:lnTo>
                      <a:lnTo>
                        <a:pt x="74" y="630"/>
                      </a:lnTo>
                      <a:lnTo>
                        <a:pt x="74" y="627"/>
                      </a:lnTo>
                      <a:lnTo>
                        <a:pt x="74" y="626"/>
                      </a:lnTo>
                      <a:lnTo>
                        <a:pt x="77" y="624"/>
                      </a:lnTo>
                      <a:lnTo>
                        <a:pt x="81" y="621"/>
                      </a:lnTo>
                      <a:lnTo>
                        <a:pt x="83" y="619"/>
                      </a:lnTo>
                      <a:lnTo>
                        <a:pt x="87" y="617"/>
                      </a:lnTo>
                      <a:lnTo>
                        <a:pt x="90" y="614"/>
                      </a:lnTo>
                      <a:lnTo>
                        <a:pt x="90" y="612"/>
                      </a:lnTo>
                      <a:lnTo>
                        <a:pt x="91" y="608"/>
                      </a:lnTo>
                      <a:lnTo>
                        <a:pt x="93" y="606"/>
                      </a:lnTo>
                      <a:lnTo>
                        <a:pt x="97" y="602"/>
                      </a:lnTo>
                      <a:lnTo>
                        <a:pt x="100" y="601"/>
                      </a:lnTo>
                      <a:lnTo>
                        <a:pt x="100" y="600"/>
                      </a:lnTo>
                      <a:lnTo>
                        <a:pt x="100" y="594"/>
                      </a:lnTo>
                      <a:lnTo>
                        <a:pt x="100" y="592"/>
                      </a:lnTo>
                      <a:lnTo>
                        <a:pt x="102" y="590"/>
                      </a:lnTo>
                      <a:lnTo>
                        <a:pt x="107" y="588"/>
                      </a:lnTo>
                      <a:lnTo>
                        <a:pt x="110" y="588"/>
                      </a:lnTo>
                      <a:lnTo>
                        <a:pt x="113" y="586"/>
                      </a:lnTo>
                      <a:lnTo>
                        <a:pt x="123" y="576"/>
                      </a:lnTo>
                      <a:lnTo>
                        <a:pt x="126" y="570"/>
                      </a:lnTo>
                      <a:lnTo>
                        <a:pt x="130" y="566"/>
                      </a:lnTo>
                      <a:lnTo>
                        <a:pt x="130" y="561"/>
                      </a:lnTo>
                      <a:lnTo>
                        <a:pt x="130" y="556"/>
                      </a:lnTo>
                      <a:lnTo>
                        <a:pt x="132" y="550"/>
                      </a:lnTo>
                      <a:lnTo>
                        <a:pt x="133" y="548"/>
                      </a:lnTo>
                      <a:lnTo>
                        <a:pt x="134" y="547"/>
                      </a:lnTo>
                      <a:lnTo>
                        <a:pt x="134" y="545"/>
                      </a:lnTo>
                      <a:lnTo>
                        <a:pt x="134" y="543"/>
                      </a:lnTo>
                      <a:lnTo>
                        <a:pt x="126" y="544"/>
                      </a:lnTo>
                      <a:lnTo>
                        <a:pt x="119" y="545"/>
                      </a:lnTo>
                      <a:lnTo>
                        <a:pt x="115" y="545"/>
                      </a:lnTo>
                      <a:lnTo>
                        <a:pt x="113" y="544"/>
                      </a:lnTo>
                      <a:lnTo>
                        <a:pt x="110" y="543"/>
                      </a:lnTo>
                      <a:lnTo>
                        <a:pt x="107" y="539"/>
                      </a:lnTo>
                      <a:lnTo>
                        <a:pt x="105" y="534"/>
                      </a:lnTo>
                      <a:lnTo>
                        <a:pt x="101" y="529"/>
                      </a:lnTo>
                      <a:lnTo>
                        <a:pt x="100" y="525"/>
                      </a:lnTo>
                      <a:lnTo>
                        <a:pt x="100" y="524"/>
                      </a:lnTo>
                      <a:lnTo>
                        <a:pt x="101" y="523"/>
                      </a:lnTo>
                      <a:lnTo>
                        <a:pt x="105" y="518"/>
                      </a:lnTo>
                      <a:lnTo>
                        <a:pt x="109" y="512"/>
                      </a:lnTo>
                      <a:lnTo>
                        <a:pt x="109" y="509"/>
                      </a:lnTo>
                      <a:lnTo>
                        <a:pt x="110" y="506"/>
                      </a:lnTo>
                      <a:lnTo>
                        <a:pt x="111" y="504"/>
                      </a:lnTo>
                      <a:lnTo>
                        <a:pt x="113" y="504"/>
                      </a:lnTo>
                      <a:lnTo>
                        <a:pt x="114" y="504"/>
                      </a:lnTo>
                      <a:lnTo>
                        <a:pt x="115" y="504"/>
                      </a:lnTo>
                      <a:lnTo>
                        <a:pt x="118" y="502"/>
                      </a:lnTo>
                      <a:lnTo>
                        <a:pt x="121" y="500"/>
                      </a:lnTo>
                      <a:lnTo>
                        <a:pt x="125" y="500"/>
                      </a:lnTo>
                      <a:lnTo>
                        <a:pt x="126" y="500"/>
                      </a:lnTo>
                      <a:lnTo>
                        <a:pt x="129" y="500"/>
                      </a:lnTo>
                      <a:lnTo>
                        <a:pt x="134" y="497"/>
                      </a:lnTo>
                      <a:lnTo>
                        <a:pt x="139" y="496"/>
                      </a:lnTo>
                      <a:lnTo>
                        <a:pt x="144" y="496"/>
                      </a:lnTo>
                      <a:lnTo>
                        <a:pt x="147" y="497"/>
                      </a:lnTo>
                      <a:lnTo>
                        <a:pt x="151" y="497"/>
                      </a:lnTo>
                      <a:lnTo>
                        <a:pt x="151" y="494"/>
                      </a:lnTo>
                      <a:lnTo>
                        <a:pt x="151" y="492"/>
                      </a:lnTo>
                      <a:lnTo>
                        <a:pt x="148" y="490"/>
                      </a:lnTo>
                      <a:lnTo>
                        <a:pt x="146" y="487"/>
                      </a:lnTo>
                      <a:lnTo>
                        <a:pt x="143" y="485"/>
                      </a:lnTo>
                      <a:lnTo>
                        <a:pt x="143" y="483"/>
                      </a:lnTo>
                      <a:lnTo>
                        <a:pt x="143" y="474"/>
                      </a:lnTo>
                      <a:lnTo>
                        <a:pt x="146" y="467"/>
                      </a:lnTo>
                      <a:lnTo>
                        <a:pt x="149" y="460"/>
                      </a:lnTo>
                      <a:lnTo>
                        <a:pt x="154" y="454"/>
                      </a:lnTo>
                      <a:lnTo>
                        <a:pt x="156" y="453"/>
                      </a:lnTo>
                      <a:lnTo>
                        <a:pt x="154" y="452"/>
                      </a:lnTo>
                      <a:lnTo>
                        <a:pt x="151" y="449"/>
                      </a:lnTo>
                      <a:lnTo>
                        <a:pt x="151" y="448"/>
                      </a:lnTo>
                      <a:lnTo>
                        <a:pt x="151" y="447"/>
                      </a:lnTo>
                      <a:lnTo>
                        <a:pt x="153" y="446"/>
                      </a:lnTo>
                      <a:lnTo>
                        <a:pt x="156" y="447"/>
                      </a:lnTo>
                      <a:lnTo>
                        <a:pt x="158" y="449"/>
                      </a:lnTo>
                      <a:lnTo>
                        <a:pt x="161" y="451"/>
                      </a:lnTo>
                      <a:lnTo>
                        <a:pt x="167" y="451"/>
                      </a:lnTo>
                      <a:lnTo>
                        <a:pt x="170" y="449"/>
                      </a:lnTo>
                      <a:lnTo>
                        <a:pt x="172" y="448"/>
                      </a:lnTo>
                      <a:lnTo>
                        <a:pt x="173" y="443"/>
                      </a:lnTo>
                      <a:lnTo>
                        <a:pt x="173" y="440"/>
                      </a:lnTo>
                      <a:lnTo>
                        <a:pt x="171" y="435"/>
                      </a:lnTo>
                      <a:lnTo>
                        <a:pt x="170" y="434"/>
                      </a:lnTo>
                      <a:lnTo>
                        <a:pt x="168" y="434"/>
                      </a:lnTo>
                      <a:lnTo>
                        <a:pt x="166" y="435"/>
                      </a:lnTo>
                      <a:lnTo>
                        <a:pt x="163" y="438"/>
                      </a:lnTo>
                      <a:lnTo>
                        <a:pt x="160" y="440"/>
                      </a:lnTo>
                      <a:lnTo>
                        <a:pt x="158" y="440"/>
                      </a:lnTo>
                      <a:lnTo>
                        <a:pt x="156" y="439"/>
                      </a:lnTo>
                      <a:lnTo>
                        <a:pt x="152" y="434"/>
                      </a:lnTo>
                      <a:lnTo>
                        <a:pt x="148" y="429"/>
                      </a:lnTo>
                      <a:lnTo>
                        <a:pt x="146" y="423"/>
                      </a:lnTo>
                      <a:lnTo>
                        <a:pt x="146" y="417"/>
                      </a:lnTo>
                      <a:lnTo>
                        <a:pt x="146" y="415"/>
                      </a:lnTo>
                      <a:lnTo>
                        <a:pt x="144" y="414"/>
                      </a:lnTo>
                      <a:lnTo>
                        <a:pt x="143" y="414"/>
                      </a:lnTo>
                      <a:lnTo>
                        <a:pt x="143" y="413"/>
                      </a:lnTo>
                      <a:lnTo>
                        <a:pt x="147" y="408"/>
                      </a:lnTo>
                      <a:lnTo>
                        <a:pt x="152" y="403"/>
                      </a:lnTo>
                      <a:lnTo>
                        <a:pt x="152" y="402"/>
                      </a:lnTo>
                      <a:lnTo>
                        <a:pt x="153" y="403"/>
                      </a:lnTo>
                      <a:lnTo>
                        <a:pt x="154" y="406"/>
                      </a:lnTo>
                      <a:lnTo>
                        <a:pt x="157" y="408"/>
                      </a:lnTo>
                      <a:lnTo>
                        <a:pt x="162" y="410"/>
                      </a:lnTo>
                      <a:lnTo>
                        <a:pt x="170" y="411"/>
                      </a:lnTo>
                      <a:lnTo>
                        <a:pt x="177" y="410"/>
                      </a:lnTo>
                      <a:lnTo>
                        <a:pt x="184" y="407"/>
                      </a:lnTo>
                      <a:lnTo>
                        <a:pt x="187" y="406"/>
                      </a:lnTo>
                      <a:lnTo>
                        <a:pt x="190" y="402"/>
                      </a:lnTo>
                      <a:lnTo>
                        <a:pt x="191" y="397"/>
                      </a:lnTo>
                      <a:lnTo>
                        <a:pt x="193" y="392"/>
                      </a:lnTo>
                      <a:lnTo>
                        <a:pt x="193" y="388"/>
                      </a:lnTo>
                      <a:lnTo>
                        <a:pt x="194" y="382"/>
                      </a:lnTo>
                      <a:lnTo>
                        <a:pt x="195" y="381"/>
                      </a:lnTo>
                      <a:lnTo>
                        <a:pt x="195" y="378"/>
                      </a:lnTo>
                      <a:lnTo>
                        <a:pt x="194" y="372"/>
                      </a:lnTo>
                      <a:lnTo>
                        <a:pt x="193" y="368"/>
                      </a:lnTo>
                      <a:lnTo>
                        <a:pt x="194" y="363"/>
                      </a:lnTo>
                      <a:lnTo>
                        <a:pt x="194" y="360"/>
                      </a:lnTo>
                      <a:lnTo>
                        <a:pt x="196" y="359"/>
                      </a:lnTo>
                      <a:lnTo>
                        <a:pt x="199" y="359"/>
                      </a:lnTo>
                      <a:lnTo>
                        <a:pt x="201" y="359"/>
                      </a:lnTo>
                      <a:lnTo>
                        <a:pt x="206" y="362"/>
                      </a:lnTo>
                      <a:lnTo>
                        <a:pt x="212" y="363"/>
                      </a:lnTo>
                      <a:lnTo>
                        <a:pt x="214" y="364"/>
                      </a:lnTo>
                      <a:lnTo>
                        <a:pt x="217" y="363"/>
                      </a:lnTo>
                      <a:lnTo>
                        <a:pt x="223" y="363"/>
                      </a:lnTo>
                      <a:lnTo>
                        <a:pt x="228" y="363"/>
                      </a:lnTo>
                      <a:lnTo>
                        <a:pt x="237" y="359"/>
                      </a:lnTo>
                      <a:lnTo>
                        <a:pt x="246" y="356"/>
                      </a:lnTo>
                      <a:lnTo>
                        <a:pt x="251" y="355"/>
                      </a:lnTo>
                      <a:lnTo>
                        <a:pt x="256" y="355"/>
                      </a:lnTo>
                      <a:lnTo>
                        <a:pt x="261" y="355"/>
                      </a:lnTo>
                      <a:lnTo>
                        <a:pt x="265" y="353"/>
                      </a:lnTo>
                      <a:lnTo>
                        <a:pt x="269" y="351"/>
                      </a:lnTo>
                      <a:lnTo>
                        <a:pt x="273" y="349"/>
                      </a:lnTo>
                      <a:lnTo>
                        <a:pt x="275" y="345"/>
                      </a:lnTo>
                      <a:lnTo>
                        <a:pt x="276" y="343"/>
                      </a:lnTo>
                      <a:lnTo>
                        <a:pt x="275" y="340"/>
                      </a:lnTo>
                      <a:lnTo>
                        <a:pt x="276" y="337"/>
                      </a:lnTo>
                      <a:lnTo>
                        <a:pt x="278" y="333"/>
                      </a:lnTo>
                      <a:lnTo>
                        <a:pt x="279" y="331"/>
                      </a:lnTo>
                      <a:lnTo>
                        <a:pt x="283" y="325"/>
                      </a:lnTo>
                      <a:lnTo>
                        <a:pt x="285" y="319"/>
                      </a:lnTo>
                      <a:lnTo>
                        <a:pt x="286" y="313"/>
                      </a:lnTo>
                      <a:lnTo>
                        <a:pt x="285" y="306"/>
                      </a:lnTo>
                      <a:lnTo>
                        <a:pt x="283" y="304"/>
                      </a:lnTo>
                      <a:lnTo>
                        <a:pt x="280" y="302"/>
                      </a:lnTo>
                      <a:lnTo>
                        <a:pt x="278" y="301"/>
                      </a:lnTo>
                      <a:lnTo>
                        <a:pt x="275" y="299"/>
                      </a:lnTo>
                      <a:lnTo>
                        <a:pt x="271" y="295"/>
                      </a:lnTo>
                      <a:lnTo>
                        <a:pt x="273" y="285"/>
                      </a:lnTo>
                      <a:lnTo>
                        <a:pt x="273" y="281"/>
                      </a:lnTo>
                      <a:lnTo>
                        <a:pt x="270" y="277"/>
                      </a:lnTo>
                      <a:lnTo>
                        <a:pt x="267" y="274"/>
                      </a:lnTo>
                      <a:lnTo>
                        <a:pt x="264" y="273"/>
                      </a:lnTo>
                      <a:lnTo>
                        <a:pt x="260" y="270"/>
                      </a:lnTo>
                      <a:lnTo>
                        <a:pt x="257" y="268"/>
                      </a:lnTo>
                      <a:lnTo>
                        <a:pt x="257" y="264"/>
                      </a:lnTo>
                      <a:lnTo>
                        <a:pt x="257" y="262"/>
                      </a:lnTo>
                      <a:lnTo>
                        <a:pt x="255" y="257"/>
                      </a:lnTo>
                      <a:lnTo>
                        <a:pt x="253" y="254"/>
                      </a:lnTo>
                      <a:lnTo>
                        <a:pt x="252" y="247"/>
                      </a:lnTo>
                      <a:lnTo>
                        <a:pt x="255" y="240"/>
                      </a:lnTo>
                      <a:lnTo>
                        <a:pt x="259" y="232"/>
                      </a:lnTo>
                      <a:lnTo>
                        <a:pt x="261" y="226"/>
                      </a:lnTo>
                      <a:lnTo>
                        <a:pt x="262" y="224"/>
                      </a:lnTo>
                      <a:lnTo>
                        <a:pt x="264" y="222"/>
                      </a:lnTo>
                      <a:lnTo>
                        <a:pt x="264" y="202"/>
                      </a:lnTo>
                      <a:lnTo>
                        <a:pt x="264" y="192"/>
                      </a:lnTo>
                      <a:lnTo>
                        <a:pt x="266" y="183"/>
                      </a:lnTo>
                      <a:lnTo>
                        <a:pt x="270" y="177"/>
                      </a:lnTo>
                      <a:lnTo>
                        <a:pt x="273" y="171"/>
                      </a:lnTo>
                      <a:lnTo>
                        <a:pt x="275" y="167"/>
                      </a:lnTo>
                      <a:lnTo>
                        <a:pt x="278" y="164"/>
                      </a:lnTo>
                      <a:lnTo>
                        <a:pt x="281" y="159"/>
                      </a:lnTo>
                      <a:lnTo>
                        <a:pt x="284" y="154"/>
                      </a:lnTo>
                      <a:lnTo>
                        <a:pt x="289" y="144"/>
                      </a:lnTo>
                      <a:lnTo>
                        <a:pt x="290" y="142"/>
                      </a:lnTo>
                      <a:lnTo>
                        <a:pt x="292" y="141"/>
                      </a:lnTo>
                      <a:lnTo>
                        <a:pt x="298" y="140"/>
                      </a:lnTo>
                      <a:lnTo>
                        <a:pt x="303" y="136"/>
                      </a:lnTo>
                      <a:lnTo>
                        <a:pt x="320" y="121"/>
                      </a:lnTo>
                      <a:lnTo>
                        <a:pt x="327" y="113"/>
                      </a:lnTo>
                      <a:lnTo>
                        <a:pt x="337" y="107"/>
                      </a:lnTo>
                      <a:lnTo>
                        <a:pt x="339" y="106"/>
                      </a:lnTo>
                      <a:lnTo>
                        <a:pt x="339" y="104"/>
                      </a:lnTo>
                      <a:lnTo>
                        <a:pt x="340" y="101"/>
                      </a:lnTo>
                      <a:lnTo>
                        <a:pt x="339" y="95"/>
                      </a:lnTo>
                      <a:lnTo>
                        <a:pt x="339" y="89"/>
                      </a:lnTo>
                      <a:lnTo>
                        <a:pt x="337" y="83"/>
                      </a:lnTo>
                      <a:lnTo>
                        <a:pt x="339" y="77"/>
                      </a:lnTo>
                      <a:lnTo>
                        <a:pt x="333" y="77"/>
                      </a:lnTo>
                      <a:lnTo>
                        <a:pt x="330" y="77"/>
                      </a:lnTo>
                      <a:lnTo>
                        <a:pt x="321" y="76"/>
                      </a:lnTo>
                      <a:lnTo>
                        <a:pt x="322" y="82"/>
                      </a:lnTo>
                      <a:lnTo>
                        <a:pt x="323" y="89"/>
                      </a:lnTo>
                      <a:lnTo>
                        <a:pt x="322" y="93"/>
                      </a:lnTo>
                      <a:lnTo>
                        <a:pt x="320" y="95"/>
                      </a:lnTo>
                      <a:lnTo>
                        <a:pt x="317" y="96"/>
                      </a:lnTo>
                      <a:lnTo>
                        <a:pt x="314" y="98"/>
                      </a:lnTo>
                      <a:lnTo>
                        <a:pt x="309" y="104"/>
                      </a:lnTo>
                      <a:lnTo>
                        <a:pt x="306" y="110"/>
                      </a:lnTo>
                      <a:lnTo>
                        <a:pt x="302" y="113"/>
                      </a:lnTo>
                      <a:lnTo>
                        <a:pt x="298" y="113"/>
                      </a:lnTo>
                      <a:lnTo>
                        <a:pt x="294" y="110"/>
                      </a:lnTo>
                      <a:lnTo>
                        <a:pt x="290" y="108"/>
                      </a:lnTo>
                      <a:lnTo>
                        <a:pt x="288" y="110"/>
                      </a:lnTo>
                      <a:lnTo>
                        <a:pt x="284" y="113"/>
                      </a:lnTo>
                      <a:lnTo>
                        <a:pt x="281" y="114"/>
                      </a:lnTo>
                      <a:lnTo>
                        <a:pt x="280" y="114"/>
                      </a:lnTo>
                      <a:lnTo>
                        <a:pt x="279" y="113"/>
                      </a:lnTo>
                      <a:lnTo>
                        <a:pt x="273" y="111"/>
                      </a:lnTo>
                      <a:lnTo>
                        <a:pt x="269" y="111"/>
                      </a:lnTo>
                      <a:lnTo>
                        <a:pt x="266" y="110"/>
                      </a:lnTo>
                      <a:lnTo>
                        <a:pt x="264" y="110"/>
                      </a:lnTo>
                      <a:lnTo>
                        <a:pt x="261" y="110"/>
                      </a:lnTo>
                      <a:lnTo>
                        <a:pt x="259" y="109"/>
                      </a:lnTo>
                      <a:lnTo>
                        <a:pt x="257" y="109"/>
                      </a:lnTo>
                      <a:lnTo>
                        <a:pt x="257" y="107"/>
                      </a:lnTo>
                      <a:lnTo>
                        <a:pt x="257" y="104"/>
                      </a:lnTo>
                      <a:lnTo>
                        <a:pt x="260" y="100"/>
                      </a:lnTo>
                      <a:lnTo>
                        <a:pt x="264" y="94"/>
                      </a:lnTo>
                      <a:lnTo>
                        <a:pt x="266" y="89"/>
                      </a:lnTo>
                      <a:lnTo>
                        <a:pt x="267" y="81"/>
                      </a:lnTo>
                      <a:lnTo>
                        <a:pt x="269" y="74"/>
                      </a:lnTo>
                      <a:lnTo>
                        <a:pt x="267" y="70"/>
                      </a:lnTo>
                      <a:lnTo>
                        <a:pt x="266" y="66"/>
                      </a:lnTo>
                      <a:lnTo>
                        <a:pt x="264" y="63"/>
                      </a:lnTo>
                      <a:lnTo>
                        <a:pt x="261" y="61"/>
                      </a:lnTo>
                      <a:lnTo>
                        <a:pt x="251" y="56"/>
                      </a:lnTo>
                      <a:lnTo>
                        <a:pt x="242" y="51"/>
                      </a:lnTo>
                      <a:lnTo>
                        <a:pt x="232" y="46"/>
                      </a:lnTo>
                      <a:lnTo>
                        <a:pt x="223" y="39"/>
                      </a:lnTo>
                      <a:lnTo>
                        <a:pt x="222" y="38"/>
                      </a:lnTo>
                      <a:lnTo>
                        <a:pt x="222" y="36"/>
                      </a:lnTo>
                      <a:lnTo>
                        <a:pt x="220" y="31"/>
                      </a:lnTo>
                      <a:lnTo>
                        <a:pt x="220" y="26"/>
                      </a:lnTo>
                      <a:lnTo>
                        <a:pt x="219" y="25"/>
                      </a:lnTo>
                      <a:lnTo>
                        <a:pt x="218" y="24"/>
                      </a:lnTo>
                      <a:lnTo>
                        <a:pt x="210" y="19"/>
                      </a:lnTo>
                      <a:lnTo>
                        <a:pt x="204" y="14"/>
                      </a:lnTo>
                      <a:lnTo>
                        <a:pt x="200" y="11"/>
                      </a:lnTo>
                      <a:lnTo>
                        <a:pt x="198" y="7"/>
                      </a:lnTo>
                      <a:lnTo>
                        <a:pt x="194" y="2"/>
                      </a:lnTo>
                      <a:lnTo>
                        <a:pt x="189" y="0"/>
                      </a:lnTo>
                      <a:lnTo>
                        <a:pt x="187" y="0"/>
                      </a:lnTo>
                      <a:lnTo>
                        <a:pt x="180" y="1"/>
                      </a:lnTo>
                      <a:lnTo>
                        <a:pt x="172" y="0"/>
                      </a:lnTo>
                      <a:lnTo>
                        <a:pt x="170" y="0"/>
                      </a:lnTo>
                      <a:lnTo>
                        <a:pt x="166" y="1"/>
                      </a:lnTo>
                      <a:lnTo>
                        <a:pt x="165" y="2"/>
                      </a:lnTo>
                      <a:lnTo>
                        <a:pt x="162" y="5"/>
                      </a:lnTo>
                      <a:lnTo>
                        <a:pt x="161" y="12"/>
                      </a:lnTo>
                      <a:lnTo>
                        <a:pt x="158" y="13"/>
                      </a:lnTo>
                      <a:lnTo>
                        <a:pt x="156" y="13"/>
                      </a:lnTo>
                      <a:lnTo>
                        <a:pt x="153" y="12"/>
                      </a:lnTo>
                      <a:lnTo>
                        <a:pt x="152" y="8"/>
                      </a:lnTo>
                      <a:lnTo>
                        <a:pt x="151" y="6"/>
                      </a:lnTo>
                      <a:lnTo>
                        <a:pt x="148" y="4"/>
                      </a:lnTo>
                      <a:lnTo>
                        <a:pt x="146" y="2"/>
                      </a:lnTo>
                      <a:lnTo>
                        <a:pt x="142" y="1"/>
                      </a:lnTo>
                      <a:lnTo>
                        <a:pt x="139" y="2"/>
                      </a:lnTo>
                      <a:lnTo>
                        <a:pt x="137" y="5"/>
                      </a:lnTo>
                      <a:lnTo>
                        <a:pt x="134" y="6"/>
                      </a:lnTo>
                      <a:lnTo>
                        <a:pt x="133" y="6"/>
                      </a:lnTo>
                      <a:lnTo>
                        <a:pt x="130" y="5"/>
                      </a:lnTo>
                      <a:lnTo>
                        <a:pt x="129" y="2"/>
                      </a:lnTo>
                      <a:lnTo>
                        <a:pt x="126" y="0"/>
                      </a:lnTo>
                      <a:lnTo>
                        <a:pt x="123" y="0"/>
                      </a:lnTo>
                      <a:lnTo>
                        <a:pt x="121" y="1"/>
                      </a:lnTo>
                      <a:lnTo>
                        <a:pt x="118" y="4"/>
                      </a:lnTo>
                      <a:lnTo>
                        <a:pt x="115" y="8"/>
                      </a:lnTo>
                      <a:lnTo>
                        <a:pt x="113" y="12"/>
                      </a:lnTo>
                      <a:lnTo>
                        <a:pt x="110" y="13"/>
                      </a:lnTo>
                      <a:lnTo>
                        <a:pt x="113" y="20"/>
                      </a:lnTo>
                      <a:lnTo>
                        <a:pt x="114" y="29"/>
                      </a:lnTo>
                      <a:lnTo>
                        <a:pt x="114" y="32"/>
                      </a:lnTo>
                      <a:lnTo>
                        <a:pt x="113" y="36"/>
                      </a:lnTo>
                      <a:lnTo>
                        <a:pt x="111" y="39"/>
                      </a:lnTo>
                      <a:lnTo>
                        <a:pt x="109" y="42"/>
                      </a:lnTo>
                      <a:lnTo>
                        <a:pt x="99" y="50"/>
                      </a:lnTo>
                      <a:lnTo>
                        <a:pt x="91" y="58"/>
                      </a:lnTo>
                      <a:lnTo>
                        <a:pt x="85" y="69"/>
                      </a:lnTo>
                      <a:lnTo>
                        <a:pt x="82" y="79"/>
                      </a:lnTo>
                      <a:lnTo>
                        <a:pt x="78" y="95"/>
                      </a:lnTo>
                      <a:lnTo>
                        <a:pt x="73" y="110"/>
                      </a:lnTo>
                      <a:lnTo>
                        <a:pt x="63" y="139"/>
                      </a:lnTo>
                      <a:lnTo>
                        <a:pt x="60" y="148"/>
                      </a:lnTo>
                      <a:lnTo>
                        <a:pt x="58" y="157"/>
                      </a:lnTo>
                      <a:lnTo>
                        <a:pt x="57" y="174"/>
                      </a:lnTo>
                      <a:lnTo>
                        <a:pt x="53" y="189"/>
                      </a:lnTo>
                      <a:lnTo>
                        <a:pt x="52" y="196"/>
                      </a:lnTo>
                      <a:lnTo>
                        <a:pt x="50" y="203"/>
                      </a:lnTo>
                      <a:lnTo>
                        <a:pt x="50" y="210"/>
                      </a:lnTo>
                      <a:lnTo>
                        <a:pt x="52" y="217"/>
                      </a:lnTo>
                      <a:lnTo>
                        <a:pt x="54" y="230"/>
                      </a:lnTo>
                      <a:lnTo>
                        <a:pt x="57" y="243"/>
                      </a:lnTo>
                      <a:lnTo>
                        <a:pt x="57" y="250"/>
                      </a:lnTo>
                      <a:lnTo>
                        <a:pt x="55" y="257"/>
                      </a:lnTo>
                      <a:lnTo>
                        <a:pt x="52" y="268"/>
                      </a:lnTo>
                      <a:lnTo>
                        <a:pt x="50" y="274"/>
                      </a:lnTo>
                      <a:lnTo>
                        <a:pt x="49" y="281"/>
                      </a:lnTo>
                      <a:lnTo>
                        <a:pt x="49" y="286"/>
                      </a:lnTo>
                      <a:lnTo>
                        <a:pt x="49" y="291"/>
                      </a:lnTo>
                      <a:lnTo>
                        <a:pt x="50" y="294"/>
                      </a:lnTo>
                      <a:lnTo>
                        <a:pt x="49" y="298"/>
                      </a:lnTo>
                      <a:lnTo>
                        <a:pt x="48" y="302"/>
                      </a:lnTo>
                      <a:lnTo>
                        <a:pt x="45" y="305"/>
                      </a:lnTo>
                      <a:lnTo>
                        <a:pt x="41" y="307"/>
                      </a:lnTo>
                      <a:lnTo>
                        <a:pt x="40" y="309"/>
                      </a:lnTo>
                      <a:lnTo>
                        <a:pt x="38" y="314"/>
                      </a:lnTo>
                      <a:lnTo>
                        <a:pt x="38" y="321"/>
                      </a:lnTo>
                      <a:lnTo>
                        <a:pt x="38" y="330"/>
                      </a:lnTo>
                      <a:lnTo>
                        <a:pt x="41" y="343"/>
                      </a:lnTo>
                      <a:lnTo>
                        <a:pt x="41" y="346"/>
                      </a:lnTo>
                      <a:lnTo>
                        <a:pt x="41" y="349"/>
                      </a:lnTo>
                      <a:lnTo>
                        <a:pt x="40" y="351"/>
                      </a:lnTo>
                      <a:lnTo>
                        <a:pt x="38" y="355"/>
                      </a:lnTo>
                      <a:lnTo>
                        <a:pt x="34" y="360"/>
                      </a:lnTo>
                      <a:lnTo>
                        <a:pt x="30" y="369"/>
                      </a:lnTo>
                      <a:lnTo>
                        <a:pt x="25" y="384"/>
                      </a:lnTo>
                      <a:lnTo>
                        <a:pt x="24" y="392"/>
                      </a:lnTo>
                      <a:lnTo>
                        <a:pt x="22" y="402"/>
                      </a:lnTo>
                      <a:lnTo>
                        <a:pt x="22" y="421"/>
                      </a:lnTo>
                      <a:lnTo>
                        <a:pt x="25" y="440"/>
                      </a:lnTo>
                      <a:lnTo>
                        <a:pt x="27" y="459"/>
                      </a:lnTo>
                      <a:lnTo>
                        <a:pt x="27" y="465"/>
                      </a:lnTo>
                      <a:lnTo>
                        <a:pt x="27" y="471"/>
                      </a:lnTo>
                      <a:lnTo>
                        <a:pt x="29" y="473"/>
                      </a:lnTo>
                      <a:lnTo>
                        <a:pt x="31" y="475"/>
                      </a:lnTo>
                      <a:lnTo>
                        <a:pt x="35" y="479"/>
                      </a:lnTo>
                      <a:lnTo>
                        <a:pt x="36" y="483"/>
                      </a:lnTo>
                      <a:lnTo>
                        <a:pt x="35" y="484"/>
                      </a:lnTo>
                      <a:lnTo>
                        <a:pt x="30" y="487"/>
                      </a:lnTo>
                      <a:lnTo>
                        <a:pt x="29" y="490"/>
                      </a:lnTo>
                      <a:lnTo>
                        <a:pt x="30" y="491"/>
                      </a:lnTo>
                      <a:lnTo>
                        <a:pt x="33" y="494"/>
                      </a:lnTo>
                      <a:lnTo>
                        <a:pt x="34" y="497"/>
                      </a:lnTo>
                      <a:lnTo>
                        <a:pt x="34" y="499"/>
                      </a:lnTo>
                      <a:lnTo>
                        <a:pt x="31" y="504"/>
                      </a:lnTo>
                      <a:lnTo>
                        <a:pt x="30" y="509"/>
                      </a:lnTo>
                      <a:lnTo>
                        <a:pt x="30" y="515"/>
                      </a:lnTo>
                      <a:lnTo>
                        <a:pt x="30" y="519"/>
                      </a:lnTo>
                      <a:lnTo>
                        <a:pt x="30" y="528"/>
                      </a:lnTo>
                      <a:lnTo>
                        <a:pt x="26" y="542"/>
                      </a:lnTo>
                      <a:lnTo>
                        <a:pt x="20" y="555"/>
                      </a:lnTo>
                      <a:lnTo>
                        <a:pt x="19" y="558"/>
                      </a:lnTo>
                      <a:lnTo>
                        <a:pt x="20" y="561"/>
                      </a:lnTo>
                      <a:lnTo>
                        <a:pt x="21" y="566"/>
                      </a:lnTo>
                      <a:lnTo>
                        <a:pt x="21" y="569"/>
                      </a:lnTo>
                      <a:lnTo>
                        <a:pt x="19" y="574"/>
                      </a:lnTo>
                      <a:lnTo>
                        <a:pt x="16" y="577"/>
                      </a:lnTo>
                      <a:lnTo>
                        <a:pt x="13" y="581"/>
                      </a:lnTo>
                      <a:lnTo>
                        <a:pt x="11" y="585"/>
                      </a:lnTo>
                      <a:lnTo>
                        <a:pt x="8" y="593"/>
                      </a:lnTo>
                      <a:lnTo>
                        <a:pt x="5" y="600"/>
                      </a:lnTo>
                      <a:lnTo>
                        <a:pt x="2" y="606"/>
                      </a:lnTo>
                      <a:lnTo>
                        <a:pt x="0" y="612"/>
                      </a:lnTo>
                      <a:lnTo>
                        <a:pt x="1" y="618"/>
                      </a:lnTo>
                      <a:lnTo>
                        <a:pt x="1" y="621"/>
                      </a:lnTo>
                      <a:lnTo>
                        <a:pt x="3" y="622"/>
                      </a:lnTo>
                      <a:lnTo>
                        <a:pt x="8" y="627"/>
                      </a:lnTo>
                      <a:lnTo>
                        <a:pt x="12" y="631"/>
                      </a:lnTo>
                      <a:lnTo>
                        <a:pt x="15" y="636"/>
                      </a:lnTo>
                      <a:lnTo>
                        <a:pt x="16" y="641"/>
                      </a:lnTo>
                      <a:lnTo>
                        <a:pt x="17" y="646"/>
                      </a:lnTo>
                      <a:lnTo>
                        <a:pt x="19" y="651"/>
                      </a:lnTo>
                      <a:lnTo>
                        <a:pt x="20" y="654"/>
                      </a:lnTo>
                      <a:lnTo>
                        <a:pt x="22" y="656"/>
                      </a:lnTo>
                      <a:lnTo>
                        <a:pt x="27" y="658"/>
                      </a:lnTo>
                      <a:lnTo>
                        <a:pt x="34" y="659"/>
                      </a:lnTo>
                      <a:lnTo>
                        <a:pt x="40" y="659"/>
                      </a:lnTo>
                      <a:lnTo>
                        <a:pt x="41" y="660"/>
                      </a:lnTo>
                      <a:lnTo>
                        <a:pt x="60" y="660"/>
                      </a:lnTo>
                      <a:lnTo>
                        <a:pt x="81" y="66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40" name="Freeform 518">
                  <a:extLst>
                    <a:ext uri="{FF2B5EF4-FFF2-40B4-BE49-F238E27FC236}">
                      <a16:creationId xmlns:a16="http://schemas.microsoft.com/office/drawing/2014/main" id="{89A7F683-B149-234C-A1A7-1421C4113B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4030" y="2265366"/>
                  <a:ext cx="88792" cy="38477"/>
                </a:xfrm>
                <a:custGeom>
                  <a:avLst/>
                  <a:gdLst>
                    <a:gd name="T0" fmla="*/ 2147483647 w 65"/>
                    <a:gd name="T1" fmla="*/ 2147483647 h 26"/>
                    <a:gd name="T2" fmla="*/ 2147483647 w 65"/>
                    <a:gd name="T3" fmla="*/ 2147483647 h 26"/>
                    <a:gd name="T4" fmla="*/ 2147483647 w 65"/>
                    <a:gd name="T5" fmla="*/ 2147483647 h 26"/>
                    <a:gd name="T6" fmla="*/ 2147483647 w 65"/>
                    <a:gd name="T7" fmla="*/ 2147483647 h 26"/>
                    <a:gd name="T8" fmla="*/ 2147483647 w 65"/>
                    <a:gd name="T9" fmla="*/ 2147483647 h 26"/>
                    <a:gd name="T10" fmla="*/ 2147483647 w 65"/>
                    <a:gd name="T11" fmla="*/ 2147483647 h 26"/>
                    <a:gd name="T12" fmla="*/ 2147483647 w 65"/>
                    <a:gd name="T13" fmla="*/ 2147483647 h 26"/>
                    <a:gd name="T14" fmla="*/ 2147483647 w 65"/>
                    <a:gd name="T15" fmla="*/ 2147483647 h 26"/>
                    <a:gd name="T16" fmla="*/ 2147483647 w 65"/>
                    <a:gd name="T17" fmla="*/ 2147483647 h 26"/>
                    <a:gd name="T18" fmla="*/ 2147483647 w 65"/>
                    <a:gd name="T19" fmla="*/ 2147483647 h 26"/>
                    <a:gd name="T20" fmla="*/ 2147483647 w 65"/>
                    <a:gd name="T21" fmla="*/ 2147483647 h 26"/>
                    <a:gd name="T22" fmla="*/ 2147483647 w 65"/>
                    <a:gd name="T23" fmla="*/ 2147483647 h 26"/>
                    <a:gd name="T24" fmla="*/ 2147483647 w 65"/>
                    <a:gd name="T25" fmla="*/ 2147483647 h 26"/>
                    <a:gd name="T26" fmla="*/ 2147483647 w 65"/>
                    <a:gd name="T27" fmla="*/ 2147483647 h 26"/>
                    <a:gd name="T28" fmla="*/ 2147483647 w 65"/>
                    <a:gd name="T29" fmla="*/ 2147483647 h 26"/>
                    <a:gd name="T30" fmla="*/ 2147483647 w 65"/>
                    <a:gd name="T31" fmla="*/ 2147483647 h 26"/>
                    <a:gd name="T32" fmla="*/ 2147483647 w 65"/>
                    <a:gd name="T33" fmla="*/ 2147483647 h 26"/>
                    <a:gd name="T34" fmla="*/ 0 w 65"/>
                    <a:gd name="T35" fmla="*/ 2147483647 h 26"/>
                    <a:gd name="T36" fmla="*/ 2147483647 w 65"/>
                    <a:gd name="T37" fmla="*/ 2147483647 h 26"/>
                    <a:gd name="T38" fmla="*/ 2147483647 w 65"/>
                    <a:gd name="T39" fmla="*/ 2147483647 h 26"/>
                    <a:gd name="T40" fmla="*/ 2147483647 w 65"/>
                    <a:gd name="T41" fmla="*/ 2147483647 h 26"/>
                    <a:gd name="T42" fmla="*/ 2147483647 w 65"/>
                    <a:gd name="T43" fmla="*/ 2147483647 h 26"/>
                    <a:gd name="T44" fmla="*/ 2147483647 w 65"/>
                    <a:gd name="T45" fmla="*/ 2147483647 h 26"/>
                    <a:gd name="T46" fmla="*/ 2147483647 w 65"/>
                    <a:gd name="T47" fmla="*/ 2147483647 h 26"/>
                    <a:gd name="T48" fmla="*/ 2147483647 w 65"/>
                    <a:gd name="T49" fmla="*/ 2147483647 h 26"/>
                    <a:gd name="T50" fmla="*/ 2147483647 w 65"/>
                    <a:gd name="T51" fmla="*/ 2147483647 h 26"/>
                    <a:gd name="T52" fmla="*/ 2147483647 w 65"/>
                    <a:gd name="T53" fmla="*/ 0 h 26"/>
                    <a:gd name="T54" fmla="*/ 2147483647 w 65"/>
                    <a:gd name="T55" fmla="*/ 2147483647 h 26"/>
                    <a:gd name="T56" fmla="*/ 2147483647 w 65"/>
                    <a:gd name="T57" fmla="*/ 2147483647 h 26"/>
                    <a:gd name="T58" fmla="*/ 2147483647 w 65"/>
                    <a:gd name="T59" fmla="*/ 2147483647 h 26"/>
                    <a:gd name="T60" fmla="*/ 2147483647 w 65"/>
                    <a:gd name="T61" fmla="*/ 2147483647 h 26"/>
                    <a:gd name="T62" fmla="*/ 2147483647 w 65"/>
                    <a:gd name="T63" fmla="*/ 2147483647 h 26"/>
                    <a:gd name="T64" fmla="*/ 2147483647 w 65"/>
                    <a:gd name="T65" fmla="*/ 2147483647 h 26"/>
                    <a:gd name="T66" fmla="*/ 2147483647 w 65"/>
                    <a:gd name="T67" fmla="*/ 2147483647 h 26"/>
                    <a:gd name="T68" fmla="*/ 2147483647 w 65"/>
                    <a:gd name="T69" fmla="*/ 2147483647 h 26"/>
                    <a:gd name="T70" fmla="*/ 2147483647 w 65"/>
                    <a:gd name="T71" fmla="*/ 2147483647 h 26"/>
                    <a:gd name="T72" fmla="*/ 2147483647 w 65"/>
                    <a:gd name="T73" fmla="*/ 2147483647 h 2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65"/>
                    <a:gd name="T112" fmla="*/ 0 h 26"/>
                    <a:gd name="T113" fmla="*/ 65 w 65"/>
                    <a:gd name="T114" fmla="*/ 26 h 2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65" h="26">
                      <a:moveTo>
                        <a:pt x="65" y="22"/>
                      </a:moveTo>
                      <a:lnTo>
                        <a:pt x="65" y="23"/>
                      </a:lnTo>
                      <a:lnTo>
                        <a:pt x="64" y="25"/>
                      </a:lnTo>
                      <a:lnTo>
                        <a:pt x="61" y="26"/>
                      </a:lnTo>
                      <a:lnTo>
                        <a:pt x="60" y="26"/>
                      </a:lnTo>
                      <a:lnTo>
                        <a:pt x="55" y="25"/>
                      </a:lnTo>
                      <a:lnTo>
                        <a:pt x="51" y="25"/>
                      </a:lnTo>
                      <a:lnTo>
                        <a:pt x="47" y="25"/>
                      </a:lnTo>
                      <a:lnTo>
                        <a:pt x="43" y="25"/>
                      </a:lnTo>
                      <a:lnTo>
                        <a:pt x="42" y="23"/>
                      </a:lnTo>
                      <a:lnTo>
                        <a:pt x="39" y="21"/>
                      </a:lnTo>
                      <a:lnTo>
                        <a:pt x="37" y="20"/>
                      </a:lnTo>
                      <a:lnTo>
                        <a:pt x="34" y="18"/>
                      </a:lnTo>
                      <a:lnTo>
                        <a:pt x="27" y="14"/>
                      </a:lnTo>
                      <a:lnTo>
                        <a:pt x="19" y="10"/>
                      </a:lnTo>
                      <a:lnTo>
                        <a:pt x="3" y="6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13" y="1"/>
                      </a:lnTo>
                      <a:lnTo>
                        <a:pt x="19" y="2"/>
                      </a:lnTo>
                      <a:lnTo>
                        <a:pt x="22" y="3"/>
                      </a:lnTo>
                      <a:lnTo>
                        <a:pt x="25" y="2"/>
                      </a:lnTo>
                      <a:lnTo>
                        <a:pt x="28" y="1"/>
                      </a:lnTo>
                      <a:lnTo>
                        <a:pt x="30" y="0"/>
                      </a:lnTo>
                      <a:lnTo>
                        <a:pt x="32" y="1"/>
                      </a:lnTo>
                      <a:lnTo>
                        <a:pt x="42" y="8"/>
                      </a:lnTo>
                      <a:lnTo>
                        <a:pt x="48" y="10"/>
                      </a:lnTo>
                      <a:lnTo>
                        <a:pt x="55" y="10"/>
                      </a:lnTo>
                      <a:lnTo>
                        <a:pt x="56" y="12"/>
                      </a:lnTo>
                      <a:lnTo>
                        <a:pt x="57" y="13"/>
                      </a:lnTo>
                      <a:lnTo>
                        <a:pt x="58" y="16"/>
                      </a:lnTo>
                      <a:lnTo>
                        <a:pt x="60" y="19"/>
                      </a:lnTo>
                      <a:lnTo>
                        <a:pt x="61" y="20"/>
                      </a:lnTo>
                      <a:lnTo>
                        <a:pt x="65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41" name="Freeform 521">
                  <a:extLst>
                    <a:ext uri="{FF2B5EF4-FFF2-40B4-BE49-F238E27FC236}">
                      <a16:creationId xmlns:a16="http://schemas.microsoft.com/office/drawing/2014/main" id="{07B3BA21-7BF5-7A4C-8781-B1474039EB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8114" y="2289047"/>
                  <a:ext cx="63634" cy="44396"/>
                </a:xfrm>
                <a:custGeom>
                  <a:avLst/>
                  <a:gdLst>
                    <a:gd name="T0" fmla="*/ 2147483647 w 47"/>
                    <a:gd name="T1" fmla="*/ 2147483647 h 30"/>
                    <a:gd name="T2" fmla="*/ 2147483647 w 47"/>
                    <a:gd name="T3" fmla="*/ 2147483647 h 30"/>
                    <a:gd name="T4" fmla="*/ 2147483647 w 47"/>
                    <a:gd name="T5" fmla="*/ 2147483647 h 30"/>
                    <a:gd name="T6" fmla="*/ 2147483647 w 47"/>
                    <a:gd name="T7" fmla="*/ 2147483647 h 30"/>
                    <a:gd name="T8" fmla="*/ 2147483647 w 47"/>
                    <a:gd name="T9" fmla="*/ 2147483647 h 30"/>
                    <a:gd name="T10" fmla="*/ 2147483647 w 47"/>
                    <a:gd name="T11" fmla="*/ 2147483647 h 30"/>
                    <a:gd name="T12" fmla="*/ 2147483647 w 47"/>
                    <a:gd name="T13" fmla="*/ 2147483647 h 30"/>
                    <a:gd name="T14" fmla="*/ 2147483647 w 47"/>
                    <a:gd name="T15" fmla="*/ 2147483647 h 30"/>
                    <a:gd name="T16" fmla="*/ 2147483647 w 47"/>
                    <a:gd name="T17" fmla="*/ 2147483647 h 30"/>
                    <a:gd name="T18" fmla="*/ 2147483647 w 47"/>
                    <a:gd name="T19" fmla="*/ 0 h 30"/>
                    <a:gd name="T20" fmla="*/ 2147483647 w 47"/>
                    <a:gd name="T21" fmla="*/ 0 h 30"/>
                    <a:gd name="T22" fmla="*/ 2147483647 w 47"/>
                    <a:gd name="T23" fmla="*/ 2147483647 h 30"/>
                    <a:gd name="T24" fmla="*/ 2147483647 w 47"/>
                    <a:gd name="T25" fmla="*/ 2147483647 h 30"/>
                    <a:gd name="T26" fmla="*/ 2147483647 w 47"/>
                    <a:gd name="T27" fmla="*/ 2147483647 h 30"/>
                    <a:gd name="T28" fmla="*/ 2147483647 w 47"/>
                    <a:gd name="T29" fmla="*/ 2147483647 h 30"/>
                    <a:gd name="T30" fmla="*/ 2147483647 w 47"/>
                    <a:gd name="T31" fmla="*/ 2147483647 h 30"/>
                    <a:gd name="T32" fmla="*/ 0 w 47"/>
                    <a:gd name="T33" fmla="*/ 2147483647 h 30"/>
                    <a:gd name="T34" fmla="*/ 2147483647 w 47"/>
                    <a:gd name="T35" fmla="*/ 2147483647 h 30"/>
                    <a:gd name="T36" fmla="*/ 2147483647 w 47"/>
                    <a:gd name="T37" fmla="*/ 2147483647 h 30"/>
                    <a:gd name="T38" fmla="*/ 2147483647 w 47"/>
                    <a:gd name="T39" fmla="*/ 2147483647 h 30"/>
                    <a:gd name="T40" fmla="*/ 2147483647 w 47"/>
                    <a:gd name="T41" fmla="*/ 2147483647 h 30"/>
                    <a:gd name="T42" fmla="*/ 2147483647 w 47"/>
                    <a:gd name="T43" fmla="*/ 2147483647 h 30"/>
                    <a:gd name="T44" fmla="*/ 2147483647 w 47"/>
                    <a:gd name="T45" fmla="*/ 2147483647 h 30"/>
                    <a:gd name="T46" fmla="*/ 2147483647 w 47"/>
                    <a:gd name="T47" fmla="*/ 2147483647 h 30"/>
                    <a:gd name="T48" fmla="*/ 2147483647 w 47"/>
                    <a:gd name="T49" fmla="*/ 2147483647 h 30"/>
                    <a:gd name="T50" fmla="*/ 2147483647 w 47"/>
                    <a:gd name="T51" fmla="*/ 2147483647 h 30"/>
                    <a:gd name="T52" fmla="*/ 2147483647 w 47"/>
                    <a:gd name="T53" fmla="*/ 2147483647 h 30"/>
                    <a:gd name="T54" fmla="*/ 2147483647 w 47"/>
                    <a:gd name="T55" fmla="*/ 2147483647 h 30"/>
                    <a:gd name="T56" fmla="*/ 2147483647 w 47"/>
                    <a:gd name="T57" fmla="*/ 2147483647 h 30"/>
                    <a:gd name="T58" fmla="*/ 2147483647 w 47"/>
                    <a:gd name="T59" fmla="*/ 2147483647 h 30"/>
                    <a:gd name="T60" fmla="*/ 2147483647 w 47"/>
                    <a:gd name="T61" fmla="*/ 2147483647 h 30"/>
                    <a:gd name="T62" fmla="*/ 2147483647 w 47"/>
                    <a:gd name="T63" fmla="*/ 2147483647 h 30"/>
                    <a:gd name="T64" fmla="*/ 2147483647 w 47"/>
                    <a:gd name="T65" fmla="*/ 2147483647 h 3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47"/>
                    <a:gd name="T100" fmla="*/ 0 h 30"/>
                    <a:gd name="T101" fmla="*/ 47 w 47"/>
                    <a:gd name="T102" fmla="*/ 30 h 3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47" h="30">
                      <a:moveTo>
                        <a:pt x="45" y="19"/>
                      </a:moveTo>
                      <a:lnTo>
                        <a:pt x="40" y="17"/>
                      </a:lnTo>
                      <a:lnTo>
                        <a:pt x="34" y="12"/>
                      </a:lnTo>
                      <a:lnTo>
                        <a:pt x="27" y="5"/>
                      </a:lnTo>
                      <a:lnTo>
                        <a:pt x="24" y="4"/>
                      </a:lnTo>
                      <a:lnTo>
                        <a:pt x="22" y="4"/>
                      </a:lnTo>
                      <a:lnTo>
                        <a:pt x="15" y="4"/>
                      </a:lnTo>
                      <a:lnTo>
                        <a:pt x="14" y="4"/>
                      </a:lnTo>
                      <a:lnTo>
                        <a:pt x="13" y="3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3" y="10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1" y="15"/>
                      </a:lnTo>
                      <a:lnTo>
                        <a:pt x="3" y="16"/>
                      </a:lnTo>
                      <a:lnTo>
                        <a:pt x="4" y="18"/>
                      </a:lnTo>
                      <a:lnTo>
                        <a:pt x="7" y="22"/>
                      </a:lnTo>
                      <a:lnTo>
                        <a:pt x="8" y="24"/>
                      </a:lnTo>
                      <a:lnTo>
                        <a:pt x="10" y="25"/>
                      </a:lnTo>
                      <a:lnTo>
                        <a:pt x="22" y="29"/>
                      </a:lnTo>
                      <a:lnTo>
                        <a:pt x="26" y="30"/>
                      </a:lnTo>
                      <a:lnTo>
                        <a:pt x="31" y="30"/>
                      </a:lnTo>
                      <a:lnTo>
                        <a:pt x="40" y="29"/>
                      </a:lnTo>
                      <a:lnTo>
                        <a:pt x="42" y="29"/>
                      </a:lnTo>
                      <a:lnTo>
                        <a:pt x="45" y="26"/>
                      </a:lnTo>
                      <a:lnTo>
                        <a:pt x="47" y="23"/>
                      </a:lnTo>
                      <a:lnTo>
                        <a:pt x="47" y="22"/>
                      </a:lnTo>
                      <a:lnTo>
                        <a:pt x="46" y="20"/>
                      </a:lnTo>
                      <a:lnTo>
                        <a:pt x="45" y="1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96" name="Group 395">
                <a:extLst>
                  <a:ext uri="{FF2B5EF4-FFF2-40B4-BE49-F238E27FC236}">
                    <a16:creationId xmlns:a16="http://schemas.microsoft.com/office/drawing/2014/main" id="{91C08741-802C-1C44-83C6-3CD5149EDC02}"/>
                  </a:ext>
                </a:extLst>
              </p:cNvPr>
              <p:cNvGrpSpPr/>
              <p:nvPr/>
            </p:nvGrpSpPr>
            <p:grpSpPr>
              <a:xfrm>
                <a:off x="447792" y="1624583"/>
                <a:ext cx="5158834" cy="4704514"/>
                <a:chOff x="3927103" y="1624583"/>
                <a:chExt cx="5158834" cy="4704514"/>
              </a:xfrm>
              <a:grpFill/>
            </p:grpSpPr>
            <p:sp>
              <p:nvSpPr>
                <p:cNvPr id="397" name="Freeform 2">
                  <a:extLst>
                    <a:ext uri="{FF2B5EF4-FFF2-40B4-BE49-F238E27FC236}">
                      <a16:creationId xmlns:a16="http://schemas.microsoft.com/office/drawing/2014/main" id="{08878E8E-5EA6-1E47-B7A0-8B91360A6D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30433" y="4131485"/>
                  <a:ext cx="118390" cy="121349"/>
                </a:xfrm>
                <a:custGeom>
                  <a:avLst/>
                  <a:gdLst>
                    <a:gd name="T0" fmla="*/ 2147483647 w 87"/>
                    <a:gd name="T1" fmla="*/ 0 h 82"/>
                    <a:gd name="T2" fmla="*/ 2147483647 w 87"/>
                    <a:gd name="T3" fmla="*/ 2147483647 h 82"/>
                    <a:gd name="T4" fmla="*/ 2147483647 w 87"/>
                    <a:gd name="T5" fmla="*/ 0 h 82"/>
                    <a:gd name="T6" fmla="*/ 2147483647 w 87"/>
                    <a:gd name="T7" fmla="*/ 0 h 82"/>
                    <a:gd name="T8" fmla="*/ 2147483647 w 87"/>
                    <a:gd name="T9" fmla="*/ 2147483647 h 82"/>
                    <a:gd name="T10" fmla="*/ 2147483647 w 87"/>
                    <a:gd name="T11" fmla="*/ 2147483647 h 82"/>
                    <a:gd name="T12" fmla="*/ 2147483647 w 87"/>
                    <a:gd name="T13" fmla="*/ 2147483647 h 82"/>
                    <a:gd name="T14" fmla="*/ 2147483647 w 87"/>
                    <a:gd name="T15" fmla="*/ 2147483647 h 82"/>
                    <a:gd name="T16" fmla="*/ 2147483647 w 87"/>
                    <a:gd name="T17" fmla="*/ 2147483647 h 82"/>
                    <a:gd name="T18" fmla="*/ 0 w 87"/>
                    <a:gd name="T19" fmla="*/ 2147483647 h 82"/>
                    <a:gd name="T20" fmla="*/ 2147483647 w 87"/>
                    <a:gd name="T21" fmla="*/ 2147483647 h 82"/>
                    <a:gd name="T22" fmla="*/ 2147483647 w 87"/>
                    <a:gd name="T23" fmla="*/ 2147483647 h 82"/>
                    <a:gd name="T24" fmla="*/ 2147483647 w 87"/>
                    <a:gd name="T25" fmla="*/ 2147483647 h 82"/>
                    <a:gd name="T26" fmla="*/ 2147483647 w 87"/>
                    <a:gd name="T27" fmla="*/ 2147483647 h 82"/>
                    <a:gd name="T28" fmla="*/ 2147483647 w 87"/>
                    <a:gd name="T29" fmla="*/ 2147483647 h 82"/>
                    <a:gd name="T30" fmla="*/ 2147483647 w 87"/>
                    <a:gd name="T31" fmla="*/ 2147483647 h 82"/>
                    <a:gd name="T32" fmla="*/ 2147483647 w 87"/>
                    <a:gd name="T33" fmla="*/ 2147483647 h 82"/>
                    <a:gd name="T34" fmla="*/ 2147483647 w 87"/>
                    <a:gd name="T35" fmla="*/ 2147483647 h 82"/>
                    <a:gd name="T36" fmla="*/ 2147483647 w 87"/>
                    <a:gd name="T37" fmla="*/ 2147483647 h 82"/>
                    <a:gd name="T38" fmla="*/ 2147483647 w 87"/>
                    <a:gd name="T39" fmla="*/ 2147483647 h 82"/>
                    <a:gd name="T40" fmla="*/ 2147483647 w 87"/>
                    <a:gd name="T41" fmla="*/ 2147483647 h 82"/>
                    <a:gd name="T42" fmla="*/ 2147483647 w 87"/>
                    <a:gd name="T43" fmla="*/ 2147483647 h 82"/>
                    <a:gd name="T44" fmla="*/ 2147483647 w 87"/>
                    <a:gd name="T45" fmla="*/ 2147483647 h 82"/>
                    <a:gd name="T46" fmla="*/ 2147483647 w 87"/>
                    <a:gd name="T47" fmla="*/ 2147483647 h 82"/>
                    <a:gd name="T48" fmla="*/ 2147483647 w 87"/>
                    <a:gd name="T49" fmla="*/ 2147483647 h 82"/>
                    <a:gd name="T50" fmla="*/ 2147483647 w 87"/>
                    <a:gd name="T51" fmla="*/ 2147483647 h 82"/>
                    <a:gd name="T52" fmla="*/ 2147483647 w 87"/>
                    <a:gd name="T53" fmla="*/ 2147483647 h 82"/>
                    <a:gd name="T54" fmla="*/ 2147483647 w 87"/>
                    <a:gd name="T55" fmla="*/ 2147483647 h 82"/>
                    <a:gd name="T56" fmla="*/ 2147483647 w 87"/>
                    <a:gd name="T57" fmla="*/ 2147483647 h 82"/>
                    <a:gd name="T58" fmla="*/ 2147483647 w 87"/>
                    <a:gd name="T59" fmla="*/ 2147483647 h 82"/>
                    <a:gd name="T60" fmla="*/ 2147483647 w 87"/>
                    <a:gd name="T61" fmla="*/ 2147483647 h 82"/>
                    <a:gd name="T62" fmla="*/ 2147483647 w 87"/>
                    <a:gd name="T63" fmla="*/ 2147483647 h 82"/>
                    <a:gd name="T64" fmla="*/ 2147483647 w 87"/>
                    <a:gd name="T65" fmla="*/ 2147483647 h 82"/>
                    <a:gd name="T66" fmla="*/ 2147483647 w 87"/>
                    <a:gd name="T67" fmla="*/ 2147483647 h 82"/>
                    <a:gd name="T68" fmla="*/ 2147483647 w 87"/>
                    <a:gd name="T69" fmla="*/ 2147483647 h 82"/>
                    <a:gd name="T70" fmla="*/ 2147483647 w 87"/>
                    <a:gd name="T71" fmla="*/ 2147483647 h 82"/>
                    <a:gd name="T72" fmla="*/ 2147483647 w 87"/>
                    <a:gd name="T73" fmla="*/ 2147483647 h 82"/>
                    <a:gd name="T74" fmla="*/ 2147483647 w 87"/>
                    <a:gd name="T75" fmla="*/ 2147483647 h 82"/>
                    <a:gd name="T76" fmla="*/ 2147483647 w 87"/>
                    <a:gd name="T77" fmla="*/ 2147483647 h 82"/>
                    <a:gd name="T78" fmla="*/ 2147483647 w 87"/>
                    <a:gd name="T79" fmla="*/ 2147483647 h 82"/>
                    <a:gd name="T80" fmla="*/ 2147483647 w 87"/>
                    <a:gd name="T81" fmla="*/ 2147483647 h 82"/>
                    <a:gd name="T82" fmla="*/ 2147483647 w 87"/>
                    <a:gd name="T83" fmla="*/ 2147483647 h 82"/>
                    <a:gd name="T84" fmla="*/ 2147483647 w 87"/>
                    <a:gd name="T85" fmla="*/ 2147483647 h 82"/>
                    <a:gd name="T86" fmla="*/ 2147483647 w 87"/>
                    <a:gd name="T87" fmla="*/ 2147483647 h 82"/>
                    <a:gd name="T88" fmla="*/ 2147483647 w 87"/>
                    <a:gd name="T89" fmla="*/ 2147483647 h 82"/>
                    <a:gd name="T90" fmla="*/ 2147483647 w 87"/>
                    <a:gd name="T91" fmla="*/ 2147483647 h 82"/>
                    <a:gd name="T92" fmla="*/ 2147483647 w 87"/>
                    <a:gd name="T93" fmla="*/ 2147483647 h 82"/>
                    <a:gd name="T94" fmla="*/ 2147483647 w 87"/>
                    <a:gd name="T95" fmla="*/ 2147483647 h 82"/>
                    <a:gd name="T96" fmla="*/ 2147483647 w 87"/>
                    <a:gd name="T97" fmla="*/ 2147483647 h 82"/>
                    <a:gd name="T98" fmla="*/ 2147483647 w 87"/>
                    <a:gd name="T99" fmla="*/ 2147483647 h 82"/>
                    <a:gd name="T100" fmla="*/ 2147483647 w 87"/>
                    <a:gd name="T101" fmla="*/ 2147483647 h 82"/>
                    <a:gd name="T102" fmla="*/ 2147483647 w 87"/>
                    <a:gd name="T103" fmla="*/ 2147483647 h 82"/>
                    <a:gd name="T104" fmla="*/ 2147483647 w 87"/>
                    <a:gd name="T105" fmla="*/ 2147483647 h 82"/>
                    <a:gd name="T106" fmla="*/ 2147483647 w 87"/>
                    <a:gd name="T107" fmla="*/ 0 h 8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87"/>
                    <a:gd name="T163" fmla="*/ 0 h 82"/>
                    <a:gd name="T164" fmla="*/ 87 w 87"/>
                    <a:gd name="T165" fmla="*/ 82 h 8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87" h="82">
                      <a:moveTo>
                        <a:pt x="87" y="0"/>
                      </a:moveTo>
                      <a:lnTo>
                        <a:pt x="72" y="1"/>
                      </a:lnTo>
                      <a:lnTo>
                        <a:pt x="58" y="0"/>
                      </a:lnTo>
                      <a:lnTo>
                        <a:pt x="43" y="0"/>
                      </a:lnTo>
                      <a:lnTo>
                        <a:pt x="26" y="1"/>
                      </a:lnTo>
                      <a:lnTo>
                        <a:pt x="20" y="1"/>
                      </a:lnTo>
                      <a:lnTo>
                        <a:pt x="12" y="1"/>
                      </a:lnTo>
                      <a:lnTo>
                        <a:pt x="5" y="1"/>
                      </a:ln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3" y="12"/>
                      </a:lnTo>
                      <a:lnTo>
                        <a:pt x="5" y="14"/>
                      </a:lnTo>
                      <a:lnTo>
                        <a:pt x="5" y="17"/>
                      </a:lnTo>
                      <a:lnTo>
                        <a:pt x="3" y="22"/>
                      </a:lnTo>
                      <a:lnTo>
                        <a:pt x="2" y="27"/>
                      </a:lnTo>
                      <a:lnTo>
                        <a:pt x="1" y="32"/>
                      </a:lnTo>
                      <a:lnTo>
                        <a:pt x="1" y="36"/>
                      </a:lnTo>
                      <a:lnTo>
                        <a:pt x="2" y="38"/>
                      </a:lnTo>
                      <a:lnTo>
                        <a:pt x="5" y="44"/>
                      </a:lnTo>
                      <a:lnTo>
                        <a:pt x="6" y="50"/>
                      </a:lnTo>
                      <a:lnTo>
                        <a:pt x="9" y="63"/>
                      </a:lnTo>
                      <a:lnTo>
                        <a:pt x="10" y="68"/>
                      </a:lnTo>
                      <a:lnTo>
                        <a:pt x="11" y="71"/>
                      </a:lnTo>
                      <a:lnTo>
                        <a:pt x="11" y="77"/>
                      </a:lnTo>
                      <a:lnTo>
                        <a:pt x="12" y="82"/>
                      </a:lnTo>
                      <a:lnTo>
                        <a:pt x="17" y="77"/>
                      </a:lnTo>
                      <a:lnTo>
                        <a:pt x="20" y="75"/>
                      </a:lnTo>
                      <a:lnTo>
                        <a:pt x="24" y="74"/>
                      </a:lnTo>
                      <a:lnTo>
                        <a:pt x="26" y="72"/>
                      </a:lnTo>
                      <a:lnTo>
                        <a:pt x="28" y="71"/>
                      </a:lnTo>
                      <a:lnTo>
                        <a:pt x="29" y="68"/>
                      </a:lnTo>
                      <a:lnTo>
                        <a:pt x="31" y="63"/>
                      </a:lnTo>
                      <a:lnTo>
                        <a:pt x="35" y="59"/>
                      </a:lnTo>
                      <a:lnTo>
                        <a:pt x="39" y="57"/>
                      </a:lnTo>
                      <a:lnTo>
                        <a:pt x="47" y="57"/>
                      </a:lnTo>
                      <a:lnTo>
                        <a:pt x="54" y="58"/>
                      </a:lnTo>
                      <a:lnTo>
                        <a:pt x="57" y="58"/>
                      </a:lnTo>
                      <a:lnTo>
                        <a:pt x="59" y="58"/>
                      </a:lnTo>
                      <a:lnTo>
                        <a:pt x="62" y="57"/>
                      </a:lnTo>
                      <a:lnTo>
                        <a:pt x="63" y="55"/>
                      </a:lnTo>
                      <a:lnTo>
                        <a:pt x="66" y="50"/>
                      </a:lnTo>
                      <a:lnTo>
                        <a:pt x="66" y="48"/>
                      </a:lnTo>
                      <a:lnTo>
                        <a:pt x="63" y="48"/>
                      </a:lnTo>
                      <a:lnTo>
                        <a:pt x="57" y="49"/>
                      </a:lnTo>
                      <a:lnTo>
                        <a:pt x="54" y="49"/>
                      </a:lnTo>
                      <a:lnTo>
                        <a:pt x="52" y="48"/>
                      </a:lnTo>
                      <a:lnTo>
                        <a:pt x="52" y="44"/>
                      </a:lnTo>
                      <a:lnTo>
                        <a:pt x="52" y="42"/>
                      </a:lnTo>
                      <a:lnTo>
                        <a:pt x="54" y="39"/>
                      </a:lnTo>
                      <a:lnTo>
                        <a:pt x="57" y="37"/>
                      </a:lnTo>
                      <a:lnTo>
                        <a:pt x="62" y="32"/>
                      </a:lnTo>
                      <a:lnTo>
                        <a:pt x="66" y="27"/>
                      </a:lnTo>
                      <a:lnTo>
                        <a:pt x="76" y="13"/>
                      </a:lnTo>
                      <a:lnTo>
                        <a:pt x="8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8" name="Freeform 3">
                  <a:extLst>
                    <a:ext uri="{FF2B5EF4-FFF2-40B4-BE49-F238E27FC236}">
                      <a16:creationId xmlns:a16="http://schemas.microsoft.com/office/drawing/2014/main" id="{45456D2A-F164-474B-8258-75BAE318AF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6712" y="4088567"/>
                  <a:ext cx="217541" cy="174626"/>
                </a:xfrm>
                <a:custGeom>
                  <a:avLst/>
                  <a:gdLst>
                    <a:gd name="T0" fmla="*/ 2147483647 w 159"/>
                    <a:gd name="T1" fmla="*/ 2147483647 h 118"/>
                    <a:gd name="T2" fmla="*/ 2147483647 w 159"/>
                    <a:gd name="T3" fmla="*/ 2147483647 h 118"/>
                    <a:gd name="T4" fmla="*/ 2147483647 w 159"/>
                    <a:gd name="T5" fmla="*/ 2147483647 h 118"/>
                    <a:gd name="T6" fmla="*/ 2147483647 w 159"/>
                    <a:gd name="T7" fmla="*/ 0 h 118"/>
                    <a:gd name="T8" fmla="*/ 2147483647 w 159"/>
                    <a:gd name="T9" fmla="*/ 2147483647 h 118"/>
                    <a:gd name="T10" fmla="*/ 2147483647 w 159"/>
                    <a:gd name="T11" fmla="*/ 2147483647 h 118"/>
                    <a:gd name="T12" fmla="*/ 2147483647 w 159"/>
                    <a:gd name="T13" fmla="*/ 2147483647 h 118"/>
                    <a:gd name="T14" fmla="*/ 2147483647 w 159"/>
                    <a:gd name="T15" fmla="*/ 2147483647 h 118"/>
                    <a:gd name="T16" fmla="*/ 2147483647 w 159"/>
                    <a:gd name="T17" fmla="*/ 2147483647 h 118"/>
                    <a:gd name="T18" fmla="*/ 2147483647 w 159"/>
                    <a:gd name="T19" fmla="*/ 2147483647 h 118"/>
                    <a:gd name="T20" fmla="*/ 2147483647 w 159"/>
                    <a:gd name="T21" fmla="*/ 2147483647 h 118"/>
                    <a:gd name="T22" fmla="*/ 2147483647 w 159"/>
                    <a:gd name="T23" fmla="*/ 2147483647 h 118"/>
                    <a:gd name="T24" fmla="*/ 2147483647 w 159"/>
                    <a:gd name="T25" fmla="*/ 2147483647 h 118"/>
                    <a:gd name="T26" fmla="*/ 2147483647 w 159"/>
                    <a:gd name="T27" fmla="*/ 2147483647 h 118"/>
                    <a:gd name="T28" fmla="*/ 2147483647 w 159"/>
                    <a:gd name="T29" fmla="*/ 2147483647 h 118"/>
                    <a:gd name="T30" fmla="*/ 2147483647 w 159"/>
                    <a:gd name="T31" fmla="*/ 2147483647 h 118"/>
                    <a:gd name="T32" fmla="*/ 2147483647 w 159"/>
                    <a:gd name="T33" fmla="*/ 2147483647 h 118"/>
                    <a:gd name="T34" fmla="*/ 2147483647 w 159"/>
                    <a:gd name="T35" fmla="*/ 2147483647 h 118"/>
                    <a:gd name="T36" fmla="*/ 0 w 159"/>
                    <a:gd name="T37" fmla="*/ 2147483647 h 118"/>
                    <a:gd name="T38" fmla="*/ 2147483647 w 159"/>
                    <a:gd name="T39" fmla="*/ 2147483647 h 118"/>
                    <a:gd name="T40" fmla="*/ 2147483647 w 159"/>
                    <a:gd name="T41" fmla="*/ 2147483647 h 118"/>
                    <a:gd name="T42" fmla="*/ 2147483647 w 159"/>
                    <a:gd name="T43" fmla="*/ 2147483647 h 118"/>
                    <a:gd name="T44" fmla="*/ 2147483647 w 159"/>
                    <a:gd name="T45" fmla="*/ 2147483647 h 118"/>
                    <a:gd name="T46" fmla="*/ 2147483647 w 159"/>
                    <a:gd name="T47" fmla="*/ 2147483647 h 118"/>
                    <a:gd name="T48" fmla="*/ 2147483647 w 159"/>
                    <a:gd name="T49" fmla="*/ 2147483647 h 118"/>
                    <a:gd name="T50" fmla="*/ 2147483647 w 159"/>
                    <a:gd name="T51" fmla="*/ 2147483647 h 118"/>
                    <a:gd name="T52" fmla="*/ 2147483647 w 159"/>
                    <a:gd name="T53" fmla="*/ 2147483647 h 118"/>
                    <a:gd name="T54" fmla="*/ 2147483647 w 159"/>
                    <a:gd name="T55" fmla="*/ 2147483647 h 118"/>
                    <a:gd name="T56" fmla="*/ 2147483647 w 159"/>
                    <a:gd name="T57" fmla="*/ 2147483647 h 118"/>
                    <a:gd name="T58" fmla="*/ 2147483647 w 159"/>
                    <a:gd name="T59" fmla="*/ 2147483647 h 118"/>
                    <a:gd name="T60" fmla="*/ 2147483647 w 159"/>
                    <a:gd name="T61" fmla="*/ 2147483647 h 118"/>
                    <a:gd name="T62" fmla="*/ 2147483647 w 159"/>
                    <a:gd name="T63" fmla="*/ 2147483647 h 118"/>
                    <a:gd name="T64" fmla="*/ 2147483647 w 159"/>
                    <a:gd name="T65" fmla="*/ 2147483647 h 118"/>
                    <a:gd name="T66" fmla="*/ 2147483647 w 159"/>
                    <a:gd name="T67" fmla="*/ 2147483647 h 11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59"/>
                    <a:gd name="T103" fmla="*/ 0 h 118"/>
                    <a:gd name="T104" fmla="*/ 159 w 159"/>
                    <a:gd name="T105" fmla="*/ 118 h 11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59" h="118">
                      <a:moveTo>
                        <a:pt x="75" y="29"/>
                      </a:moveTo>
                      <a:lnTo>
                        <a:pt x="79" y="26"/>
                      </a:lnTo>
                      <a:lnTo>
                        <a:pt x="82" y="22"/>
                      </a:lnTo>
                      <a:lnTo>
                        <a:pt x="83" y="19"/>
                      </a:lnTo>
                      <a:lnTo>
                        <a:pt x="84" y="15"/>
                      </a:lnTo>
                      <a:lnTo>
                        <a:pt x="85" y="13"/>
                      </a:lnTo>
                      <a:lnTo>
                        <a:pt x="107" y="7"/>
                      </a:lnTo>
                      <a:lnTo>
                        <a:pt x="130" y="0"/>
                      </a:lnTo>
                      <a:lnTo>
                        <a:pt x="144" y="20"/>
                      </a:lnTo>
                      <a:lnTo>
                        <a:pt x="150" y="30"/>
                      </a:lnTo>
                      <a:lnTo>
                        <a:pt x="159" y="39"/>
                      </a:lnTo>
                      <a:lnTo>
                        <a:pt x="153" y="45"/>
                      </a:lnTo>
                      <a:lnTo>
                        <a:pt x="150" y="47"/>
                      </a:lnTo>
                      <a:lnTo>
                        <a:pt x="146" y="49"/>
                      </a:lnTo>
                      <a:lnTo>
                        <a:pt x="138" y="55"/>
                      </a:lnTo>
                      <a:lnTo>
                        <a:pt x="131" y="61"/>
                      </a:lnTo>
                      <a:lnTo>
                        <a:pt x="116" y="74"/>
                      </a:lnTo>
                      <a:lnTo>
                        <a:pt x="112" y="75"/>
                      </a:lnTo>
                      <a:lnTo>
                        <a:pt x="110" y="77"/>
                      </a:lnTo>
                      <a:lnTo>
                        <a:pt x="102" y="79"/>
                      </a:lnTo>
                      <a:lnTo>
                        <a:pt x="98" y="81"/>
                      </a:lnTo>
                      <a:lnTo>
                        <a:pt x="94" y="84"/>
                      </a:lnTo>
                      <a:lnTo>
                        <a:pt x="85" y="91"/>
                      </a:lnTo>
                      <a:lnTo>
                        <a:pt x="82" y="93"/>
                      </a:lnTo>
                      <a:lnTo>
                        <a:pt x="78" y="94"/>
                      </a:lnTo>
                      <a:lnTo>
                        <a:pt x="70" y="96"/>
                      </a:lnTo>
                      <a:lnTo>
                        <a:pt x="63" y="99"/>
                      </a:lnTo>
                      <a:lnTo>
                        <a:pt x="55" y="104"/>
                      </a:lnTo>
                      <a:lnTo>
                        <a:pt x="51" y="105"/>
                      </a:lnTo>
                      <a:lnTo>
                        <a:pt x="49" y="106"/>
                      </a:lnTo>
                      <a:lnTo>
                        <a:pt x="42" y="106"/>
                      </a:lnTo>
                      <a:lnTo>
                        <a:pt x="26" y="110"/>
                      </a:lnTo>
                      <a:lnTo>
                        <a:pt x="18" y="113"/>
                      </a:lnTo>
                      <a:lnTo>
                        <a:pt x="11" y="117"/>
                      </a:lnTo>
                      <a:lnTo>
                        <a:pt x="8" y="118"/>
                      </a:lnTo>
                      <a:lnTo>
                        <a:pt x="5" y="118"/>
                      </a:lnTo>
                      <a:lnTo>
                        <a:pt x="3" y="117"/>
                      </a:lnTo>
                      <a:lnTo>
                        <a:pt x="0" y="115"/>
                      </a:lnTo>
                      <a:lnTo>
                        <a:pt x="0" y="111"/>
                      </a:lnTo>
                      <a:lnTo>
                        <a:pt x="5" y="106"/>
                      </a:lnTo>
                      <a:lnTo>
                        <a:pt x="8" y="104"/>
                      </a:lnTo>
                      <a:lnTo>
                        <a:pt x="12" y="103"/>
                      </a:lnTo>
                      <a:lnTo>
                        <a:pt x="14" y="101"/>
                      </a:lnTo>
                      <a:lnTo>
                        <a:pt x="16" y="100"/>
                      </a:lnTo>
                      <a:lnTo>
                        <a:pt x="17" y="97"/>
                      </a:lnTo>
                      <a:lnTo>
                        <a:pt x="19" y="92"/>
                      </a:lnTo>
                      <a:lnTo>
                        <a:pt x="23" y="88"/>
                      </a:lnTo>
                      <a:lnTo>
                        <a:pt x="27" y="86"/>
                      </a:lnTo>
                      <a:lnTo>
                        <a:pt x="35" y="86"/>
                      </a:lnTo>
                      <a:lnTo>
                        <a:pt x="42" y="87"/>
                      </a:lnTo>
                      <a:lnTo>
                        <a:pt x="45" y="87"/>
                      </a:lnTo>
                      <a:lnTo>
                        <a:pt x="47" y="87"/>
                      </a:lnTo>
                      <a:lnTo>
                        <a:pt x="50" y="86"/>
                      </a:lnTo>
                      <a:lnTo>
                        <a:pt x="51" y="84"/>
                      </a:lnTo>
                      <a:lnTo>
                        <a:pt x="54" y="79"/>
                      </a:lnTo>
                      <a:lnTo>
                        <a:pt x="54" y="77"/>
                      </a:lnTo>
                      <a:lnTo>
                        <a:pt x="51" y="77"/>
                      </a:lnTo>
                      <a:lnTo>
                        <a:pt x="45" y="78"/>
                      </a:lnTo>
                      <a:lnTo>
                        <a:pt x="42" y="78"/>
                      </a:lnTo>
                      <a:lnTo>
                        <a:pt x="40" y="77"/>
                      </a:lnTo>
                      <a:lnTo>
                        <a:pt x="40" y="73"/>
                      </a:lnTo>
                      <a:lnTo>
                        <a:pt x="40" y="71"/>
                      </a:lnTo>
                      <a:lnTo>
                        <a:pt x="42" y="68"/>
                      </a:lnTo>
                      <a:lnTo>
                        <a:pt x="45" y="66"/>
                      </a:lnTo>
                      <a:lnTo>
                        <a:pt x="50" y="61"/>
                      </a:lnTo>
                      <a:lnTo>
                        <a:pt x="54" y="56"/>
                      </a:lnTo>
                      <a:lnTo>
                        <a:pt x="64" y="42"/>
                      </a:lnTo>
                      <a:lnTo>
                        <a:pt x="75" y="2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9" name="Freeform 4">
                  <a:extLst>
                    <a:ext uri="{FF2B5EF4-FFF2-40B4-BE49-F238E27FC236}">
                      <a16:creationId xmlns:a16="http://schemas.microsoft.com/office/drawing/2014/main" id="{67861E7A-5379-724D-A606-8AEC934276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5133" y="4896577"/>
                  <a:ext cx="76953" cy="224941"/>
                </a:xfrm>
                <a:custGeom>
                  <a:avLst/>
                  <a:gdLst>
                    <a:gd name="T0" fmla="*/ 2147483647 w 56"/>
                    <a:gd name="T1" fmla="*/ 2147483647 h 152"/>
                    <a:gd name="T2" fmla="*/ 2147483647 w 56"/>
                    <a:gd name="T3" fmla="*/ 2147483647 h 152"/>
                    <a:gd name="T4" fmla="*/ 2147483647 w 56"/>
                    <a:gd name="T5" fmla="*/ 2147483647 h 152"/>
                    <a:gd name="T6" fmla="*/ 2147483647 w 56"/>
                    <a:gd name="T7" fmla="*/ 2147483647 h 152"/>
                    <a:gd name="T8" fmla="*/ 2147483647 w 56"/>
                    <a:gd name="T9" fmla="*/ 2147483647 h 152"/>
                    <a:gd name="T10" fmla="*/ 2147483647 w 56"/>
                    <a:gd name="T11" fmla="*/ 2147483647 h 152"/>
                    <a:gd name="T12" fmla="*/ 2147483647 w 56"/>
                    <a:gd name="T13" fmla="*/ 2147483647 h 152"/>
                    <a:gd name="T14" fmla="*/ 2147483647 w 56"/>
                    <a:gd name="T15" fmla="*/ 2147483647 h 152"/>
                    <a:gd name="T16" fmla="*/ 2147483647 w 56"/>
                    <a:gd name="T17" fmla="*/ 2147483647 h 152"/>
                    <a:gd name="T18" fmla="*/ 2147483647 w 56"/>
                    <a:gd name="T19" fmla="*/ 2147483647 h 152"/>
                    <a:gd name="T20" fmla="*/ 2147483647 w 56"/>
                    <a:gd name="T21" fmla="*/ 2147483647 h 152"/>
                    <a:gd name="T22" fmla="*/ 2147483647 w 56"/>
                    <a:gd name="T23" fmla="*/ 2147483647 h 152"/>
                    <a:gd name="T24" fmla="*/ 2147483647 w 56"/>
                    <a:gd name="T25" fmla="*/ 2147483647 h 152"/>
                    <a:gd name="T26" fmla="*/ 2147483647 w 56"/>
                    <a:gd name="T27" fmla="*/ 2147483647 h 152"/>
                    <a:gd name="T28" fmla="*/ 2147483647 w 56"/>
                    <a:gd name="T29" fmla="*/ 2147483647 h 152"/>
                    <a:gd name="T30" fmla="*/ 2147483647 w 56"/>
                    <a:gd name="T31" fmla="*/ 2147483647 h 152"/>
                    <a:gd name="T32" fmla="*/ 2147483647 w 56"/>
                    <a:gd name="T33" fmla="*/ 2147483647 h 152"/>
                    <a:gd name="T34" fmla="*/ 2147483647 w 56"/>
                    <a:gd name="T35" fmla="*/ 2147483647 h 152"/>
                    <a:gd name="T36" fmla="*/ 2147483647 w 56"/>
                    <a:gd name="T37" fmla="*/ 2147483647 h 152"/>
                    <a:gd name="T38" fmla="*/ 0 w 56"/>
                    <a:gd name="T39" fmla="*/ 2147483647 h 152"/>
                    <a:gd name="T40" fmla="*/ 2147483647 w 56"/>
                    <a:gd name="T41" fmla="*/ 2147483647 h 152"/>
                    <a:gd name="T42" fmla="*/ 2147483647 w 56"/>
                    <a:gd name="T43" fmla="*/ 2147483647 h 152"/>
                    <a:gd name="T44" fmla="*/ 2147483647 w 56"/>
                    <a:gd name="T45" fmla="*/ 2147483647 h 152"/>
                    <a:gd name="T46" fmla="*/ 2147483647 w 56"/>
                    <a:gd name="T47" fmla="*/ 2147483647 h 152"/>
                    <a:gd name="T48" fmla="*/ 2147483647 w 56"/>
                    <a:gd name="T49" fmla="*/ 2147483647 h 152"/>
                    <a:gd name="T50" fmla="*/ 2147483647 w 56"/>
                    <a:gd name="T51" fmla="*/ 2147483647 h 152"/>
                    <a:gd name="T52" fmla="*/ 2147483647 w 56"/>
                    <a:gd name="T53" fmla="*/ 0 h 152"/>
                    <a:gd name="T54" fmla="*/ 2147483647 w 56"/>
                    <a:gd name="T55" fmla="*/ 2147483647 h 152"/>
                    <a:gd name="T56" fmla="*/ 2147483647 w 56"/>
                    <a:gd name="T57" fmla="*/ 2147483647 h 152"/>
                    <a:gd name="T58" fmla="*/ 2147483647 w 56"/>
                    <a:gd name="T59" fmla="*/ 0 h 152"/>
                    <a:gd name="T60" fmla="*/ 2147483647 w 56"/>
                    <a:gd name="T61" fmla="*/ 2147483647 h 152"/>
                    <a:gd name="T62" fmla="*/ 2147483647 w 56"/>
                    <a:gd name="T63" fmla="*/ 2147483647 h 152"/>
                    <a:gd name="T64" fmla="*/ 2147483647 w 56"/>
                    <a:gd name="T65" fmla="*/ 2147483647 h 152"/>
                    <a:gd name="T66" fmla="*/ 2147483647 w 56"/>
                    <a:gd name="T67" fmla="*/ 2147483647 h 152"/>
                    <a:gd name="T68" fmla="*/ 2147483647 w 56"/>
                    <a:gd name="T69" fmla="*/ 2147483647 h 152"/>
                    <a:gd name="T70" fmla="*/ 2147483647 w 56"/>
                    <a:gd name="T71" fmla="*/ 2147483647 h 152"/>
                    <a:gd name="T72" fmla="*/ 2147483647 w 56"/>
                    <a:gd name="T73" fmla="*/ 2147483647 h 15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56"/>
                    <a:gd name="T112" fmla="*/ 0 h 152"/>
                    <a:gd name="T113" fmla="*/ 56 w 56"/>
                    <a:gd name="T114" fmla="*/ 152 h 15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56" h="152">
                      <a:moveTo>
                        <a:pt x="40" y="77"/>
                      </a:moveTo>
                      <a:lnTo>
                        <a:pt x="45" y="80"/>
                      </a:lnTo>
                      <a:lnTo>
                        <a:pt x="50" y="84"/>
                      </a:lnTo>
                      <a:lnTo>
                        <a:pt x="54" y="90"/>
                      </a:lnTo>
                      <a:lnTo>
                        <a:pt x="55" y="93"/>
                      </a:lnTo>
                      <a:lnTo>
                        <a:pt x="56" y="95"/>
                      </a:lnTo>
                      <a:lnTo>
                        <a:pt x="56" y="101"/>
                      </a:lnTo>
                      <a:lnTo>
                        <a:pt x="55" y="108"/>
                      </a:lnTo>
                      <a:lnTo>
                        <a:pt x="52" y="115"/>
                      </a:lnTo>
                      <a:lnTo>
                        <a:pt x="48" y="122"/>
                      </a:lnTo>
                      <a:lnTo>
                        <a:pt x="47" y="130"/>
                      </a:lnTo>
                      <a:lnTo>
                        <a:pt x="47" y="139"/>
                      </a:lnTo>
                      <a:lnTo>
                        <a:pt x="47" y="147"/>
                      </a:lnTo>
                      <a:lnTo>
                        <a:pt x="47" y="149"/>
                      </a:lnTo>
                      <a:lnTo>
                        <a:pt x="45" y="152"/>
                      </a:lnTo>
                      <a:lnTo>
                        <a:pt x="42" y="152"/>
                      </a:lnTo>
                      <a:lnTo>
                        <a:pt x="41" y="151"/>
                      </a:lnTo>
                      <a:lnTo>
                        <a:pt x="38" y="148"/>
                      </a:lnTo>
                      <a:lnTo>
                        <a:pt x="33" y="138"/>
                      </a:lnTo>
                      <a:lnTo>
                        <a:pt x="29" y="133"/>
                      </a:lnTo>
                      <a:lnTo>
                        <a:pt x="23" y="129"/>
                      </a:lnTo>
                      <a:lnTo>
                        <a:pt x="22" y="128"/>
                      </a:lnTo>
                      <a:lnTo>
                        <a:pt x="21" y="127"/>
                      </a:lnTo>
                      <a:lnTo>
                        <a:pt x="21" y="122"/>
                      </a:lnTo>
                      <a:lnTo>
                        <a:pt x="24" y="113"/>
                      </a:lnTo>
                      <a:lnTo>
                        <a:pt x="27" y="109"/>
                      </a:lnTo>
                      <a:lnTo>
                        <a:pt x="28" y="106"/>
                      </a:lnTo>
                      <a:lnTo>
                        <a:pt x="28" y="103"/>
                      </a:lnTo>
                      <a:lnTo>
                        <a:pt x="27" y="102"/>
                      </a:lnTo>
                      <a:lnTo>
                        <a:pt x="23" y="98"/>
                      </a:lnTo>
                      <a:lnTo>
                        <a:pt x="19" y="98"/>
                      </a:lnTo>
                      <a:lnTo>
                        <a:pt x="15" y="98"/>
                      </a:lnTo>
                      <a:lnTo>
                        <a:pt x="10" y="100"/>
                      </a:lnTo>
                      <a:lnTo>
                        <a:pt x="7" y="100"/>
                      </a:lnTo>
                      <a:lnTo>
                        <a:pt x="5" y="98"/>
                      </a:lnTo>
                      <a:lnTo>
                        <a:pt x="4" y="97"/>
                      </a:lnTo>
                      <a:lnTo>
                        <a:pt x="3" y="94"/>
                      </a:lnTo>
                      <a:lnTo>
                        <a:pt x="2" y="89"/>
                      </a:lnTo>
                      <a:lnTo>
                        <a:pt x="0" y="84"/>
                      </a:lnTo>
                      <a:lnTo>
                        <a:pt x="0" y="81"/>
                      </a:lnTo>
                      <a:lnTo>
                        <a:pt x="2" y="78"/>
                      </a:lnTo>
                      <a:lnTo>
                        <a:pt x="4" y="75"/>
                      </a:lnTo>
                      <a:lnTo>
                        <a:pt x="8" y="71"/>
                      </a:lnTo>
                      <a:lnTo>
                        <a:pt x="12" y="68"/>
                      </a:lnTo>
                      <a:lnTo>
                        <a:pt x="13" y="65"/>
                      </a:lnTo>
                      <a:lnTo>
                        <a:pt x="13" y="63"/>
                      </a:lnTo>
                      <a:lnTo>
                        <a:pt x="10" y="55"/>
                      </a:lnTo>
                      <a:lnTo>
                        <a:pt x="10" y="45"/>
                      </a:lnTo>
                      <a:lnTo>
                        <a:pt x="10" y="27"/>
                      </a:lnTo>
                      <a:lnTo>
                        <a:pt x="10" y="21"/>
                      </a:lnTo>
                      <a:lnTo>
                        <a:pt x="8" y="15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8" y="0"/>
                      </a:lnTo>
                      <a:lnTo>
                        <a:pt x="13" y="2"/>
                      </a:lnTo>
                      <a:lnTo>
                        <a:pt x="18" y="4"/>
                      </a:lnTo>
                      <a:lnTo>
                        <a:pt x="17" y="2"/>
                      </a:lnTo>
                      <a:lnTo>
                        <a:pt x="18" y="0"/>
                      </a:lnTo>
                      <a:lnTo>
                        <a:pt x="19" y="0"/>
                      </a:lnTo>
                      <a:lnTo>
                        <a:pt x="26" y="8"/>
                      </a:lnTo>
                      <a:lnTo>
                        <a:pt x="32" y="18"/>
                      </a:lnTo>
                      <a:lnTo>
                        <a:pt x="33" y="21"/>
                      </a:lnTo>
                      <a:lnTo>
                        <a:pt x="33" y="25"/>
                      </a:lnTo>
                      <a:lnTo>
                        <a:pt x="33" y="33"/>
                      </a:lnTo>
                      <a:lnTo>
                        <a:pt x="35" y="43"/>
                      </a:lnTo>
                      <a:lnTo>
                        <a:pt x="31" y="45"/>
                      </a:lnTo>
                      <a:lnTo>
                        <a:pt x="29" y="50"/>
                      </a:lnTo>
                      <a:lnTo>
                        <a:pt x="28" y="56"/>
                      </a:lnTo>
                      <a:lnTo>
                        <a:pt x="29" y="62"/>
                      </a:lnTo>
                      <a:lnTo>
                        <a:pt x="31" y="66"/>
                      </a:lnTo>
                      <a:lnTo>
                        <a:pt x="32" y="70"/>
                      </a:lnTo>
                      <a:lnTo>
                        <a:pt x="33" y="74"/>
                      </a:lnTo>
                      <a:lnTo>
                        <a:pt x="33" y="76"/>
                      </a:lnTo>
                      <a:lnTo>
                        <a:pt x="40" y="7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0" name="Rectangle 5">
                  <a:extLst>
                    <a:ext uri="{FF2B5EF4-FFF2-40B4-BE49-F238E27FC236}">
                      <a16:creationId xmlns:a16="http://schemas.microsoft.com/office/drawing/2014/main" id="{520C85FE-B62D-9843-BCC0-EE1A3BC68D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20706" y="3148849"/>
                  <a:ext cx="256017" cy="389207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1" name="Freeform 6">
                  <a:extLst>
                    <a:ext uri="{FF2B5EF4-FFF2-40B4-BE49-F238E27FC236}">
                      <a16:creationId xmlns:a16="http://schemas.microsoft.com/office/drawing/2014/main" id="{E3D84369-BE04-024F-B15D-AE42FFE8B8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3653" y="4895097"/>
                  <a:ext cx="76953" cy="224941"/>
                </a:xfrm>
                <a:custGeom>
                  <a:avLst/>
                  <a:gdLst>
                    <a:gd name="T0" fmla="*/ 2147483647 w 56"/>
                    <a:gd name="T1" fmla="*/ 2147483647 h 152"/>
                    <a:gd name="T2" fmla="*/ 2147483647 w 56"/>
                    <a:gd name="T3" fmla="*/ 2147483647 h 152"/>
                    <a:gd name="T4" fmla="*/ 2147483647 w 56"/>
                    <a:gd name="T5" fmla="*/ 2147483647 h 152"/>
                    <a:gd name="T6" fmla="*/ 2147483647 w 56"/>
                    <a:gd name="T7" fmla="*/ 2147483647 h 152"/>
                    <a:gd name="T8" fmla="*/ 2147483647 w 56"/>
                    <a:gd name="T9" fmla="*/ 2147483647 h 152"/>
                    <a:gd name="T10" fmla="*/ 2147483647 w 56"/>
                    <a:gd name="T11" fmla="*/ 2147483647 h 152"/>
                    <a:gd name="T12" fmla="*/ 2147483647 w 56"/>
                    <a:gd name="T13" fmla="*/ 2147483647 h 152"/>
                    <a:gd name="T14" fmla="*/ 2147483647 w 56"/>
                    <a:gd name="T15" fmla="*/ 2147483647 h 152"/>
                    <a:gd name="T16" fmla="*/ 2147483647 w 56"/>
                    <a:gd name="T17" fmla="*/ 2147483647 h 152"/>
                    <a:gd name="T18" fmla="*/ 2147483647 w 56"/>
                    <a:gd name="T19" fmla="*/ 2147483647 h 152"/>
                    <a:gd name="T20" fmla="*/ 2147483647 w 56"/>
                    <a:gd name="T21" fmla="*/ 2147483647 h 152"/>
                    <a:gd name="T22" fmla="*/ 2147483647 w 56"/>
                    <a:gd name="T23" fmla="*/ 2147483647 h 152"/>
                    <a:gd name="T24" fmla="*/ 2147483647 w 56"/>
                    <a:gd name="T25" fmla="*/ 2147483647 h 152"/>
                    <a:gd name="T26" fmla="*/ 2147483647 w 56"/>
                    <a:gd name="T27" fmla="*/ 2147483647 h 152"/>
                    <a:gd name="T28" fmla="*/ 2147483647 w 56"/>
                    <a:gd name="T29" fmla="*/ 2147483647 h 152"/>
                    <a:gd name="T30" fmla="*/ 2147483647 w 56"/>
                    <a:gd name="T31" fmla="*/ 2147483647 h 152"/>
                    <a:gd name="T32" fmla="*/ 2147483647 w 56"/>
                    <a:gd name="T33" fmla="*/ 2147483647 h 152"/>
                    <a:gd name="T34" fmla="*/ 2147483647 w 56"/>
                    <a:gd name="T35" fmla="*/ 2147483647 h 152"/>
                    <a:gd name="T36" fmla="*/ 2147483647 w 56"/>
                    <a:gd name="T37" fmla="*/ 2147483647 h 152"/>
                    <a:gd name="T38" fmla="*/ 2147483647 w 56"/>
                    <a:gd name="T39" fmla="*/ 2147483647 h 152"/>
                    <a:gd name="T40" fmla="*/ 2147483647 w 56"/>
                    <a:gd name="T41" fmla="*/ 2147483647 h 152"/>
                    <a:gd name="T42" fmla="*/ 2147483647 w 56"/>
                    <a:gd name="T43" fmla="*/ 2147483647 h 152"/>
                    <a:gd name="T44" fmla="*/ 2147483647 w 56"/>
                    <a:gd name="T45" fmla="*/ 2147483647 h 152"/>
                    <a:gd name="T46" fmla="*/ 2147483647 w 56"/>
                    <a:gd name="T47" fmla="*/ 2147483647 h 152"/>
                    <a:gd name="T48" fmla="*/ 2147483647 w 56"/>
                    <a:gd name="T49" fmla="*/ 2147483647 h 152"/>
                    <a:gd name="T50" fmla="*/ 2147483647 w 56"/>
                    <a:gd name="T51" fmla="*/ 2147483647 h 152"/>
                    <a:gd name="T52" fmla="*/ 2147483647 w 56"/>
                    <a:gd name="T53" fmla="*/ 2147483647 h 152"/>
                    <a:gd name="T54" fmla="*/ 0 w 56"/>
                    <a:gd name="T55" fmla="*/ 2147483647 h 152"/>
                    <a:gd name="T56" fmla="*/ 2147483647 w 56"/>
                    <a:gd name="T57" fmla="*/ 2147483647 h 152"/>
                    <a:gd name="T58" fmla="*/ 2147483647 w 56"/>
                    <a:gd name="T59" fmla="*/ 2147483647 h 152"/>
                    <a:gd name="T60" fmla="*/ 2147483647 w 56"/>
                    <a:gd name="T61" fmla="*/ 2147483647 h 152"/>
                    <a:gd name="T62" fmla="*/ 2147483647 w 56"/>
                    <a:gd name="T63" fmla="*/ 2147483647 h 152"/>
                    <a:gd name="T64" fmla="*/ 2147483647 w 56"/>
                    <a:gd name="T65" fmla="*/ 2147483647 h 152"/>
                    <a:gd name="T66" fmla="*/ 2147483647 w 56"/>
                    <a:gd name="T67" fmla="*/ 2147483647 h 152"/>
                    <a:gd name="T68" fmla="*/ 2147483647 w 56"/>
                    <a:gd name="T69" fmla="*/ 2147483647 h 152"/>
                    <a:gd name="T70" fmla="*/ 2147483647 w 56"/>
                    <a:gd name="T71" fmla="*/ 2147483647 h 152"/>
                    <a:gd name="T72" fmla="*/ 2147483647 w 56"/>
                    <a:gd name="T73" fmla="*/ 2147483647 h 152"/>
                    <a:gd name="T74" fmla="*/ 2147483647 w 56"/>
                    <a:gd name="T75" fmla="*/ 0 h 152"/>
                    <a:gd name="T76" fmla="*/ 2147483647 w 56"/>
                    <a:gd name="T77" fmla="*/ 0 h 152"/>
                    <a:gd name="T78" fmla="*/ 2147483647 w 56"/>
                    <a:gd name="T79" fmla="*/ 2147483647 h 152"/>
                    <a:gd name="T80" fmla="*/ 2147483647 w 56"/>
                    <a:gd name="T81" fmla="*/ 2147483647 h 152"/>
                    <a:gd name="T82" fmla="*/ 2147483647 w 56"/>
                    <a:gd name="T83" fmla="*/ 0 h 152"/>
                    <a:gd name="T84" fmla="*/ 2147483647 w 56"/>
                    <a:gd name="T85" fmla="*/ 0 h 152"/>
                    <a:gd name="T86" fmla="*/ 2147483647 w 56"/>
                    <a:gd name="T87" fmla="*/ 2147483647 h 152"/>
                    <a:gd name="T88" fmla="*/ 2147483647 w 56"/>
                    <a:gd name="T89" fmla="*/ 2147483647 h 152"/>
                    <a:gd name="T90" fmla="*/ 2147483647 w 56"/>
                    <a:gd name="T91" fmla="*/ 2147483647 h 152"/>
                    <a:gd name="T92" fmla="*/ 2147483647 w 56"/>
                    <a:gd name="T93" fmla="*/ 2147483647 h 152"/>
                    <a:gd name="T94" fmla="*/ 2147483647 w 56"/>
                    <a:gd name="T95" fmla="*/ 2147483647 h 152"/>
                    <a:gd name="T96" fmla="*/ 2147483647 w 56"/>
                    <a:gd name="T97" fmla="*/ 2147483647 h 152"/>
                    <a:gd name="T98" fmla="*/ 2147483647 w 56"/>
                    <a:gd name="T99" fmla="*/ 2147483647 h 152"/>
                    <a:gd name="T100" fmla="*/ 2147483647 w 56"/>
                    <a:gd name="T101" fmla="*/ 2147483647 h 152"/>
                    <a:gd name="T102" fmla="*/ 2147483647 w 56"/>
                    <a:gd name="T103" fmla="*/ 2147483647 h 152"/>
                    <a:gd name="T104" fmla="*/ 2147483647 w 56"/>
                    <a:gd name="T105" fmla="*/ 2147483647 h 15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6"/>
                    <a:gd name="T160" fmla="*/ 0 h 152"/>
                    <a:gd name="T161" fmla="*/ 56 w 56"/>
                    <a:gd name="T162" fmla="*/ 152 h 15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6" h="152">
                      <a:moveTo>
                        <a:pt x="39" y="77"/>
                      </a:moveTo>
                      <a:lnTo>
                        <a:pt x="39" y="77"/>
                      </a:lnTo>
                      <a:lnTo>
                        <a:pt x="44" y="79"/>
                      </a:lnTo>
                      <a:lnTo>
                        <a:pt x="49" y="84"/>
                      </a:lnTo>
                      <a:lnTo>
                        <a:pt x="53" y="90"/>
                      </a:lnTo>
                      <a:lnTo>
                        <a:pt x="55" y="92"/>
                      </a:lnTo>
                      <a:lnTo>
                        <a:pt x="56" y="95"/>
                      </a:lnTo>
                      <a:lnTo>
                        <a:pt x="56" y="101"/>
                      </a:lnTo>
                      <a:lnTo>
                        <a:pt x="55" y="108"/>
                      </a:lnTo>
                      <a:lnTo>
                        <a:pt x="52" y="115"/>
                      </a:lnTo>
                      <a:lnTo>
                        <a:pt x="48" y="122"/>
                      </a:lnTo>
                      <a:lnTo>
                        <a:pt x="47" y="130"/>
                      </a:lnTo>
                      <a:lnTo>
                        <a:pt x="47" y="139"/>
                      </a:lnTo>
                      <a:lnTo>
                        <a:pt x="47" y="147"/>
                      </a:lnTo>
                      <a:lnTo>
                        <a:pt x="47" y="149"/>
                      </a:lnTo>
                      <a:lnTo>
                        <a:pt x="44" y="152"/>
                      </a:lnTo>
                      <a:lnTo>
                        <a:pt x="42" y="152"/>
                      </a:lnTo>
                      <a:lnTo>
                        <a:pt x="41" y="150"/>
                      </a:lnTo>
                      <a:lnTo>
                        <a:pt x="38" y="148"/>
                      </a:lnTo>
                      <a:lnTo>
                        <a:pt x="33" y="137"/>
                      </a:lnTo>
                      <a:lnTo>
                        <a:pt x="29" y="133"/>
                      </a:lnTo>
                      <a:lnTo>
                        <a:pt x="23" y="129"/>
                      </a:lnTo>
                      <a:lnTo>
                        <a:pt x="22" y="128"/>
                      </a:lnTo>
                      <a:lnTo>
                        <a:pt x="20" y="127"/>
                      </a:lnTo>
                      <a:lnTo>
                        <a:pt x="20" y="122"/>
                      </a:lnTo>
                      <a:lnTo>
                        <a:pt x="24" y="113"/>
                      </a:lnTo>
                      <a:lnTo>
                        <a:pt x="27" y="109"/>
                      </a:lnTo>
                      <a:lnTo>
                        <a:pt x="28" y="105"/>
                      </a:lnTo>
                      <a:lnTo>
                        <a:pt x="28" y="103"/>
                      </a:lnTo>
                      <a:lnTo>
                        <a:pt x="27" y="102"/>
                      </a:lnTo>
                      <a:lnTo>
                        <a:pt x="23" y="98"/>
                      </a:lnTo>
                      <a:lnTo>
                        <a:pt x="19" y="98"/>
                      </a:lnTo>
                      <a:lnTo>
                        <a:pt x="15" y="98"/>
                      </a:lnTo>
                      <a:lnTo>
                        <a:pt x="10" y="99"/>
                      </a:lnTo>
                      <a:lnTo>
                        <a:pt x="6" y="99"/>
                      </a:lnTo>
                      <a:lnTo>
                        <a:pt x="5" y="98"/>
                      </a:lnTo>
                      <a:lnTo>
                        <a:pt x="4" y="97"/>
                      </a:lnTo>
                      <a:lnTo>
                        <a:pt x="3" y="94"/>
                      </a:lnTo>
                      <a:lnTo>
                        <a:pt x="1" y="89"/>
                      </a:lnTo>
                      <a:lnTo>
                        <a:pt x="0" y="84"/>
                      </a:lnTo>
                      <a:lnTo>
                        <a:pt x="0" y="81"/>
                      </a:lnTo>
                      <a:lnTo>
                        <a:pt x="1" y="78"/>
                      </a:lnTo>
                      <a:lnTo>
                        <a:pt x="4" y="75"/>
                      </a:lnTo>
                      <a:lnTo>
                        <a:pt x="8" y="71"/>
                      </a:lnTo>
                      <a:lnTo>
                        <a:pt x="11" y="67"/>
                      </a:lnTo>
                      <a:lnTo>
                        <a:pt x="13" y="65"/>
                      </a:lnTo>
                      <a:lnTo>
                        <a:pt x="13" y="63"/>
                      </a:lnTo>
                      <a:lnTo>
                        <a:pt x="10" y="54"/>
                      </a:lnTo>
                      <a:lnTo>
                        <a:pt x="10" y="45"/>
                      </a:lnTo>
                      <a:lnTo>
                        <a:pt x="10" y="27"/>
                      </a:lnTo>
                      <a:lnTo>
                        <a:pt x="10" y="21"/>
                      </a:lnTo>
                      <a:lnTo>
                        <a:pt x="8" y="1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8" y="0"/>
                      </a:lnTo>
                      <a:lnTo>
                        <a:pt x="13" y="2"/>
                      </a:lnTo>
                      <a:lnTo>
                        <a:pt x="18" y="3"/>
                      </a:lnTo>
                      <a:lnTo>
                        <a:pt x="16" y="2"/>
                      </a:lnTo>
                      <a:lnTo>
                        <a:pt x="18" y="0"/>
                      </a:lnTo>
                      <a:lnTo>
                        <a:pt x="19" y="0"/>
                      </a:lnTo>
                      <a:lnTo>
                        <a:pt x="25" y="8"/>
                      </a:lnTo>
                      <a:lnTo>
                        <a:pt x="32" y="18"/>
                      </a:lnTo>
                      <a:lnTo>
                        <a:pt x="33" y="21"/>
                      </a:lnTo>
                      <a:lnTo>
                        <a:pt x="33" y="25"/>
                      </a:lnTo>
                      <a:lnTo>
                        <a:pt x="33" y="33"/>
                      </a:lnTo>
                      <a:lnTo>
                        <a:pt x="34" y="43"/>
                      </a:lnTo>
                      <a:lnTo>
                        <a:pt x="30" y="45"/>
                      </a:lnTo>
                      <a:lnTo>
                        <a:pt x="29" y="50"/>
                      </a:lnTo>
                      <a:lnTo>
                        <a:pt x="28" y="56"/>
                      </a:lnTo>
                      <a:lnTo>
                        <a:pt x="29" y="62"/>
                      </a:lnTo>
                      <a:lnTo>
                        <a:pt x="30" y="66"/>
                      </a:lnTo>
                      <a:lnTo>
                        <a:pt x="32" y="70"/>
                      </a:lnTo>
                      <a:lnTo>
                        <a:pt x="33" y="73"/>
                      </a:lnTo>
                      <a:lnTo>
                        <a:pt x="33" y="76"/>
                      </a:lnTo>
                      <a:lnTo>
                        <a:pt x="39" y="7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2" name="Rectangle 7">
                  <a:extLst>
                    <a:ext uri="{FF2B5EF4-FFF2-40B4-BE49-F238E27FC236}">
                      <a16:creationId xmlns:a16="http://schemas.microsoft.com/office/drawing/2014/main" id="{A49C688D-136B-F941-868B-164176189B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16269" y="3145890"/>
                  <a:ext cx="257498" cy="389207"/>
                </a:xfrm>
                <a:prstGeom prst="rect">
                  <a:avLst/>
                </a:prstGeom>
                <a:grpFill/>
                <a:ln w="7938">
                  <a:noFill/>
                  <a:miter lim="800000"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3" name="Freeform 8">
                  <a:extLst>
                    <a:ext uri="{FF2B5EF4-FFF2-40B4-BE49-F238E27FC236}">
                      <a16:creationId xmlns:a16="http://schemas.microsoft.com/office/drawing/2014/main" id="{E82ED020-B80A-8D4B-8C8C-501A926C0E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54028" y="2715246"/>
                  <a:ext cx="36997" cy="28117"/>
                </a:xfrm>
                <a:custGeom>
                  <a:avLst/>
                  <a:gdLst>
                    <a:gd name="T0" fmla="*/ 2147483647 w 27"/>
                    <a:gd name="T1" fmla="*/ 2147483647 h 19"/>
                    <a:gd name="T2" fmla="*/ 2147483647 w 27"/>
                    <a:gd name="T3" fmla="*/ 2147483647 h 19"/>
                    <a:gd name="T4" fmla="*/ 2147483647 w 27"/>
                    <a:gd name="T5" fmla="*/ 2147483647 h 19"/>
                    <a:gd name="T6" fmla="*/ 2147483647 w 27"/>
                    <a:gd name="T7" fmla="*/ 2147483647 h 19"/>
                    <a:gd name="T8" fmla="*/ 2147483647 w 27"/>
                    <a:gd name="T9" fmla="*/ 2147483647 h 19"/>
                    <a:gd name="T10" fmla="*/ 2147483647 w 27"/>
                    <a:gd name="T11" fmla="*/ 2147483647 h 19"/>
                    <a:gd name="T12" fmla="*/ 2147483647 w 27"/>
                    <a:gd name="T13" fmla="*/ 2147483647 h 19"/>
                    <a:gd name="T14" fmla="*/ 2147483647 w 27"/>
                    <a:gd name="T15" fmla="*/ 2147483647 h 19"/>
                    <a:gd name="T16" fmla="*/ 2147483647 w 27"/>
                    <a:gd name="T17" fmla="*/ 0 h 19"/>
                    <a:gd name="T18" fmla="*/ 2147483647 w 27"/>
                    <a:gd name="T19" fmla="*/ 2147483647 h 19"/>
                    <a:gd name="T20" fmla="*/ 2147483647 w 27"/>
                    <a:gd name="T21" fmla="*/ 2147483647 h 19"/>
                    <a:gd name="T22" fmla="*/ 2147483647 w 27"/>
                    <a:gd name="T23" fmla="*/ 2147483647 h 19"/>
                    <a:gd name="T24" fmla="*/ 2147483647 w 27"/>
                    <a:gd name="T25" fmla="*/ 2147483647 h 19"/>
                    <a:gd name="T26" fmla="*/ 2147483647 w 27"/>
                    <a:gd name="T27" fmla="*/ 2147483647 h 19"/>
                    <a:gd name="T28" fmla="*/ 2147483647 w 27"/>
                    <a:gd name="T29" fmla="*/ 2147483647 h 19"/>
                    <a:gd name="T30" fmla="*/ 0 w 27"/>
                    <a:gd name="T31" fmla="*/ 2147483647 h 19"/>
                    <a:gd name="T32" fmla="*/ 0 w 27"/>
                    <a:gd name="T33" fmla="*/ 2147483647 h 19"/>
                    <a:gd name="T34" fmla="*/ 0 w 27"/>
                    <a:gd name="T35" fmla="*/ 2147483647 h 19"/>
                    <a:gd name="T36" fmla="*/ 2147483647 w 27"/>
                    <a:gd name="T37" fmla="*/ 2147483647 h 19"/>
                    <a:gd name="T38" fmla="*/ 2147483647 w 27"/>
                    <a:gd name="T39" fmla="*/ 2147483647 h 19"/>
                    <a:gd name="T40" fmla="*/ 2147483647 w 27"/>
                    <a:gd name="T41" fmla="*/ 2147483647 h 19"/>
                    <a:gd name="T42" fmla="*/ 2147483647 w 27"/>
                    <a:gd name="T43" fmla="*/ 2147483647 h 19"/>
                    <a:gd name="T44" fmla="*/ 2147483647 w 27"/>
                    <a:gd name="T45" fmla="*/ 2147483647 h 19"/>
                    <a:gd name="T46" fmla="*/ 2147483647 w 27"/>
                    <a:gd name="T47" fmla="*/ 2147483647 h 1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7"/>
                    <a:gd name="T73" fmla="*/ 0 h 19"/>
                    <a:gd name="T74" fmla="*/ 27 w 27"/>
                    <a:gd name="T75" fmla="*/ 19 h 19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7" h="19">
                      <a:moveTo>
                        <a:pt x="16" y="12"/>
                      </a:moveTo>
                      <a:lnTo>
                        <a:pt x="20" y="11"/>
                      </a:lnTo>
                      <a:lnTo>
                        <a:pt x="24" y="11"/>
                      </a:lnTo>
                      <a:lnTo>
                        <a:pt x="27" y="10"/>
                      </a:lnTo>
                      <a:lnTo>
                        <a:pt x="27" y="8"/>
                      </a:lnTo>
                      <a:lnTo>
                        <a:pt x="25" y="5"/>
                      </a:lnTo>
                      <a:lnTo>
                        <a:pt x="24" y="3"/>
                      </a:lnTo>
                      <a:lnTo>
                        <a:pt x="19" y="2"/>
                      </a:lnTo>
                      <a:lnTo>
                        <a:pt x="13" y="0"/>
                      </a:lnTo>
                      <a:lnTo>
                        <a:pt x="9" y="2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5" y="9"/>
                      </a:lnTo>
                      <a:lnTo>
                        <a:pt x="4" y="11"/>
                      </a:lnTo>
                      <a:lnTo>
                        <a:pt x="1" y="13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3" y="19"/>
                      </a:lnTo>
                      <a:lnTo>
                        <a:pt x="5" y="19"/>
                      </a:lnTo>
                      <a:lnTo>
                        <a:pt x="9" y="17"/>
                      </a:lnTo>
                      <a:lnTo>
                        <a:pt x="11" y="16"/>
                      </a:lnTo>
                      <a:lnTo>
                        <a:pt x="13" y="15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4" name="Freeform 9">
                  <a:extLst>
                    <a:ext uri="{FF2B5EF4-FFF2-40B4-BE49-F238E27FC236}">
                      <a16:creationId xmlns:a16="http://schemas.microsoft.com/office/drawing/2014/main" id="{10A970D0-3729-C540-8709-AB2E961B3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8047" y="2864717"/>
                  <a:ext cx="20718" cy="17758"/>
                </a:xfrm>
                <a:custGeom>
                  <a:avLst/>
                  <a:gdLst>
                    <a:gd name="T0" fmla="*/ 2147483647 w 15"/>
                    <a:gd name="T1" fmla="*/ 2147483647 h 12"/>
                    <a:gd name="T2" fmla="*/ 2147483647 w 15"/>
                    <a:gd name="T3" fmla="*/ 2147483647 h 12"/>
                    <a:gd name="T4" fmla="*/ 2147483647 w 15"/>
                    <a:gd name="T5" fmla="*/ 2147483647 h 12"/>
                    <a:gd name="T6" fmla="*/ 2147483647 w 15"/>
                    <a:gd name="T7" fmla="*/ 2147483647 h 12"/>
                    <a:gd name="T8" fmla="*/ 2147483647 w 15"/>
                    <a:gd name="T9" fmla="*/ 2147483647 h 12"/>
                    <a:gd name="T10" fmla="*/ 2147483647 w 15"/>
                    <a:gd name="T11" fmla="*/ 2147483647 h 12"/>
                    <a:gd name="T12" fmla="*/ 2147483647 w 15"/>
                    <a:gd name="T13" fmla="*/ 0 h 12"/>
                    <a:gd name="T14" fmla="*/ 2147483647 w 15"/>
                    <a:gd name="T15" fmla="*/ 2147483647 h 12"/>
                    <a:gd name="T16" fmla="*/ 2147483647 w 15"/>
                    <a:gd name="T17" fmla="*/ 2147483647 h 12"/>
                    <a:gd name="T18" fmla="*/ 0 w 15"/>
                    <a:gd name="T19" fmla="*/ 2147483647 h 12"/>
                    <a:gd name="T20" fmla="*/ 0 w 15"/>
                    <a:gd name="T21" fmla="*/ 2147483647 h 12"/>
                    <a:gd name="T22" fmla="*/ 2147483647 w 15"/>
                    <a:gd name="T23" fmla="*/ 2147483647 h 12"/>
                    <a:gd name="T24" fmla="*/ 2147483647 w 15"/>
                    <a:gd name="T25" fmla="*/ 2147483647 h 12"/>
                    <a:gd name="T26" fmla="*/ 2147483647 w 15"/>
                    <a:gd name="T27" fmla="*/ 2147483647 h 12"/>
                    <a:gd name="T28" fmla="*/ 2147483647 w 15"/>
                    <a:gd name="T29" fmla="*/ 2147483647 h 12"/>
                    <a:gd name="T30" fmla="*/ 2147483647 w 15"/>
                    <a:gd name="T31" fmla="*/ 2147483647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5"/>
                    <a:gd name="T49" fmla="*/ 0 h 12"/>
                    <a:gd name="T50" fmla="*/ 15 w 15"/>
                    <a:gd name="T51" fmla="*/ 12 h 1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5" h="12">
                      <a:moveTo>
                        <a:pt x="14" y="11"/>
                      </a:moveTo>
                      <a:lnTo>
                        <a:pt x="15" y="10"/>
                      </a:lnTo>
                      <a:lnTo>
                        <a:pt x="15" y="8"/>
                      </a:lnTo>
                      <a:lnTo>
                        <a:pt x="14" y="5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3" y="11"/>
                      </a:lnTo>
                      <a:lnTo>
                        <a:pt x="6" y="12"/>
                      </a:lnTo>
                      <a:lnTo>
                        <a:pt x="10" y="12"/>
                      </a:lnTo>
                      <a:lnTo>
                        <a:pt x="14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5" name="Freeform 10">
                  <a:extLst>
                    <a:ext uri="{FF2B5EF4-FFF2-40B4-BE49-F238E27FC236}">
                      <a16:creationId xmlns:a16="http://schemas.microsoft.com/office/drawing/2014/main" id="{A954DA50-9375-CA4B-B235-2B511AB5D1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52550" y="2713770"/>
                  <a:ext cx="35517" cy="28118"/>
                </a:xfrm>
                <a:custGeom>
                  <a:avLst/>
                  <a:gdLst>
                    <a:gd name="T0" fmla="*/ 2147483647 w 26"/>
                    <a:gd name="T1" fmla="*/ 2147483647 h 19"/>
                    <a:gd name="T2" fmla="*/ 2147483647 w 26"/>
                    <a:gd name="T3" fmla="*/ 2147483647 h 19"/>
                    <a:gd name="T4" fmla="*/ 2147483647 w 26"/>
                    <a:gd name="T5" fmla="*/ 2147483647 h 19"/>
                    <a:gd name="T6" fmla="*/ 2147483647 w 26"/>
                    <a:gd name="T7" fmla="*/ 2147483647 h 19"/>
                    <a:gd name="T8" fmla="*/ 2147483647 w 26"/>
                    <a:gd name="T9" fmla="*/ 2147483647 h 19"/>
                    <a:gd name="T10" fmla="*/ 2147483647 w 26"/>
                    <a:gd name="T11" fmla="*/ 2147483647 h 19"/>
                    <a:gd name="T12" fmla="*/ 2147483647 w 26"/>
                    <a:gd name="T13" fmla="*/ 2147483647 h 19"/>
                    <a:gd name="T14" fmla="*/ 2147483647 w 26"/>
                    <a:gd name="T15" fmla="*/ 2147483647 h 19"/>
                    <a:gd name="T16" fmla="*/ 2147483647 w 26"/>
                    <a:gd name="T17" fmla="*/ 2147483647 h 19"/>
                    <a:gd name="T18" fmla="*/ 2147483647 w 26"/>
                    <a:gd name="T19" fmla="*/ 2147483647 h 19"/>
                    <a:gd name="T20" fmla="*/ 2147483647 w 26"/>
                    <a:gd name="T21" fmla="*/ 0 h 19"/>
                    <a:gd name="T22" fmla="*/ 2147483647 w 26"/>
                    <a:gd name="T23" fmla="*/ 2147483647 h 19"/>
                    <a:gd name="T24" fmla="*/ 2147483647 w 26"/>
                    <a:gd name="T25" fmla="*/ 2147483647 h 19"/>
                    <a:gd name="T26" fmla="*/ 2147483647 w 26"/>
                    <a:gd name="T27" fmla="*/ 2147483647 h 19"/>
                    <a:gd name="T28" fmla="*/ 2147483647 w 26"/>
                    <a:gd name="T29" fmla="*/ 2147483647 h 19"/>
                    <a:gd name="T30" fmla="*/ 2147483647 w 26"/>
                    <a:gd name="T31" fmla="*/ 2147483647 h 19"/>
                    <a:gd name="T32" fmla="*/ 2147483647 w 26"/>
                    <a:gd name="T33" fmla="*/ 2147483647 h 19"/>
                    <a:gd name="T34" fmla="*/ 2147483647 w 26"/>
                    <a:gd name="T35" fmla="*/ 2147483647 h 19"/>
                    <a:gd name="T36" fmla="*/ 2147483647 w 26"/>
                    <a:gd name="T37" fmla="*/ 2147483647 h 19"/>
                    <a:gd name="T38" fmla="*/ 0 w 26"/>
                    <a:gd name="T39" fmla="*/ 2147483647 h 19"/>
                    <a:gd name="T40" fmla="*/ 0 w 26"/>
                    <a:gd name="T41" fmla="*/ 2147483647 h 19"/>
                    <a:gd name="T42" fmla="*/ 0 w 26"/>
                    <a:gd name="T43" fmla="*/ 2147483647 h 19"/>
                    <a:gd name="T44" fmla="*/ 0 w 26"/>
                    <a:gd name="T45" fmla="*/ 2147483647 h 19"/>
                    <a:gd name="T46" fmla="*/ 2147483647 w 26"/>
                    <a:gd name="T47" fmla="*/ 2147483647 h 19"/>
                    <a:gd name="T48" fmla="*/ 2147483647 w 26"/>
                    <a:gd name="T49" fmla="*/ 2147483647 h 19"/>
                    <a:gd name="T50" fmla="*/ 2147483647 w 26"/>
                    <a:gd name="T51" fmla="*/ 2147483647 h 19"/>
                    <a:gd name="T52" fmla="*/ 2147483647 w 26"/>
                    <a:gd name="T53" fmla="*/ 2147483647 h 19"/>
                    <a:gd name="T54" fmla="*/ 2147483647 w 26"/>
                    <a:gd name="T55" fmla="*/ 2147483647 h 19"/>
                    <a:gd name="T56" fmla="*/ 2147483647 w 26"/>
                    <a:gd name="T57" fmla="*/ 2147483647 h 19"/>
                    <a:gd name="T58" fmla="*/ 2147483647 w 26"/>
                    <a:gd name="T59" fmla="*/ 2147483647 h 19"/>
                    <a:gd name="T60" fmla="*/ 2147483647 w 26"/>
                    <a:gd name="T61" fmla="*/ 2147483647 h 1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6"/>
                    <a:gd name="T94" fmla="*/ 0 h 19"/>
                    <a:gd name="T95" fmla="*/ 26 w 26"/>
                    <a:gd name="T96" fmla="*/ 19 h 1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6" h="19">
                      <a:moveTo>
                        <a:pt x="16" y="12"/>
                      </a:moveTo>
                      <a:lnTo>
                        <a:pt x="16" y="12"/>
                      </a:lnTo>
                      <a:lnTo>
                        <a:pt x="20" y="11"/>
                      </a:lnTo>
                      <a:lnTo>
                        <a:pt x="24" y="11"/>
                      </a:lnTo>
                      <a:lnTo>
                        <a:pt x="26" y="10"/>
                      </a:lnTo>
                      <a:lnTo>
                        <a:pt x="26" y="7"/>
                      </a:lnTo>
                      <a:lnTo>
                        <a:pt x="25" y="5"/>
                      </a:lnTo>
                      <a:lnTo>
                        <a:pt x="24" y="3"/>
                      </a:lnTo>
                      <a:lnTo>
                        <a:pt x="19" y="1"/>
                      </a:lnTo>
                      <a:lnTo>
                        <a:pt x="12" y="0"/>
                      </a:lnTo>
                      <a:lnTo>
                        <a:pt x="9" y="1"/>
                      </a:lnTo>
                      <a:lnTo>
                        <a:pt x="6" y="3"/>
                      </a:lnTo>
                      <a:lnTo>
                        <a:pt x="6" y="5"/>
                      </a:lnTo>
                      <a:lnTo>
                        <a:pt x="5" y="9"/>
                      </a:lnTo>
                      <a:lnTo>
                        <a:pt x="4" y="11"/>
                      </a:lnTo>
                      <a:lnTo>
                        <a:pt x="1" y="13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2" y="19"/>
                      </a:lnTo>
                      <a:lnTo>
                        <a:pt x="5" y="19"/>
                      </a:lnTo>
                      <a:lnTo>
                        <a:pt x="9" y="17"/>
                      </a:lnTo>
                      <a:lnTo>
                        <a:pt x="11" y="16"/>
                      </a:lnTo>
                      <a:lnTo>
                        <a:pt x="12" y="1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6" name="Freeform 11">
                  <a:extLst>
                    <a:ext uri="{FF2B5EF4-FFF2-40B4-BE49-F238E27FC236}">
                      <a16:creationId xmlns:a16="http://schemas.microsoft.com/office/drawing/2014/main" id="{7198A210-74EE-2F4F-BA1D-FACAE05B7B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5085" y="2863233"/>
                  <a:ext cx="22198" cy="17758"/>
                </a:xfrm>
                <a:custGeom>
                  <a:avLst/>
                  <a:gdLst>
                    <a:gd name="T0" fmla="*/ 2147483647 w 16"/>
                    <a:gd name="T1" fmla="*/ 2147483647 h 12"/>
                    <a:gd name="T2" fmla="*/ 2147483647 w 16"/>
                    <a:gd name="T3" fmla="*/ 2147483647 h 12"/>
                    <a:gd name="T4" fmla="*/ 2147483647 w 16"/>
                    <a:gd name="T5" fmla="*/ 2147483647 h 12"/>
                    <a:gd name="T6" fmla="*/ 2147483647 w 16"/>
                    <a:gd name="T7" fmla="*/ 2147483647 h 12"/>
                    <a:gd name="T8" fmla="*/ 2147483647 w 16"/>
                    <a:gd name="T9" fmla="*/ 2147483647 h 12"/>
                    <a:gd name="T10" fmla="*/ 2147483647 w 16"/>
                    <a:gd name="T11" fmla="*/ 2147483647 h 12"/>
                    <a:gd name="T12" fmla="*/ 2147483647 w 16"/>
                    <a:gd name="T13" fmla="*/ 2147483647 h 12"/>
                    <a:gd name="T14" fmla="*/ 2147483647 w 16"/>
                    <a:gd name="T15" fmla="*/ 2147483647 h 12"/>
                    <a:gd name="T16" fmla="*/ 2147483647 w 16"/>
                    <a:gd name="T17" fmla="*/ 0 h 12"/>
                    <a:gd name="T18" fmla="*/ 2147483647 w 16"/>
                    <a:gd name="T19" fmla="*/ 2147483647 h 12"/>
                    <a:gd name="T20" fmla="*/ 2147483647 w 16"/>
                    <a:gd name="T21" fmla="*/ 2147483647 h 12"/>
                    <a:gd name="T22" fmla="*/ 2147483647 w 16"/>
                    <a:gd name="T23" fmla="*/ 2147483647 h 12"/>
                    <a:gd name="T24" fmla="*/ 0 w 16"/>
                    <a:gd name="T25" fmla="*/ 2147483647 h 12"/>
                    <a:gd name="T26" fmla="*/ 0 w 16"/>
                    <a:gd name="T27" fmla="*/ 2147483647 h 12"/>
                    <a:gd name="T28" fmla="*/ 2147483647 w 16"/>
                    <a:gd name="T29" fmla="*/ 2147483647 h 12"/>
                    <a:gd name="T30" fmla="*/ 2147483647 w 16"/>
                    <a:gd name="T31" fmla="*/ 2147483647 h 12"/>
                    <a:gd name="T32" fmla="*/ 2147483647 w 16"/>
                    <a:gd name="T33" fmla="*/ 2147483647 h 12"/>
                    <a:gd name="T34" fmla="*/ 2147483647 w 16"/>
                    <a:gd name="T35" fmla="*/ 2147483647 h 12"/>
                    <a:gd name="T36" fmla="*/ 2147483647 w 16"/>
                    <a:gd name="T37" fmla="*/ 2147483647 h 12"/>
                    <a:gd name="T38" fmla="*/ 2147483647 w 16"/>
                    <a:gd name="T39" fmla="*/ 2147483647 h 12"/>
                    <a:gd name="T40" fmla="*/ 2147483647 w 16"/>
                    <a:gd name="T41" fmla="*/ 2147483647 h 1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6"/>
                    <a:gd name="T64" fmla="*/ 0 h 12"/>
                    <a:gd name="T65" fmla="*/ 16 w 16"/>
                    <a:gd name="T66" fmla="*/ 12 h 1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6" h="12">
                      <a:moveTo>
                        <a:pt x="14" y="11"/>
                      </a:moveTo>
                      <a:lnTo>
                        <a:pt x="14" y="11"/>
                      </a:lnTo>
                      <a:lnTo>
                        <a:pt x="16" y="9"/>
                      </a:lnTo>
                      <a:lnTo>
                        <a:pt x="16" y="8"/>
                      </a:lnTo>
                      <a:lnTo>
                        <a:pt x="14" y="5"/>
                      </a:lnTo>
                      <a:lnTo>
                        <a:pt x="12" y="2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4" y="11"/>
                      </a:lnTo>
                      <a:lnTo>
                        <a:pt x="7" y="12"/>
                      </a:lnTo>
                      <a:lnTo>
                        <a:pt x="10" y="12"/>
                      </a:lnTo>
                      <a:lnTo>
                        <a:pt x="14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7" name="Freeform 12">
                  <a:extLst>
                    <a:ext uri="{FF2B5EF4-FFF2-40B4-BE49-F238E27FC236}">
                      <a16:creationId xmlns:a16="http://schemas.microsoft.com/office/drawing/2014/main" id="{AA598D2E-3A05-5B44-B42E-8AF17BF6E2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57207" y="3027503"/>
                  <a:ext cx="35517" cy="28118"/>
                </a:xfrm>
                <a:custGeom>
                  <a:avLst/>
                  <a:gdLst>
                    <a:gd name="T0" fmla="*/ 2147483647 w 26"/>
                    <a:gd name="T1" fmla="*/ 2147483647 h 19"/>
                    <a:gd name="T2" fmla="*/ 2147483647 w 26"/>
                    <a:gd name="T3" fmla="*/ 2147483647 h 19"/>
                    <a:gd name="T4" fmla="*/ 2147483647 w 26"/>
                    <a:gd name="T5" fmla="*/ 2147483647 h 19"/>
                    <a:gd name="T6" fmla="*/ 2147483647 w 26"/>
                    <a:gd name="T7" fmla="*/ 2147483647 h 19"/>
                    <a:gd name="T8" fmla="*/ 2147483647 w 26"/>
                    <a:gd name="T9" fmla="*/ 2147483647 h 19"/>
                    <a:gd name="T10" fmla="*/ 2147483647 w 26"/>
                    <a:gd name="T11" fmla="*/ 2147483647 h 19"/>
                    <a:gd name="T12" fmla="*/ 2147483647 w 26"/>
                    <a:gd name="T13" fmla="*/ 2147483647 h 19"/>
                    <a:gd name="T14" fmla="*/ 2147483647 w 26"/>
                    <a:gd name="T15" fmla="*/ 2147483647 h 19"/>
                    <a:gd name="T16" fmla="*/ 2147483647 w 26"/>
                    <a:gd name="T17" fmla="*/ 2147483647 h 19"/>
                    <a:gd name="T18" fmla="*/ 2147483647 w 26"/>
                    <a:gd name="T19" fmla="*/ 2147483647 h 19"/>
                    <a:gd name="T20" fmla="*/ 2147483647 w 26"/>
                    <a:gd name="T21" fmla="*/ 2147483647 h 19"/>
                    <a:gd name="T22" fmla="*/ 2147483647 w 26"/>
                    <a:gd name="T23" fmla="*/ 2147483647 h 19"/>
                    <a:gd name="T24" fmla="*/ 2147483647 w 26"/>
                    <a:gd name="T25" fmla="*/ 2147483647 h 19"/>
                    <a:gd name="T26" fmla="*/ 2147483647 w 26"/>
                    <a:gd name="T27" fmla="*/ 2147483647 h 19"/>
                    <a:gd name="T28" fmla="*/ 2147483647 w 26"/>
                    <a:gd name="T29" fmla="*/ 0 h 19"/>
                    <a:gd name="T30" fmla="*/ 2147483647 w 26"/>
                    <a:gd name="T31" fmla="*/ 0 h 19"/>
                    <a:gd name="T32" fmla="*/ 2147483647 w 26"/>
                    <a:gd name="T33" fmla="*/ 2147483647 h 19"/>
                    <a:gd name="T34" fmla="*/ 2147483647 w 26"/>
                    <a:gd name="T35" fmla="*/ 2147483647 h 19"/>
                    <a:gd name="T36" fmla="*/ 2147483647 w 26"/>
                    <a:gd name="T37" fmla="*/ 2147483647 h 19"/>
                    <a:gd name="T38" fmla="*/ 0 w 26"/>
                    <a:gd name="T39" fmla="*/ 2147483647 h 19"/>
                    <a:gd name="T40" fmla="*/ 2147483647 w 26"/>
                    <a:gd name="T41" fmla="*/ 2147483647 h 1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6"/>
                    <a:gd name="T64" fmla="*/ 0 h 19"/>
                    <a:gd name="T65" fmla="*/ 26 w 26"/>
                    <a:gd name="T66" fmla="*/ 19 h 1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6" h="19">
                      <a:moveTo>
                        <a:pt x="3" y="18"/>
                      </a:moveTo>
                      <a:lnTo>
                        <a:pt x="4" y="19"/>
                      </a:lnTo>
                      <a:lnTo>
                        <a:pt x="7" y="19"/>
                      </a:lnTo>
                      <a:lnTo>
                        <a:pt x="8" y="18"/>
                      </a:lnTo>
                      <a:lnTo>
                        <a:pt x="9" y="16"/>
                      </a:lnTo>
                      <a:lnTo>
                        <a:pt x="11" y="12"/>
                      </a:lnTo>
                      <a:lnTo>
                        <a:pt x="13" y="10"/>
                      </a:lnTo>
                      <a:lnTo>
                        <a:pt x="16" y="9"/>
                      </a:lnTo>
                      <a:lnTo>
                        <a:pt x="20" y="9"/>
                      </a:lnTo>
                      <a:lnTo>
                        <a:pt x="23" y="8"/>
                      </a:lnTo>
                      <a:lnTo>
                        <a:pt x="25" y="6"/>
                      </a:lnTo>
                      <a:lnTo>
                        <a:pt x="26" y="4"/>
                      </a:lnTo>
                      <a:lnTo>
                        <a:pt x="25" y="3"/>
                      </a:lnTo>
                      <a:lnTo>
                        <a:pt x="23" y="2"/>
                      </a:lnTo>
                      <a:lnTo>
                        <a:pt x="20" y="0"/>
                      </a:lnTo>
                      <a:lnTo>
                        <a:pt x="14" y="0"/>
                      </a:lnTo>
                      <a:lnTo>
                        <a:pt x="9" y="3"/>
                      </a:lnTo>
                      <a:lnTo>
                        <a:pt x="6" y="6"/>
                      </a:lnTo>
                      <a:lnTo>
                        <a:pt x="2" y="12"/>
                      </a:lnTo>
                      <a:lnTo>
                        <a:pt x="0" y="15"/>
                      </a:lnTo>
                      <a:lnTo>
                        <a:pt x="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8" name="Freeform 13">
                  <a:extLst>
                    <a:ext uri="{FF2B5EF4-FFF2-40B4-BE49-F238E27FC236}">
                      <a16:creationId xmlns:a16="http://schemas.microsoft.com/office/drawing/2014/main" id="{571F6E5A-E128-EC4D-8111-3925DC27B2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42407" y="3070416"/>
                  <a:ext cx="4439" cy="16278"/>
                </a:xfrm>
                <a:custGeom>
                  <a:avLst/>
                  <a:gdLst>
                    <a:gd name="T0" fmla="*/ 2147483647 w 4"/>
                    <a:gd name="T1" fmla="*/ 2147483647 h 11"/>
                    <a:gd name="T2" fmla="*/ 2147483647 w 4"/>
                    <a:gd name="T3" fmla="*/ 0 h 11"/>
                    <a:gd name="T4" fmla="*/ 0 w 4"/>
                    <a:gd name="T5" fmla="*/ 2147483647 h 11"/>
                    <a:gd name="T6" fmla="*/ 0 w 4"/>
                    <a:gd name="T7" fmla="*/ 2147483647 h 11"/>
                    <a:gd name="T8" fmla="*/ 0 w 4"/>
                    <a:gd name="T9" fmla="*/ 2147483647 h 11"/>
                    <a:gd name="T10" fmla="*/ 0 w 4"/>
                    <a:gd name="T11" fmla="*/ 2147483647 h 11"/>
                    <a:gd name="T12" fmla="*/ 2147483647 w 4"/>
                    <a:gd name="T13" fmla="*/ 2147483647 h 11"/>
                    <a:gd name="T14" fmla="*/ 2147483647 w 4"/>
                    <a:gd name="T15" fmla="*/ 2147483647 h 11"/>
                    <a:gd name="T16" fmla="*/ 2147483647 w 4"/>
                    <a:gd name="T17" fmla="*/ 2147483647 h 1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11"/>
                    <a:gd name="T29" fmla="*/ 4 w 4"/>
                    <a:gd name="T30" fmla="*/ 11 h 1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11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4" y="6"/>
                      </a:lnTo>
                      <a:lnTo>
                        <a:pt x="4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9" name="Freeform 14">
                  <a:extLst>
                    <a:ext uri="{FF2B5EF4-FFF2-40B4-BE49-F238E27FC236}">
                      <a16:creationId xmlns:a16="http://schemas.microsoft.com/office/drawing/2014/main" id="{8E2B0809-9D3C-A645-BCDF-1FD9D261C2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55726" y="3026019"/>
                  <a:ext cx="35517" cy="28117"/>
                </a:xfrm>
                <a:custGeom>
                  <a:avLst/>
                  <a:gdLst>
                    <a:gd name="T0" fmla="*/ 2147483647 w 26"/>
                    <a:gd name="T1" fmla="*/ 2147483647 h 19"/>
                    <a:gd name="T2" fmla="*/ 2147483647 w 26"/>
                    <a:gd name="T3" fmla="*/ 2147483647 h 19"/>
                    <a:gd name="T4" fmla="*/ 2147483647 w 26"/>
                    <a:gd name="T5" fmla="*/ 2147483647 h 19"/>
                    <a:gd name="T6" fmla="*/ 2147483647 w 26"/>
                    <a:gd name="T7" fmla="*/ 2147483647 h 19"/>
                    <a:gd name="T8" fmla="*/ 2147483647 w 26"/>
                    <a:gd name="T9" fmla="*/ 2147483647 h 19"/>
                    <a:gd name="T10" fmla="*/ 2147483647 w 26"/>
                    <a:gd name="T11" fmla="*/ 2147483647 h 19"/>
                    <a:gd name="T12" fmla="*/ 2147483647 w 26"/>
                    <a:gd name="T13" fmla="*/ 2147483647 h 19"/>
                    <a:gd name="T14" fmla="*/ 2147483647 w 26"/>
                    <a:gd name="T15" fmla="*/ 2147483647 h 19"/>
                    <a:gd name="T16" fmla="*/ 2147483647 w 26"/>
                    <a:gd name="T17" fmla="*/ 2147483647 h 19"/>
                    <a:gd name="T18" fmla="*/ 2147483647 w 26"/>
                    <a:gd name="T19" fmla="*/ 2147483647 h 19"/>
                    <a:gd name="T20" fmla="*/ 2147483647 w 26"/>
                    <a:gd name="T21" fmla="*/ 2147483647 h 19"/>
                    <a:gd name="T22" fmla="*/ 2147483647 w 26"/>
                    <a:gd name="T23" fmla="*/ 2147483647 h 19"/>
                    <a:gd name="T24" fmla="*/ 2147483647 w 26"/>
                    <a:gd name="T25" fmla="*/ 2147483647 h 19"/>
                    <a:gd name="T26" fmla="*/ 2147483647 w 26"/>
                    <a:gd name="T27" fmla="*/ 2147483647 h 19"/>
                    <a:gd name="T28" fmla="*/ 2147483647 w 26"/>
                    <a:gd name="T29" fmla="*/ 2147483647 h 19"/>
                    <a:gd name="T30" fmla="*/ 2147483647 w 26"/>
                    <a:gd name="T31" fmla="*/ 2147483647 h 19"/>
                    <a:gd name="T32" fmla="*/ 2147483647 w 26"/>
                    <a:gd name="T33" fmla="*/ 2147483647 h 19"/>
                    <a:gd name="T34" fmla="*/ 2147483647 w 26"/>
                    <a:gd name="T35" fmla="*/ 2147483647 h 19"/>
                    <a:gd name="T36" fmla="*/ 2147483647 w 26"/>
                    <a:gd name="T37" fmla="*/ 2147483647 h 19"/>
                    <a:gd name="T38" fmla="*/ 2147483647 w 26"/>
                    <a:gd name="T39" fmla="*/ 0 h 19"/>
                    <a:gd name="T40" fmla="*/ 2147483647 w 26"/>
                    <a:gd name="T41" fmla="*/ 0 h 19"/>
                    <a:gd name="T42" fmla="*/ 2147483647 w 26"/>
                    <a:gd name="T43" fmla="*/ 2147483647 h 19"/>
                    <a:gd name="T44" fmla="*/ 2147483647 w 26"/>
                    <a:gd name="T45" fmla="*/ 2147483647 h 19"/>
                    <a:gd name="T46" fmla="*/ 2147483647 w 26"/>
                    <a:gd name="T47" fmla="*/ 2147483647 h 19"/>
                    <a:gd name="T48" fmla="*/ 2147483647 w 26"/>
                    <a:gd name="T49" fmla="*/ 2147483647 h 19"/>
                    <a:gd name="T50" fmla="*/ 0 w 26"/>
                    <a:gd name="T51" fmla="*/ 2147483647 h 19"/>
                    <a:gd name="T52" fmla="*/ 2147483647 w 26"/>
                    <a:gd name="T53" fmla="*/ 2147483647 h 19"/>
                    <a:gd name="T54" fmla="*/ 2147483647 w 26"/>
                    <a:gd name="T55" fmla="*/ 2147483647 h 1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6"/>
                    <a:gd name="T85" fmla="*/ 0 h 19"/>
                    <a:gd name="T86" fmla="*/ 26 w 26"/>
                    <a:gd name="T87" fmla="*/ 19 h 1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6" h="19">
                      <a:moveTo>
                        <a:pt x="3" y="18"/>
                      </a:move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7" y="19"/>
                      </a:lnTo>
                      <a:lnTo>
                        <a:pt x="8" y="18"/>
                      </a:lnTo>
                      <a:lnTo>
                        <a:pt x="9" y="16"/>
                      </a:lnTo>
                      <a:lnTo>
                        <a:pt x="10" y="12"/>
                      </a:lnTo>
                      <a:lnTo>
                        <a:pt x="13" y="10"/>
                      </a:lnTo>
                      <a:lnTo>
                        <a:pt x="15" y="9"/>
                      </a:lnTo>
                      <a:lnTo>
                        <a:pt x="19" y="9"/>
                      </a:lnTo>
                      <a:lnTo>
                        <a:pt x="23" y="7"/>
                      </a:lnTo>
                      <a:lnTo>
                        <a:pt x="24" y="6"/>
                      </a:lnTo>
                      <a:lnTo>
                        <a:pt x="26" y="4"/>
                      </a:lnTo>
                      <a:lnTo>
                        <a:pt x="24" y="3"/>
                      </a:lnTo>
                      <a:lnTo>
                        <a:pt x="23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9" y="3"/>
                      </a:lnTo>
                      <a:lnTo>
                        <a:pt x="5" y="6"/>
                      </a:lnTo>
                      <a:lnTo>
                        <a:pt x="1" y="12"/>
                      </a:lnTo>
                      <a:lnTo>
                        <a:pt x="0" y="14"/>
                      </a:lnTo>
                      <a:lnTo>
                        <a:pt x="3" y="1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0" name="Freeform 15">
                  <a:extLst>
                    <a:ext uri="{FF2B5EF4-FFF2-40B4-BE49-F238E27FC236}">
                      <a16:creationId xmlns:a16="http://schemas.microsoft.com/office/drawing/2014/main" id="{928928AC-6668-124D-8CCE-063EA534E1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40929" y="3068939"/>
                  <a:ext cx="5919" cy="14799"/>
                </a:xfrm>
                <a:custGeom>
                  <a:avLst/>
                  <a:gdLst>
                    <a:gd name="T0" fmla="*/ 2147483647 w 4"/>
                    <a:gd name="T1" fmla="*/ 2147483647 h 10"/>
                    <a:gd name="T2" fmla="*/ 2147483647 w 4"/>
                    <a:gd name="T3" fmla="*/ 2147483647 h 10"/>
                    <a:gd name="T4" fmla="*/ 2147483647 w 4"/>
                    <a:gd name="T5" fmla="*/ 0 h 10"/>
                    <a:gd name="T6" fmla="*/ 2147483647 w 4"/>
                    <a:gd name="T7" fmla="*/ 0 h 10"/>
                    <a:gd name="T8" fmla="*/ 2147483647 w 4"/>
                    <a:gd name="T9" fmla="*/ 0 h 10"/>
                    <a:gd name="T10" fmla="*/ 0 w 4"/>
                    <a:gd name="T11" fmla="*/ 2147483647 h 10"/>
                    <a:gd name="T12" fmla="*/ 0 w 4"/>
                    <a:gd name="T13" fmla="*/ 2147483647 h 10"/>
                    <a:gd name="T14" fmla="*/ 0 w 4"/>
                    <a:gd name="T15" fmla="*/ 2147483647 h 10"/>
                    <a:gd name="T16" fmla="*/ 0 w 4"/>
                    <a:gd name="T17" fmla="*/ 2147483647 h 10"/>
                    <a:gd name="T18" fmla="*/ 0 w 4"/>
                    <a:gd name="T19" fmla="*/ 2147483647 h 10"/>
                    <a:gd name="T20" fmla="*/ 2147483647 w 4"/>
                    <a:gd name="T21" fmla="*/ 2147483647 h 10"/>
                    <a:gd name="T22" fmla="*/ 2147483647 w 4"/>
                    <a:gd name="T23" fmla="*/ 2147483647 h 10"/>
                    <a:gd name="T24" fmla="*/ 2147483647 w 4"/>
                    <a:gd name="T25" fmla="*/ 2147483647 h 10"/>
                    <a:gd name="T26" fmla="*/ 2147483647 w 4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"/>
                    <a:gd name="T43" fmla="*/ 0 h 10"/>
                    <a:gd name="T44" fmla="*/ 4 w 4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" h="10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4" y="6"/>
                      </a:lnTo>
                      <a:lnTo>
                        <a:pt x="4" y="3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1" name="Freeform 16">
                  <a:extLst>
                    <a:ext uri="{FF2B5EF4-FFF2-40B4-BE49-F238E27FC236}">
                      <a16:creationId xmlns:a16="http://schemas.microsoft.com/office/drawing/2014/main" id="{D8267B0F-AA01-1644-93CE-124827C49C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1693" y="3098536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0 h 6"/>
                    <a:gd name="T18" fmla="*/ 2147483647 w 6"/>
                    <a:gd name="T19" fmla="*/ 0 h 6"/>
                    <a:gd name="T20" fmla="*/ 2147483647 w 6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6"/>
                    <a:gd name="T35" fmla="*/ 6 w 6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6">
                      <a:moveTo>
                        <a:pt x="6" y="1"/>
                      </a:move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2" name="Freeform 17">
                  <a:extLst>
                    <a:ext uri="{FF2B5EF4-FFF2-40B4-BE49-F238E27FC236}">
                      <a16:creationId xmlns:a16="http://schemas.microsoft.com/office/drawing/2014/main" id="{69F71485-DD32-7347-836B-2D1A5EEA06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08372" y="3119255"/>
                  <a:ext cx="2960" cy="8879"/>
                </a:xfrm>
                <a:custGeom>
                  <a:avLst/>
                  <a:gdLst>
                    <a:gd name="T0" fmla="*/ 2147483647 w 2"/>
                    <a:gd name="T1" fmla="*/ 2147483647 h 6"/>
                    <a:gd name="T2" fmla="*/ 2147483647 w 2"/>
                    <a:gd name="T3" fmla="*/ 2147483647 h 6"/>
                    <a:gd name="T4" fmla="*/ 2147483647 w 2"/>
                    <a:gd name="T5" fmla="*/ 0 h 6"/>
                    <a:gd name="T6" fmla="*/ 0 w 2"/>
                    <a:gd name="T7" fmla="*/ 2147483647 h 6"/>
                    <a:gd name="T8" fmla="*/ 0 w 2"/>
                    <a:gd name="T9" fmla="*/ 2147483647 h 6"/>
                    <a:gd name="T10" fmla="*/ 0 w 2"/>
                    <a:gd name="T11" fmla="*/ 2147483647 h 6"/>
                    <a:gd name="T12" fmla="*/ 2147483647 w 2"/>
                    <a:gd name="T13" fmla="*/ 2147483647 h 6"/>
                    <a:gd name="T14" fmla="*/ 2147483647 w 2"/>
                    <a:gd name="T15" fmla="*/ 2147483647 h 6"/>
                    <a:gd name="T16" fmla="*/ 2147483647 w 2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"/>
                    <a:gd name="T28" fmla="*/ 0 h 6"/>
                    <a:gd name="T29" fmla="*/ 2 w 2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" h="6">
                      <a:moveTo>
                        <a:pt x="2" y="4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3" name="Freeform 18">
                  <a:extLst>
                    <a:ext uri="{FF2B5EF4-FFF2-40B4-BE49-F238E27FC236}">
                      <a16:creationId xmlns:a16="http://schemas.microsoft.com/office/drawing/2014/main" id="{787627E4-207A-A94E-B94D-0624B65055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0209" y="3097057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0 w 6"/>
                    <a:gd name="T15" fmla="*/ 2147483647 h 6"/>
                    <a:gd name="T16" fmla="*/ 0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0 h 6"/>
                    <a:gd name="T22" fmla="*/ 2147483647 w 6"/>
                    <a:gd name="T23" fmla="*/ 0 h 6"/>
                    <a:gd name="T24" fmla="*/ 2147483647 w 6"/>
                    <a:gd name="T25" fmla="*/ 0 h 6"/>
                    <a:gd name="T26" fmla="*/ 2147483647 w 6"/>
                    <a:gd name="T27" fmla="*/ 0 h 6"/>
                    <a:gd name="T28" fmla="*/ 2147483647 w 6"/>
                    <a:gd name="T29" fmla="*/ 2147483647 h 6"/>
                    <a:gd name="T30" fmla="*/ 2147483647 w 6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6"/>
                    <a:gd name="T50" fmla="*/ 6 w 6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6">
                      <a:moveTo>
                        <a:pt x="6" y="1"/>
                      </a:move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4" name="Freeform 19">
                  <a:extLst>
                    <a:ext uri="{FF2B5EF4-FFF2-40B4-BE49-F238E27FC236}">
                      <a16:creationId xmlns:a16="http://schemas.microsoft.com/office/drawing/2014/main" id="{5E4C8FEF-DB71-7240-A75F-9237A81C56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05411" y="3117775"/>
                  <a:ext cx="4440" cy="8879"/>
                </a:xfrm>
                <a:custGeom>
                  <a:avLst/>
                  <a:gdLst>
                    <a:gd name="T0" fmla="*/ 2147483647 w 3"/>
                    <a:gd name="T1" fmla="*/ 2147483647 h 6"/>
                    <a:gd name="T2" fmla="*/ 2147483647 w 3"/>
                    <a:gd name="T3" fmla="*/ 2147483647 h 6"/>
                    <a:gd name="T4" fmla="*/ 2147483647 w 3"/>
                    <a:gd name="T5" fmla="*/ 2147483647 h 6"/>
                    <a:gd name="T6" fmla="*/ 2147483647 w 3"/>
                    <a:gd name="T7" fmla="*/ 2147483647 h 6"/>
                    <a:gd name="T8" fmla="*/ 2147483647 w 3"/>
                    <a:gd name="T9" fmla="*/ 0 h 6"/>
                    <a:gd name="T10" fmla="*/ 2147483647 w 3"/>
                    <a:gd name="T11" fmla="*/ 0 h 6"/>
                    <a:gd name="T12" fmla="*/ 0 w 3"/>
                    <a:gd name="T13" fmla="*/ 2147483647 h 6"/>
                    <a:gd name="T14" fmla="*/ 0 w 3"/>
                    <a:gd name="T15" fmla="*/ 2147483647 h 6"/>
                    <a:gd name="T16" fmla="*/ 0 w 3"/>
                    <a:gd name="T17" fmla="*/ 2147483647 h 6"/>
                    <a:gd name="T18" fmla="*/ 0 w 3"/>
                    <a:gd name="T19" fmla="*/ 2147483647 h 6"/>
                    <a:gd name="T20" fmla="*/ 2147483647 w 3"/>
                    <a:gd name="T21" fmla="*/ 2147483647 h 6"/>
                    <a:gd name="T22" fmla="*/ 2147483647 w 3"/>
                    <a:gd name="T23" fmla="*/ 2147483647 h 6"/>
                    <a:gd name="T24" fmla="*/ 2147483647 w 3"/>
                    <a:gd name="T25" fmla="*/ 2147483647 h 6"/>
                    <a:gd name="T26" fmla="*/ 2147483647 w 3"/>
                    <a:gd name="T27" fmla="*/ 2147483647 h 6"/>
                    <a:gd name="T28" fmla="*/ 2147483647 w 3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"/>
                    <a:gd name="T46" fmla="*/ 0 h 6"/>
                    <a:gd name="T47" fmla="*/ 3 w 3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" h="6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5" name="Freeform 20">
                  <a:extLst>
                    <a:ext uri="{FF2B5EF4-FFF2-40B4-BE49-F238E27FC236}">
                      <a16:creationId xmlns:a16="http://schemas.microsoft.com/office/drawing/2014/main" id="{6440D5EB-528F-B745-B53F-9B65F53883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855" y="3156252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0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0 w 7"/>
                    <a:gd name="T11" fmla="*/ 2147483647 h 6"/>
                    <a:gd name="T12" fmla="*/ 2147483647 w 7"/>
                    <a:gd name="T13" fmla="*/ 2147483647 h 6"/>
                    <a:gd name="T14" fmla="*/ 2147483647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7"/>
                    <a:gd name="T31" fmla="*/ 0 h 6"/>
                    <a:gd name="T32" fmla="*/ 7 w 7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7" h="6">
                      <a:moveTo>
                        <a:pt x="5" y="2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5" y="5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6" name="Freeform 21">
                  <a:extLst>
                    <a:ext uri="{FF2B5EF4-FFF2-40B4-BE49-F238E27FC236}">
                      <a16:creationId xmlns:a16="http://schemas.microsoft.com/office/drawing/2014/main" id="{5DBC4082-5544-E64E-B33A-C11D89DB12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1748" y="2861755"/>
                  <a:ext cx="20718" cy="29598"/>
                </a:xfrm>
                <a:custGeom>
                  <a:avLst/>
                  <a:gdLst>
                    <a:gd name="T0" fmla="*/ 0 w 16"/>
                    <a:gd name="T1" fmla="*/ 2147483647 h 20"/>
                    <a:gd name="T2" fmla="*/ 0 w 16"/>
                    <a:gd name="T3" fmla="*/ 2147483647 h 20"/>
                    <a:gd name="T4" fmla="*/ 2147483647 w 16"/>
                    <a:gd name="T5" fmla="*/ 2147483647 h 20"/>
                    <a:gd name="T6" fmla="*/ 2147483647 w 16"/>
                    <a:gd name="T7" fmla="*/ 2147483647 h 20"/>
                    <a:gd name="T8" fmla="*/ 2147483647 w 16"/>
                    <a:gd name="T9" fmla="*/ 2147483647 h 20"/>
                    <a:gd name="T10" fmla="*/ 2147483647 w 16"/>
                    <a:gd name="T11" fmla="*/ 2147483647 h 20"/>
                    <a:gd name="T12" fmla="*/ 2147483647 w 16"/>
                    <a:gd name="T13" fmla="*/ 2147483647 h 20"/>
                    <a:gd name="T14" fmla="*/ 2147483647 w 16"/>
                    <a:gd name="T15" fmla="*/ 2147483647 h 20"/>
                    <a:gd name="T16" fmla="*/ 2147483647 w 16"/>
                    <a:gd name="T17" fmla="*/ 2147483647 h 20"/>
                    <a:gd name="T18" fmla="*/ 2147483647 w 16"/>
                    <a:gd name="T19" fmla="*/ 2147483647 h 20"/>
                    <a:gd name="T20" fmla="*/ 2147483647 w 16"/>
                    <a:gd name="T21" fmla="*/ 2147483647 h 20"/>
                    <a:gd name="T22" fmla="*/ 2147483647 w 16"/>
                    <a:gd name="T23" fmla="*/ 2147483647 h 20"/>
                    <a:gd name="T24" fmla="*/ 0 w 16"/>
                    <a:gd name="T25" fmla="*/ 0 h 20"/>
                    <a:gd name="T26" fmla="*/ 0 w 16"/>
                    <a:gd name="T27" fmla="*/ 2147483647 h 2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6"/>
                    <a:gd name="T43" fmla="*/ 0 h 20"/>
                    <a:gd name="T44" fmla="*/ 16 w 16"/>
                    <a:gd name="T45" fmla="*/ 20 h 2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6" h="20">
                      <a:moveTo>
                        <a:pt x="0" y="1"/>
                      </a:moveTo>
                      <a:lnTo>
                        <a:pt x="0" y="7"/>
                      </a:lnTo>
                      <a:lnTo>
                        <a:pt x="2" y="10"/>
                      </a:lnTo>
                      <a:lnTo>
                        <a:pt x="10" y="19"/>
                      </a:lnTo>
                      <a:lnTo>
                        <a:pt x="13" y="20"/>
                      </a:lnTo>
                      <a:lnTo>
                        <a:pt x="15" y="19"/>
                      </a:lnTo>
                      <a:lnTo>
                        <a:pt x="16" y="16"/>
                      </a:lnTo>
                      <a:lnTo>
                        <a:pt x="16" y="14"/>
                      </a:lnTo>
                      <a:lnTo>
                        <a:pt x="11" y="9"/>
                      </a:lnTo>
                      <a:lnTo>
                        <a:pt x="6" y="6"/>
                      </a:lnTo>
                      <a:lnTo>
                        <a:pt x="4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7" name="Freeform 22">
                  <a:extLst>
                    <a:ext uri="{FF2B5EF4-FFF2-40B4-BE49-F238E27FC236}">
                      <a16:creationId xmlns:a16="http://schemas.microsoft.com/office/drawing/2014/main" id="{4132FD04-B86C-4E4C-8F62-E4856B3AE4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1377" y="3154772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0 h 6"/>
                    <a:gd name="T8" fmla="*/ 2147483647 w 6"/>
                    <a:gd name="T9" fmla="*/ 0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0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2147483647 w 6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6"/>
                    <a:gd name="T47" fmla="*/ 6 w 6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3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5" y="5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8" name="Freeform 23">
                  <a:extLst>
                    <a:ext uri="{FF2B5EF4-FFF2-40B4-BE49-F238E27FC236}">
                      <a16:creationId xmlns:a16="http://schemas.microsoft.com/office/drawing/2014/main" id="{3C60029F-1C20-2C4A-84C8-3256D4BB7A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0267" y="2860273"/>
                  <a:ext cx="20718" cy="29598"/>
                </a:xfrm>
                <a:custGeom>
                  <a:avLst/>
                  <a:gdLst>
                    <a:gd name="T0" fmla="*/ 0 w 16"/>
                    <a:gd name="T1" fmla="*/ 2147483647 h 20"/>
                    <a:gd name="T2" fmla="*/ 0 w 16"/>
                    <a:gd name="T3" fmla="*/ 2147483647 h 20"/>
                    <a:gd name="T4" fmla="*/ 0 w 16"/>
                    <a:gd name="T5" fmla="*/ 2147483647 h 20"/>
                    <a:gd name="T6" fmla="*/ 2147483647 w 16"/>
                    <a:gd name="T7" fmla="*/ 2147483647 h 20"/>
                    <a:gd name="T8" fmla="*/ 2147483647 w 16"/>
                    <a:gd name="T9" fmla="*/ 2147483647 h 20"/>
                    <a:gd name="T10" fmla="*/ 2147483647 w 16"/>
                    <a:gd name="T11" fmla="*/ 2147483647 h 20"/>
                    <a:gd name="T12" fmla="*/ 2147483647 w 16"/>
                    <a:gd name="T13" fmla="*/ 2147483647 h 20"/>
                    <a:gd name="T14" fmla="*/ 2147483647 w 16"/>
                    <a:gd name="T15" fmla="*/ 2147483647 h 20"/>
                    <a:gd name="T16" fmla="*/ 2147483647 w 16"/>
                    <a:gd name="T17" fmla="*/ 2147483647 h 20"/>
                    <a:gd name="T18" fmla="*/ 2147483647 w 16"/>
                    <a:gd name="T19" fmla="*/ 2147483647 h 20"/>
                    <a:gd name="T20" fmla="*/ 2147483647 w 16"/>
                    <a:gd name="T21" fmla="*/ 2147483647 h 20"/>
                    <a:gd name="T22" fmla="*/ 2147483647 w 16"/>
                    <a:gd name="T23" fmla="*/ 2147483647 h 20"/>
                    <a:gd name="T24" fmla="*/ 2147483647 w 16"/>
                    <a:gd name="T25" fmla="*/ 2147483647 h 20"/>
                    <a:gd name="T26" fmla="*/ 2147483647 w 16"/>
                    <a:gd name="T27" fmla="*/ 2147483647 h 20"/>
                    <a:gd name="T28" fmla="*/ 2147483647 w 16"/>
                    <a:gd name="T29" fmla="*/ 2147483647 h 20"/>
                    <a:gd name="T30" fmla="*/ 2147483647 w 16"/>
                    <a:gd name="T31" fmla="*/ 2147483647 h 20"/>
                    <a:gd name="T32" fmla="*/ 2147483647 w 16"/>
                    <a:gd name="T33" fmla="*/ 2147483647 h 20"/>
                    <a:gd name="T34" fmla="*/ 0 w 16"/>
                    <a:gd name="T35" fmla="*/ 0 h 20"/>
                    <a:gd name="T36" fmla="*/ 0 w 16"/>
                    <a:gd name="T37" fmla="*/ 0 h 20"/>
                    <a:gd name="T38" fmla="*/ 0 w 16"/>
                    <a:gd name="T39" fmla="*/ 2147483647 h 20"/>
                    <a:gd name="T40" fmla="*/ 0 w 16"/>
                    <a:gd name="T41" fmla="*/ 2147483647 h 2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6"/>
                    <a:gd name="T64" fmla="*/ 0 h 20"/>
                    <a:gd name="T65" fmla="*/ 16 w 16"/>
                    <a:gd name="T66" fmla="*/ 20 h 2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6" h="20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7"/>
                      </a:lnTo>
                      <a:lnTo>
                        <a:pt x="2" y="10"/>
                      </a:lnTo>
                      <a:lnTo>
                        <a:pt x="10" y="19"/>
                      </a:lnTo>
                      <a:lnTo>
                        <a:pt x="12" y="20"/>
                      </a:lnTo>
                      <a:lnTo>
                        <a:pt x="15" y="19"/>
                      </a:lnTo>
                      <a:lnTo>
                        <a:pt x="16" y="16"/>
                      </a:lnTo>
                      <a:lnTo>
                        <a:pt x="16" y="14"/>
                      </a:lnTo>
                      <a:lnTo>
                        <a:pt x="11" y="9"/>
                      </a:lnTo>
                      <a:lnTo>
                        <a:pt x="6" y="6"/>
                      </a:lnTo>
                      <a:lnTo>
                        <a:pt x="3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9" name="Freeform 24">
                  <a:extLst>
                    <a:ext uri="{FF2B5EF4-FFF2-40B4-BE49-F238E27FC236}">
                      <a16:creationId xmlns:a16="http://schemas.microsoft.com/office/drawing/2014/main" id="{5D6F1959-C58B-5741-89F2-252A25CDEF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5379" y="2882472"/>
                  <a:ext cx="19239" cy="11839"/>
                </a:xfrm>
                <a:custGeom>
                  <a:avLst/>
                  <a:gdLst>
                    <a:gd name="T0" fmla="*/ 2147483647 w 14"/>
                    <a:gd name="T1" fmla="*/ 2147483647 h 8"/>
                    <a:gd name="T2" fmla="*/ 2147483647 w 14"/>
                    <a:gd name="T3" fmla="*/ 2147483647 h 8"/>
                    <a:gd name="T4" fmla="*/ 2147483647 w 14"/>
                    <a:gd name="T5" fmla="*/ 0 h 8"/>
                    <a:gd name="T6" fmla="*/ 0 w 14"/>
                    <a:gd name="T7" fmla="*/ 0 h 8"/>
                    <a:gd name="T8" fmla="*/ 2147483647 w 14"/>
                    <a:gd name="T9" fmla="*/ 2147483647 h 8"/>
                    <a:gd name="T10" fmla="*/ 2147483647 w 14"/>
                    <a:gd name="T11" fmla="*/ 2147483647 h 8"/>
                    <a:gd name="T12" fmla="*/ 2147483647 w 14"/>
                    <a:gd name="T13" fmla="*/ 2147483647 h 8"/>
                    <a:gd name="T14" fmla="*/ 2147483647 w 14"/>
                    <a:gd name="T15" fmla="*/ 2147483647 h 8"/>
                    <a:gd name="T16" fmla="*/ 2147483647 w 14"/>
                    <a:gd name="T17" fmla="*/ 2147483647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4"/>
                    <a:gd name="T28" fmla="*/ 0 h 8"/>
                    <a:gd name="T29" fmla="*/ 14 w 14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4" h="8">
                      <a:moveTo>
                        <a:pt x="14" y="6"/>
                      </a:moveTo>
                      <a:lnTo>
                        <a:pt x="7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6" y="7"/>
                      </a:lnTo>
                      <a:lnTo>
                        <a:pt x="9" y="8"/>
                      </a:lnTo>
                      <a:lnTo>
                        <a:pt x="11" y="8"/>
                      </a:lnTo>
                      <a:lnTo>
                        <a:pt x="14" y="7"/>
                      </a:lnTo>
                      <a:lnTo>
                        <a:pt x="1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0" name="Freeform 25">
                  <a:extLst>
                    <a:ext uri="{FF2B5EF4-FFF2-40B4-BE49-F238E27FC236}">
                      <a16:creationId xmlns:a16="http://schemas.microsoft.com/office/drawing/2014/main" id="{71C59DE2-8A75-5440-85E9-4F49C00E60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64174" y="2946107"/>
                  <a:ext cx="16279" cy="11839"/>
                </a:xfrm>
                <a:custGeom>
                  <a:avLst/>
                  <a:gdLst>
                    <a:gd name="T0" fmla="*/ 2147483647 w 12"/>
                    <a:gd name="T1" fmla="*/ 2147483647 h 8"/>
                    <a:gd name="T2" fmla="*/ 2147483647 w 12"/>
                    <a:gd name="T3" fmla="*/ 2147483647 h 8"/>
                    <a:gd name="T4" fmla="*/ 2147483647 w 12"/>
                    <a:gd name="T5" fmla="*/ 2147483647 h 8"/>
                    <a:gd name="T6" fmla="*/ 2147483647 w 12"/>
                    <a:gd name="T7" fmla="*/ 0 h 8"/>
                    <a:gd name="T8" fmla="*/ 0 w 12"/>
                    <a:gd name="T9" fmla="*/ 2147483647 h 8"/>
                    <a:gd name="T10" fmla="*/ 0 w 12"/>
                    <a:gd name="T11" fmla="*/ 2147483647 h 8"/>
                    <a:gd name="T12" fmla="*/ 2147483647 w 12"/>
                    <a:gd name="T13" fmla="*/ 2147483647 h 8"/>
                    <a:gd name="T14" fmla="*/ 2147483647 w 12"/>
                    <a:gd name="T15" fmla="*/ 2147483647 h 8"/>
                    <a:gd name="T16" fmla="*/ 2147483647 w 12"/>
                    <a:gd name="T17" fmla="*/ 2147483647 h 8"/>
                    <a:gd name="T18" fmla="*/ 2147483647 w 12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2"/>
                    <a:gd name="T31" fmla="*/ 0 h 8"/>
                    <a:gd name="T32" fmla="*/ 12 w 12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2" h="8">
                      <a:moveTo>
                        <a:pt x="12" y="7"/>
                      </a:moveTo>
                      <a:lnTo>
                        <a:pt x="11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9" y="8"/>
                      </a:lnTo>
                      <a:lnTo>
                        <a:pt x="11" y="8"/>
                      </a:lnTo>
                      <a:lnTo>
                        <a:pt x="12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1" name="Freeform 26">
                  <a:extLst>
                    <a:ext uri="{FF2B5EF4-FFF2-40B4-BE49-F238E27FC236}">
                      <a16:creationId xmlns:a16="http://schemas.microsoft.com/office/drawing/2014/main" id="{1CE9A59A-875C-3247-B737-CB675097D4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3900" y="2880992"/>
                  <a:ext cx="19238" cy="11839"/>
                </a:xfrm>
                <a:custGeom>
                  <a:avLst/>
                  <a:gdLst>
                    <a:gd name="T0" fmla="*/ 2147483647 w 14"/>
                    <a:gd name="T1" fmla="*/ 2147483647 h 8"/>
                    <a:gd name="T2" fmla="*/ 2147483647 w 14"/>
                    <a:gd name="T3" fmla="*/ 2147483647 h 8"/>
                    <a:gd name="T4" fmla="*/ 2147483647 w 14"/>
                    <a:gd name="T5" fmla="*/ 2147483647 h 8"/>
                    <a:gd name="T6" fmla="*/ 2147483647 w 14"/>
                    <a:gd name="T7" fmla="*/ 0 h 8"/>
                    <a:gd name="T8" fmla="*/ 0 w 14"/>
                    <a:gd name="T9" fmla="*/ 0 h 8"/>
                    <a:gd name="T10" fmla="*/ 0 w 14"/>
                    <a:gd name="T11" fmla="*/ 0 h 8"/>
                    <a:gd name="T12" fmla="*/ 2147483647 w 14"/>
                    <a:gd name="T13" fmla="*/ 2147483647 h 8"/>
                    <a:gd name="T14" fmla="*/ 2147483647 w 14"/>
                    <a:gd name="T15" fmla="*/ 2147483647 h 8"/>
                    <a:gd name="T16" fmla="*/ 2147483647 w 14"/>
                    <a:gd name="T17" fmla="*/ 2147483647 h 8"/>
                    <a:gd name="T18" fmla="*/ 2147483647 w 14"/>
                    <a:gd name="T19" fmla="*/ 2147483647 h 8"/>
                    <a:gd name="T20" fmla="*/ 2147483647 w 14"/>
                    <a:gd name="T21" fmla="*/ 2147483647 h 8"/>
                    <a:gd name="T22" fmla="*/ 2147483647 w 14"/>
                    <a:gd name="T23" fmla="*/ 2147483647 h 8"/>
                    <a:gd name="T24" fmla="*/ 2147483647 w 14"/>
                    <a:gd name="T25" fmla="*/ 2147483647 h 8"/>
                    <a:gd name="T26" fmla="*/ 2147483647 w 14"/>
                    <a:gd name="T27" fmla="*/ 2147483647 h 8"/>
                    <a:gd name="T28" fmla="*/ 2147483647 w 14"/>
                    <a:gd name="T29" fmla="*/ 2147483647 h 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4"/>
                    <a:gd name="T46" fmla="*/ 0 h 8"/>
                    <a:gd name="T47" fmla="*/ 14 w 14"/>
                    <a:gd name="T48" fmla="*/ 8 h 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4" h="8">
                      <a:moveTo>
                        <a:pt x="14" y="6"/>
                      </a:moveTo>
                      <a:lnTo>
                        <a:pt x="14" y="6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6" y="7"/>
                      </a:lnTo>
                      <a:lnTo>
                        <a:pt x="8" y="8"/>
                      </a:lnTo>
                      <a:lnTo>
                        <a:pt x="11" y="8"/>
                      </a:lnTo>
                      <a:lnTo>
                        <a:pt x="14" y="7"/>
                      </a:lnTo>
                      <a:lnTo>
                        <a:pt x="14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2" name="Freeform 27">
                  <a:extLst>
                    <a:ext uri="{FF2B5EF4-FFF2-40B4-BE49-F238E27FC236}">
                      <a16:creationId xmlns:a16="http://schemas.microsoft.com/office/drawing/2014/main" id="{58BAE833-CE67-A041-8B09-AA01E3DA1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61210" y="2944627"/>
                  <a:ext cx="17758" cy="11839"/>
                </a:xfrm>
                <a:custGeom>
                  <a:avLst/>
                  <a:gdLst>
                    <a:gd name="T0" fmla="*/ 2147483647 w 13"/>
                    <a:gd name="T1" fmla="*/ 2147483647 h 8"/>
                    <a:gd name="T2" fmla="*/ 2147483647 w 13"/>
                    <a:gd name="T3" fmla="*/ 2147483647 h 8"/>
                    <a:gd name="T4" fmla="*/ 2147483647 w 13"/>
                    <a:gd name="T5" fmla="*/ 2147483647 h 8"/>
                    <a:gd name="T6" fmla="*/ 2147483647 w 13"/>
                    <a:gd name="T7" fmla="*/ 2147483647 h 8"/>
                    <a:gd name="T8" fmla="*/ 2147483647 w 13"/>
                    <a:gd name="T9" fmla="*/ 0 h 8"/>
                    <a:gd name="T10" fmla="*/ 0 w 13"/>
                    <a:gd name="T11" fmla="*/ 2147483647 h 8"/>
                    <a:gd name="T12" fmla="*/ 0 w 13"/>
                    <a:gd name="T13" fmla="*/ 2147483647 h 8"/>
                    <a:gd name="T14" fmla="*/ 0 w 13"/>
                    <a:gd name="T15" fmla="*/ 2147483647 h 8"/>
                    <a:gd name="T16" fmla="*/ 2147483647 w 13"/>
                    <a:gd name="T17" fmla="*/ 2147483647 h 8"/>
                    <a:gd name="T18" fmla="*/ 2147483647 w 13"/>
                    <a:gd name="T19" fmla="*/ 2147483647 h 8"/>
                    <a:gd name="T20" fmla="*/ 2147483647 w 13"/>
                    <a:gd name="T21" fmla="*/ 2147483647 h 8"/>
                    <a:gd name="T22" fmla="*/ 2147483647 w 13"/>
                    <a:gd name="T23" fmla="*/ 2147483647 h 8"/>
                    <a:gd name="T24" fmla="*/ 2147483647 w 13"/>
                    <a:gd name="T25" fmla="*/ 2147483647 h 8"/>
                    <a:gd name="T26" fmla="*/ 2147483647 w 13"/>
                    <a:gd name="T27" fmla="*/ 2147483647 h 8"/>
                    <a:gd name="T28" fmla="*/ 2147483647 w 13"/>
                    <a:gd name="T29" fmla="*/ 2147483647 h 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"/>
                    <a:gd name="T46" fmla="*/ 0 h 8"/>
                    <a:gd name="T47" fmla="*/ 13 w 13"/>
                    <a:gd name="T48" fmla="*/ 8 h 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" h="8">
                      <a:moveTo>
                        <a:pt x="13" y="7"/>
                      </a:moveTo>
                      <a:lnTo>
                        <a:pt x="13" y="7"/>
                      </a:lnTo>
                      <a:lnTo>
                        <a:pt x="12" y="3"/>
                      </a:lnTo>
                      <a:lnTo>
                        <a:pt x="8" y="1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9" y="8"/>
                      </a:lnTo>
                      <a:lnTo>
                        <a:pt x="12" y="8"/>
                      </a:lnTo>
                      <a:lnTo>
                        <a:pt x="13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3" name="Freeform 28">
                  <a:extLst>
                    <a:ext uri="{FF2B5EF4-FFF2-40B4-BE49-F238E27FC236}">
                      <a16:creationId xmlns:a16="http://schemas.microsoft.com/office/drawing/2014/main" id="{B74C4606-2E04-BB4B-A739-D7CEC2BA4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0808" y="2974226"/>
                  <a:ext cx="13319" cy="5919"/>
                </a:xfrm>
                <a:custGeom>
                  <a:avLst/>
                  <a:gdLst>
                    <a:gd name="T0" fmla="*/ 2147483647 w 9"/>
                    <a:gd name="T1" fmla="*/ 2147483647 h 4"/>
                    <a:gd name="T2" fmla="*/ 2147483647 w 9"/>
                    <a:gd name="T3" fmla="*/ 0 h 4"/>
                    <a:gd name="T4" fmla="*/ 2147483647 w 9"/>
                    <a:gd name="T5" fmla="*/ 0 h 4"/>
                    <a:gd name="T6" fmla="*/ 0 w 9"/>
                    <a:gd name="T7" fmla="*/ 2147483647 h 4"/>
                    <a:gd name="T8" fmla="*/ 0 w 9"/>
                    <a:gd name="T9" fmla="*/ 2147483647 h 4"/>
                    <a:gd name="T10" fmla="*/ 2147483647 w 9"/>
                    <a:gd name="T11" fmla="*/ 2147483647 h 4"/>
                    <a:gd name="T12" fmla="*/ 2147483647 w 9"/>
                    <a:gd name="T13" fmla="*/ 2147483647 h 4"/>
                    <a:gd name="T14" fmla="*/ 2147483647 w 9"/>
                    <a:gd name="T15" fmla="*/ 2147483647 h 4"/>
                    <a:gd name="T16" fmla="*/ 2147483647 w 9"/>
                    <a:gd name="T17" fmla="*/ 2147483647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"/>
                    <a:gd name="T28" fmla="*/ 0 h 4"/>
                    <a:gd name="T29" fmla="*/ 9 w 9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" h="4">
                      <a:moveTo>
                        <a:pt x="9" y="3"/>
                      </a:move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8" y="4"/>
                      </a:lnTo>
                      <a:lnTo>
                        <a:pt x="9" y="4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4" name="Freeform 29">
                  <a:extLst>
                    <a:ext uri="{FF2B5EF4-FFF2-40B4-BE49-F238E27FC236}">
                      <a16:creationId xmlns:a16="http://schemas.microsoft.com/office/drawing/2014/main" id="{639FAED3-4ED8-EA45-A023-3E767E2D18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6642" y="2978664"/>
                  <a:ext cx="1183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2147483647 h 10"/>
                    <a:gd name="T8" fmla="*/ 0 w 9"/>
                    <a:gd name="T9" fmla="*/ 2147483647 h 10"/>
                    <a:gd name="T10" fmla="*/ 0 w 9"/>
                    <a:gd name="T11" fmla="*/ 2147483647 h 10"/>
                    <a:gd name="T12" fmla="*/ 2147483647 w 9"/>
                    <a:gd name="T13" fmla="*/ 2147483647 h 10"/>
                    <a:gd name="T14" fmla="*/ 2147483647 w 9"/>
                    <a:gd name="T15" fmla="*/ 2147483647 h 10"/>
                    <a:gd name="T16" fmla="*/ 2147483647 w 9"/>
                    <a:gd name="T17" fmla="*/ 0 h 10"/>
                    <a:gd name="T18" fmla="*/ 2147483647 w 9"/>
                    <a:gd name="T19" fmla="*/ 2147483647 h 10"/>
                    <a:gd name="T20" fmla="*/ 2147483647 w 9"/>
                    <a:gd name="T21" fmla="*/ 2147483647 h 10"/>
                    <a:gd name="T22" fmla="*/ 2147483647 w 9"/>
                    <a:gd name="T23" fmla="*/ 2147483647 h 1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9"/>
                    <a:gd name="T37" fmla="*/ 0 h 10"/>
                    <a:gd name="T38" fmla="*/ 9 w 9"/>
                    <a:gd name="T39" fmla="*/ 10 h 1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9" h="10">
                      <a:moveTo>
                        <a:pt x="9" y="4"/>
                      </a:moveTo>
                      <a:lnTo>
                        <a:pt x="5" y="9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9" y="1"/>
                      </a:lnTo>
                      <a:lnTo>
                        <a:pt x="9" y="3"/>
                      </a:lnTo>
                      <a:lnTo>
                        <a:pt x="9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5" name="Freeform 30">
                  <a:extLst>
                    <a:ext uri="{FF2B5EF4-FFF2-40B4-BE49-F238E27FC236}">
                      <a16:creationId xmlns:a16="http://schemas.microsoft.com/office/drawing/2014/main" id="{D5A6E0AE-ED38-864C-99BC-A1601513D9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0809" y="2972747"/>
                  <a:ext cx="11839" cy="5919"/>
                </a:xfrm>
                <a:custGeom>
                  <a:avLst/>
                  <a:gdLst>
                    <a:gd name="T0" fmla="*/ 2147483647 w 9"/>
                    <a:gd name="T1" fmla="*/ 2147483647 h 4"/>
                    <a:gd name="T2" fmla="*/ 2147483647 w 9"/>
                    <a:gd name="T3" fmla="*/ 2147483647 h 4"/>
                    <a:gd name="T4" fmla="*/ 2147483647 w 9"/>
                    <a:gd name="T5" fmla="*/ 0 h 4"/>
                    <a:gd name="T6" fmla="*/ 2147483647 w 9"/>
                    <a:gd name="T7" fmla="*/ 0 h 4"/>
                    <a:gd name="T8" fmla="*/ 0 w 9"/>
                    <a:gd name="T9" fmla="*/ 2147483647 h 4"/>
                    <a:gd name="T10" fmla="*/ 0 w 9"/>
                    <a:gd name="T11" fmla="*/ 2147483647 h 4"/>
                    <a:gd name="T12" fmla="*/ 0 w 9"/>
                    <a:gd name="T13" fmla="*/ 2147483647 h 4"/>
                    <a:gd name="T14" fmla="*/ 2147483647 w 9"/>
                    <a:gd name="T15" fmla="*/ 2147483647 h 4"/>
                    <a:gd name="T16" fmla="*/ 2147483647 w 9"/>
                    <a:gd name="T17" fmla="*/ 2147483647 h 4"/>
                    <a:gd name="T18" fmla="*/ 2147483647 w 9"/>
                    <a:gd name="T19" fmla="*/ 2147483647 h 4"/>
                    <a:gd name="T20" fmla="*/ 2147483647 w 9"/>
                    <a:gd name="T21" fmla="*/ 2147483647 h 4"/>
                    <a:gd name="T22" fmla="*/ 2147483647 w 9"/>
                    <a:gd name="T23" fmla="*/ 2147483647 h 4"/>
                    <a:gd name="T24" fmla="*/ 2147483647 w 9"/>
                    <a:gd name="T25" fmla="*/ 2147483647 h 4"/>
                    <a:gd name="T26" fmla="*/ 2147483647 w 9"/>
                    <a:gd name="T27" fmla="*/ 2147483647 h 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4"/>
                    <a:gd name="T44" fmla="*/ 9 w 9"/>
                    <a:gd name="T45" fmla="*/ 4 h 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4">
                      <a:moveTo>
                        <a:pt x="9" y="3"/>
                      </a:moveTo>
                      <a:lnTo>
                        <a:pt x="9" y="3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7" y="4"/>
                      </a:lnTo>
                      <a:lnTo>
                        <a:pt x="9" y="4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6" name="Freeform 31">
                  <a:extLst>
                    <a:ext uri="{FF2B5EF4-FFF2-40B4-BE49-F238E27FC236}">
                      <a16:creationId xmlns:a16="http://schemas.microsoft.com/office/drawing/2014/main" id="{1C56FC56-A5D1-7743-AC1D-2846E689BE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5162" y="2977187"/>
                  <a:ext cx="1183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2147483647 h 10"/>
                    <a:gd name="T8" fmla="*/ 2147483647 w 9"/>
                    <a:gd name="T9" fmla="*/ 2147483647 h 10"/>
                    <a:gd name="T10" fmla="*/ 0 w 9"/>
                    <a:gd name="T11" fmla="*/ 2147483647 h 10"/>
                    <a:gd name="T12" fmla="*/ 0 w 9"/>
                    <a:gd name="T13" fmla="*/ 2147483647 h 10"/>
                    <a:gd name="T14" fmla="*/ 0 w 9"/>
                    <a:gd name="T15" fmla="*/ 2147483647 h 10"/>
                    <a:gd name="T16" fmla="*/ 2147483647 w 9"/>
                    <a:gd name="T17" fmla="*/ 2147483647 h 10"/>
                    <a:gd name="T18" fmla="*/ 2147483647 w 9"/>
                    <a:gd name="T19" fmla="*/ 2147483647 h 10"/>
                    <a:gd name="T20" fmla="*/ 2147483647 w 9"/>
                    <a:gd name="T21" fmla="*/ 2147483647 h 10"/>
                    <a:gd name="T22" fmla="*/ 2147483647 w 9"/>
                    <a:gd name="T23" fmla="*/ 0 h 10"/>
                    <a:gd name="T24" fmla="*/ 2147483647 w 9"/>
                    <a:gd name="T25" fmla="*/ 2147483647 h 10"/>
                    <a:gd name="T26" fmla="*/ 2147483647 w 9"/>
                    <a:gd name="T27" fmla="*/ 2147483647 h 10"/>
                    <a:gd name="T28" fmla="*/ 2147483647 w 9"/>
                    <a:gd name="T29" fmla="*/ 2147483647 h 1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10"/>
                    <a:gd name="T47" fmla="*/ 9 w 9"/>
                    <a:gd name="T48" fmla="*/ 10 h 1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10">
                      <a:moveTo>
                        <a:pt x="9" y="4"/>
                      </a:moveTo>
                      <a:lnTo>
                        <a:pt x="9" y="4"/>
                      </a:lnTo>
                      <a:lnTo>
                        <a:pt x="5" y="8"/>
                      </a:lnTo>
                      <a:lnTo>
                        <a:pt x="2" y="10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9" y="1"/>
                      </a:lnTo>
                      <a:lnTo>
                        <a:pt x="9" y="2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7" name="Freeform 32">
                  <a:extLst>
                    <a:ext uri="{FF2B5EF4-FFF2-40B4-BE49-F238E27FC236}">
                      <a16:creationId xmlns:a16="http://schemas.microsoft.com/office/drawing/2014/main" id="{BF3B9115-6E53-D641-BED2-3551E4A8EA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32876" y="2980143"/>
                  <a:ext cx="7400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0 h 5"/>
                    <a:gd name="T6" fmla="*/ 2147483647 w 6"/>
                    <a:gd name="T7" fmla="*/ 0 h 5"/>
                    <a:gd name="T8" fmla="*/ 0 w 6"/>
                    <a:gd name="T9" fmla="*/ 2147483647 h 5"/>
                    <a:gd name="T10" fmla="*/ 2147483647 w 6"/>
                    <a:gd name="T11" fmla="*/ 2147483647 h 5"/>
                    <a:gd name="T12" fmla="*/ 2147483647 w 6"/>
                    <a:gd name="T13" fmla="*/ 2147483647 h 5"/>
                    <a:gd name="T14" fmla="*/ 2147483647 w 6"/>
                    <a:gd name="T15" fmla="*/ 2147483647 h 5"/>
                    <a:gd name="T16" fmla="*/ 2147483647 w 6"/>
                    <a:gd name="T17" fmla="*/ 2147483647 h 5"/>
                    <a:gd name="T18" fmla="*/ 2147483647 w 6"/>
                    <a:gd name="T19" fmla="*/ 2147483647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5"/>
                    <a:gd name="T32" fmla="*/ 6 w 6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5">
                      <a:moveTo>
                        <a:pt x="6" y="3"/>
                      </a:move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8" name="Freeform 33">
                  <a:extLst>
                    <a:ext uri="{FF2B5EF4-FFF2-40B4-BE49-F238E27FC236}">
                      <a16:creationId xmlns:a16="http://schemas.microsoft.com/office/drawing/2014/main" id="{A6459195-F2F8-B440-A793-ECC4B051A6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2161" y="3002342"/>
                  <a:ext cx="20718" cy="11839"/>
                </a:xfrm>
                <a:custGeom>
                  <a:avLst/>
                  <a:gdLst>
                    <a:gd name="T0" fmla="*/ 2147483647 w 16"/>
                    <a:gd name="T1" fmla="*/ 2147483647 h 8"/>
                    <a:gd name="T2" fmla="*/ 2147483647 w 16"/>
                    <a:gd name="T3" fmla="*/ 2147483647 h 8"/>
                    <a:gd name="T4" fmla="*/ 2147483647 w 16"/>
                    <a:gd name="T5" fmla="*/ 2147483647 h 8"/>
                    <a:gd name="T6" fmla="*/ 2147483647 w 16"/>
                    <a:gd name="T7" fmla="*/ 2147483647 h 8"/>
                    <a:gd name="T8" fmla="*/ 2147483647 w 16"/>
                    <a:gd name="T9" fmla="*/ 0 h 8"/>
                    <a:gd name="T10" fmla="*/ 0 w 16"/>
                    <a:gd name="T11" fmla="*/ 0 h 8"/>
                    <a:gd name="T12" fmla="*/ 0 w 16"/>
                    <a:gd name="T13" fmla="*/ 2147483647 h 8"/>
                    <a:gd name="T14" fmla="*/ 2147483647 w 16"/>
                    <a:gd name="T15" fmla="*/ 2147483647 h 8"/>
                    <a:gd name="T16" fmla="*/ 2147483647 w 16"/>
                    <a:gd name="T17" fmla="*/ 2147483647 h 8"/>
                    <a:gd name="T18" fmla="*/ 2147483647 w 16"/>
                    <a:gd name="T19" fmla="*/ 2147483647 h 8"/>
                    <a:gd name="T20" fmla="*/ 2147483647 w 16"/>
                    <a:gd name="T21" fmla="*/ 2147483647 h 8"/>
                    <a:gd name="T22" fmla="*/ 2147483647 w 16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"/>
                    <a:gd name="T37" fmla="*/ 0 h 8"/>
                    <a:gd name="T38" fmla="*/ 16 w 16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" h="8">
                      <a:moveTo>
                        <a:pt x="16" y="7"/>
                      </a:moveTo>
                      <a:lnTo>
                        <a:pt x="16" y="6"/>
                      </a:lnTo>
                      <a:lnTo>
                        <a:pt x="10" y="3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3" y="6"/>
                      </a:lnTo>
                      <a:lnTo>
                        <a:pt x="7" y="7"/>
                      </a:lnTo>
                      <a:lnTo>
                        <a:pt x="12" y="8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9" name="Freeform 34">
                  <a:extLst>
                    <a:ext uri="{FF2B5EF4-FFF2-40B4-BE49-F238E27FC236}">
                      <a16:creationId xmlns:a16="http://schemas.microsoft.com/office/drawing/2014/main" id="{572A3F2C-63EF-7C44-B3F4-153110BE61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31400" y="2978667"/>
                  <a:ext cx="7399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0 h 5"/>
                    <a:gd name="T8" fmla="*/ 2147483647 w 6"/>
                    <a:gd name="T9" fmla="*/ 0 h 5"/>
                    <a:gd name="T10" fmla="*/ 2147483647 w 6"/>
                    <a:gd name="T11" fmla="*/ 0 h 5"/>
                    <a:gd name="T12" fmla="*/ 0 w 6"/>
                    <a:gd name="T13" fmla="*/ 2147483647 h 5"/>
                    <a:gd name="T14" fmla="*/ 0 w 6"/>
                    <a:gd name="T15" fmla="*/ 2147483647 h 5"/>
                    <a:gd name="T16" fmla="*/ 2147483647 w 6"/>
                    <a:gd name="T17" fmla="*/ 2147483647 h 5"/>
                    <a:gd name="T18" fmla="*/ 2147483647 w 6"/>
                    <a:gd name="T19" fmla="*/ 2147483647 h 5"/>
                    <a:gd name="T20" fmla="*/ 2147483647 w 6"/>
                    <a:gd name="T21" fmla="*/ 2147483647 h 5"/>
                    <a:gd name="T22" fmla="*/ 2147483647 w 6"/>
                    <a:gd name="T23" fmla="*/ 2147483647 h 5"/>
                    <a:gd name="T24" fmla="*/ 2147483647 w 6"/>
                    <a:gd name="T25" fmla="*/ 2147483647 h 5"/>
                    <a:gd name="T26" fmla="*/ 2147483647 w 6"/>
                    <a:gd name="T27" fmla="*/ 2147483647 h 5"/>
                    <a:gd name="T28" fmla="*/ 2147483647 w 6"/>
                    <a:gd name="T29" fmla="*/ 2147483647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5"/>
                    <a:gd name="T47" fmla="*/ 6 w 6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5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0" name="Freeform 35">
                  <a:extLst>
                    <a:ext uri="{FF2B5EF4-FFF2-40B4-BE49-F238E27FC236}">
                      <a16:creationId xmlns:a16="http://schemas.microsoft.com/office/drawing/2014/main" id="{16E8E74B-7294-044D-95BA-D85ACD5633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09199" y="2999385"/>
                  <a:ext cx="23678" cy="13319"/>
                </a:xfrm>
                <a:custGeom>
                  <a:avLst/>
                  <a:gdLst>
                    <a:gd name="T0" fmla="*/ 2147483647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2147483647 h 9"/>
                    <a:gd name="T10" fmla="*/ 2147483647 w 17"/>
                    <a:gd name="T11" fmla="*/ 2147483647 h 9"/>
                    <a:gd name="T12" fmla="*/ 2147483647 w 17"/>
                    <a:gd name="T13" fmla="*/ 2147483647 h 9"/>
                    <a:gd name="T14" fmla="*/ 2147483647 w 17"/>
                    <a:gd name="T15" fmla="*/ 0 h 9"/>
                    <a:gd name="T16" fmla="*/ 0 w 17"/>
                    <a:gd name="T17" fmla="*/ 0 h 9"/>
                    <a:gd name="T18" fmla="*/ 0 w 17"/>
                    <a:gd name="T19" fmla="*/ 0 h 9"/>
                    <a:gd name="T20" fmla="*/ 0 w 17"/>
                    <a:gd name="T21" fmla="*/ 2147483647 h 9"/>
                    <a:gd name="T22" fmla="*/ 0 w 17"/>
                    <a:gd name="T23" fmla="*/ 2147483647 h 9"/>
                    <a:gd name="T24" fmla="*/ 2147483647 w 17"/>
                    <a:gd name="T25" fmla="*/ 2147483647 h 9"/>
                    <a:gd name="T26" fmla="*/ 2147483647 w 17"/>
                    <a:gd name="T27" fmla="*/ 2147483647 h 9"/>
                    <a:gd name="T28" fmla="*/ 2147483647 w 17"/>
                    <a:gd name="T29" fmla="*/ 2147483647 h 9"/>
                    <a:gd name="T30" fmla="*/ 2147483647 w 17"/>
                    <a:gd name="T31" fmla="*/ 2147483647 h 9"/>
                    <a:gd name="T32" fmla="*/ 2147483647 w 17"/>
                    <a:gd name="T33" fmla="*/ 2147483647 h 9"/>
                    <a:gd name="T34" fmla="*/ 2147483647 w 17"/>
                    <a:gd name="T35" fmla="*/ 2147483647 h 9"/>
                    <a:gd name="T36" fmla="*/ 2147483647 w 17"/>
                    <a:gd name="T37" fmla="*/ 2147483647 h 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7"/>
                    <a:gd name="T58" fmla="*/ 0 h 9"/>
                    <a:gd name="T59" fmla="*/ 17 w 17"/>
                    <a:gd name="T60" fmla="*/ 9 h 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7" h="9">
                      <a:moveTo>
                        <a:pt x="17" y="8"/>
                      </a:moveTo>
                      <a:lnTo>
                        <a:pt x="17" y="8"/>
                      </a:lnTo>
                      <a:lnTo>
                        <a:pt x="17" y="6"/>
                      </a:lnTo>
                      <a:lnTo>
                        <a:pt x="10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4" y="6"/>
                      </a:lnTo>
                      <a:lnTo>
                        <a:pt x="8" y="8"/>
                      </a:lnTo>
                      <a:lnTo>
                        <a:pt x="13" y="9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1" name="Freeform 36">
                  <a:extLst>
                    <a:ext uri="{FF2B5EF4-FFF2-40B4-BE49-F238E27FC236}">
                      <a16:creationId xmlns:a16="http://schemas.microsoft.com/office/drawing/2014/main" id="{258A0687-2490-CD4E-B5D3-C74C57C2E2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3957" y="2987542"/>
                  <a:ext cx="739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0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0 w 6"/>
                    <a:gd name="T9" fmla="*/ 2147483647 h 8"/>
                    <a:gd name="T10" fmla="*/ 2147483647 w 6"/>
                    <a:gd name="T11" fmla="*/ 2147483647 h 8"/>
                    <a:gd name="T12" fmla="*/ 2147483647 w 6"/>
                    <a:gd name="T13" fmla="*/ 2147483647 h 8"/>
                    <a:gd name="T14" fmla="*/ 2147483647 w 6"/>
                    <a:gd name="T15" fmla="*/ 2147483647 h 8"/>
                    <a:gd name="T16" fmla="*/ 2147483647 w 6"/>
                    <a:gd name="T17" fmla="*/ 2147483647 h 8"/>
                    <a:gd name="T18" fmla="*/ 2147483647 w 6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8"/>
                    <a:gd name="T32" fmla="*/ 6 w 6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8">
                      <a:moveTo>
                        <a:pt x="6" y="1"/>
                      </a:move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1" y="4"/>
                      </a:lnTo>
                      <a:lnTo>
                        <a:pt x="0" y="7"/>
                      </a:lnTo>
                      <a:lnTo>
                        <a:pt x="1" y="8"/>
                      </a:lnTo>
                      <a:lnTo>
                        <a:pt x="2" y="8"/>
                      </a:lnTo>
                      <a:lnTo>
                        <a:pt x="3" y="7"/>
                      </a:lnTo>
                      <a:lnTo>
                        <a:pt x="5" y="5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2" name="Freeform 37">
                  <a:extLst>
                    <a:ext uri="{FF2B5EF4-FFF2-40B4-BE49-F238E27FC236}">
                      <a16:creationId xmlns:a16="http://schemas.microsoft.com/office/drawing/2014/main" id="{B8D7C0CC-432F-FE44-AD4F-C14F48E3A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4672" y="2989026"/>
                  <a:ext cx="11839" cy="16279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2147483647 h 11"/>
                    <a:gd name="T8" fmla="*/ 2147483647 w 9"/>
                    <a:gd name="T9" fmla="*/ 0 h 11"/>
                    <a:gd name="T10" fmla="*/ 2147483647 w 9"/>
                    <a:gd name="T11" fmla="*/ 0 h 11"/>
                    <a:gd name="T12" fmla="*/ 2147483647 w 9"/>
                    <a:gd name="T13" fmla="*/ 2147483647 h 11"/>
                    <a:gd name="T14" fmla="*/ 0 w 9"/>
                    <a:gd name="T15" fmla="*/ 2147483647 h 11"/>
                    <a:gd name="T16" fmla="*/ 0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1"/>
                    <a:gd name="T44" fmla="*/ 9 w 9"/>
                    <a:gd name="T45" fmla="*/ 11 h 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1">
                      <a:moveTo>
                        <a:pt x="8" y="10"/>
                      </a:moveTo>
                      <a:lnTo>
                        <a:pt x="9" y="7"/>
                      </a:lnTo>
                      <a:lnTo>
                        <a:pt x="8" y="6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9"/>
                      </a:lnTo>
                      <a:lnTo>
                        <a:pt x="4" y="11"/>
                      </a:lnTo>
                      <a:lnTo>
                        <a:pt x="5" y="11"/>
                      </a:lnTo>
                      <a:lnTo>
                        <a:pt x="6" y="11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3" name="Freeform 38">
                  <a:extLst>
                    <a:ext uri="{FF2B5EF4-FFF2-40B4-BE49-F238E27FC236}">
                      <a16:creationId xmlns:a16="http://schemas.microsoft.com/office/drawing/2014/main" id="{13E059EE-2CD6-C049-BAD4-A3D44A10FB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0996" y="2986063"/>
                  <a:ext cx="8879" cy="11839"/>
                </a:xfrm>
                <a:custGeom>
                  <a:avLst/>
                  <a:gdLst>
                    <a:gd name="T0" fmla="*/ 2147483647 w 7"/>
                    <a:gd name="T1" fmla="*/ 2147483647 h 8"/>
                    <a:gd name="T2" fmla="*/ 2147483647 w 7"/>
                    <a:gd name="T3" fmla="*/ 2147483647 h 8"/>
                    <a:gd name="T4" fmla="*/ 2147483647 w 7"/>
                    <a:gd name="T5" fmla="*/ 0 h 8"/>
                    <a:gd name="T6" fmla="*/ 2147483647 w 7"/>
                    <a:gd name="T7" fmla="*/ 0 h 8"/>
                    <a:gd name="T8" fmla="*/ 2147483647 w 7"/>
                    <a:gd name="T9" fmla="*/ 2147483647 h 8"/>
                    <a:gd name="T10" fmla="*/ 2147483647 w 7"/>
                    <a:gd name="T11" fmla="*/ 2147483647 h 8"/>
                    <a:gd name="T12" fmla="*/ 2147483647 w 7"/>
                    <a:gd name="T13" fmla="*/ 2147483647 h 8"/>
                    <a:gd name="T14" fmla="*/ 0 w 7"/>
                    <a:gd name="T15" fmla="*/ 2147483647 h 8"/>
                    <a:gd name="T16" fmla="*/ 0 w 7"/>
                    <a:gd name="T17" fmla="*/ 2147483647 h 8"/>
                    <a:gd name="T18" fmla="*/ 2147483647 w 7"/>
                    <a:gd name="T19" fmla="*/ 2147483647 h 8"/>
                    <a:gd name="T20" fmla="*/ 2147483647 w 7"/>
                    <a:gd name="T21" fmla="*/ 2147483647 h 8"/>
                    <a:gd name="T22" fmla="*/ 2147483647 w 7"/>
                    <a:gd name="T23" fmla="*/ 2147483647 h 8"/>
                    <a:gd name="T24" fmla="*/ 2147483647 w 7"/>
                    <a:gd name="T25" fmla="*/ 2147483647 h 8"/>
                    <a:gd name="T26" fmla="*/ 2147483647 w 7"/>
                    <a:gd name="T27" fmla="*/ 2147483647 h 8"/>
                    <a:gd name="T28" fmla="*/ 2147483647 w 7"/>
                    <a:gd name="T29" fmla="*/ 2147483647 h 8"/>
                    <a:gd name="T30" fmla="*/ 2147483647 w 7"/>
                    <a:gd name="T31" fmla="*/ 2147483647 h 8"/>
                    <a:gd name="T32" fmla="*/ 2147483647 w 7"/>
                    <a:gd name="T33" fmla="*/ 2147483647 h 8"/>
                    <a:gd name="T34" fmla="*/ 2147483647 w 7"/>
                    <a:gd name="T35" fmla="*/ 2147483647 h 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"/>
                    <a:gd name="T55" fmla="*/ 0 h 8"/>
                    <a:gd name="T56" fmla="*/ 7 w 7"/>
                    <a:gd name="T57" fmla="*/ 8 h 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" h="8">
                      <a:moveTo>
                        <a:pt x="7" y="1"/>
                      </a:move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4" y="1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3" y="8"/>
                      </a:lnTo>
                      <a:lnTo>
                        <a:pt x="4" y="7"/>
                      </a:lnTo>
                      <a:lnTo>
                        <a:pt x="5" y="5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4" name="Freeform 39">
                  <a:extLst>
                    <a:ext uri="{FF2B5EF4-FFF2-40B4-BE49-F238E27FC236}">
                      <a16:creationId xmlns:a16="http://schemas.microsoft.com/office/drawing/2014/main" id="{7C8342E8-1A47-DE40-9D7B-ACA70F7DBD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3190" y="2987543"/>
                  <a:ext cx="11839" cy="16278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2147483647 h 11"/>
                    <a:gd name="T8" fmla="*/ 2147483647 w 9"/>
                    <a:gd name="T9" fmla="*/ 2147483647 h 11"/>
                    <a:gd name="T10" fmla="*/ 2147483647 w 9"/>
                    <a:gd name="T11" fmla="*/ 2147483647 h 11"/>
                    <a:gd name="T12" fmla="*/ 2147483647 w 9"/>
                    <a:gd name="T13" fmla="*/ 0 h 11"/>
                    <a:gd name="T14" fmla="*/ 2147483647 w 9"/>
                    <a:gd name="T15" fmla="*/ 0 h 11"/>
                    <a:gd name="T16" fmla="*/ 2147483647 w 9"/>
                    <a:gd name="T17" fmla="*/ 0 h 11"/>
                    <a:gd name="T18" fmla="*/ 2147483647 w 9"/>
                    <a:gd name="T19" fmla="*/ 2147483647 h 11"/>
                    <a:gd name="T20" fmla="*/ 0 w 9"/>
                    <a:gd name="T21" fmla="*/ 2147483647 h 11"/>
                    <a:gd name="T22" fmla="*/ 0 w 9"/>
                    <a:gd name="T23" fmla="*/ 2147483647 h 11"/>
                    <a:gd name="T24" fmla="*/ 0 w 9"/>
                    <a:gd name="T25" fmla="*/ 2147483647 h 11"/>
                    <a:gd name="T26" fmla="*/ 2147483647 w 9"/>
                    <a:gd name="T27" fmla="*/ 2147483647 h 11"/>
                    <a:gd name="T28" fmla="*/ 2147483647 w 9"/>
                    <a:gd name="T29" fmla="*/ 2147483647 h 11"/>
                    <a:gd name="T30" fmla="*/ 2147483647 w 9"/>
                    <a:gd name="T31" fmla="*/ 2147483647 h 11"/>
                    <a:gd name="T32" fmla="*/ 2147483647 w 9"/>
                    <a:gd name="T33" fmla="*/ 2147483647 h 11"/>
                    <a:gd name="T34" fmla="*/ 2147483647 w 9"/>
                    <a:gd name="T35" fmla="*/ 2147483647 h 11"/>
                    <a:gd name="T36" fmla="*/ 2147483647 w 9"/>
                    <a:gd name="T37" fmla="*/ 2147483647 h 11"/>
                    <a:gd name="T38" fmla="*/ 2147483647 w 9"/>
                    <a:gd name="T39" fmla="*/ 2147483647 h 1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"/>
                    <a:gd name="T61" fmla="*/ 0 h 11"/>
                    <a:gd name="T62" fmla="*/ 9 w 9"/>
                    <a:gd name="T63" fmla="*/ 11 h 1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" h="11">
                      <a:moveTo>
                        <a:pt x="7" y="10"/>
                      </a:moveTo>
                      <a:lnTo>
                        <a:pt x="7" y="10"/>
                      </a:lnTo>
                      <a:lnTo>
                        <a:pt x="9" y="7"/>
                      </a:lnTo>
                      <a:lnTo>
                        <a:pt x="7" y="6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3" y="11"/>
                      </a:lnTo>
                      <a:lnTo>
                        <a:pt x="5" y="11"/>
                      </a:lnTo>
                      <a:lnTo>
                        <a:pt x="6" y="11"/>
                      </a:lnTo>
                      <a:lnTo>
                        <a:pt x="7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5" name="Freeform 40">
                  <a:extLst>
                    <a:ext uri="{FF2B5EF4-FFF2-40B4-BE49-F238E27FC236}">
                      <a16:creationId xmlns:a16="http://schemas.microsoft.com/office/drawing/2014/main" id="{35FAC2E6-05CA-004F-B590-2D6D76A82A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3909" y="2986066"/>
                  <a:ext cx="17758" cy="8879"/>
                </a:xfrm>
                <a:custGeom>
                  <a:avLst/>
                  <a:gdLst>
                    <a:gd name="T0" fmla="*/ 2147483647 w 13"/>
                    <a:gd name="T1" fmla="*/ 2147483647 h 6"/>
                    <a:gd name="T2" fmla="*/ 2147483647 w 13"/>
                    <a:gd name="T3" fmla="*/ 0 h 6"/>
                    <a:gd name="T4" fmla="*/ 2147483647 w 13"/>
                    <a:gd name="T5" fmla="*/ 0 h 6"/>
                    <a:gd name="T6" fmla="*/ 2147483647 w 13"/>
                    <a:gd name="T7" fmla="*/ 0 h 6"/>
                    <a:gd name="T8" fmla="*/ 2147483647 w 13"/>
                    <a:gd name="T9" fmla="*/ 0 h 6"/>
                    <a:gd name="T10" fmla="*/ 0 w 13"/>
                    <a:gd name="T11" fmla="*/ 2147483647 h 6"/>
                    <a:gd name="T12" fmla="*/ 0 w 13"/>
                    <a:gd name="T13" fmla="*/ 2147483647 h 6"/>
                    <a:gd name="T14" fmla="*/ 2147483647 w 13"/>
                    <a:gd name="T15" fmla="*/ 2147483647 h 6"/>
                    <a:gd name="T16" fmla="*/ 2147483647 w 13"/>
                    <a:gd name="T17" fmla="*/ 2147483647 h 6"/>
                    <a:gd name="T18" fmla="*/ 2147483647 w 13"/>
                    <a:gd name="T19" fmla="*/ 2147483647 h 6"/>
                    <a:gd name="T20" fmla="*/ 2147483647 w 13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"/>
                    <a:gd name="T34" fmla="*/ 0 h 6"/>
                    <a:gd name="T35" fmla="*/ 13 w 13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" h="6">
                      <a:moveTo>
                        <a:pt x="13" y="1"/>
                      </a:move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8" y="5"/>
                      </a:lnTo>
                      <a:lnTo>
                        <a:pt x="10" y="4"/>
                      </a:lnTo>
                      <a:lnTo>
                        <a:pt x="1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6" name="Freeform 41">
                  <a:extLst>
                    <a:ext uri="{FF2B5EF4-FFF2-40B4-BE49-F238E27FC236}">
                      <a16:creationId xmlns:a16="http://schemas.microsoft.com/office/drawing/2014/main" id="{6FB77BAD-8721-7E47-AF57-123C44DF36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51265" y="2960905"/>
                  <a:ext cx="31078" cy="28117"/>
                </a:xfrm>
                <a:custGeom>
                  <a:avLst/>
                  <a:gdLst>
                    <a:gd name="T0" fmla="*/ 2147483647 w 23"/>
                    <a:gd name="T1" fmla="*/ 2147483647 h 19"/>
                    <a:gd name="T2" fmla="*/ 2147483647 w 23"/>
                    <a:gd name="T3" fmla="*/ 2147483647 h 19"/>
                    <a:gd name="T4" fmla="*/ 2147483647 w 23"/>
                    <a:gd name="T5" fmla="*/ 2147483647 h 19"/>
                    <a:gd name="T6" fmla="*/ 2147483647 w 23"/>
                    <a:gd name="T7" fmla="*/ 0 h 19"/>
                    <a:gd name="T8" fmla="*/ 2147483647 w 23"/>
                    <a:gd name="T9" fmla="*/ 0 h 19"/>
                    <a:gd name="T10" fmla="*/ 2147483647 w 23"/>
                    <a:gd name="T11" fmla="*/ 0 h 19"/>
                    <a:gd name="T12" fmla="*/ 2147483647 w 23"/>
                    <a:gd name="T13" fmla="*/ 2147483647 h 19"/>
                    <a:gd name="T14" fmla="*/ 2147483647 w 23"/>
                    <a:gd name="T15" fmla="*/ 2147483647 h 19"/>
                    <a:gd name="T16" fmla="*/ 2147483647 w 23"/>
                    <a:gd name="T17" fmla="*/ 2147483647 h 19"/>
                    <a:gd name="T18" fmla="*/ 2147483647 w 23"/>
                    <a:gd name="T19" fmla="*/ 2147483647 h 19"/>
                    <a:gd name="T20" fmla="*/ 2147483647 w 23"/>
                    <a:gd name="T21" fmla="*/ 2147483647 h 19"/>
                    <a:gd name="T22" fmla="*/ 2147483647 w 23"/>
                    <a:gd name="T23" fmla="*/ 2147483647 h 19"/>
                    <a:gd name="T24" fmla="*/ 0 w 23"/>
                    <a:gd name="T25" fmla="*/ 2147483647 h 19"/>
                    <a:gd name="T26" fmla="*/ 0 w 23"/>
                    <a:gd name="T27" fmla="*/ 2147483647 h 19"/>
                    <a:gd name="T28" fmla="*/ 2147483647 w 23"/>
                    <a:gd name="T29" fmla="*/ 2147483647 h 19"/>
                    <a:gd name="T30" fmla="*/ 2147483647 w 23"/>
                    <a:gd name="T31" fmla="*/ 2147483647 h 19"/>
                    <a:gd name="T32" fmla="*/ 2147483647 w 23"/>
                    <a:gd name="T33" fmla="*/ 2147483647 h 19"/>
                    <a:gd name="T34" fmla="*/ 2147483647 w 23"/>
                    <a:gd name="T35" fmla="*/ 2147483647 h 1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3"/>
                    <a:gd name="T55" fmla="*/ 0 h 19"/>
                    <a:gd name="T56" fmla="*/ 23 w 23"/>
                    <a:gd name="T57" fmla="*/ 19 h 1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3" h="19">
                      <a:moveTo>
                        <a:pt x="23" y="5"/>
                      </a:moveTo>
                      <a:lnTo>
                        <a:pt x="23" y="3"/>
                      </a:lnTo>
                      <a:lnTo>
                        <a:pt x="23" y="2"/>
                      </a:lnTo>
                      <a:lnTo>
                        <a:pt x="22" y="0"/>
                      </a:lnTo>
                      <a:lnTo>
                        <a:pt x="21" y="0"/>
                      </a:lnTo>
                      <a:lnTo>
                        <a:pt x="19" y="0"/>
                      </a:lnTo>
                      <a:lnTo>
                        <a:pt x="17" y="3"/>
                      </a:lnTo>
                      <a:lnTo>
                        <a:pt x="16" y="6"/>
                      </a:lnTo>
                      <a:lnTo>
                        <a:pt x="14" y="9"/>
                      </a:lnTo>
                      <a:lnTo>
                        <a:pt x="11" y="11"/>
                      </a:lnTo>
                      <a:lnTo>
                        <a:pt x="5" y="13"/>
                      </a:lnTo>
                      <a:lnTo>
                        <a:pt x="2" y="16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7" y="18"/>
                      </a:lnTo>
                      <a:lnTo>
                        <a:pt x="13" y="15"/>
                      </a:lnTo>
                      <a:lnTo>
                        <a:pt x="19" y="11"/>
                      </a:lnTo>
                      <a:lnTo>
                        <a:pt x="2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7" name="Freeform 42">
                  <a:extLst>
                    <a:ext uri="{FF2B5EF4-FFF2-40B4-BE49-F238E27FC236}">
                      <a16:creationId xmlns:a16="http://schemas.microsoft.com/office/drawing/2014/main" id="{42A7EFFC-C885-F14C-96EB-14262976E3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3909" y="2984587"/>
                  <a:ext cx="17758" cy="8879"/>
                </a:xfrm>
                <a:custGeom>
                  <a:avLst/>
                  <a:gdLst>
                    <a:gd name="T0" fmla="*/ 2147483647 w 13"/>
                    <a:gd name="T1" fmla="*/ 2147483647 h 6"/>
                    <a:gd name="T2" fmla="*/ 2147483647 w 13"/>
                    <a:gd name="T3" fmla="*/ 2147483647 h 6"/>
                    <a:gd name="T4" fmla="*/ 2147483647 w 13"/>
                    <a:gd name="T5" fmla="*/ 0 h 6"/>
                    <a:gd name="T6" fmla="*/ 2147483647 w 13"/>
                    <a:gd name="T7" fmla="*/ 0 h 6"/>
                    <a:gd name="T8" fmla="*/ 2147483647 w 13"/>
                    <a:gd name="T9" fmla="*/ 0 h 6"/>
                    <a:gd name="T10" fmla="*/ 2147483647 w 13"/>
                    <a:gd name="T11" fmla="*/ 0 h 6"/>
                    <a:gd name="T12" fmla="*/ 2147483647 w 13"/>
                    <a:gd name="T13" fmla="*/ 0 h 6"/>
                    <a:gd name="T14" fmla="*/ 0 w 13"/>
                    <a:gd name="T15" fmla="*/ 2147483647 h 6"/>
                    <a:gd name="T16" fmla="*/ 0 w 13"/>
                    <a:gd name="T17" fmla="*/ 2147483647 h 6"/>
                    <a:gd name="T18" fmla="*/ 0 w 13"/>
                    <a:gd name="T19" fmla="*/ 2147483647 h 6"/>
                    <a:gd name="T20" fmla="*/ 2147483647 w 13"/>
                    <a:gd name="T21" fmla="*/ 2147483647 h 6"/>
                    <a:gd name="T22" fmla="*/ 2147483647 w 13"/>
                    <a:gd name="T23" fmla="*/ 2147483647 h 6"/>
                    <a:gd name="T24" fmla="*/ 2147483647 w 13"/>
                    <a:gd name="T25" fmla="*/ 2147483647 h 6"/>
                    <a:gd name="T26" fmla="*/ 2147483647 w 13"/>
                    <a:gd name="T27" fmla="*/ 2147483647 h 6"/>
                    <a:gd name="T28" fmla="*/ 2147483647 w 13"/>
                    <a:gd name="T29" fmla="*/ 2147483647 h 6"/>
                    <a:gd name="T30" fmla="*/ 2147483647 w 13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"/>
                    <a:gd name="T49" fmla="*/ 0 h 6"/>
                    <a:gd name="T50" fmla="*/ 13 w 13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" h="6">
                      <a:moveTo>
                        <a:pt x="13" y="1"/>
                      </a:move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7" y="5"/>
                      </a:lnTo>
                      <a:lnTo>
                        <a:pt x="10" y="3"/>
                      </a:lnTo>
                      <a:lnTo>
                        <a:pt x="13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8" name="Freeform 43">
                  <a:extLst>
                    <a:ext uri="{FF2B5EF4-FFF2-40B4-BE49-F238E27FC236}">
                      <a16:creationId xmlns:a16="http://schemas.microsoft.com/office/drawing/2014/main" id="{F1791AC4-66BA-5A4E-A4EA-F734F5D7EB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49790" y="2959428"/>
                  <a:ext cx="31077" cy="28118"/>
                </a:xfrm>
                <a:custGeom>
                  <a:avLst/>
                  <a:gdLst>
                    <a:gd name="T0" fmla="*/ 2147483647 w 23"/>
                    <a:gd name="T1" fmla="*/ 2147483647 h 19"/>
                    <a:gd name="T2" fmla="*/ 2147483647 w 23"/>
                    <a:gd name="T3" fmla="*/ 2147483647 h 19"/>
                    <a:gd name="T4" fmla="*/ 2147483647 w 23"/>
                    <a:gd name="T5" fmla="*/ 2147483647 h 19"/>
                    <a:gd name="T6" fmla="*/ 2147483647 w 23"/>
                    <a:gd name="T7" fmla="*/ 2147483647 h 19"/>
                    <a:gd name="T8" fmla="*/ 2147483647 w 23"/>
                    <a:gd name="T9" fmla="*/ 0 h 19"/>
                    <a:gd name="T10" fmla="*/ 2147483647 w 23"/>
                    <a:gd name="T11" fmla="*/ 0 h 19"/>
                    <a:gd name="T12" fmla="*/ 2147483647 w 23"/>
                    <a:gd name="T13" fmla="*/ 0 h 19"/>
                    <a:gd name="T14" fmla="*/ 2147483647 w 23"/>
                    <a:gd name="T15" fmla="*/ 0 h 19"/>
                    <a:gd name="T16" fmla="*/ 2147483647 w 23"/>
                    <a:gd name="T17" fmla="*/ 2147483647 h 19"/>
                    <a:gd name="T18" fmla="*/ 2147483647 w 23"/>
                    <a:gd name="T19" fmla="*/ 2147483647 h 19"/>
                    <a:gd name="T20" fmla="*/ 2147483647 w 23"/>
                    <a:gd name="T21" fmla="*/ 2147483647 h 19"/>
                    <a:gd name="T22" fmla="*/ 2147483647 w 23"/>
                    <a:gd name="T23" fmla="*/ 2147483647 h 19"/>
                    <a:gd name="T24" fmla="*/ 2147483647 w 23"/>
                    <a:gd name="T25" fmla="*/ 2147483647 h 19"/>
                    <a:gd name="T26" fmla="*/ 2147483647 w 23"/>
                    <a:gd name="T27" fmla="*/ 2147483647 h 19"/>
                    <a:gd name="T28" fmla="*/ 2147483647 w 23"/>
                    <a:gd name="T29" fmla="*/ 2147483647 h 19"/>
                    <a:gd name="T30" fmla="*/ 0 w 23"/>
                    <a:gd name="T31" fmla="*/ 2147483647 h 19"/>
                    <a:gd name="T32" fmla="*/ 0 w 23"/>
                    <a:gd name="T33" fmla="*/ 2147483647 h 19"/>
                    <a:gd name="T34" fmla="*/ 0 w 23"/>
                    <a:gd name="T35" fmla="*/ 2147483647 h 19"/>
                    <a:gd name="T36" fmla="*/ 2147483647 w 23"/>
                    <a:gd name="T37" fmla="*/ 2147483647 h 19"/>
                    <a:gd name="T38" fmla="*/ 2147483647 w 23"/>
                    <a:gd name="T39" fmla="*/ 2147483647 h 19"/>
                    <a:gd name="T40" fmla="*/ 2147483647 w 23"/>
                    <a:gd name="T41" fmla="*/ 2147483647 h 19"/>
                    <a:gd name="T42" fmla="*/ 2147483647 w 23"/>
                    <a:gd name="T43" fmla="*/ 2147483647 h 19"/>
                    <a:gd name="T44" fmla="*/ 2147483647 w 23"/>
                    <a:gd name="T45" fmla="*/ 2147483647 h 19"/>
                    <a:gd name="T46" fmla="*/ 2147483647 w 23"/>
                    <a:gd name="T47" fmla="*/ 2147483647 h 19"/>
                    <a:gd name="T48" fmla="*/ 2147483647 w 23"/>
                    <a:gd name="T49" fmla="*/ 2147483647 h 19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3"/>
                    <a:gd name="T76" fmla="*/ 0 h 19"/>
                    <a:gd name="T77" fmla="*/ 23 w 23"/>
                    <a:gd name="T78" fmla="*/ 19 h 19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3" h="19">
                      <a:moveTo>
                        <a:pt x="23" y="5"/>
                      </a:moveTo>
                      <a:lnTo>
                        <a:pt x="23" y="5"/>
                      </a:lnTo>
                      <a:lnTo>
                        <a:pt x="23" y="3"/>
                      </a:lnTo>
                      <a:lnTo>
                        <a:pt x="23" y="1"/>
                      </a:ln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19" y="0"/>
                      </a:lnTo>
                      <a:lnTo>
                        <a:pt x="17" y="3"/>
                      </a:lnTo>
                      <a:lnTo>
                        <a:pt x="15" y="6"/>
                      </a:lnTo>
                      <a:lnTo>
                        <a:pt x="14" y="9"/>
                      </a:lnTo>
                      <a:lnTo>
                        <a:pt x="10" y="11"/>
                      </a:lnTo>
                      <a:lnTo>
                        <a:pt x="5" y="13"/>
                      </a:lnTo>
                      <a:lnTo>
                        <a:pt x="1" y="16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6" y="18"/>
                      </a:lnTo>
                      <a:lnTo>
                        <a:pt x="13" y="14"/>
                      </a:lnTo>
                      <a:lnTo>
                        <a:pt x="19" y="11"/>
                      </a:lnTo>
                      <a:lnTo>
                        <a:pt x="2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9" name="Freeform 44">
                  <a:extLst>
                    <a:ext uri="{FF2B5EF4-FFF2-40B4-BE49-F238E27FC236}">
                      <a16:creationId xmlns:a16="http://schemas.microsoft.com/office/drawing/2014/main" id="{1B211909-772D-2243-B26C-45AA6A76B1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92704" y="2975707"/>
                  <a:ext cx="14799" cy="7399"/>
                </a:xfrm>
                <a:custGeom>
                  <a:avLst/>
                  <a:gdLst>
                    <a:gd name="T0" fmla="*/ 2147483647 w 10"/>
                    <a:gd name="T1" fmla="*/ 2147483647 h 5"/>
                    <a:gd name="T2" fmla="*/ 2147483647 w 10"/>
                    <a:gd name="T3" fmla="*/ 0 h 5"/>
                    <a:gd name="T4" fmla="*/ 2147483647 w 10"/>
                    <a:gd name="T5" fmla="*/ 0 h 5"/>
                    <a:gd name="T6" fmla="*/ 2147483647 w 10"/>
                    <a:gd name="T7" fmla="*/ 2147483647 h 5"/>
                    <a:gd name="T8" fmla="*/ 0 w 10"/>
                    <a:gd name="T9" fmla="*/ 2147483647 h 5"/>
                    <a:gd name="T10" fmla="*/ 2147483647 w 10"/>
                    <a:gd name="T11" fmla="*/ 2147483647 h 5"/>
                    <a:gd name="T12" fmla="*/ 2147483647 w 10"/>
                    <a:gd name="T13" fmla="*/ 2147483647 h 5"/>
                    <a:gd name="T14" fmla="*/ 2147483647 w 10"/>
                    <a:gd name="T15" fmla="*/ 2147483647 h 5"/>
                    <a:gd name="T16" fmla="*/ 2147483647 w 10"/>
                    <a:gd name="T17" fmla="*/ 2147483647 h 5"/>
                    <a:gd name="T18" fmla="*/ 2147483647 w 10"/>
                    <a:gd name="T19" fmla="*/ 2147483647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"/>
                    <a:gd name="T31" fmla="*/ 0 h 5"/>
                    <a:gd name="T32" fmla="*/ 10 w 10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" h="5">
                      <a:moveTo>
                        <a:pt x="10" y="2"/>
                      </a:move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9" y="3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0" name="Freeform 45">
                  <a:extLst>
                    <a:ext uri="{FF2B5EF4-FFF2-40B4-BE49-F238E27FC236}">
                      <a16:creationId xmlns:a16="http://schemas.microsoft.com/office/drawing/2014/main" id="{40D2A05E-D7EB-9244-9A71-0E5F76BEBE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20824" y="2969788"/>
                  <a:ext cx="7399" cy="7399"/>
                </a:xfrm>
                <a:custGeom>
                  <a:avLst/>
                  <a:gdLst>
                    <a:gd name="T0" fmla="*/ 2147483647 w 5"/>
                    <a:gd name="T1" fmla="*/ 0 h 5"/>
                    <a:gd name="T2" fmla="*/ 2147483647 w 5"/>
                    <a:gd name="T3" fmla="*/ 0 h 5"/>
                    <a:gd name="T4" fmla="*/ 2147483647 w 5"/>
                    <a:gd name="T5" fmla="*/ 2147483647 h 5"/>
                    <a:gd name="T6" fmla="*/ 0 w 5"/>
                    <a:gd name="T7" fmla="*/ 2147483647 h 5"/>
                    <a:gd name="T8" fmla="*/ 2147483647 w 5"/>
                    <a:gd name="T9" fmla="*/ 2147483647 h 5"/>
                    <a:gd name="T10" fmla="*/ 2147483647 w 5"/>
                    <a:gd name="T11" fmla="*/ 2147483647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2147483647 w 5"/>
                    <a:gd name="T17" fmla="*/ 0 h 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5"/>
                    <a:gd name="T29" fmla="*/ 5 w 5"/>
                    <a:gd name="T30" fmla="*/ 5 h 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5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3" y="5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1" name="Freeform 46">
                  <a:extLst>
                    <a:ext uri="{FF2B5EF4-FFF2-40B4-BE49-F238E27FC236}">
                      <a16:creationId xmlns:a16="http://schemas.microsoft.com/office/drawing/2014/main" id="{C8597EDD-701F-4745-88AD-9C169EB96A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92703" y="2974226"/>
                  <a:ext cx="13319" cy="5919"/>
                </a:xfrm>
                <a:custGeom>
                  <a:avLst/>
                  <a:gdLst>
                    <a:gd name="T0" fmla="*/ 2147483647 w 10"/>
                    <a:gd name="T1" fmla="*/ 2147483647 h 4"/>
                    <a:gd name="T2" fmla="*/ 2147483647 w 10"/>
                    <a:gd name="T3" fmla="*/ 2147483647 h 4"/>
                    <a:gd name="T4" fmla="*/ 2147483647 w 10"/>
                    <a:gd name="T5" fmla="*/ 0 h 4"/>
                    <a:gd name="T6" fmla="*/ 2147483647 w 10"/>
                    <a:gd name="T7" fmla="*/ 0 h 4"/>
                    <a:gd name="T8" fmla="*/ 2147483647 w 10"/>
                    <a:gd name="T9" fmla="*/ 2147483647 h 4"/>
                    <a:gd name="T10" fmla="*/ 2147483647 w 10"/>
                    <a:gd name="T11" fmla="*/ 2147483647 h 4"/>
                    <a:gd name="T12" fmla="*/ 0 w 10"/>
                    <a:gd name="T13" fmla="*/ 2147483647 h 4"/>
                    <a:gd name="T14" fmla="*/ 2147483647 w 10"/>
                    <a:gd name="T15" fmla="*/ 2147483647 h 4"/>
                    <a:gd name="T16" fmla="*/ 2147483647 w 10"/>
                    <a:gd name="T17" fmla="*/ 2147483647 h 4"/>
                    <a:gd name="T18" fmla="*/ 2147483647 w 10"/>
                    <a:gd name="T19" fmla="*/ 2147483647 h 4"/>
                    <a:gd name="T20" fmla="*/ 2147483647 w 10"/>
                    <a:gd name="T21" fmla="*/ 2147483647 h 4"/>
                    <a:gd name="T22" fmla="*/ 2147483647 w 10"/>
                    <a:gd name="T23" fmla="*/ 2147483647 h 4"/>
                    <a:gd name="T24" fmla="*/ 2147483647 w 10"/>
                    <a:gd name="T25" fmla="*/ 2147483647 h 4"/>
                    <a:gd name="T26" fmla="*/ 2147483647 w 10"/>
                    <a:gd name="T27" fmla="*/ 2147483647 h 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"/>
                    <a:gd name="T43" fmla="*/ 0 h 4"/>
                    <a:gd name="T44" fmla="*/ 10 w 10"/>
                    <a:gd name="T45" fmla="*/ 4 h 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" h="4">
                      <a:moveTo>
                        <a:pt x="10" y="2"/>
                      </a:moveTo>
                      <a:lnTo>
                        <a:pt x="10" y="2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6" y="4"/>
                      </a:lnTo>
                      <a:lnTo>
                        <a:pt x="9" y="3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2" name="Freeform 47">
                  <a:extLst>
                    <a:ext uri="{FF2B5EF4-FFF2-40B4-BE49-F238E27FC236}">
                      <a16:creationId xmlns:a16="http://schemas.microsoft.com/office/drawing/2014/main" id="{5D94A877-45FE-8A44-BC13-1CE7138C13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9339" y="2968304"/>
                  <a:ext cx="7400" cy="7400"/>
                </a:xfrm>
                <a:custGeom>
                  <a:avLst/>
                  <a:gdLst>
                    <a:gd name="T0" fmla="*/ 2147483647 w 5"/>
                    <a:gd name="T1" fmla="*/ 0 h 5"/>
                    <a:gd name="T2" fmla="*/ 2147483647 w 5"/>
                    <a:gd name="T3" fmla="*/ 0 h 5"/>
                    <a:gd name="T4" fmla="*/ 2147483647 w 5"/>
                    <a:gd name="T5" fmla="*/ 0 h 5"/>
                    <a:gd name="T6" fmla="*/ 2147483647 w 5"/>
                    <a:gd name="T7" fmla="*/ 2147483647 h 5"/>
                    <a:gd name="T8" fmla="*/ 2147483647 w 5"/>
                    <a:gd name="T9" fmla="*/ 2147483647 h 5"/>
                    <a:gd name="T10" fmla="*/ 0 w 5"/>
                    <a:gd name="T11" fmla="*/ 2147483647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2147483647 w 5"/>
                    <a:gd name="T17" fmla="*/ 2147483647 h 5"/>
                    <a:gd name="T18" fmla="*/ 2147483647 w 5"/>
                    <a:gd name="T19" fmla="*/ 2147483647 h 5"/>
                    <a:gd name="T20" fmla="*/ 2147483647 w 5"/>
                    <a:gd name="T21" fmla="*/ 2147483647 h 5"/>
                    <a:gd name="T22" fmla="*/ 2147483647 w 5"/>
                    <a:gd name="T23" fmla="*/ 0 h 5"/>
                    <a:gd name="T24" fmla="*/ 2147483647 w 5"/>
                    <a:gd name="T25" fmla="*/ 0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"/>
                    <a:gd name="T40" fmla="*/ 0 h 5"/>
                    <a:gd name="T41" fmla="*/ 5 w 5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" h="5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2" y="5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3" name="Freeform 48">
                  <a:extLst>
                    <a:ext uri="{FF2B5EF4-FFF2-40B4-BE49-F238E27FC236}">
                      <a16:creationId xmlns:a16="http://schemas.microsoft.com/office/drawing/2014/main" id="{56508E66-9A00-8C4B-BB17-9214A633D0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5977" y="2960909"/>
                  <a:ext cx="7400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0 h 5"/>
                    <a:gd name="T4" fmla="*/ 2147483647 w 6"/>
                    <a:gd name="T5" fmla="*/ 2147483647 h 5"/>
                    <a:gd name="T6" fmla="*/ 0 w 6"/>
                    <a:gd name="T7" fmla="*/ 2147483647 h 5"/>
                    <a:gd name="T8" fmla="*/ 0 w 6"/>
                    <a:gd name="T9" fmla="*/ 2147483647 h 5"/>
                    <a:gd name="T10" fmla="*/ 2147483647 w 6"/>
                    <a:gd name="T11" fmla="*/ 2147483647 h 5"/>
                    <a:gd name="T12" fmla="*/ 2147483647 w 6"/>
                    <a:gd name="T13" fmla="*/ 2147483647 h 5"/>
                    <a:gd name="T14" fmla="*/ 2147483647 w 6"/>
                    <a:gd name="T15" fmla="*/ 2147483647 h 5"/>
                    <a:gd name="T16" fmla="*/ 2147483647 w 6"/>
                    <a:gd name="T17" fmla="*/ 2147483647 h 5"/>
                    <a:gd name="T18" fmla="*/ 2147483647 w 6"/>
                    <a:gd name="T19" fmla="*/ 2147483647 h 5"/>
                    <a:gd name="T20" fmla="*/ 2147483647 w 6"/>
                    <a:gd name="T21" fmla="*/ 2147483647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5"/>
                    <a:gd name="T35" fmla="*/ 6 w 6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5">
                      <a:moveTo>
                        <a:pt x="5" y="2"/>
                      </a:move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5" y="3"/>
                      </a:lnTo>
                      <a:lnTo>
                        <a:pt x="6" y="2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4" name="Freeform 49">
                  <a:extLst>
                    <a:ext uri="{FF2B5EF4-FFF2-40B4-BE49-F238E27FC236}">
                      <a16:creationId xmlns:a16="http://schemas.microsoft.com/office/drawing/2014/main" id="{9197274B-A983-B54A-8FCA-33F6A38A71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80018" y="2949070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0 h 6"/>
                    <a:gd name="T4" fmla="*/ 2147483647 w 5"/>
                    <a:gd name="T5" fmla="*/ 2147483647 h 6"/>
                    <a:gd name="T6" fmla="*/ 0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1"/>
                      </a:move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5" name="Freeform 50">
                  <a:extLst>
                    <a:ext uri="{FF2B5EF4-FFF2-40B4-BE49-F238E27FC236}">
                      <a16:creationId xmlns:a16="http://schemas.microsoft.com/office/drawing/2014/main" id="{08210B42-8DD8-5A4C-91A9-CB62A9119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4502" y="2959425"/>
                  <a:ext cx="739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0 h 5"/>
                    <a:gd name="T6" fmla="*/ 2147483647 w 6"/>
                    <a:gd name="T7" fmla="*/ 2147483647 h 5"/>
                    <a:gd name="T8" fmla="*/ 0 w 6"/>
                    <a:gd name="T9" fmla="*/ 2147483647 h 5"/>
                    <a:gd name="T10" fmla="*/ 0 w 6"/>
                    <a:gd name="T11" fmla="*/ 2147483647 h 5"/>
                    <a:gd name="T12" fmla="*/ 0 w 6"/>
                    <a:gd name="T13" fmla="*/ 2147483647 h 5"/>
                    <a:gd name="T14" fmla="*/ 2147483647 w 6"/>
                    <a:gd name="T15" fmla="*/ 2147483647 h 5"/>
                    <a:gd name="T16" fmla="*/ 2147483647 w 6"/>
                    <a:gd name="T17" fmla="*/ 2147483647 h 5"/>
                    <a:gd name="T18" fmla="*/ 2147483647 w 6"/>
                    <a:gd name="T19" fmla="*/ 2147483647 h 5"/>
                    <a:gd name="T20" fmla="*/ 2147483647 w 6"/>
                    <a:gd name="T21" fmla="*/ 2147483647 h 5"/>
                    <a:gd name="T22" fmla="*/ 2147483647 w 6"/>
                    <a:gd name="T23" fmla="*/ 2147483647 h 5"/>
                    <a:gd name="T24" fmla="*/ 2147483647 w 6"/>
                    <a:gd name="T25" fmla="*/ 2147483647 h 5"/>
                    <a:gd name="T26" fmla="*/ 2147483647 w 6"/>
                    <a:gd name="T27" fmla="*/ 2147483647 h 5"/>
                    <a:gd name="T28" fmla="*/ 2147483647 w 6"/>
                    <a:gd name="T29" fmla="*/ 2147483647 h 5"/>
                    <a:gd name="T30" fmla="*/ 2147483647 w 6"/>
                    <a:gd name="T31" fmla="*/ 2147483647 h 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5"/>
                    <a:gd name="T50" fmla="*/ 6 w 6"/>
                    <a:gd name="T51" fmla="*/ 5 h 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5">
                      <a:moveTo>
                        <a:pt x="5" y="1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5" y="3"/>
                      </a:lnTo>
                      <a:lnTo>
                        <a:pt x="6" y="1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6" name="Freeform 51">
                  <a:extLst>
                    <a:ext uri="{FF2B5EF4-FFF2-40B4-BE49-F238E27FC236}">
                      <a16:creationId xmlns:a16="http://schemas.microsoft.com/office/drawing/2014/main" id="{9DC45833-F5E1-6445-A3F3-A0FA8E8EA9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78537" y="2947589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2147483647 w 5"/>
                    <a:gd name="T7" fmla="*/ 2147483647 h 6"/>
                    <a:gd name="T8" fmla="*/ 0 w 5"/>
                    <a:gd name="T9" fmla="*/ 2147483647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1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7" name="Freeform 52">
                  <a:extLst>
                    <a:ext uri="{FF2B5EF4-FFF2-40B4-BE49-F238E27FC236}">
                      <a16:creationId xmlns:a16="http://schemas.microsoft.com/office/drawing/2014/main" id="{B02DA449-0D38-D94F-AB38-4AD633760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44539" y="3767438"/>
                  <a:ext cx="17758" cy="20718"/>
                </a:xfrm>
                <a:custGeom>
                  <a:avLst/>
                  <a:gdLst>
                    <a:gd name="T0" fmla="*/ 2147483647 w 13"/>
                    <a:gd name="T1" fmla="*/ 2147483647 h 14"/>
                    <a:gd name="T2" fmla="*/ 2147483647 w 13"/>
                    <a:gd name="T3" fmla="*/ 2147483647 h 14"/>
                    <a:gd name="T4" fmla="*/ 2147483647 w 13"/>
                    <a:gd name="T5" fmla="*/ 2147483647 h 14"/>
                    <a:gd name="T6" fmla="*/ 2147483647 w 13"/>
                    <a:gd name="T7" fmla="*/ 0 h 14"/>
                    <a:gd name="T8" fmla="*/ 2147483647 w 13"/>
                    <a:gd name="T9" fmla="*/ 2147483647 h 14"/>
                    <a:gd name="T10" fmla="*/ 2147483647 w 13"/>
                    <a:gd name="T11" fmla="*/ 2147483647 h 14"/>
                    <a:gd name="T12" fmla="*/ 2147483647 w 13"/>
                    <a:gd name="T13" fmla="*/ 2147483647 h 14"/>
                    <a:gd name="T14" fmla="*/ 2147483647 w 13"/>
                    <a:gd name="T15" fmla="*/ 2147483647 h 14"/>
                    <a:gd name="T16" fmla="*/ 0 w 13"/>
                    <a:gd name="T17" fmla="*/ 2147483647 h 14"/>
                    <a:gd name="T18" fmla="*/ 2147483647 w 13"/>
                    <a:gd name="T19" fmla="*/ 2147483647 h 14"/>
                    <a:gd name="T20" fmla="*/ 2147483647 w 13"/>
                    <a:gd name="T21" fmla="*/ 2147483647 h 14"/>
                    <a:gd name="T22" fmla="*/ 2147483647 w 13"/>
                    <a:gd name="T23" fmla="*/ 2147483647 h 14"/>
                    <a:gd name="T24" fmla="*/ 2147483647 w 13"/>
                    <a:gd name="T25" fmla="*/ 2147483647 h 14"/>
                    <a:gd name="T26" fmla="*/ 2147483647 w 13"/>
                    <a:gd name="T27" fmla="*/ 2147483647 h 14"/>
                    <a:gd name="T28" fmla="*/ 2147483647 w 13"/>
                    <a:gd name="T29" fmla="*/ 2147483647 h 1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"/>
                    <a:gd name="T46" fmla="*/ 0 h 14"/>
                    <a:gd name="T47" fmla="*/ 13 w 13"/>
                    <a:gd name="T48" fmla="*/ 14 h 1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" h="14">
                      <a:moveTo>
                        <a:pt x="9" y="7"/>
                      </a:moveTo>
                      <a:lnTo>
                        <a:pt x="13" y="3"/>
                      </a:lnTo>
                      <a:lnTo>
                        <a:pt x="13" y="1"/>
                      </a:ln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4"/>
                      </a:lnTo>
                      <a:lnTo>
                        <a:pt x="0" y="9"/>
                      </a:lnTo>
                      <a:lnTo>
                        <a:pt x="1" y="11"/>
                      </a:lnTo>
                      <a:lnTo>
                        <a:pt x="3" y="14"/>
                      </a:lnTo>
                      <a:lnTo>
                        <a:pt x="4" y="14"/>
                      </a:lnTo>
                      <a:lnTo>
                        <a:pt x="5" y="11"/>
                      </a:lnTo>
                      <a:lnTo>
                        <a:pt x="8" y="9"/>
                      </a:lnTo>
                      <a:lnTo>
                        <a:pt x="9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8" name="Freeform 53">
                  <a:extLst>
                    <a:ext uri="{FF2B5EF4-FFF2-40B4-BE49-F238E27FC236}">
                      <a16:creationId xmlns:a16="http://schemas.microsoft.com/office/drawing/2014/main" id="{A9C65166-2717-3A44-90F7-D6FF8F2139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11985" y="3817754"/>
                  <a:ext cx="25157" cy="20718"/>
                </a:xfrm>
                <a:custGeom>
                  <a:avLst/>
                  <a:gdLst>
                    <a:gd name="T0" fmla="*/ 2147483647 w 18"/>
                    <a:gd name="T1" fmla="*/ 2147483647 h 14"/>
                    <a:gd name="T2" fmla="*/ 2147483647 w 18"/>
                    <a:gd name="T3" fmla="*/ 0 h 14"/>
                    <a:gd name="T4" fmla="*/ 2147483647 w 18"/>
                    <a:gd name="T5" fmla="*/ 0 h 14"/>
                    <a:gd name="T6" fmla="*/ 2147483647 w 18"/>
                    <a:gd name="T7" fmla="*/ 2147483647 h 14"/>
                    <a:gd name="T8" fmla="*/ 2147483647 w 18"/>
                    <a:gd name="T9" fmla="*/ 2147483647 h 14"/>
                    <a:gd name="T10" fmla="*/ 2147483647 w 18"/>
                    <a:gd name="T11" fmla="*/ 2147483647 h 14"/>
                    <a:gd name="T12" fmla="*/ 0 w 18"/>
                    <a:gd name="T13" fmla="*/ 2147483647 h 14"/>
                    <a:gd name="T14" fmla="*/ 2147483647 w 18"/>
                    <a:gd name="T15" fmla="*/ 2147483647 h 14"/>
                    <a:gd name="T16" fmla="*/ 2147483647 w 18"/>
                    <a:gd name="T17" fmla="*/ 2147483647 h 14"/>
                    <a:gd name="T18" fmla="*/ 2147483647 w 18"/>
                    <a:gd name="T19" fmla="*/ 2147483647 h 14"/>
                    <a:gd name="T20" fmla="*/ 2147483647 w 18"/>
                    <a:gd name="T21" fmla="*/ 2147483647 h 14"/>
                    <a:gd name="T22" fmla="*/ 2147483647 w 18"/>
                    <a:gd name="T23" fmla="*/ 2147483647 h 1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8"/>
                    <a:gd name="T37" fmla="*/ 0 h 14"/>
                    <a:gd name="T38" fmla="*/ 18 w 18"/>
                    <a:gd name="T39" fmla="*/ 14 h 1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8" h="14">
                      <a:moveTo>
                        <a:pt x="13" y="7"/>
                      </a:move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5" y="4"/>
                      </a:lnTo>
                      <a:lnTo>
                        <a:pt x="3" y="5"/>
                      </a:lnTo>
                      <a:lnTo>
                        <a:pt x="1" y="7"/>
                      </a:lnTo>
                      <a:lnTo>
                        <a:pt x="0" y="9"/>
                      </a:lnTo>
                      <a:lnTo>
                        <a:pt x="1" y="12"/>
                      </a:lnTo>
                      <a:lnTo>
                        <a:pt x="4" y="14"/>
                      </a:lnTo>
                      <a:lnTo>
                        <a:pt x="6" y="13"/>
                      </a:lnTo>
                      <a:lnTo>
                        <a:pt x="9" y="9"/>
                      </a:lnTo>
                      <a:lnTo>
                        <a:pt x="13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9" name="Freeform 54">
                  <a:extLst>
                    <a:ext uri="{FF2B5EF4-FFF2-40B4-BE49-F238E27FC236}">
                      <a16:creationId xmlns:a16="http://schemas.microsoft.com/office/drawing/2014/main" id="{0DC6DE80-690C-7B45-A25D-ECFEA1C71B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43058" y="3764476"/>
                  <a:ext cx="17758" cy="22199"/>
                </a:xfrm>
                <a:custGeom>
                  <a:avLst/>
                  <a:gdLst>
                    <a:gd name="T0" fmla="*/ 2147483647 w 13"/>
                    <a:gd name="T1" fmla="*/ 2147483647 h 15"/>
                    <a:gd name="T2" fmla="*/ 2147483647 w 13"/>
                    <a:gd name="T3" fmla="*/ 2147483647 h 15"/>
                    <a:gd name="T4" fmla="*/ 2147483647 w 13"/>
                    <a:gd name="T5" fmla="*/ 2147483647 h 15"/>
                    <a:gd name="T6" fmla="*/ 2147483647 w 13"/>
                    <a:gd name="T7" fmla="*/ 2147483647 h 15"/>
                    <a:gd name="T8" fmla="*/ 2147483647 w 13"/>
                    <a:gd name="T9" fmla="*/ 0 h 15"/>
                    <a:gd name="T10" fmla="*/ 2147483647 w 13"/>
                    <a:gd name="T11" fmla="*/ 0 h 15"/>
                    <a:gd name="T12" fmla="*/ 2147483647 w 13"/>
                    <a:gd name="T13" fmla="*/ 2147483647 h 15"/>
                    <a:gd name="T14" fmla="*/ 2147483647 w 13"/>
                    <a:gd name="T15" fmla="*/ 2147483647 h 15"/>
                    <a:gd name="T16" fmla="*/ 2147483647 w 13"/>
                    <a:gd name="T17" fmla="*/ 2147483647 h 15"/>
                    <a:gd name="T18" fmla="*/ 2147483647 w 13"/>
                    <a:gd name="T19" fmla="*/ 2147483647 h 15"/>
                    <a:gd name="T20" fmla="*/ 0 w 13"/>
                    <a:gd name="T21" fmla="*/ 2147483647 h 15"/>
                    <a:gd name="T22" fmla="*/ 2147483647 w 13"/>
                    <a:gd name="T23" fmla="*/ 2147483647 h 15"/>
                    <a:gd name="T24" fmla="*/ 2147483647 w 13"/>
                    <a:gd name="T25" fmla="*/ 2147483647 h 15"/>
                    <a:gd name="T26" fmla="*/ 2147483647 w 13"/>
                    <a:gd name="T27" fmla="*/ 2147483647 h 15"/>
                    <a:gd name="T28" fmla="*/ 2147483647 w 13"/>
                    <a:gd name="T29" fmla="*/ 2147483647 h 15"/>
                    <a:gd name="T30" fmla="*/ 2147483647 w 13"/>
                    <a:gd name="T31" fmla="*/ 2147483647 h 15"/>
                    <a:gd name="T32" fmla="*/ 2147483647 w 13"/>
                    <a:gd name="T33" fmla="*/ 2147483647 h 15"/>
                    <a:gd name="T34" fmla="*/ 2147483647 w 13"/>
                    <a:gd name="T35" fmla="*/ 2147483647 h 15"/>
                    <a:gd name="T36" fmla="*/ 2147483647 w 13"/>
                    <a:gd name="T37" fmla="*/ 2147483647 h 15"/>
                    <a:gd name="T38" fmla="*/ 2147483647 w 13"/>
                    <a:gd name="T39" fmla="*/ 2147483647 h 1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3"/>
                    <a:gd name="T61" fmla="*/ 0 h 15"/>
                    <a:gd name="T62" fmla="*/ 13 w 13"/>
                    <a:gd name="T63" fmla="*/ 15 h 1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3" h="15">
                      <a:moveTo>
                        <a:pt x="9" y="8"/>
                      </a:moveTo>
                      <a:lnTo>
                        <a:pt x="9" y="8"/>
                      </a:lnTo>
                      <a:lnTo>
                        <a:pt x="13" y="4"/>
                      </a:lnTo>
                      <a:lnTo>
                        <a:pt x="13" y="2"/>
                      </a:lnTo>
                      <a:lnTo>
                        <a:pt x="11" y="0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2" y="3"/>
                      </a:lnTo>
                      <a:lnTo>
                        <a:pt x="1" y="5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2" y="15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8" y="10"/>
                      </a:lnTo>
                      <a:lnTo>
                        <a:pt x="9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0" name="Freeform 55">
                  <a:extLst>
                    <a:ext uri="{FF2B5EF4-FFF2-40B4-BE49-F238E27FC236}">
                      <a16:creationId xmlns:a16="http://schemas.microsoft.com/office/drawing/2014/main" id="{00F66F94-7676-9840-9393-A8CA1DD03B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10502" y="3816275"/>
                  <a:ext cx="25158" cy="20718"/>
                </a:xfrm>
                <a:custGeom>
                  <a:avLst/>
                  <a:gdLst>
                    <a:gd name="T0" fmla="*/ 2147483647 w 18"/>
                    <a:gd name="T1" fmla="*/ 2147483647 h 14"/>
                    <a:gd name="T2" fmla="*/ 2147483647 w 18"/>
                    <a:gd name="T3" fmla="*/ 2147483647 h 14"/>
                    <a:gd name="T4" fmla="*/ 2147483647 w 18"/>
                    <a:gd name="T5" fmla="*/ 0 h 14"/>
                    <a:gd name="T6" fmla="*/ 2147483647 w 18"/>
                    <a:gd name="T7" fmla="*/ 0 h 14"/>
                    <a:gd name="T8" fmla="*/ 2147483647 w 18"/>
                    <a:gd name="T9" fmla="*/ 0 h 14"/>
                    <a:gd name="T10" fmla="*/ 2147483647 w 18"/>
                    <a:gd name="T11" fmla="*/ 2147483647 h 14"/>
                    <a:gd name="T12" fmla="*/ 2147483647 w 18"/>
                    <a:gd name="T13" fmla="*/ 2147483647 h 14"/>
                    <a:gd name="T14" fmla="*/ 2147483647 w 18"/>
                    <a:gd name="T15" fmla="*/ 2147483647 h 14"/>
                    <a:gd name="T16" fmla="*/ 0 w 18"/>
                    <a:gd name="T17" fmla="*/ 2147483647 h 14"/>
                    <a:gd name="T18" fmla="*/ 2147483647 w 18"/>
                    <a:gd name="T19" fmla="*/ 2147483647 h 14"/>
                    <a:gd name="T20" fmla="*/ 2147483647 w 18"/>
                    <a:gd name="T21" fmla="*/ 2147483647 h 14"/>
                    <a:gd name="T22" fmla="*/ 2147483647 w 18"/>
                    <a:gd name="T23" fmla="*/ 2147483647 h 14"/>
                    <a:gd name="T24" fmla="*/ 2147483647 w 18"/>
                    <a:gd name="T25" fmla="*/ 2147483647 h 14"/>
                    <a:gd name="T26" fmla="*/ 2147483647 w 18"/>
                    <a:gd name="T27" fmla="*/ 2147483647 h 14"/>
                    <a:gd name="T28" fmla="*/ 2147483647 w 18"/>
                    <a:gd name="T29" fmla="*/ 2147483647 h 14"/>
                    <a:gd name="T30" fmla="*/ 2147483647 w 18"/>
                    <a:gd name="T31" fmla="*/ 2147483647 h 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"/>
                    <a:gd name="T49" fmla="*/ 0 h 14"/>
                    <a:gd name="T50" fmla="*/ 18 w 18"/>
                    <a:gd name="T51" fmla="*/ 14 h 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" h="14">
                      <a:moveTo>
                        <a:pt x="13" y="7"/>
                      </a:moveTo>
                      <a:lnTo>
                        <a:pt x="13" y="7"/>
                      </a:lnTo>
                      <a:lnTo>
                        <a:pt x="18" y="0"/>
                      </a:lnTo>
                      <a:lnTo>
                        <a:pt x="11" y="0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7"/>
                      </a:lnTo>
                      <a:lnTo>
                        <a:pt x="0" y="9"/>
                      </a:lnTo>
                      <a:lnTo>
                        <a:pt x="1" y="12"/>
                      </a:lnTo>
                      <a:lnTo>
                        <a:pt x="4" y="14"/>
                      </a:lnTo>
                      <a:lnTo>
                        <a:pt x="6" y="13"/>
                      </a:lnTo>
                      <a:lnTo>
                        <a:pt x="9" y="9"/>
                      </a:lnTo>
                      <a:lnTo>
                        <a:pt x="13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1" name="Freeform 56">
                  <a:extLst>
                    <a:ext uri="{FF2B5EF4-FFF2-40B4-BE49-F238E27FC236}">
                      <a16:creationId xmlns:a16="http://schemas.microsoft.com/office/drawing/2014/main" id="{41B30634-BE3B-FA41-A392-A4DAA4BA76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938" y="3600213"/>
                  <a:ext cx="54756" cy="85833"/>
                </a:xfrm>
                <a:custGeom>
                  <a:avLst/>
                  <a:gdLst>
                    <a:gd name="T0" fmla="*/ 2147483647 w 40"/>
                    <a:gd name="T1" fmla="*/ 2147483647 h 58"/>
                    <a:gd name="T2" fmla="*/ 2147483647 w 40"/>
                    <a:gd name="T3" fmla="*/ 2147483647 h 58"/>
                    <a:gd name="T4" fmla="*/ 2147483647 w 40"/>
                    <a:gd name="T5" fmla="*/ 2147483647 h 58"/>
                    <a:gd name="T6" fmla="*/ 2147483647 w 40"/>
                    <a:gd name="T7" fmla="*/ 2147483647 h 58"/>
                    <a:gd name="T8" fmla="*/ 2147483647 w 40"/>
                    <a:gd name="T9" fmla="*/ 2147483647 h 58"/>
                    <a:gd name="T10" fmla="*/ 2147483647 w 40"/>
                    <a:gd name="T11" fmla="*/ 2147483647 h 58"/>
                    <a:gd name="T12" fmla="*/ 2147483647 w 40"/>
                    <a:gd name="T13" fmla="*/ 2147483647 h 58"/>
                    <a:gd name="T14" fmla="*/ 2147483647 w 40"/>
                    <a:gd name="T15" fmla="*/ 2147483647 h 58"/>
                    <a:gd name="T16" fmla="*/ 2147483647 w 40"/>
                    <a:gd name="T17" fmla="*/ 2147483647 h 58"/>
                    <a:gd name="T18" fmla="*/ 2147483647 w 40"/>
                    <a:gd name="T19" fmla="*/ 2147483647 h 58"/>
                    <a:gd name="T20" fmla="*/ 2147483647 w 40"/>
                    <a:gd name="T21" fmla="*/ 2147483647 h 58"/>
                    <a:gd name="T22" fmla="*/ 2147483647 w 40"/>
                    <a:gd name="T23" fmla="*/ 2147483647 h 58"/>
                    <a:gd name="T24" fmla="*/ 2147483647 w 40"/>
                    <a:gd name="T25" fmla="*/ 2147483647 h 58"/>
                    <a:gd name="T26" fmla="*/ 2147483647 w 40"/>
                    <a:gd name="T27" fmla="*/ 2147483647 h 58"/>
                    <a:gd name="T28" fmla="*/ 2147483647 w 40"/>
                    <a:gd name="T29" fmla="*/ 2147483647 h 58"/>
                    <a:gd name="T30" fmla="*/ 2147483647 w 40"/>
                    <a:gd name="T31" fmla="*/ 2147483647 h 58"/>
                    <a:gd name="T32" fmla="*/ 2147483647 w 40"/>
                    <a:gd name="T33" fmla="*/ 2147483647 h 58"/>
                    <a:gd name="T34" fmla="*/ 2147483647 w 40"/>
                    <a:gd name="T35" fmla="*/ 2147483647 h 58"/>
                    <a:gd name="T36" fmla="*/ 2147483647 w 40"/>
                    <a:gd name="T37" fmla="*/ 2147483647 h 58"/>
                    <a:gd name="T38" fmla="*/ 2147483647 w 40"/>
                    <a:gd name="T39" fmla="*/ 2147483647 h 58"/>
                    <a:gd name="T40" fmla="*/ 2147483647 w 40"/>
                    <a:gd name="T41" fmla="*/ 2147483647 h 58"/>
                    <a:gd name="T42" fmla="*/ 2147483647 w 40"/>
                    <a:gd name="T43" fmla="*/ 2147483647 h 58"/>
                    <a:gd name="T44" fmla="*/ 2147483647 w 40"/>
                    <a:gd name="T45" fmla="*/ 2147483647 h 58"/>
                    <a:gd name="T46" fmla="*/ 2147483647 w 40"/>
                    <a:gd name="T47" fmla="*/ 2147483647 h 58"/>
                    <a:gd name="T48" fmla="*/ 2147483647 w 40"/>
                    <a:gd name="T49" fmla="*/ 2147483647 h 58"/>
                    <a:gd name="T50" fmla="*/ 2147483647 w 40"/>
                    <a:gd name="T51" fmla="*/ 2147483647 h 58"/>
                    <a:gd name="T52" fmla="*/ 2147483647 w 40"/>
                    <a:gd name="T53" fmla="*/ 2147483647 h 58"/>
                    <a:gd name="T54" fmla="*/ 2147483647 w 40"/>
                    <a:gd name="T55" fmla="*/ 2147483647 h 58"/>
                    <a:gd name="T56" fmla="*/ 2147483647 w 40"/>
                    <a:gd name="T57" fmla="*/ 2147483647 h 58"/>
                    <a:gd name="T58" fmla="*/ 2147483647 w 40"/>
                    <a:gd name="T59" fmla="*/ 2147483647 h 58"/>
                    <a:gd name="T60" fmla="*/ 2147483647 w 40"/>
                    <a:gd name="T61" fmla="*/ 2147483647 h 58"/>
                    <a:gd name="T62" fmla="*/ 2147483647 w 40"/>
                    <a:gd name="T63" fmla="*/ 2147483647 h 58"/>
                    <a:gd name="T64" fmla="*/ 2147483647 w 40"/>
                    <a:gd name="T65" fmla="*/ 2147483647 h 58"/>
                    <a:gd name="T66" fmla="*/ 2147483647 w 40"/>
                    <a:gd name="T67" fmla="*/ 2147483647 h 58"/>
                    <a:gd name="T68" fmla="*/ 2147483647 w 40"/>
                    <a:gd name="T69" fmla="*/ 2147483647 h 58"/>
                    <a:gd name="T70" fmla="*/ 2147483647 w 40"/>
                    <a:gd name="T71" fmla="*/ 2147483647 h 58"/>
                    <a:gd name="T72" fmla="*/ 2147483647 w 40"/>
                    <a:gd name="T73" fmla="*/ 2147483647 h 58"/>
                    <a:gd name="T74" fmla="*/ 2147483647 w 40"/>
                    <a:gd name="T75" fmla="*/ 2147483647 h 58"/>
                    <a:gd name="T76" fmla="*/ 2147483647 w 40"/>
                    <a:gd name="T77" fmla="*/ 2147483647 h 58"/>
                    <a:gd name="T78" fmla="*/ 2147483647 w 40"/>
                    <a:gd name="T79" fmla="*/ 2147483647 h 58"/>
                    <a:gd name="T80" fmla="*/ 2147483647 w 40"/>
                    <a:gd name="T81" fmla="*/ 2147483647 h 58"/>
                    <a:gd name="T82" fmla="*/ 2147483647 w 40"/>
                    <a:gd name="T83" fmla="*/ 2147483647 h 58"/>
                    <a:gd name="T84" fmla="*/ 2147483647 w 40"/>
                    <a:gd name="T85" fmla="*/ 2147483647 h 58"/>
                    <a:gd name="T86" fmla="*/ 0 w 40"/>
                    <a:gd name="T87" fmla="*/ 2147483647 h 58"/>
                    <a:gd name="T88" fmla="*/ 2147483647 w 40"/>
                    <a:gd name="T89" fmla="*/ 2147483647 h 58"/>
                    <a:gd name="T90" fmla="*/ 2147483647 w 40"/>
                    <a:gd name="T91" fmla="*/ 2147483647 h 58"/>
                    <a:gd name="T92" fmla="*/ 2147483647 w 40"/>
                    <a:gd name="T93" fmla="*/ 2147483647 h 58"/>
                    <a:gd name="T94" fmla="*/ 2147483647 w 40"/>
                    <a:gd name="T95" fmla="*/ 2147483647 h 58"/>
                    <a:gd name="T96" fmla="*/ 2147483647 w 40"/>
                    <a:gd name="T97" fmla="*/ 2147483647 h 58"/>
                    <a:gd name="T98" fmla="*/ 2147483647 w 40"/>
                    <a:gd name="T99" fmla="*/ 2147483647 h 58"/>
                    <a:gd name="T100" fmla="*/ 2147483647 w 40"/>
                    <a:gd name="T101" fmla="*/ 0 h 58"/>
                    <a:gd name="T102" fmla="*/ 2147483647 w 40"/>
                    <a:gd name="T103" fmla="*/ 0 h 58"/>
                    <a:gd name="T104" fmla="*/ 2147483647 w 40"/>
                    <a:gd name="T105" fmla="*/ 2147483647 h 58"/>
                    <a:gd name="T106" fmla="*/ 2147483647 w 40"/>
                    <a:gd name="T107" fmla="*/ 2147483647 h 58"/>
                    <a:gd name="T108" fmla="*/ 2147483647 w 40"/>
                    <a:gd name="T109" fmla="*/ 2147483647 h 58"/>
                    <a:gd name="T110" fmla="*/ 2147483647 w 40"/>
                    <a:gd name="T111" fmla="*/ 2147483647 h 58"/>
                    <a:gd name="T112" fmla="*/ 2147483647 w 40"/>
                    <a:gd name="T113" fmla="*/ 2147483647 h 58"/>
                    <a:gd name="T114" fmla="*/ 2147483647 w 40"/>
                    <a:gd name="T115" fmla="*/ 2147483647 h 58"/>
                    <a:gd name="T116" fmla="*/ 2147483647 w 40"/>
                    <a:gd name="T117" fmla="*/ 2147483647 h 58"/>
                    <a:gd name="T118" fmla="*/ 2147483647 w 40"/>
                    <a:gd name="T119" fmla="*/ 2147483647 h 58"/>
                    <a:gd name="T120" fmla="*/ 2147483647 w 40"/>
                    <a:gd name="T121" fmla="*/ 2147483647 h 58"/>
                    <a:gd name="T122" fmla="*/ 2147483647 w 40"/>
                    <a:gd name="T123" fmla="*/ 2147483647 h 5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40"/>
                    <a:gd name="T187" fmla="*/ 0 h 58"/>
                    <a:gd name="T188" fmla="*/ 40 w 40"/>
                    <a:gd name="T189" fmla="*/ 58 h 5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40" h="58">
                      <a:moveTo>
                        <a:pt x="40" y="26"/>
                      </a:moveTo>
                      <a:lnTo>
                        <a:pt x="32" y="38"/>
                      </a:lnTo>
                      <a:lnTo>
                        <a:pt x="31" y="41"/>
                      </a:lnTo>
                      <a:lnTo>
                        <a:pt x="31" y="45"/>
                      </a:lnTo>
                      <a:lnTo>
                        <a:pt x="32" y="49"/>
                      </a:lnTo>
                      <a:lnTo>
                        <a:pt x="31" y="50"/>
                      </a:lnTo>
                      <a:lnTo>
                        <a:pt x="30" y="52"/>
                      </a:lnTo>
                      <a:lnTo>
                        <a:pt x="26" y="56"/>
                      </a:lnTo>
                      <a:lnTo>
                        <a:pt x="23" y="56"/>
                      </a:lnTo>
                      <a:lnTo>
                        <a:pt x="21" y="56"/>
                      </a:lnTo>
                      <a:lnTo>
                        <a:pt x="19" y="53"/>
                      </a:lnTo>
                      <a:lnTo>
                        <a:pt x="19" y="52"/>
                      </a:lnTo>
                      <a:lnTo>
                        <a:pt x="19" y="50"/>
                      </a:lnTo>
                      <a:lnTo>
                        <a:pt x="17" y="49"/>
                      </a:lnTo>
                      <a:lnTo>
                        <a:pt x="16" y="49"/>
                      </a:lnTo>
                      <a:lnTo>
                        <a:pt x="16" y="50"/>
                      </a:lnTo>
                      <a:lnTo>
                        <a:pt x="14" y="56"/>
                      </a:lnTo>
                      <a:lnTo>
                        <a:pt x="13" y="57"/>
                      </a:lnTo>
                      <a:lnTo>
                        <a:pt x="10" y="58"/>
                      </a:lnTo>
                      <a:lnTo>
                        <a:pt x="7" y="57"/>
                      </a:lnTo>
                      <a:lnTo>
                        <a:pt x="5" y="53"/>
                      </a:lnTo>
                      <a:lnTo>
                        <a:pt x="5" y="51"/>
                      </a:lnTo>
                      <a:lnTo>
                        <a:pt x="5" y="49"/>
                      </a:lnTo>
                      <a:lnTo>
                        <a:pt x="9" y="45"/>
                      </a:lnTo>
                      <a:lnTo>
                        <a:pt x="10" y="41"/>
                      </a:lnTo>
                      <a:lnTo>
                        <a:pt x="12" y="33"/>
                      </a:lnTo>
                      <a:lnTo>
                        <a:pt x="12" y="32"/>
                      </a:lnTo>
                      <a:lnTo>
                        <a:pt x="12" y="31"/>
                      </a:lnTo>
                      <a:lnTo>
                        <a:pt x="14" y="31"/>
                      </a:lnTo>
                      <a:lnTo>
                        <a:pt x="18" y="31"/>
                      </a:lnTo>
                      <a:lnTo>
                        <a:pt x="19" y="30"/>
                      </a:lnTo>
                      <a:lnTo>
                        <a:pt x="19" y="26"/>
                      </a:lnTo>
                      <a:lnTo>
                        <a:pt x="19" y="21"/>
                      </a:lnTo>
                      <a:lnTo>
                        <a:pt x="18" y="17"/>
                      </a:lnTo>
                      <a:lnTo>
                        <a:pt x="17" y="17"/>
                      </a:lnTo>
                      <a:lnTo>
                        <a:pt x="14" y="17"/>
                      </a:lnTo>
                      <a:lnTo>
                        <a:pt x="13" y="18"/>
                      </a:lnTo>
                      <a:lnTo>
                        <a:pt x="12" y="20"/>
                      </a:lnTo>
                      <a:lnTo>
                        <a:pt x="12" y="22"/>
                      </a:lnTo>
                      <a:lnTo>
                        <a:pt x="9" y="25"/>
                      </a:lnTo>
                      <a:lnTo>
                        <a:pt x="7" y="26"/>
                      </a:lnTo>
                      <a:lnTo>
                        <a:pt x="4" y="26"/>
                      </a:lnTo>
                      <a:lnTo>
                        <a:pt x="2" y="22"/>
                      </a:lnTo>
                      <a:lnTo>
                        <a:pt x="0" y="21"/>
                      </a:lnTo>
                      <a:lnTo>
                        <a:pt x="2" y="20"/>
                      </a:lnTo>
                      <a:lnTo>
                        <a:pt x="4" y="17"/>
                      </a:lnTo>
                      <a:lnTo>
                        <a:pt x="7" y="13"/>
                      </a:lnTo>
                      <a:lnTo>
                        <a:pt x="9" y="9"/>
                      </a:lnTo>
                      <a:lnTo>
                        <a:pt x="9" y="5"/>
                      </a:lnTo>
                      <a:lnTo>
                        <a:pt x="14" y="4"/>
                      </a:lnTo>
                      <a:lnTo>
                        <a:pt x="18" y="0"/>
                      </a:lnTo>
                      <a:lnTo>
                        <a:pt x="19" y="0"/>
                      </a:lnTo>
                      <a:lnTo>
                        <a:pt x="22" y="1"/>
                      </a:lnTo>
                      <a:lnTo>
                        <a:pt x="24" y="4"/>
                      </a:lnTo>
                      <a:lnTo>
                        <a:pt x="27" y="5"/>
                      </a:lnTo>
                      <a:lnTo>
                        <a:pt x="30" y="6"/>
                      </a:lnTo>
                      <a:lnTo>
                        <a:pt x="31" y="8"/>
                      </a:lnTo>
                      <a:lnTo>
                        <a:pt x="33" y="15"/>
                      </a:lnTo>
                      <a:lnTo>
                        <a:pt x="36" y="19"/>
                      </a:lnTo>
                      <a:lnTo>
                        <a:pt x="40" y="21"/>
                      </a:lnTo>
                      <a:lnTo>
                        <a:pt x="40" y="24"/>
                      </a:lnTo>
                      <a:lnTo>
                        <a:pt x="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2" name="Freeform 57">
                  <a:extLst>
                    <a:ext uri="{FF2B5EF4-FFF2-40B4-BE49-F238E27FC236}">
                      <a16:creationId xmlns:a16="http://schemas.microsoft.com/office/drawing/2014/main" id="{9C3ABEC5-EC57-CB46-9710-059A78C12F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5573" y="3583934"/>
                  <a:ext cx="57715" cy="51796"/>
                </a:xfrm>
                <a:custGeom>
                  <a:avLst/>
                  <a:gdLst>
                    <a:gd name="T0" fmla="*/ 2147483647 w 42"/>
                    <a:gd name="T1" fmla="*/ 2147483647 h 35"/>
                    <a:gd name="T2" fmla="*/ 2147483647 w 42"/>
                    <a:gd name="T3" fmla="*/ 0 h 35"/>
                    <a:gd name="T4" fmla="*/ 2147483647 w 42"/>
                    <a:gd name="T5" fmla="*/ 0 h 35"/>
                    <a:gd name="T6" fmla="*/ 2147483647 w 42"/>
                    <a:gd name="T7" fmla="*/ 2147483647 h 35"/>
                    <a:gd name="T8" fmla="*/ 2147483647 w 42"/>
                    <a:gd name="T9" fmla="*/ 2147483647 h 35"/>
                    <a:gd name="T10" fmla="*/ 2147483647 w 42"/>
                    <a:gd name="T11" fmla="*/ 2147483647 h 35"/>
                    <a:gd name="T12" fmla="*/ 2147483647 w 42"/>
                    <a:gd name="T13" fmla="*/ 2147483647 h 35"/>
                    <a:gd name="T14" fmla="*/ 2147483647 w 42"/>
                    <a:gd name="T15" fmla="*/ 2147483647 h 35"/>
                    <a:gd name="T16" fmla="*/ 2147483647 w 42"/>
                    <a:gd name="T17" fmla="*/ 2147483647 h 35"/>
                    <a:gd name="T18" fmla="*/ 2147483647 w 42"/>
                    <a:gd name="T19" fmla="*/ 2147483647 h 35"/>
                    <a:gd name="T20" fmla="*/ 2147483647 w 42"/>
                    <a:gd name="T21" fmla="*/ 2147483647 h 35"/>
                    <a:gd name="T22" fmla="*/ 2147483647 w 42"/>
                    <a:gd name="T23" fmla="*/ 2147483647 h 35"/>
                    <a:gd name="T24" fmla="*/ 2147483647 w 42"/>
                    <a:gd name="T25" fmla="*/ 2147483647 h 35"/>
                    <a:gd name="T26" fmla="*/ 0 w 42"/>
                    <a:gd name="T27" fmla="*/ 2147483647 h 35"/>
                    <a:gd name="T28" fmla="*/ 0 w 42"/>
                    <a:gd name="T29" fmla="*/ 2147483647 h 35"/>
                    <a:gd name="T30" fmla="*/ 0 w 42"/>
                    <a:gd name="T31" fmla="*/ 2147483647 h 35"/>
                    <a:gd name="T32" fmla="*/ 2147483647 w 42"/>
                    <a:gd name="T33" fmla="*/ 2147483647 h 35"/>
                    <a:gd name="T34" fmla="*/ 2147483647 w 42"/>
                    <a:gd name="T35" fmla="*/ 2147483647 h 35"/>
                    <a:gd name="T36" fmla="*/ 2147483647 w 42"/>
                    <a:gd name="T37" fmla="*/ 2147483647 h 35"/>
                    <a:gd name="T38" fmla="*/ 2147483647 w 42"/>
                    <a:gd name="T39" fmla="*/ 2147483647 h 35"/>
                    <a:gd name="T40" fmla="*/ 2147483647 w 42"/>
                    <a:gd name="T41" fmla="*/ 2147483647 h 35"/>
                    <a:gd name="T42" fmla="*/ 2147483647 w 42"/>
                    <a:gd name="T43" fmla="*/ 2147483647 h 35"/>
                    <a:gd name="T44" fmla="*/ 2147483647 w 42"/>
                    <a:gd name="T45" fmla="*/ 2147483647 h 35"/>
                    <a:gd name="T46" fmla="*/ 2147483647 w 42"/>
                    <a:gd name="T47" fmla="*/ 2147483647 h 35"/>
                    <a:gd name="T48" fmla="*/ 2147483647 w 42"/>
                    <a:gd name="T49" fmla="*/ 2147483647 h 35"/>
                    <a:gd name="T50" fmla="*/ 2147483647 w 42"/>
                    <a:gd name="T51" fmla="*/ 2147483647 h 35"/>
                    <a:gd name="T52" fmla="*/ 2147483647 w 42"/>
                    <a:gd name="T53" fmla="*/ 2147483647 h 35"/>
                    <a:gd name="T54" fmla="*/ 2147483647 w 42"/>
                    <a:gd name="T55" fmla="*/ 2147483647 h 35"/>
                    <a:gd name="T56" fmla="*/ 2147483647 w 42"/>
                    <a:gd name="T57" fmla="*/ 2147483647 h 35"/>
                    <a:gd name="T58" fmla="*/ 2147483647 w 42"/>
                    <a:gd name="T59" fmla="*/ 2147483647 h 35"/>
                    <a:gd name="T60" fmla="*/ 2147483647 w 42"/>
                    <a:gd name="T61" fmla="*/ 2147483647 h 35"/>
                    <a:gd name="T62" fmla="*/ 2147483647 w 42"/>
                    <a:gd name="T63" fmla="*/ 2147483647 h 35"/>
                    <a:gd name="T64" fmla="*/ 2147483647 w 42"/>
                    <a:gd name="T65" fmla="*/ 2147483647 h 35"/>
                    <a:gd name="T66" fmla="*/ 2147483647 w 42"/>
                    <a:gd name="T67" fmla="*/ 2147483647 h 35"/>
                    <a:gd name="T68" fmla="*/ 2147483647 w 42"/>
                    <a:gd name="T69" fmla="*/ 2147483647 h 35"/>
                    <a:gd name="T70" fmla="*/ 2147483647 w 42"/>
                    <a:gd name="T71" fmla="*/ 2147483647 h 3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42"/>
                    <a:gd name="T109" fmla="*/ 0 h 35"/>
                    <a:gd name="T110" fmla="*/ 42 w 42"/>
                    <a:gd name="T111" fmla="*/ 35 h 3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42" h="35">
                      <a:moveTo>
                        <a:pt x="41" y="3"/>
                      </a:moveTo>
                      <a:lnTo>
                        <a:pt x="37" y="0"/>
                      </a:lnTo>
                      <a:lnTo>
                        <a:pt x="32" y="0"/>
                      </a:lnTo>
                      <a:lnTo>
                        <a:pt x="28" y="3"/>
                      </a:lnTo>
                      <a:lnTo>
                        <a:pt x="24" y="6"/>
                      </a:lnTo>
                      <a:lnTo>
                        <a:pt x="23" y="7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4" y="9"/>
                      </a:lnTo>
                      <a:lnTo>
                        <a:pt x="13" y="9"/>
                      </a:lnTo>
                      <a:lnTo>
                        <a:pt x="10" y="13"/>
                      </a:lnTo>
                      <a:lnTo>
                        <a:pt x="8" y="16"/>
                      </a:lnTo>
                      <a:lnTo>
                        <a:pt x="4" y="17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3" y="22"/>
                      </a:lnTo>
                      <a:lnTo>
                        <a:pt x="4" y="23"/>
                      </a:lnTo>
                      <a:lnTo>
                        <a:pt x="7" y="26"/>
                      </a:lnTo>
                      <a:lnTo>
                        <a:pt x="8" y="31"/>
                      </a:lnTo>
                      <a:lnTo>
                        <a:pt x="10" y="33"/>
                      </a:lnTo>
                      <a:lnTo>
                        <a:pt x="12" y="35"/>
                      </a:lnTo>
                      <a:lnTo>
                        <a:pt x="13" y="35"/>
                      </a:lnTo>
                      <a:lnTo>
                        <a:pt x="14" y="32"/>
                      </a:lnTo>
                      <a:lnTo>
                        <a:pt x="18" y="26"/>
                      </a:lnTo>
                      <a:lnTo>
                        <a:pt x="21" y="23"/>
                      </a:lnTo>
                      <a:lnTo>
                        <a:pt x="24" y="22"/>
                      </a:lnTo>
                      <a:lnTo>
                        <a:pt x="29" y="22"/>
                      </a:lnTo>
                      <a:lnTo>
                        <a:pt x="33" y="23"/>
                      </a:lnTo>
                      <a:lnTo>
                        <a:pt x="35" y="22"/>
                      </a:lnTo>
                      <a:lnTo>
                        <a:pt x="36" y="20"/>
                      </a:lnTo>
                      <a:lnTo>
                        <a:pt x="37" y="13"/>
                      </a:lnTo>
                      <a:lnTo>
                        <a:pt x="38" y="11"/>
                      </a:lnTo>
                      <a:lnTo>
                        <a:pt x="41" y="7"/>
                      </a:lnTo>
                      <a:lnTo>
                        <a:pt x="42" y="5"/>
                      </a:lnTo>
                      <a:lnTo>
                        <a:pt x="4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3" name="Freeform 58">
                  <a:extLst>
                    <a:ext uri="{FF2B5EF4-FFF2-40B4-BE49-F238E27FC236}">
                      <a16:creationId xmlns:a16="http://schemas.microsoft.com/office/drawing/2014/main" id="{31A6B47A-77CE-9143-9D6C-62E1533DC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0458" y="3598733"/>
                  <a:ext cx="53275" cy="85833"/>
                </a:xfrm>
                <a:custGeom>
                  <a:avLst/>
                  <a:gdLst>
                    <a:gd name="T0" fmla="*/ 2147483647 w 39"/>
                    <a:gd name="T1" fmla="*/ 2147483647 h 58"/>
                    <a:gd name="T2" fmla="*/ 2147483647 w 39"/>
                    <a:gd name="T3" fmla="*/ 2147483647 h 58"/>
                    <a:gd name="T4" fmla="*/ 2147483647 w 39"/>
                    <a:gd name="T5" fmla="*/ 2147483647 h 58"/>
                    <a:gd name="T6" fmla="*/ 2147483647 w 39"/>
                    <a:gd name="T7" fmla="*/ 2147483647 h 58"/>
                    <a:gd name="T8" fmla="*/ 2147483647 w 39"/>
                    <a:gd name="T9" fmla="*/ 2147483647 h 58"/>
                    <a:gd name="T10" fmla="*/ 2147483647 w 39"/>
                    <a:gd name="T11" fmla="*/ 2147483647 h 58"/>
                    <a:gd name="T12" fmla="*/ 2147483647 w 39"/>
                    <a:gd name="T13" fmla="*/ 2147483647 h 58"/>
                    <a:gd name="T14" fmla="*/ 2147483647 w 39"/>
                    <a:gd name="T15" fmla="*/ 2147483647 h 58"/>
                    <a:gd name="T16" fmla="*/ 2147483647 w 39"/>
                    <a:gd name="T17" fmla="*/ 2147483647 h 58"/>
                    <a:gd name="T18" fmla="*/ 2147483647 w 39"/>
                    <a:gd name="T19" fmla="*/ 2147483647 h 58"/>
                    <a:gd name="T20" fmla="*/ 2147483647 w 39"/>
                    <a:gd name="T21" fmla="*/ 2147483647 h 58"/>
                    <a:gd name="T22" fmla="*/ 2147483647 w 39"/>
                    <a:gd name="T23" fmla="*/ 2147483647 h 58"/>
                    <a:gd name="T24" fmla="*/ 2147483647 w 39"/>
                    <a:gd name="T25" fmla="*/ 2147483647 h 58"/>
                    <a:gd name="T26" fmla="*/ 2147483647 w 39"/>
                    <a:gd name="T27" fmla="*/ 2147483647 h 58"/>
                    <a:gd name="T28" fmla="*/ 2147483647 w 39"/>
                    <a:gd name="T29" fmla="*/ 2147483647 h 58"/>
                    <a:gd name="T30" fmla="*/ 2147483647 w 39"/>
                    <a:gd name="T31" fmla="*/ 2147483647 h 58"/>
                    <a:gd name="T32" fmla="*/ 2147483647 w 39"/>
                    <a:gd name="T33" fmla="*/ 2147483647 h 58"/>
                    <a:gd name="T34" fmla="*/ 2147483647 w 39"/>
                    <a:gd name="T35" fmla="*/ 2147483647 h 58"/>
                    <a:gd name="T36" fmla="*/ 2147483647 w 39"/>
                    <a:gd name="T37" fmla="*/ 2147483647 h 58"/>
                    <a:gd name="T38" fmla="*/ 2147483647 w 39"/>
                    <a:gd name="T39" fmla="*/ 2147483647 h 58"/>
                    <a:gd name="T40" fmla="*/ 2147483647 w 39"/>
                    <a:gd name="T41" fmla="*/ 2147483647 h 58"/>
                    <a:gd name="T42" fmla="*/ 2147483647 w 39"/>
                    <a:gd name="T43" fmla="*/ 2147483647 h 58"/>
                    <a:gd name="T44" fmla="*/ 2147483647 w 39"/>
                    <a:gd name="T45" fmla="*/ 2147483647 h 58"/>
                    <a:gd name="T46" fmla="*/ 2147483647 w 39"/>
                    <a:gd name="T47" fmla="*/ 2147483647 h 58"/>
                    <a:gd name="T48" fmla="*/ 2147483647 w 39"/>
                    <a:gd name="T49" fmla="*/ 2147483647 h 58"/>
                    <a:gd name="T50" fmla="*/ 2147483647 w 39"/>
                    <a:gd name="T51" fmla="*/ 2147483647 h 58"/>
                    <a:gd name="T52" fmla="*/ 2147483647 w 39"/>
                    <a:gd name="T53" fmla="*/ 2147483647 h 58"/>
                    <a:gd name="T54" fmla="*/ 2147483647 w 39"/>
                    <a:gd name="T55" fmla="*/ 2147483647 h 58"/>
                    <a:gd name="T56" fmla="*/ 2147483647 w 39"/>
                    <a:gd name="T57" fmla="*/ 2147483647 h 58"/>
                    <a:gd name="T58" fmla="*/ 2147483647 w 39"/>
                    <a:gd name="T59" fmla="*/ 2147483647 h 58"/>
                    <a:gd name="T60" fmla="*/ 2147483647 w 39"/>
                    <a:gd name="T61" fmla="*/ 2147483647 h 58"/>
                    <a:gd name="T62" fmla="*/ 2147483647 w 39"/>
                    <a:gd name="T63" fmla="*/ 2147483647 h 58"/>
                    <a:gd name="T64" fmla="*/ 2147483647 w 39"/>
                    <a:gd name="T65" fmla="*/ 0 h 58"/>
                    <a:gd name="T66" fmla="*/ 2147483647 w 39"/>
                    <a:gd name="T67" fmla="*/ 0 h 58"/>
                    <a:gd name="T68" fmla="*/ 2147483647 w 39"/>
                    <a:gd name="T69" fmla="*/ 2147483647 h 58"/>
                    <a:gd name="T70" fmla="*/ 2147483647 w 39"/>
                    <a:gd name="T71" fmla="*/ 2147483647 h 58"/>
                    <a:gd name="T72" fmla="*/ 2147483647 w 39"/>
                    <a:gd name="T73" fmla="*/ 2147483647 h 58"/>
                    <a:gd name="T74" fmla="*/ 2147483647 w 39"/>
                    <a:gd name="T75" fmla="*/ 2147483647 h 58"/>
                    <a:gd name="T76" fmla="*/ 2147483647 w 39"/>
                    <a:gd name="T77" fmla="*/ 2147483647 h 58"/>
                    <a:gd name="T78" fmla="*/ 2147483647 w 39"/>
                    <a:gd name="T79" fmla="*/ 2147483647 h 58"/>
                    <a:gd name="T80" fmla="*/ 2147483647 w 39"/>
                    <a:gd name="T81" fmla="*/ 2147483647 h 5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39"/>
                    <a:gd name="T124" fmla="*/ 0 h 58"/>
                    <a:gd name="T125" fmla="*/ 39 w 39"/>
                    <a:gd name="T126" fmla="*/ 58 h 5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39" h="58">
                      <a:moveTo>
                        <a:pt x="39" y="26"/>
                      </a:moveTo>
                      <a:lnTo>
                        <a:pt x="39" y="26"/>
                      </a:lnTo>
                      <a:lnTo>
                        <a:pt x="32" y="38"/>
                      </a:lnTo>
                      <a:lnTo>
                        <a:pt x="31" y="41"/>
                      </a:lnTo>
                      <a:lnTo>
                        <a:pt x="31" y="45"/>
                      </a:lnTo>
                      <a:lnTo>
                        <a:pt x="32" y="48"/>
                      </a:lnTo>
                      <a:lnTo>
                        <a:pt x="31" y="50"/>
                      </a:lnTo>
                      <a:lnTo>
                        <a:pt x="29" y="52"/>
                      </a:lnTo>
                      <a:lnTo>
                        <a:pt x="25" y="55"/>
                      </a:lnTo>
                      <a:lnTo>
                        <a:pt x="23" y="55"/>
                      </a:lnTo>
                      <a:lnTo>
                        <a:pt x="20" y="55"/>
                      </a:lnTo>
                      <a:lnTo>
                        <a:pt x="19" y="53"/>
                      </a:lnTo>
                      <a:lnTo>
                        <a:pt x="19" y="52"/>
                      </a:lnTo>
                      <a:lnTo>
                        <a:pt x="19" y="50"/>
                      </a:lnTo>
                      <a:lnTo>
                        <a:pt x="17" y="48"/>
                      </a:lnTo>
                      <a:lnTo>
                        <a:pt x="15" y="48"/>
                      </a:lnTo>
                      <a:lnTo>
                        <a:pt x="15" y="50"/>
                      </a:lnTo>
                      <a:lnTo>
                        <a:pt x="14" y="55"/>
                      </a:lnTo>
                      <a:lnTo>
                        <a:pt x="13" y="57"/>
                      </a:lnTo>
                      <a:lnTo>
                        <a:pt x="10" y="58"/>
                      </a:lnTo>
                      <a:lnTo>
                        <a:pt x="6" y="57"/>
                      </a:lnTo>
                      <a:lnTo>
                        <a:pt x="5" y="53"/>
                      </a:lnTo>
                      <a:lnTo>
                        <a:pt x="5" y="51"/>
                      </a:lnTo>
                      <a:lnTo>
                        <a:pt x="5" y="48"/>
                      </a:lnTo>
                      <a:lnTo>
                        <a:pt x="9" y="45"/>
                      </a:lnTo>
                      <a:lnTo>
                        <a:pt x="10" y="41"/>
                      </a:lnTo>
                      <a:lnTo>
                        <a:pt x="11" y="33"/>
                      </a:lnTo>
                      <a:lnTo>
                        <a:pt x="11" y="32"/>
                      </a:lnTo>
                      <a:lnTo>
                        <a:pt x="11" y="31"/>
                      </a:lnTo>
                      <a:lnTo>
                        <a:pt x="14" y="31"/>
                      </a:lnTo>
                      <a:lnTo>
                        <a:pt x="18" y="31"/>
                      </a:lnTo>
                      <a:lnTo>
                        <a:pt x="19" y="29"/>
                      </a:lnTo>
                      <a:lnTo>
                        <a:pt x="19" y="26"/>
                      </a:lnTo>
                      <a:lnTo>
                        <a:pt x="19" y="21"/>
                      </a:lnTo>
                      <a:lnTo>
                        <a:pt x="18" y="16"/>
                      </a:lnTo>
                      <a:lnTo>
                        <a:pt x="17" y="16"/>
                      </a:lnTo>
                      <a:lnTo>
                        <a:pt x="14" y="16"/>
                      </a:lnTo>
                      <a:lnTo>
                        <a:pt x="13" y="18"/>
                      </a:lnTo>
                      <a:lnTo>
                        <a:pt x="11" y="20"/>
                      </a:lnTo>
                      <a:lnTo>
                        <a:pt x="11" y="22"/>
                      </a:lnTo>
                      <a:lnTo>
                        <a:pt x="9" y="25"/>
                      </a:lnTo>
                      <a:lnTo>
                        <a:pt x="6" y="26"/>
                      </a:lnTo>
                      <a:lnTo>
                        <a:pt x="4" y="26"/>
                      </a:lnTo>
                      <a:lnTo>
                        <a:pt x="1" y="22"/>
                      </a:lnTo>
                      <a:lnTo>
                        <a:pt x="0" y="21"/>
                      </a:lnTo>
                      <a:lnTo>
                        <a:pt x="1" y="20"/>
                      </a:lnTo>
                      <a:lnTo>
                        <a:pt x="4" y="16"/>
                      </a:lnTo>
                      <a:lnTo>
                        <a:pt x="6" y="13"/>
                      </a:lnTo>
                      <a:lnTo>
                        <a:pt x="9" y="9"/>
                      </a:lnTo>
                      <a:lnTo>
                        <a:pt x="9" y="5"/>
                      </a:lnTo>
                      <a:lnTo>
                        <a:pt x="14" y="3"/>
                      </a:lnTo>
                      <a:lnTo>
                        <a:pt x="18" y="0"/>
                      </a:lnTo>
                      <a:lnTo>
                        <a:pt x="19" y="0"/>
                      </a:lnTo>
                      <a:lnTo>
                        <a:pt x="22" y="1"/>
                      </a:lnTo>
                      <a:lnTo>
                        <a:pt x="24" y="3"/>
                      </a:lnTo>
                      <a:lnTo>
                        <a:pt x="27" y="5"/>
                      </a:lnTo>
                      <a:lnTo>
                        <a:pt x="29" y="6"/>
                      </a:lnTo>
                      <a:lnTo>
                        <a:pt x="31" y="8"/>
                      </a:lnTo>
                      <a:lnTo>
                        <a:pt x="33" y="15"/>
                      </a:lnTo>
                      <a:lnTo>
                        <a:pt x="36" y="19"/>
                      </a:lnTo>
                      <a:lnTo>
                        <a:pt x="39" y="21"/>
                      </a:lnTo>
                      <a:lnTo>
                        <a:pt x="39" y="23"/>
                      </a:lnTo>
                      <a:lnTo>
                        <a:pt x="39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4" name="Freeform 59">
                  <a:extLst>
                    <a:ext uri="{FF2B5EF4-FFF2-40B4-BE49-F238E27FC236}">
                      <a16:creationId xmlns:a16="http://schemas.microsoft.com/office/drawing/2014/main" id="{1DE9FE29-ECDB-834F-8BF3-38F4D6D621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4096" y="3582452"/>
                  <a:ext cx="57715" cy="50315"/>
                </a:xfrm>
                <a:custGeom>
                  <a:avLst/>
                  <a:gdLst>
                    <a:gd name="T0" fmla="*/ 2147483647 w 42"/>
                    <a:gd name="T1" fmla="*/ 2147483647 h 34"/>
                    <a:gd name="T2" fmla="*/ 2147483647 w 42"/>
                    <a:gd name="T3" fmla="*/ 2147483647 h 34"/>
                    <a:gd name="T4" fmla="*/ 2147483647 w 42"/>
                    <a:gd name="T5" fmla="*/ 0 h 34"/>
                    <a:gd name="T6" fmla="*/ 2147483647 w 42"/>
                    <a:gd name="T7" fmla="*/ 0 h 34"/>
                    <a:gd name="T8" fmla="*/ 2147483647 w 42"/>
                    <a:gd name="T9" fmla="*/ 2147483647 h 34"/>
                    <a:gd name="T10" fmla="*/ 2147483647 w 42"/>
                    <a:gd name="T11" fmla="*/ 2147483647 h 34"/>
                    <a:gd name="T12" fmla="*/ 2147483647 w 42"/>
                    <a:gd name="T13" fmla="*/ 2147483647 h 34"/>
                    <a:gd name="T14" fmla="*/ 2147483647 w 42"/>
                    <a:gd name="T15" fmla="*/ 2147483647 h 34"/>
                    <a:gd name="T16" fmla="*/ 2147483647 w 42"/>
                    <a:gd name="T17" fmla="*/ 2147483647 h 34"/>
                    <a:gd name="T18" fmla="*/ 2147483647 w 42"/>
                    <a:gd name="T19" fmla="*/ 2147483647 h 34"/>
                    <a:gd name="T20" fmla="*/ 2147483647 w 42"/>
                    <a:gd name="T21" fmla="*/ 2147483647 h 34"/>
                    <a:gd name="T22" fmla="*/ 2147483647 w 42"/>
                    <a:gd name="T23" fmla="*/ 2147483647 h 34"/>
                    <a:gd name="T24" fmla="*/ 2147483647 w 42"/>
                    <a:gd name="T25" fmla="*/ 2147483647 h 34"/>
                    <a:gd name="T26" fmla="*/ 2147483647 w 42"/>
                    <a:gd name="T27" fmla="*/ 2147483647 h 34"/>
                    <a:gd name="T28" fmla="*/ 2147483647 w 42"/>
                    <a:gd name="T29" fmla="*/ 2147483647 h 34"/>
                    <a:gd name="T30" fmla="*/ 2147483647 w 42"/>
                    <a:gd name="T31" fmla="*/ 2147483647 h 34"/>
                    <a:gd name="T32" fmla="*/ 2147483647 w 42"/>
                    <a:gd name="T33" fmla="*/ 2147483647 h 34"/>
                    <a:gd name="T34" fmla="*/ 0 w 42"/>
                    <a:gd name="T35" fmla="*/ 2147483647 h 34"/>
                    <a:gd name="T36" fmla="*/ 0 w 42"/>
                    <a:gd name="T37" fmla="*/ 2147483647 h 34"/>
                    <a:gd name="T38" fmla="*/ 0 w 42"/>
                    <a:gd name="T39" fmla="*/ 2147483647 h 34"/>
                    <a:gd name="T40" fmla="*/ 0 w 42"/>
                    <a:gd name="T41" fmla="*/ 2147483647 h 34"/>
                    <a:gd name="T42" fmla="*/ 0 w 42"/>
                    <a:gd name="T43" fmla="*/ 2147483647 h 34"/>
                    <a:gd name="T44" fmla="*/ 2147483647 w 42"/>
                    <a:gd name="T45" fmla="*/ 2147483647 h 34"/>
                    <a:gd name="T46" fmla="*/ 2147483647 w 42"/>
                    <a:gd name="T47" fmla="*/ 2147483647 h 34"/>
                    <a:gd name="T48" fmla="*/ 2147483647 w 42"/>
                    <a:gd name="T49" fmla="*/ 2147483647 h 34"/>
                    <a:gd name="T50" fmla="*/ 2147483647 w 42"/>
                    <a:gd name="T51" fmla="*/ 2147483647 h 34"/>
                    <a:gd name="T52" fmla="*/ 2147483647 w 42"/>
                    <a:gd name="T53" fmla="*/ 2147483647 h 34"/>
                    <a:gd name="T54" fmla="*/ 2147483647 w 42"/>
                    <a:gd name="T55" fmla="*/ 2147483647 h 34"/>
                    <a:gd name="T56" fmla="*/ 2147483647 w 42"/>
                    <a:gd name="T57" fmla="*/ 2147483647 h 34"/>
                    <a:gd name="T58" fmla="*/ 2147483647 w 42"/>
                    <a:gd name="T59" fmla="*/ 2147483647 h 34"/>
                    <a:gd name="T60" fmla="*/ 2147483647 w 42"/>
                    <a:gd name="T61" fmla="*/ 2147483647 h 34"/>
                    <a:gd name="T62" fmla="*/ 2147483647 w 42"/>
                    <a:gd name="T63" fmla="*/ 2147483647 h 34"/>
                    <a:gd name="T64" fmla="*/ 2147483647 w 42"/>
                    <a:gd name="T65" fmla="*/ 2147483647 h 34"/>
                    <a:gd name="T66" fmla="*/ 2147483647 w 42"/>
                    <a:gd name="T67" fmla="*/ 2147483647 h 34"/>
                    <a:gd name="T68" fmla="*/ 2147483647 w 42"/>
                    <a:gd name="T69" fmla="*/ 2147483647 h 34"/>
                    <a:gd name="T70" fmla="*/ 2147483647 w 42"/>
                    <a:gd name="T71" fmla="*/ 2147483647 h 34"/>
                    <a:gd name="T72" fmla="*/ 2147483647 w 42"/>
                    <a:gd name="T73" fmla="*/ 2147483647 h 34"/>
                    <a:gd name="T74" fmla="*/ 2147483647 w 42"/>
                    <a:gd name="T75" fmla="*/ 2147483647 h 34"/>
                    <a:gd name="T76" fmla="*/ 2147483647 w 42"/>
                    <a:gd name="T77" fmla="*/ 2147483647 h 34"/>
                    <a:gd name="T78" fmla="*/ 2147483647 w 42"/>
                    <a:gd name="T79" fmla="*/ 2147483647 h 34"/>
                    <a:gd name="T80" fmla="*/ 2147483647 w 42"/>
                    <a:gd name="T81" fmla="*/ 2147483647 h 34"/>
                    <a:gd name="T82" fmla="*/ 2147483647 w 42"/>
                    <a:gd name="T83" fmla="*/ 2147483647 h 34"/>
                    <a:gd name="T84" fmla="*/ 2147483647 w 42"/>
                    <a:gd name="T85" fmla="*/ 2147483647 h 34"/>
                    <a:gd name="T86" fmla="*/ 2147483647 w 42"/>
                    <a:gd name="T87" fmla="*/ 2147483647 h 34"/>
                    <a:gd name="T88" fmla="*/ 2147483647 w 42"/>
                    <a:gd name="T89" fmla="*/ 2147483647 h 34"/>
                    <a:gd name="T90" fmla="*/ 2147483647 w 42"/>
                    <a:gd name="T91" fmla="*/ 2147483647 h 34"/>
                    <a:gd name="T92" fmla="*/ 2147483647 w 42"/>
                    <a:gd name="T93" fmla="*/ 2147483647 h 34"/>
                    <a:gd name="T94" fmla="*/ 2147483647 w 42"/>
                    <a:gd name="T95" fmla="*/ 2147483647 h 34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2"/>
                    <a:gd name="T145" fmla="*/ 0 h 34"/>
                    <a:gd name="T146" fmla="*/ 42 w 42"/>
                    <a:gd name="T147" fmla="*/ 34 h 34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2" h="34">
                      <a:moveTo>
                        <a:pt x="41" y="2"/>
                      </a:moveTo>
                      <a:lnTo>
                        <a:pt x="41" y="2"/>
                      </a:lnTo>
                      <a:lnTo>
                        <a:pt x="37" y="0"/>
                      </a:lnTo>
                      <a:lnTo>
                        <a:pt x="32" y="0"/>
                      </a:lnTo>
                      <a:lnTo>
                        <a:pt x="28" y="2"/>
                      </a:lnTo>
                      <a:lnTo>
                        <a:pt x="24" y="6"/>
                      </a:lnTo>
                      <a:lnTo>
                        <a:pt x="23" y="7"/>
                      </a:lnTo>
                      <a:lnTo>
                        <a:pt x="20" y="8"/>
                      </a:lnTo>
                      <a:lnTo>
                        <a:pt x="17" y="8"/>
                      </a:lnTo>
                      <a:lnTo>
                        <a:pt x="14" y="8"/>
                      </a:lnTo>
                      <a:lnTo>
                        <a:pt x="13" y="8"/>
                      </a:lnTo>
                      <a:lnTo>
                        <a:pt x="10" y="13"/>
                      </a:lnTo>
                      <a:lnTo>
                        <a:pt x="8" y="16"/>
                      </a:lnTo>
                      <a:lnTo>
                        <a:pt x="4" y="17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3" y="21"/>
                      </a:lnTo>
                      <a:lnTo>
                        <a:pt x="4" y="23"/>
                      </a:lnTo>
                      <a:lnTo>
                        <a:pt x="6" y="26"/>
                      </a:lnTo>
                      <a:lnTo>
                        <a:pt x="8" y="31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3" y="34"/>
                      </a:lnTo>
                      <a:lnTo>
                        <a:pt x="14" y="32"/>
                      </a:lnTo>
                      <a:lnTo>
                        <a:pt x="18" y="26"/>
                      </a:lnTo>
                      <a:lnTo>
                        <a:pt x="20" y="23"/>
                      </a:lnTo>
                      <a:lnTo>
                        <a:pt x="24" y="21"/>
                      </a:lnTo>
                      <a:lnTo>
                        <a:pt x="29" y="21"/>
                      </a:lnTo>
                      <a:lnTo>
                        <a:pt x="33" y="23"/>
                      </a:lnTo>
                      <a:lnTo>
                        <a:pt x="34" y="21"/>
                      </a:lnTo>
                      <a:lnTo>
                        <a:pt x="36" y="20"/>
                      </a:lnTo>
                      <a:lnTo>
                        <a:pt x="37" y="13"/>
                      </a:lnTo>
                      <a:lnTo>
                        <a:pt x="38" y="11"/>
                      </a:lnTo>
                      <a:lnTo>
                        <a:pt x="41" y="7"/>
                      </a:lnTo>
                      <a:lnTo>
                        <a:pt x="42" y="5"/>
                      </a:lnTo>
                      <a:lnTo>
                        <a:pt x="4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5" name="Freeform 60">
                  <a:extLst>
                    <a:ext uri="{FF2B5EF4-FFF2-40B4-BE49-F238E27FC236}">
                      <a16:creationId xmlns:a16="http://schemas.microsoft.com/office/drawing/2014/main" id="{01058489-EC3F-134B-928F-B3EAC3FB27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7456" y="3356030"/>
                  <a:ext cx="260457" cy="254538"/>
                </a:xfrm>
                <a:custGeom>
                  <a:avLst/>
                  <a:gdLst>
                    <a:gd name="T0" fmla="*/ 2147483647 w 191"/>
                    <a:gd name="T1" fmla="*/ 2147483647 h 172"/>
                    <a:gd name="T2" fmla="*/ 2147483647 w 191"/>
                    <a:gd name="T3" fmla="*/ 2147483647 h 172"/>
                    <a:gd name="T4" fmla="*/ 2147483647 w 191"/>
                    <a:gd name="T5" fmla="*/ 2147483647 h 172"/>
                    <a:gd name="T6" fmla="*/ 2147483647 w 191"/>
                    <a:gd name="T7" fmla="*/ 2147483647 h 172"/>
                    <a:gd name="T8" fmla="*/ 2147483647 w 191"/>
                    <a:gd name="T9" fmla="*/ 2147483647 h 172"/>
                    <a:gd name="T10" fmla="*/ 2147483647 w 191"/>
                    <a:gd name="T11" fmla="*/ 2147483647 h 172"/>
                    <a:gd name="T12" fmla="*/ 2147483647 w 191"/>
                    <a:gd name="T13" fmla="*/ 2147483647 h 172"/>
                    <a:gd name="T14" fmla="*/ 2147483647 w 191"/>
                    <a:gd name="T15" fmla="*/ 2147483647 h 172"/>
                    <a:gd name="T16" fmla="*/ 2147483647 w 191"/>
                    <a:gd name="T17" fmla="*/ 2147483647 h 172"/>
                    <a:gd name="T18" fmla="*/ 2147483647 w 191"/>
                    <a:gd name="T19" fmla="*/ 2147483647 h 172"/>
                    <a:gd name="T20" fmla="*/ 2147483647 w 191"/>
                    <a:gd name="T21" fmla="*/ 2147483647 h 172"/>
                    <a:gd name="T22" fmla="*/ 2147483647 w 191"/>
                    <a:gd name="T23" fmla="*/ 2147483647 h 172"/>
                    <a:gd name="T24" fmla="*/ 2147483647 w 191"/>
                    <a:gd name="T25" fmla="*/ 2147483647 h 172"/>
                    <a:gd name="T26" fmla="*/ 2147483647 w 191"/>
                    <a:gd name="T27" fmla="*/ 2147483647 h 172"/>
                    <a:gd name="T28" fmla="*/ 2147483647 w 191"/>
                    <a:gd name="T29" fmla="*/ 2147483647 h 172"/>
                    <a:gd name="T30" fmla="*/ 2147483647 w 191"/>
                    <a:gd name="T31" fmla="*/ 2147483647 h 172"/>
                    <a:gd name="T32" fmla="*/ 2147483647 w 191"/>
                    <a:gd name="T33" fmla="*/ 2147483647 h 172"/>
                    <a:gd name="T34" fmla="*/ 2147483647 w 191"/>
                    <a:gd name="T35" fmla="*/ 2147483647 h 172"/>
                    <a:gd name="T36" fmla="*/ 2147483647 w 191"/>
                    <a:gd name="T37" fmla="*/ 2147483647 h 172"/>
                    <a:gd name="T38" fmla="*/ 2147483647 w 191"/>
                    <a:gd name="T39" fmla="*/ 2147483647 h 172"/>
                    <a:gd name="T40" fmla="*/ 2147483647 w 191"/>
                    <a:gd name="T41" fmla="*/ 2147483647 h 172"/>
                    <a:gd name="T42" fmla="*/ 2147483647 w 191"/>
                    <a:gd name="T43" fmla="*/ 2147483647 h 172"/>
                    <a:gd name="T44" fmla="*/ 2147483647 w 191"/>
                    <a:gd name="T45" fmla="*/ 2147483647 h 172"/>
                    <a:gd name="T46" fmla="*/ 0 w 191"/>
                    <a:gd name="T47" fmla="*/ 2147483647 h 172"/>
                    <a:gd name="T48" fmla="*/ 2147483647 w 191"/>
                    <a:gd name="T49" fmla="*/ 2147483647 h 172"/>
                    <a:gd name="T50" fmla="*/ 2147483647 w 191"/>
                    <a:gd name="T51" fmla="*/ 2147483647 h 172"/>
                    <a:gd name="T52" fmla="*/ 2147483647 w 191"/>
                    <a:gd name="T53" fmla="*/ 2147483647 h 172"/>
                    <a:gd name="T54" fmla="*/ 2147483647 w 191"/>
                    <a:gd name="T55" fmla="*/ 2147483647 h 172"/>
                    <a:gd name="T56" fmla="*/ 2147483647 w 191"/>
                    <a:gd name="T57" fmla="*/ 2147483647 h 172"/>
                    <a:gd name="T58" fmla="*/ 2147483647 w 191"/>
                    <a:gd name="T59" fmla="*/ 2147483647 h 172"/>
                    <a:gd name="T60" fmla="*/ 2147483647 w 191"/>
                    <a:gd name="T61" fmla="*/ 2147483647 h 172"/>
                    <a:gd name="T62" fmla="*/ 2147483647 w 191"/>
                    <a:gd name="T63" fmla="*/ 2147483647 h 172"/>
                    <a:gd name="T64" fmla="*/ 2147483647 w 191"/>
                    <a:gd name="T65" fmla="*/ 2147483647 h 172"/>
                    <a:gd name="T66" fmla="*/ 2147483647 w 191"/>
                    <a:gd name="T67" fmla="*/ 2147483647 h 172"/>
                    <a:gd name="T68" fmla="*/ 2147483647 w 191"/>
                    <a:gd name="T69" fmla="*/ 2147483647 h 172"/>
                    <a:gd name="T70" fmla="*/ 2147483647 w 191"/>
                    <a:gd name="T71" fmla="*/ 2147483647 h 172"/>
                    <a:gd name="T72" fmla="*/ 2147483647 w 191"/>
                    <a:gd name="T73" fmla="*/ 2147483647 h 172"/>
                    <a:gd name="T74" fmla="*/ 2147483647 w 191"/>
                    <a:gd name="T75" fmla="*/ 2147483647 h 172"/>
                    <a:gd name="T76" fmla="*/ 2147483647 w 191"/>
                    <a:gd name="T77" fmla="*/ 2147483647 h 172"/>
                    <a:gd name="T78" fmla="*/ 2147483647 w 191"/>
                    <a:gd name="T79" fmla="*/ 2147483647 h 172"/>
                    <a:gd name="T80" fmla="*/ 2147483647 w 191"/>
                    <a:gd name="T81" fmla="*/ 2147483647 h 172"/>
                    <a:gd name="T82" fmla="*/ 2147483647 w 191"/>
                    <a:gd name="T83" fmla="*/ 2147483647 h 172"/>
                    <a:gd name="T84" fmla="*/ 2147483647 w 191"/>
                    <a:gd name="T85" fmla="*/ 2147483647 h 172"/>
                    <a:gd name="T86" fmla="*/ 2147483647 w 191"/>
                    <a:gd name="T87" fmla="*/ 2147483647 h 172"/>
                    <a:gd name="T88" fmla="*/ 2147483647 w 191"/>
                    <a:gd name="T89" fmla="*/ 2147483647 h 172"/>
                    <a:gd name="T90" fmla="*/ 2147483647 w 191"/>
                    <a:gd name="T91" fmla="*/ 2147483647 h 172"/>
                    <a:gd name="T92" fmla="*/ 2147483647 w 191"/>
                    <a:gd name="T93" fmla="*/ 2147483647 h 172"/>
                    <a:gd name="T94" fmla="*/ 2147483647 w 191"/>
                    <a:gd name="T95" fmla="*/ 2147483647 h 172"/>
                    <a:gd name="T96" fmla="*/ 2147483647 w 191"/>
                    <a:gd name="T97" fmla="*/ 2147483647 h 172"/>
                    <a:gd name="T98" fmla="*/ 2147483647 w 191"/>
                    <a:gd name="T99" fmla="*/ 2147483647 h 172"/>
                    <a:gd name="T100" fmla="*/ 2147483647 w 191"/>
                    <a:gd name="T101" fmla="*/ 2147483647 h 172"/>
                    <a:gd name="T102" fmla="*/ 2147483647 w 191"/>
                    <a:gd name="T103" fmla="*/ 2147483647 h 172"/>
                    <a:gd name="T104" fmla="*/ 2147483647 w 191"/>
                    <a:gd name="T105" fmla="*/ 2147483647 h 172"/>
                    <a:gd name="T106" fmla="*/ 2147483647 w 191"/>
                    <a:gd name="T107" fmla="*/ 2147483647 h 172"/>
                    <a:gd name="T108" fmla="*/ 2147483647 w 191"/>
                    <a:gd name="T109" fmla="*/ 2147483647 h 172"/>
                    <a:gd name="T110" fmla="*/ 2147483647 w 191"/>
                    <a:gd name="T111" fmla="*/ 2147483647 h 172"/>
                    <a:gd name="T112" fmla="*/ 2147483647 w 191"/>
                    <a:gd name="T113" fmla="*/ 2147483647 h 172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91"/>
                    <a:gd name="T172" fmla="*/ 0 h 172"/>
                    <a:gd name="T173" fmla="*/ 191 w 191"/>
                    <a:gd name="T174" fmla="*/ 172 h 172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91" h="172">
                      <a:moveTo>
                        <a:pt x="186" y="5"/>
                      </a:moveTo>
                      <a:lnTo>
                        <a:pt x="185" y="3"/>
                      </a:lnTo>
                      <a:lnTo>
                        <a:pt x="183" y="1"/>
                      </a:lnTo>
                      <a:lnTo>
                        <a:pt x="179" y="0"/>
                      </a:lnTo>
                      <a:lnTo>
                        <a:pt x="176" y="0"/>
                      </a:lnTo>
                      <a:lnTo>
                        <a:pt x="174" y="3"/>
                      </a:lnTo>
                      <a:lnTo>
                        <a:pt x="174" y="5"/>
                      </a:lnTo>
                      <a:lnTo>
                        <a:pt x="175" y="7"/>
                      </a:lnTo>
                      <a:lnTo>
                        <a:pt x="175" y="11"/>
                      </a:lnTo>
                      <a:lnTo>
                        <a:pt x="174" y="12"/>
                      </a:lnTo>
                      <a:lnTo>
                        <a:pt x="172" y="12"/>
                      </a:lnTo>
                      <a:lnTo>
                        <a:pt x="171" y="11"/>
                      </a:lnTo>
                      <a:lnTo>
                        <a:pt x="170" y="10"/>
                      </a:lnTo>
                      <a:lnTo>
                        <a:pt x="169" y="6"/>
                      </a:lnTo>
                      <a:lnTo>
                        <a:pt x="166" y="5"/>
                      </a:lnTo>
                      <a:lnTo>
                        <a:pt x="165" y="5"/>
                      </a:lnTo>
                      <a:lnTo>
                        <a:pt x="161" y="7"/>
                      </a:lnTo>
                      <a:lnTo>
                        <a:pt x="158" y="11"/>
                      </a:lnTo>
                      <a:lnTo>
                        <a:pt x="157" y="14"/>
                      </a:lnTo>
                      <a:lnTo>
                        <a:pt x="155" y="23"/>
                      </a:lnTo>
                      <a:lnTo>
                        <a:pt x="155" y="31"/>
                      </a:lnTo>
                      <a:lnTo>
                        <a:pt x="152" y="49"/>
                      </a:lnTo>
                      <a:lnTo>
                        <a:pt x="151" y="57"/>
                      </a:lnTo>
                      <a:lnTo>
                        <a:pt x="148" y="64"/>
                      </a:lnTo>
                      <a:lnTo>
                        <a:pt x="143" y="71"/>
                      </a:lnTo>
                      <a:lnTo>
                        <a:pt x="136" y="78"/>
                      </a:lnTo>
                      <a:lnTo>
                        <a:pt x="132" y="81"/>
                      </a:lnTo>
                      <a:lnTo>
                        <a:pt x="129" y="84"/>
                      </a:lnTo>
                      <a:lnTo>
                        <a:pt x="122" y="93"/>
                      </a:lnTo>
                      <a:lnTo>
                        <a:pt x="119" y="96"/>
                      </a:lnTo>
                      <a:lnTo>
                        <a:pt x="115" y="99"/>
                      </a:lnTo>
                      <a:lnTo>
                        <a:pt x="110" y="100"/>
                      </a:lnTo>
                      <a:lnTo>
                        <a:pt x="106" y="100"/>
                      </a:lnTo>
                      <a:lnTo>
                        <a:pt x="105" y="99"/>
                      </a:lnTo>
                      <a:lnTo>
                        <a:pt x="105" y="97"/>
                      </a:lnTo>
                      <a:lnTo>
                        <a:pt x="106" y="94"/>
                      </a:lnTo>
                      <a:lnTo>
                        <a:pt x="109" y="88"/>
                      </a:lnTo>
                      <a:lnTo>
                        <a:pt x="109" y="87"/>
                      </a:lnTo>
                      <a:lnTo>
                        <a:pt x="108" y="84"/>
                      </a:lnTo>
                      <a:lnTo>
                        <a:pt x="105" y="83"/>
                      </a:lnTo>
                      <a:lnTo>
                        <a:pt x="103" y="84"/>
                      </a:lnTo>
                      <a:lnTo>
                        <a:pt x="99" y="87"/>
                      </a:lnTo>
                      <a:lnTo>
                        <a:pt x="96" y="89"/>
                      </a:lnTo>
                      <a:lnTo>
                        <a:pt x="95" y="93"/>
                      </a:lnTo>
                      <a:lnTo>
                        <a:pt x="95" y="96"/>
                      </a:lnTo>
                      <a:lnTo>
                        <a:pt x="96" y="100"/>
                      </a:lnTo>
                      <a:lnTo>
                        <a:pt x="95" y="103"/>
                      </a:lnTo>
                      <a:lnTo>
                        <a:pt x="95" y="106"/>
                      </a:lnTo>
                      <a:lnTo>
                        <a:pt x="94" y="108"/>
                      </a:lnTo>
                      <a:lnTo>
                        <a:pt x="91" y="110"/>
                      </a:lnTo>
                      <a:lnTo>
                        <a:pt x="89" y="114"/>
                      </a:lnTo>
                      <a:lnTo>
                        <a:pt x="86" y="120"/>
                      </a:lnTo>
                      <a:lnTo>
                        <a:pt x="84" y="122"/>
                      </a:lnTo>
                      <a:lnTo>
                        <a:pt x="80" y="123"/>
                      </a:lnTo>
                      <a:lnTo>
                        <a:pt x="76" y="123"/>
                      </a:lnTo>
                      <a:lnTo>
                        <a:pt x="72" y="122"/>
                      </a:lnTo>
                      <a:lnTo>
                        <a:pt x="73" y="120"/>
                      </a:lnTo>
                      <a:lnTo>
                        <a:pt x="71" y="119"/>
                      </a:lnTo>
                      <a:lnTo>
                        <a:pt x="68" y="120"/>
                      </a:lnTo>
                      <a:lnTo>
                        <a:pt x="63" y="122"/>
                      </a:lnTo>
                      <a:lnTo>
                        <a:pt x="57" y="125"/>
                      </a:lnTo>
                      <a:lnTo>
                        <a:pt x="50" y="126"/>
                      </a:lnTo>
                      <a:lnTo>
                        <a:pt x="44" y="125"/>
                      </a:lnTo>
                      <a:lnTo>
                        <a:pt x="40" y="125"/>
                      </a:lnTo>
                      <a:lnTo>
                        <a:pt x="35" y="125"/>
                      </a:lnTo>
                      <a:lnTo>
                        <a:pt x="31" y="127"/>
                      </a:lnTo>
                      <a:lnTo>
                        <a:pt x="28" y="128"/>
                      </a:lnTo>
                      <a:lnTo>
                        <a:pt x="21" y="134"/>
                      </a:lnTo>
                      <a:lnTo>
                        <a:pt x="16" y="140"/>
                      </a:lnTo>
                      <a:lnTo>
                        <a:pt x="9" y="146"/>
                      </a:lnTo>
                      <a:lnTo>
                        <a:pt x="0" y="152"/>
                      </a:lnTo>
                      <a:lnTo>
                        <a:pt x="0" y="154"/>
                      </a:lnTo>
                      <a:lnTo>
                        <a:pt x="0" y="157"/>
                      </a:lnTo>
                      <a:lnTo>
                        <a:pt x="11" y="159"/>
                      </a:lnTo>
                      <a:lnTo>
                        <a:pt x="21" y="163"/>
                      </a:lnTo>
                      <a:lnTo>
                        <a:pt x="23" y="161"/>
                      </a:lnTo>
                      <a:lnTo>
                        <a:pt x="25" y="153"/>
                      </a:lnTo>
                      <a:lnTo>
                        <a:pt x="28" y="151"/>
                      </a:lnTo>
                      <a:lnTo>
                        <a:pt x="29" y="150"/>
                      </a:lnTo>
                      <a:lnTo>
                        <a:pt x="31" y="150"/>
                      </a:lnTo>
                      <a:lnTo>
                        <a:pt x="35" y="150"/>
                      </a:lnTo>
                      <a:lnTo>
                        <a:pt x="37" y="151"/>
                      </a:lnTo>
                      <a:lnTo>
                        <a:pt x="38" y="150"/>
                      </a:lnTo>
                      <a:lnTo>
                        <a:pt x="43" y="147"/>
                      </a:lnTo>
                      <a:lnTo>
                        <a:pt x="48" y="145"/>
                      </a:lnTo>
                      <a:lnTo>
                        <a:pt x="57" y="144"/>
                      </a:lnTo>
                      <a:lnTo>
                        <a:pt x="67" y="144"/>
                      </a:lnTo>
                      <a:lnTo>
                        <a:pt x="77" y="145"/>
                      </a:lnTo>
                      <a:lnTo>
                        <a:pt x="80" y="146"/>
                      </a:lnTo>
                      <a:lnTo>
                        <a:pt x="80" y="147"/>
                      </a:lnTo>
                      <a:lnTo>
                        <a:pt x="80" y="148"/>
                      </a:lnTo>
                      <a:lnTo>
                        <a:pt x="75" y="153"/>
                      </a:lnTo>
                      <a:lnTo>
                        <a:pt x="73" y="158"/>
                      </a:lnTo>
                      <a:lnTo>
                        <a:pt x="73" y="164"/>
                      </a:lnTo>
                      <a:lnTo>
                        <a:pt x="76" y="169"/>
                      </a:lnTo>
                      <a:lnTo>
                        <a:pt x="77" y="170"/>
                      </a:lnTo>
                      <a:lnTo>
                        <a:pt x="78" y="171"/>
                      </a:lnTo>
                      <a:lnTo>
                        <a:pt x="81" y="172"/>
                      </a:lnTo>
                      <a:lnTo>
                        <a:pt x="84" y="171"/>
                      </a:lnTo>
                      <a:lnTo>
                        <a:pt x="87" y="169"/>
                      </a:lnTo>
                      <a:lnTo>
                        <a:pt x="92" y="165"/>
                      </a:lnTo>
                      <a:lnTo>
                        <a:pt x="96" y="163"/>
                      </a:lnTo>
                      <a:lnTo>
                        <a:pt x="103" y="160"/>
                      </a:lnTo>
                      <a:lnTo>
                        <a:pt x="104" y="160"/>
                      </a:lnTo>
                      <a:lnTo>
                        <a:pt x="104" y="158"/>
                      </a:lnTo>
                      <a:lnTo>
                        <a:pt x="104" y="155"/>
                      </a:lnTo>
                      <a:lnTo>
                        <a:pt x="103" y="153"/>
                      </a:lnTo>
                      <a:lnTo>
                        <a:pt x="99" y="150"/>
                      </a:lnTo>
                      <a:lnTo>
                        <a:pt x="96" y="147"/>
                      </a:lnTo>
                      <a:lnTo>
                        <a:pt x="96" y="145"/>
                      </a:lnTo>
                      <a:lnTo>
                        <a:pt x="96" y="139"/>
                      </a:lnTo>
                      <a:lnTo>
                        <a:pt x="99" y="136"/>
                      </a:lnTo>
                      <a:lnTo>
                        <a:pt x="100" y="135"/>
                      </a:lnTo>
                      <a:lnTo>
                        <a:pt x="101" y="136"/>
                      </a:lnTo>
                      <a:lnTo>
                        <a:pt x="104" y="144"/>
                      </a:lnTo>
                      <a:lnTo>
                        <a:pt x="105" y="145"/>
                      </a:lnTo>
                      <a:lnTo>
                        <a:pt x="106" y="145"/>
                      </a:lnTo>
                      <a:lnTo>
                        <a:pt x="110" y="144"/>
                      </a:lnTo>
                      <a:lnTo>
                        <a:pt x="113" y="147"/>
                      </a:lnTo>
                      <a:lnTo>
                        <a:pt x="114" y="150"/>
                      </a:lnTo>
                      <a:lnTo>
                        <a:pt x="117" y="148"/>
                      </a:lnTo>
                      <a:lnTo>
                        <a:pt x="125" y="146"/>
                      </a:lnTo>
                      <a:lnTo>
                        <a:pt x="134" y="144"/>
                      </a:lnTo>
                      <a:lnTo>
                        <a:pt x="137" y="142"/>
                      </a:lnTo>
                      <a:lnTo>
                        <a:pt x="137" y="139"/>
                      </a:lnTo>
                      <a:lnTo>
                        <a:pt x="138" y="139"/>
                      </a:lnTo>
                      <a:lnTo>
                        <a:pt x="139" y="139"/>
                      </a:lnTo>
                      <a:lnTo>
                        <a:pt x="141" y="140"/>
                      </a:lnTo>
                      <a:lnTo>
                        <a:pt x="141" y="142"/>
                      </a:lnTo>
                      <a:lnTo>
                        <a:pt x="141" y="144"/>
                      </a:lnTo>
                      <a:lnTo>
                        <a:pt x="143" y="145"/>
                      </a:lnTo>
                      <a:lnTo>
                        <a:pt x="144" y="142"/>
                      </a:lnTo>
                      <a:lnTo>
                        <a:pt x="146" y="139"/>
                      </a:lnTo>
                      <a:lnTo>
                        <a:pt x="146" y="140"/>
                      </a:lnTo>
                      <a:lnTo>
                        <a:pt x="146" y="136"/>
                      </a:lnTo>
                      <a:lnTo>
                        <a:pt x="147" y="134"/>
                      </a:lnTo>
                      <a:lnTo>
                        <a:pt x="151" y="128"/>
                      </a:lnTo>
                      <a:lnTo>
                        <a:pt x="152" y="126"/>
                      </a:lnTo>
                      <a:lnTo>
                        <a:pt x="155" y="125"/>
                      </a:lnTo>
                      <a:lnTo>
                        <a:pt x="157" y="126"/>
                      </a:lnTo>
                      <a:lnTo>
                        <a:pt x="158" y="128"/>
                      </a:lnTo>
                      <a:lnTo>
                        <a:pt x="158" y="135"/>
                      </a:lnTo>
                      <a:lnTo>
                        <a:pt x="160" y="139"/>
                      </a:lnTo>
                      <a:lnTo>
                        <a:pt x="161" y="140"/>
                      </a:lnTo>
                      <a:lnTo>
                        <a:pt x="164" y="141"/>
                      </a:lnTo>
                      <a:lnTo>
                        <a:pt x="166" y="140"/>
                      </a:lnTo>
                      <a:lnTo>
                        <a:pt x="169" y="138"/>
                      </a:lnTo>
                      <a:lnTo>
                        <a:pt x="174" y="131"/>
                      </a:lnTo>
                      <a:lnTo>
                        <a:pt x="175" y="128"/>
                      </a:lnTo>
                      <a:lnTo>
                        <a:pt x="175" y="126"/>
                      </a:lnTo>
                      <a:lnTo>
                        <a:pt x="174" y="121"/>
                      </a:lnTo>
                      <a:lnTo>
                        <a:pt x="171" y="116"/>
                      </a:lnTo>
                      <a:lnTo>
                        <a:pt x="170" y="112"/>
                      </a:lnTo>
                      <a:lnTo>
                        <a:pt x="171" y="107"/>
                      </a:lnTo>
                      <a:lnTo>
                        <a:pt x="174" y="103"/>
                      </a:lnTo>
                      <a:lnTo>
                        <a:pt x="175" y="100"/>
                      </a:lnTo>
                      <a:lnTo>
                        <a:pt x="176" y="96"/>
                      </a:lnTo>
                      <a:lnTo>
                        <a:pt x="177" y="91"/>
                      </a:lnTo>
                      <a:lnTo>
                        <a:pt x="176" y="87"/>
                      </a:lnTo>
                      <a:lnTo>
                        <a:pt x="176" y="81"/>
                      </a:lnTo>
                      <a:lnTo>
                        <a:pt x="177" y="76"/>
                      </a:lnTo>
                      <a:lnTo>
                        <a:pt x="177" y="72"/>
                      </a:lnTo>
                      <a:lnTo>
                        <a:pt x="179" y="71"/>
                      </a:lnTo>
                      <a:lnTo>
                        <a:pt x="186" y="64"/>
                      </a:lnTo>
                      <a:lnTo>
                        <a:pt x="190" y="57"/>
                      </a:lnTo>
                      <a:lnTo>
                        <a:pt x="191" y="49"/>
                      </a:lnTo>
                      <a:lnTo>
                        <a:pt x="191" y="40"/>
                      </a:lnTo>
                      <a:lnTo>
                        <a:pt x="190" y="40"/>
                      </a:lnTo>
                      <a:lnTo>
                        <a:pt x="190" y="32"/>
                      </a:lnTo>
                      <a:lnTo>
                        <a:pt x="189" y="23"/>
                      </a:lnTo>
                      <a:lnTo>
                        <a:pt x="188" y="14"/>
                      </a:lnTo>
                      <a:lnTo>
                        <a:pt x="18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6" name="Freeform 61">
                  <a:extLst>
                    <a:ext uri="{FF2B5EF4-FFF2-40B4-BE49-F238E27FC236}">
                      <a16:creationId xmlns:a16="http://schemas.microsoft.com/office/drawing/2014/main" id="{A54BA5BA-AE72-1145-BB23-B6EEC55DD7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6160" y="3450742"/>
                  <a:ext cx="11839" cy="11839"/>
                </a:xfrm>
                <a:custGeom>
                  <a:avLst/>
                  <a:gdLst>
                    <a:gd name="T0" fmla="*/ 2147483647 w 9"/>
                    <a:gd name="T1" fmla="*/ 2147483647 h 8"/>
                    <a:gd name="T2" fmla="*/ 2147483647 w 9"/>
                    <a:gd name="T3" fmla="*/ 2147483647 h 8"/>
                    <a:gd name="T4" fmla="*/ 2147483647 w 9"/>
                    <a:gd name="T5" fmla="*/ 0 h 8"/>
                    <a:gd name="T6" fmla="*/ 2147483647 w 9"/>
                    <a:gd name="T7" fmla="*/ 0 h 8"/>
                    <a:gd name="T8" fmla="*/ 2147483647 w 9"/>
                    <a:gd name="T9" fmla="*/ 2147483647 h 8"/>
                    <a:gd name="T10" fmla="*/ 0 w 9"/>
                    <a:gd name="T11" fmla="*/ 2147483647 h 8"/>
                    <a:gd name="T12" fmla="*/ 2147483647 w 9"/>
                    <a:gd name="T13" fmla="*/ 2147483647 h 8"/>
                    <a:gd name="T14" fmla="*/ 2147483647 w 9"/>
                    <a:gd name="T15" fmla="*/ 2147483647 h 8"/>
                    <a:gd name="T16" fmla="*/ 2147483647 w 9"/>
                    <a:gd name="T17" fmla="*/ 2147483647 h 8"/>
                    <a:gd name="T18" fmla="*/ 2147483647 w 9"/>
                    <a:gd name="T19" fmla="*/ 2147483647 h 8"/>
                    <a:gd name="T20" fmla="*/ 2147483647 w 9"/>
                    <a:gd name="T21" fmla="*/ 2147483647 h 8"/>
                    <a:gd name="T22" fmla="*/ 2147483647 w 9"/>
                    <a:gd name="T23" fmla="*/ 2147483647 h 8"/>
                    <a:gd name="T24" fmla="*/ 2147483647 w 9"/>
                    <a:gd name="T25" fmla="*/ 2147483647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8"/>
                    <a:gd name="T41" fmla="*/ 9 w 9"/>
                    <a:gd name="T42" fmla="*/ 8 h 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8">
                      <a:moveTo>
                        <a:pt x="9" y="5"/>
                      </a:moveTo>
                      <a:lnTo>
                        <a:pt x="9" y="3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2" y="8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7" name="Freeform 62">
                  <a:extLst>
                    <a:ext uri="{FF2B5EF4-FFF2-40B4-BE49-F238E27FC236}">
                      <a16:creationId xmlns:a16="http://schemas.microsoft.com/office/drawing/2014/main" id="{5AF81A42-7B22-284B-8684-BD460E5156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4495" y="3354554"/>
                  <a:ext cx="261938" cy="254538"/>
                </a:xfrm>
                <a:custGeom>
                  <a:avLst/>
                  <a:gdLst>
                    <a:gd name="T0" fmla="*/ 2147483647 w 192"/>
                    <a:gd name="T1" fmla="*/ 2147483647 h 172"/>
                    <a:gd name="T2" fmla="*/ 2147483647 w 192"/>
                    <a:gd name="T3" fmla="*/ 2147483647 h 172"/>
                    <a:gd name="T4" fmla="*/ 2147483647 w 192"/>
                    <a:gd name="T5" fmla="*/ 2147483647 h 172"/>
                    <a:gd name="T6" fmla="*/ 2147483647 w 192"/>
                    <a:gd name="T7" fmla="*/ 2147483647 h 172"/>
                    <a:gd name="T8" fmla="*/ 2147483647 w 192"/>
                    <a:gd name="T9" fmla="*/ 2147483647 h 172"/>
                    <a:gd name="T10" fmla="*/ 2147483647 w 192"/>
                    <a:gd name="T11" fmla="*/ 2147483647 h 172"/>
                    <a:gd name="T12" fmla="*/ 2147483647 w 192"/>
                    <a:gd name="T13" fmla="*/ 2147483647 h 172"/>
                    <a:gd name="T14" fmla="*/ 2147483647 w 192"/>
                    <a:gd name="T15" fmla="*/ 2147483647 h 172"/>
                    <a:gd name="T16" fmla="*/ 2147483647 w 192"/>
                    <a:gd name="T17" fmla="*/ 2147483647 h 172"/>
                    <a:gd name="T18" fmla="*/ 2147483647 w 192"/>
                    <a:gd name="T19" fmla="*/ 2147483647 h 172"/>
                    <a:gd name="T20" fmla="*/ 2147483647 w 192"/>
                    <a:gd name="T21" fmla="*/ 2147483647 h 172"/>
                    <a:gd name="T22" fmla="*/ 2147483647 w 192"/>
                    <a:gd name="T23" fmla="*/ 2147483647 h 172"/>
                    <a:gd name="T24" fmla="*/ 2147483647 w 192"/>
                    <a:gd name="T25" fmla="*/ 2147483647 h 172"/>
                    <a:gd name="T26" fmla="*/ 2147483647 w 192"/>
                    <a:gd name="T27" fmla="*/ 2147483647 h 172"/>
                    <a:gd name="T28" fmla="*/ 2147483647 w 192"/>
                    <a:gd name="T29" fmla="*/ 2147483647 h 172"/>
                    <a:gd name="T30" fmla="*/ 2147483647 w 192"/>
                    <a:gd name="T31" fmla="*/ 2147483647 h 172"/>
                    <a:gd name="T32" fmla="*/ 2147483647 w 192"/>
                    <a:gd name="T33" fmla="*/ 2147483647 h 172"/>
                    <a:gd name="T34" fmla="*/ 2147483647 w 192"/>
                    <a:gd name="T35" fmla="*/ 2147483647 h 172"/>
                    <a:gd name="T36" fmla="*/ 2147483647 w 192"/>
                    <a:gd name="T37" fmla="*/ 2147483647 h 172"/>
                    <a:gd name="T38" fmla="*/ 2147483647 w 192"/>
                    <a:gd name="T39" fmla="*/ 2147483647 h 172"/>
                    <a:gd name="T40" fmla="*/ 2147483647 w 192"/>
                    <a:gd name="T41" fmla="*/ 2147483647 h 172"/>
                    <a:gd name="T42" fmla="*/ 2147483647 w 192"/>
                    <a:gd name="T43" fmla="*/ 2147483647 h 172"/>
                    <a:gd name="T44" fmla="*/ 0 w 192"/>
                    <a:gd name="T45" fmla="*/ 2147483647 h 172"/>
                    <a:gd name="T46" fmla="*/ 2147483647 w 192"/>
                    <a:gd name="T47" fmla="*/ 2147483647 h 172"/>
                    <a:gd name="T48" fmla="*/ 2147483647 w 192"/>
                    <a:gd name="T49" fmla="*/ 2147483647 h 172"/>
                    <a:gd name="T50" fmla="*/ 2147483647 w 192"/>
                    <a:gd name="T51" fmla="*/ 2147483647 h 172"/>
                    <a:gd name="T52" fmla="*/ 2147483647 w 192"/>
                    <a:gd name="T53" fmla="*/ 2147483647 h 172"/>
                    <a:gd name="T54" fmla="*/ 2147483647 w 192"/>
                    <a:gd name="T55" fmla="*/ 2147483647 h 172"/>
                    <a:gd name="T56" fmla="*/ 2147483647 w 192"/>
                    <a:gd name="T57" fmla="*/ 2147483647 h 172"/>
                    <a:gd name="T58" fmla="*/ 2147483647 w 192"/>
                    <a:gd name="T59" fmla="*/ 2147483647 h 172"/>
                    <a:gd name="T60" fmla="*/ 2147483647 w 192"/>
                    <a:gd name="T61" fmla="*/ 2147483647 h 172"/>
                    <a:gd name="T62" fmla="*/ 2147483647 w 192"/>
                    <a:gd name="T63" fmla="*/ 2147483647 h 172"/>
                    <a:gd name="T64" fmla="*/ 2147483647 w 192"/>
                    <a:gd name="T65" fmla="*/ 2147483647 h 172"/>
                    <a:gd name="T66" fmla="*/ 2147483647 w 192"/>
                    <a:gd name="T67" fmla="*/ 2147483647 h 172"/>
                    <a:gd name="T68" fmla="*/ 2147483647 w 192"/>
                    <a:gd name="T69" fmla="*/ 2147483647 h 172"/>
                    <a:gd name="T70" fmla="*/ 2147483647 w 192"/>
                    <a:gd name="T71" fmla="*/ 2147483647 h 172"/>
                    <a:gd name="T72" fmla="*/ 2147483647 w 192"/>
                    <a:gd name="T73" fmla="*/ 2147483647 h 172"/>
                    <a:gd name="T74" fmla="*/ 2147483647 w 192"/>
                    <a:gd name="T75" fmla="*/ 2147483647 h 172"/>
                    <a:gd name="T76" fmla="*/ 2147483647 w 192"/>
                    <a:gd name="T77" fmla="*/ 2147483647 h 172"/>
                    <a:gd name="T78" fmla="*/ 2147483647 w 192"/>
                    <a:gd name="T79" fmla="*/ 2147483647 h 172"/>
                    <a:gd name="T80" fmla="*/ 2147483647 w 192"/>
                    <a:gd name="T81" fmla="*/ 2147483647 h 172"/>
                    <a:gd name="T82" fmla="*/ 2147483647 w 192"/>
                    <a:gd name="T83" fmla="*/ 2147483647 h 172"/>
                    <a:gd name="T84" fmla="*/ 2147483647 w 192"/>
                    <a:gd name="T85" fmla="*/ 2147483647 h 172"/>
                    <a:gd name="T86" fmla="*/ 2147483647 w 192"/>
                    <a:gd name="T87" fmla="*/ 2147483647 h 172"/>
                    <a:gd name="T88" fmla="*/ 2147483647 w 192"/>
                    <a:gd name="T89" fmla="*/ 2147483647 h 172"/>
                    <a:gd name="T90" fmla="*/ 2147483647 w 192"/>
                    <a:gd name="T91" fmla="*/ 2147483647 h 172"/>
                    <a:gd name="T92" fmla="*/ 2147483647 w 192"/>
                    <a:gd name="T93" fmla="*/ 2147483647 h 172"/>
                    <a:gd name="T94" fmla="*/ 2147483647 w 192"/>
                    <a:gd name="T95" fmla="*/ 2147483647 h 172"/>
                    <a:gd name="T96" fmla="*/ 2147483647 w 192"/>
                    <a:gd name="T97" fmla="*/ 2147483647 h 172"/>
                    <a:gd name="T98" fmla="*/ 2147483647 w 192"/>
                    <a:gd name="T99" fmla="*/ 2147483647 h 172"/>
                    <a:gd name="T100" fmla="*/ 2147483647 w 192"/>
                    <a:gd name="T101" fmla="*/ 2147483647 h 172"/>
                    <a:gd name="T102" fmla="*/ 2147483647 w 192"/>
                    <a:gd name="T103" fmla="*/ 2147483647 h 172"/>
                    <a:gd name="T104" fmla="*/ 2147483647 w 192"/>
                    <a:gd name="T105" fmla="*/ 2147483647 h 172"/>
                    <a:gd name="T106" fmla="*/ 2147483647 w 192"/>
                    <a:gd name="T107" fmla="*/ 2147483647 h 172"/>
                    <a:gd name="T108" fmla="*/ 2147483647 w 192"/>
                    <a:gd name="T109" fmla="*/ 2147483647 h 172"/>
                    <a:gd name="T110" fmla="*/ 2147483647 w 192"/>
                    <a:gd name="T111" fmla="*/ 2147483647 h 172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92"/>
                    <a:gd name="T169" fmla="*/ 0 h 172"/>
                    <a:gd name="T170" fmla="*/ 192 w 192"/>
                    <a:gd name="T171" fmla="*/ 172 h 172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92" h="172">
                      <a:moveTo>
                        <a:pt x="187" y="5"/>
                      </a:moveTo>
                      <a:lnTo>
                        <a:pt x="187" y="5"/>
                      </a:lnTo>
                      <a:lnTo>
                        <a:pt x="186" y="2"/>
                      </a:lnTo>
                      <a:lnTo>
                        <a:pt x="183" y="1"/>
                      </a:lnTo>
                      <a:lnTo>
                        <a:pt x="179" y="0"/>
                      </a:lnTo>
                      <a:lnTo>
                        <a:pt x="177" y="0"/>
                      </a:lnTo>
                      <a:lnTo>
                        <a:pt x="174" y="2"/>
                      </a:lnTo>
                      <a:lnTo>
                        <a:pt x="174" y="5"/>
                      </a:lnTo>
                      <a:lnTo>
                        <a:pt x="176" y="7"/>
                      </a:lnTo>
                      <a:lnTo>
                        <a:pt x="176" y="11"/>
                      </a:lnTo>
                      <a:lnTo>
                        <a:pt x="174" y="12"/>
                      </a:lnTo>
                      <a:lnTo>
                        <a:pt x="173" y="12"/>
                      </a:lnTo>
                      <a:lnTo>
                        <a:pt x="172" y="11"/>
                      </a:lnTo>
                      <a:lnTo>
                        <a:pt x="171" y="9"/>
                      </a:lnTo>
                      <a:lnTo>
                        <a:pt x="169" y="6"/>
                      </a:lnTo>
                      <a:lnTo>
                        <a:pt x="167" y="5"/>
                      </a:lnTo>
                      <a:lnTo>
                        <a:pt x="166" y="5"/>
                      </a:lnTo>
                      <a:lnTo>
                        <a:pt x="162" y="7"/>
                      </a:lnTo>
                      <a:lnTo>
                        <a:pt x="159" y="11"/>
                      </a:lnTo>
                      <a:lnTo>
                        <a:pt x="158" y="14"/>
                      </a:lnTo>
                      <a:lnTo>
                        <a:pt x="155" y="22"/>
                      </a:lnTo>
                      <a:lnTo>
                        <a:pt x="155" y="31"/>
                      </a:lnTo>
                      <a:lnTo>
                        <a:pt x="153" y="49"/>
                      </a:lnTo>
                      <a:lnTo>
                        <a:pt x="152" y="57"/>
                      </a:lnTo>
                      <a:lnTo>
                        <a:pt x="149" y="64"/>
                      </a:lnTo>
                      <a:lnTo>
                        <a:pt x="144" y="71"/>
                      </a:lnTo>
                      <a:lnTo>
                        <a:pt x="136" y="78"/>
                      </a:lnTo>
                      <a:lnTo>
                        <a:pt x="132" y="81"/>
                      </a:lnTo>
                      <a:lnTo>
                        <a:pt x="130" y="84"/>
                      </a:lnTo>
                      <a:lnTo>
                        <a:pt x="122" y="92"/>
                      </a:lnTo>
                      <a:lnTo>
                        <a:pt x="120" y="96"/>
                      </a:lnTo>
                      <a:lnTo>
                        <a:pt x="116" y="98"/>
                      </a:lnTo>
                      <a:lnTo>
                        <a:pt x="111" y="100"/>
                      </a:lnTo>
                      <a:lnTo>
                        <a:pt x="107" y="100"/>
                      </a:lnTo>
                      <a:lnTo>
                        <a:pt x="106" y="98"/>
                      </a:lnTo>
                      <a:lnTo>
                        <a:pt x="106" y="97"/>
                      </a:lnTo>
                      <a:lnTo>
                        <a:pt x="107" y="94"/>
                      </a:lnTo>
                      <a:lnTo>
                        <a:pt x="110" y="88"/>
                      </a:lnTo>
                      <a:lnTo>
                        <a:pt x="110" y="87"/>
                      </a:lnTo>
                      <a:lnTo>
                        <a:pt x="108" y="84"/>
                      </a:lnTo>
                      <a:lnTo>
                        <a:pt x="106" y="83"/>
                      </a:lnTo>
                      <a:lnTo>
                        <a:pt x="103" y="84"/>
                      </a:lnTo>
                      <a:lnTo>
                        <a:pt x="99" y="87"/>
                      </a:lnTo>
                      <a:lnTo>
                        <a:pt x="97" y="89"/>
                      </a:lnTo>
                      <a:lnTo>
                        <a:pt x="96" y="92"/>
                      </a:lnTo>
                      <a:lnTo>
                        <a:pt x="96" y="96"/>
                      </a:lnTo>
                      <a:lnTo>
                        <a:pt x="97" y="100"/>
                      </a:lnTo>
                      <a:lnTo>
                        <a:pt x="96" y="103"/>
                      </a:lnTo>
                      <a:lnTo>
                        <a:pt x="96" y="105"/>
                      </a:lnTo>
                      <a:lnTo>
                        <a:pt x="94" y="108"/>
                      </a:lnTo>
                      <a:lnTo>
                        <a:pt x="92" y="110"/>
                      </a:lnTo>
                      <a:lnTo>
                        <a:pt x="89" y="114"/>
                      </a:lnTo>
                      <a:lnTo>
                        <a:pt x="87" y="120"/>
                      </a:lnTo>
                      <a:lnTo>
                        <a:pt x="84" y="122"/>
                      </a:lnTo>
                      <a:lnTo>
                        <a:pt x="80" y="123"/>
                      </a:lnTo>
                      <a:lnTo>
                        <a:pt x="77" y="123"/>
                      </a:lnTo>
                      <a:lnTo>
                        <a:pt x="73" y="122"/>
                      </a:lnTo>
                      <a:lnTo>
                        <a:pt x="74" y="120"/>
                      </a:lnTo>
                      <a:lnTo>
                        <a:pt x="72" y="119"/>
                      </a:lnTo>
                      <a:lnTo>
                        <a:pt x="69" y="120"/>
                      </a:lnTo>
                      <a:lnTo>
                        <a:pt x="64" y="122"/>
                      </a:lnTo>
                      <a:lnTo>
                        <a:pt x="58" y="124"/>
                      </a:lnTo>
                      <a:lnTo>
                        <a:pt x="51" y="126"/>
                      </a:lnTo>
                      <a:lnTo>
                        <a:pt x="45" y="124"/>
                      </a:lnTo>
                      <a:lnTo>
                        <a:pt x="41" y="124"/>
                      </a:lnTo>
                      <a:lnTo>
                        <a:pt x="36" y="124"/>
                      </a:lnTo>
                      <a:lnTo>
                        <a:pt x="32" y="127"/>
                      </a:lnTo>
                      <a:lnTo>
                        <a:pt x="28" y="128"/>
                      </a:lnTo>
                      <a:lnTo>
                        <a:pt x="22" y="134"/>
                      </a:lnTo>
                      <a:lnTo>
                        <a:pt x="17" y="140"/>
                      </a:lnTo>
                      <a:lnTo>
                        <a:pt x="9" y="146"/>
                      </a:lnTo>
                      <a:lnTo>
                        <a:pt x="0" y="152"/>
                      </a:lnTo>
                      <a:lnTo>
                        <a:pt x="0" y="154"/>
                      </a:lnTo>
                      <a:lnTo>
                        <a:pt x="0" y="156"/>
                      </a:lnTo>
                      <a:lnTo>
                        <a:pt x="12" y="159"/>
                      </a:lnTo>
                      <a:lnTo>
                        <a:pt x="22" y="162"/>
                      </a:lnTo>
                      <a:lnTo>
                        <a:pt x="23" y="161"/>
                      </a:lnTo>
                      <a:lnTo>
                        <a:pt x="26" y="153"/>
                      </a:lnTo>
                      <a:lnTo>
                        <a:pt x="28" y="151"/>
                      </a:lnTo>
                      <a:lnTo>
                        <a:pt x="30" y="149"/>
                      </a:lnTo>
                      <a:lnTo>
                        <a:pt x="32" y="149"/>
                      </a:lnTo>
                      <a:lnTo>
                        <a:pt x="36" y="149"/>
                      </a:lnTo>
                      <a:lnTo>
                        <a:pt x="37" y="151"/>
                      </a:lnTo>
                      <a:lnTo>
                        <a:pt x="39" y="149"/>
                      </a:lnTo>
                      <a:lnTo>
                        <a:pt x="44" y="147"/>
                      </a:lnTo>
                      <a:lnTo>
                        <a:pt x="49" y="145"/>
                      </a:lnTo>
                      <a:lnTo>
                        <a:pt x="58" y="143"/>
                      </a:lnTo>
                      <a:lnTo>
                        <a:pt x="68" y="143"/>
                      </a:lnTo>
                      <a:lnTo>
                        <a:pt x="78" y="145"/>
                      </a:lnTo>
                      <a:lnTo>
                        <a:pt x="80" y="146"/>
                      </a:lnTo>
                      <a:lnTo>
                        <a:pt x="80" y="147"/>
                      </a:lnTo>
                      <a:lnTo>
                        <a:pt x="80" y="148"/>
                      </a:lnTo>
                      <a:lnTo>
                        <a:pt x="75" y="153"/>
                      </a:lnTo>
                      <a:lnTo>
                        <a:pt x="74" y="158"/>
                      </a:lnTo>
                      <a:lnTo>
                        <a:pt x="74" y="164"/>
                      </a:lnTo>
                      <a:lnTo>
                        <a:pt x="77" y="168"/>
                      </a:lnTo>
                      <a:lnTo>
                        <a:pt x="78" y="170"/>
                      </a:lnTo>
                      <a:lnTo>
                        <a:pt x="79" y="171"/>
                      </a:lnTo>
                      <a:lnTo>
                        <a:pt x="82" y="172"/>
                      </a:lnTo>
                      <a:lnTo>
                        <a:pt x="84" y="171"/>
                      </a:lnTo>
                      <a:lnTo>
                        <a:pt x="88" y="168"/>
                      </a:lnTo>
                      <a:lnTo>
                        <a:pt x="93" y="165"/>
                      </a:lnTo>
                      <a:lnTo>
                        <a:pt x="97" y="162"/>
                      </a:lnTo>
                      <a:lnTo>
                        <a:pt x="103" y="160"/>
                      </a:lnTo>
                      <a:lnTo>
                        <a:pt x="105" y="160"/>
                      </a:lnTo>
                      <a:lnTo>
                        <a:pt x="105" y="158"/>
                      </a:lnTo>
                      <a:lnTo>
                        <a:pt x="105" y="155"/>
                      </a:lnTo>
                      <a:lnTo>
                        <a:pt x="103" y="153"/>
                      </a:lnTo>
                      <a:lnTo>
                        <a:pt x="99" y="149"/>
                      </a:lnTo>
                      <a:lnTo>
                        <a:pt x="97" y="147"/>
                      </a:lnTo>
                      <a:lnTo>
                        <a:pt x="97" y="145"/>
                      </a:lnTo>
                      <a:lnTo>
                        <a:pt x="97" y="139"/>
                      </a:lnTo>
                      <a:lnTo>
                        <a:pt x="99" y="136"/>
                      </a:lnTo>
                      <a:lnTo>
                        <a:pt x="101" y="135"/>
                      </a:lnTo>
                      <a:lnTo>
                        <a:pt x="102" y="136"/>
                      </a:lnTo>
                      <a:lnTo>
                        <a:pt x="105" y="143"/>
                      </a:lnTo>
                      <a:lnTo>
                        <a:pt x="106" y="145"/>
                      </a:lnTo>
                      <a:lnTo>
                        <a:pt x="107" y="145"/>
                      </a:lnTo>
                      <a:lnTo>
                        <a:pt x="111" y="143"/>
                      </a:lnTo>
                      <a:lnTo>
                        <a:pt x="113" y="147"/>
                      </a:lnTo>
                      <a:lnTo>
                        <a:pt x="115" y="149"/>
                      </a:lnTo>
                      <a:lnTo>
                        <a:pt x="117" y="148"/>
                      </a:lnTo>
                      <a:lnTo>
                        <a:pt x="126" y="146"/>
                      </a:lnTo>
                      <a:lnTo>
                        <a:pt x="135" y="143"/>
                      </a:lnTo>
                      <a:lnTo>
                        <a:pt x="138" y="142"/>
                      </a:lnTo>
                      <a:lnTo>
                        <a:pt x="138" y="139"/>
                      </a:lnTo>
                      <a:lnTo>
                        <a:pt x="139" y="139"/>
                      </a:lnTo>
                      <a:lnTo>
                        <a:pt x="140" y="139"/>
                      </a:lnTo>
                      <a:lnTo>
                        <a:pt x="141" y="140"/>
                      </a:lnTo>
                      <a:lnTo>
                        <a:pt x="141" y="142"/>
                      </a:lnTo>
                      <a:lnTo>
                        <a:pt x="141" y="143"/>
                      </a:lnTo>
                      <a:lnTo>
                        <a:pt x="144" y="145"/>
                      </a:lnTo>
                      <a:lnTo>
                        <a:pt x="145" y="142"/>
                      </a:lnTo>
                      <a:lnTo>
                        <a:pt x="146" y="139"/>
                      </a:lnTo>
                      <a:lnTo>
                        <a:pt x="146" y="140"/>
                      </a:lnTo>
                      <a:lnTo>
                        <a:pt x="146" y="136"/>
                      </a:lnTo>
                      <a:lnTo>
                        <a:pt x="148" y="134"/>
                      </a:lnTo>
                      <a:lnTo>
                        <a:pt x="152" y="128"/>
                      </a:lnTo>
                      <a:lnTo>
                        <a:pt x="153" y="126"/>
                      </a:lnTo>
                      <a:lnTo>
                        <a:pt x="155" y="124"/>
                      </a:lnTo>
                      <a:lnTo>
                        <a:pt x="158" y="126"/>
                      </a:lnTo>
                      <a:lnTo>
                        <a:pt x="159" y="128"/>
                      </a:lnTo>
                      <a:lnTo>
                        <a:pt x="159" y="135"/>
                      </a:lnTo>
                      <a:lnTo>
                        <a:pt x="160" y="139"/>
                      </a:lnTo>
                      <a:lnTo>
                        <a:pt x="162" y="140"/>
                      </a:lnTo>
                      <a:lnTo>
                        <a:pt x="164" y="141"/>
                      </a:lnTo>
                      <a:lnTo>
                        <a:pt x="167" y="140"/>
                      </a:lnTo>
                      <a:lnTo>
                        <a:pt x="169" y="137"/>
                      </a:lnTo>
                      <a:lnTo>
                        <a:pt x="174" y="130"/>
                      </a:lnTo>
                      <a:lnTo>
                        <a:pt x="176" y="128"/>
                      </a:lnTo>
                      <a:lnTo>
                        <a:pt x="176" y="126"/>
                      </a:lnTo>
                      <a:lnTo>
                        <a:pt x="174" y="121"/>
                      </a:lnTo>
                      <a:lnTo>
                        <a:pt x="172" y="116"/>
                      </a:lnTo>
                      <a:lnTo>
                        <a:pt x="171" y="111"/>
                      </a:lnTo>
                      <a:lnTo>
                        <a:pt x="172" y="107"/>
                      </a:lnTo>
                      <a:lnTo>
                        <a:pt x="174" y="103"/>
                      </a:lnTo>
                      <a:lnTo>
                        <a:pt x="176" y="100"/>
                      </a:lnTo>
                      <a:lnTo>
                        <a:pt x="177" y="96"/>
                      </a:lnTo>
                      <a:lnTo>
                        <a:pt x="178" y="91"/>
                      </a:lnTo>
                      <a:lnTo>
                        <a:pt x="177" y="87"/>
                      </a:lnTo>
                      <a:lnTo>
                        <a:pt x="177" y="81"/>
                      </a:lnTo>
                      <a:lnTo>
                        <a:pt x="178" y="76"/>
                      </a:lnTo>
                      <a:lnTo>
                        <a:pt x="178" y="72"/>
                      </a:lnTo>
                      <a:lnTo>
                        <a:pt x="179" y="71"/>
                      </a:lnTo>
                      <a:lnTo>
                        <a:pt x="187" y="64"/>
                      </a:lnTo>
                      <a:lnTo>
                        <a:pt x="191" y="57"/>
                      </a:lnTo>
                      <a:lnTo>
                        <a:pt x="192" y="49"/>
                      </a:lnTo>
                      <a:lnTo>
                        <a:pt x="192" y="40"/>
                      </a:lnTo>
                      <a:lnTo>
                        <a:pt x="191" y="40"/>
                      </a:lnTo>
                      <a:lnTo>
                        <a:pt x="191" y="32"/>
                      </a:lnTo>
                      <a:lnTo>
                        <a:pt x="190" y="22"/>
                      </a:lnTo>
                      <a:lnTo>
                        <a:pt x="188" y="14"/>
                      </a:lnTo>
                      <a:lnTo>
                        <a:pt x="187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8" name="Freeform 63">
                  <a:extLst>
                    <a:ext uri="{FF2B5EF4-FFF2-40B4-BE49-F238E27FC236}">
                      <a16:creationId xmlns:a16="http://schemas.microsoft.com/office/drawing/2014/main" id="{B5B40DB1-1A50-1746-B01F-6CAE8F53A9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4681" y="3449264"/>
                  <a:ext cx="10359" cy="11839"/>
                </a:xfrm>
                <a:custGeom>
                  <a:avLst/>
                  <a:gdLst>
                    <a:gd name="T0" fmla="*/ 2147483647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2147483647 h 8"/>
                    <a:gd name="T6" fmla="*/ 2147483647 w 8"/>
                    <a:gd name="T7" fmla="*/ 0 h 8"/>
                    <a:gd name="T8" fmla="*/ 2147483647 w 8"/>
                    <a:gd name="T9" fmla="*/ 0 h 8"/>
                    <a:gd name="T10" fmla="*/ 2147483647 w 8"/>
                    <a:gd name="T11" fmla="*/ 0 h 8"/>
                    <a:gd name="T12" fmla="*/ 2147483647 w 8"/>
                    <a:gd name="T13" fmla="*/ 2147483647 h 8"/>
                    <a:gd name="T14" fmla="*/ 2147483647 w 8"/>
                    <a:gd name="T15" fmla="*/ 2147483647 h 8"/>
                    <a:gd name="T16" fmla="*/ 0 w 8"/>
                    <a:gd name="T17" fmla="*/ 2147483647 h 8"/>
                    <a:gd name="T18" fmla="*/ 2147483647 w 8"/>
                    <a:gd name="T19" fmla="*/ 2147483647 h 8"/>
                    <a:gd name="T20" fmla="*/ 2147483647 w 8"/>
                    <a:gd name="T21" fmla="*/ 2147483647 h 8"/>
                    <a:gd name="T22" fmla="*/ 2147483647 w 8"/>
                    <a:gd name="T23" fmla="*/ 2147483647 h 8"/>
                    <a:gd name="T24" fmla="*/ 2147483647 w 8"/>
                    <a:gd name="T25" fmla="*/ 2147483647 h 8"/>
                    <a:gd name="T26" fmla="*/ 2147483647 w 8"/>
                    <a:gd name="T27" fmla="*/ 2147483647 h 8"/>
                    <a:gd name="T28" fmla="*/ 2147483647 w 8"/>
                    <a:gd name="T29" fmla="*/ 2147483647 h 8"/>
                    <a:gd name="T30" fmla="*/ 2147483647 w 8"/>
                    <a:gd name="T31" fmla="*/ 2147483647 h 8"/>
                    <a:gd name="T32" fmla="*/ 2147483647 w 8"/>
                    <a:gd name="T33" fmla="*/ 2147483647 h 8"/>
                    <a:gd name="T34" fmla="*/ 2147483647 w 8"/>
                    <a:gd name="T35" fmla="*/ 2147483647 h 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"/>
                    <a:gd name="T55" fmla="*/ 0 h 8"/>
                    <a:gd name="T56" fmla="*/ 8 w 8"/>
                    <a:gd name="T57" fmla="*/ 8 h 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" h="8">
                      <a:moveTo>
                        <a:pt x="8" y="5"/>
                      </a:moveTo>
                      <a:lnTo>
                        <a:pt x="8" y="5"/>
                      </a:ln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2" y="8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8" y="7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9" name="Freeform 64">
                  <a:extLst>
                    <a:ext uri="{FF2B5EF4-FFF2-40B4-BE49-F238E27FC236}">
                      <a16:creationId xmlns:a16="http://schemas.microsoft.com/office/drawing/2014/main" id="{B3956F62-3D73-824B-9B60-784449876F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1536" y="3697885"/>
                  <a:ext cx="8879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0 h 9"/>
                    <a:gd name="T4" fmla="*/ 2147483647 w 6"/>
                    <a:gd name="T5" fmla="*/ 0 h 9"/>
                    <a:gd name="T6" fmla="*/ 2147483647 w 6"/>
                    <a:gd name="T7" fmla="*/ 2147483647 h 9"/>
                    <a:gd name="T8" fmla="*/ 0 w 6"/>
                    <a:gd name="T9" fmla="*/ 2147483647 h 9"/>
                    <a:gd name="T10" fmla="*/ 0 w 6"/>
                    <a:gd name="T11" fmla="*/ 2147483647 h 9"/>
                    <a:gd name="T12" fmla="*/ 2147483647 w 6"/>
                    <a:gd name="T13" fmla="*/ 2147483647 h 9"/>
                    <a:gd name="T14" fmla="*/ 2147483647 w 6"/>
                    <a:gd name="T15" fmla="*/ 2147483647 h 9"/>
                    <a:gd name="T16" fmla="*/ 2147483647 w 6"/>
                    <a:gd name="T17" fmla="*/ 2147483647 h 9"/>
                    <a:gd name="T18" fmla="*/ 2147483647 w 6"/>
                    <a:gd name="T19" fmla="*/ 2147483647 h 9"/>
                    <a:gd name="T20" fmla="*/ 2147483647 w 6"/>
                    <a:gd name="T21" fmla="*/ 2147483647 h 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9"/>
                    <a:gd name="T35" fmla="*/ 6 w 6"/>
                    <a:gd name="T36" fmla="*/ 9 h 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9">
                      <a:moveTo>
                        <a:pt x="6" y="3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2" y="9"/>
                      </a:lnTo>
                      <a:lnTo>
                        <a:pt x="2" y="7"/>
                      </a:lnTo>
                      <a:lnTo>
                        <a:pt x="5" y="4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0" name="Freeform 65">
                  <a:extLst>
                    <a:ext uri="{FF2B5EF4-FFF2-40B4-BE49-F238E27FC236}">
                      <a16:creationId xmlns:a16="http://schemas.microsoft.com/office/drawing/2014/main" id="{938FB81F-87B6-C343-9E54-CADA522BA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96118" y="3216927"/>
                  <a:ext cx="140587" cy="134669"/>
                </a:xfrm>
                <a:custGeom>
                  <a:avLst/>
                  <a:gdLst>
                    <a:gd name="T0" fmla="*/ 2147483647 w 103"/>
                    <a:gd name="T1" fmla="*/ 0 h 91"/>
                    <a:gd name="T2" fmla="*/ 2147483647 w 103"/>
                    <a:gd name="T3" fmla="*/ 2147483647 h 91"/>
                    <a:gd name="T4" fmla="*/ 2147483647 w 103"/>
                    <a:gd name="T5" fmla="*/ 2147483647 h 91"/>
                    <a:gd name="T6" fmla="*/ 2147483647 w 103"/>
                    <a:gd name="T7" fmla="*/ 2147483647 h 91"/>
                    <a:gd name="T8" fmla="*/ 2147483647 w 103"/>
                    <a:gd name="T9" fmla="*/ 2147483647 h 91"/>
                    <a:gd name="T10" fmla="*/ 2147483647 w 103"/>
                    <a:gd name="T11" fmla="*/ 2147483647 h 91"/>
                    <a:gd name="T12" fmla="*/ 2147483647 w 103"/>
                    <a:gd name="T13" fmla="*/ 2147483647 h 91"/>
                    <a:gd name="T14" fmla="*/ 2147483647 w 103"/>
                    <a:gd name="T15" fmla="*/ 2147483647 h 91"/>
                    <a:gd name="T16" fmla="*/ 2147483647 w 103"/>
                    <a:gd name="T17" fmla="*/ 2147483647 h 91"/>
                    <a:gd name="T18" fmla="*/ 2147483647 w 103"/>
                    <a:gd name="T19" fmla="*/ 2147483647 h 91"/>
                    <a:gd name="T20" fmla="*/ 2147483647 w 103"/>
                    <a:gd name="T21" fmla="*/ 2147483647 h 91"/>
                    <a:gd name="T22" fmla="*/ 2147483647 w 103"/>
                    <a:gd name="T23" fmla="*/ 2147483647 h 91"/>
                    <a:gd name="T24" fmla="*/ 0 w 103"/>
                    <a:gd name="T25" fmla="*/ 2147483647 h 91"/>
                    <a:gd name="T26" fmla="*/ 2147483647 w 103"/>
                    <a:gd name="T27" fmla="*/ 2147483647 h 91"/>
                    <a:gd name="T28" fmla="*/ 2147483647 w 103"/>
                    <a:gd name="T29" fmla="*/ 2147483647 h 91"/>
                    <a:gd name="T30" fmla="*/ 2147483647 w 103"/>
                    <a:gd name="T31" fmla="*/ 2147483647 h 91"/>
                    <a:gd name="T32" fmla="*/ 2147483647 w 103"/>
                    <a:gd name="T33" fmla="*/ 2147483647 h 91"/>
                    <a:gd name="T34" fmla="*/ 2147483647 w 103"/>
                    <a:gd name="T35" fmla="*/ 2147483647 h 91"/>
                    <a:gd name="T36" fmla="*/ 2147483647 w 103"/>
                    <a:gd name="T37" fmla="*/ 2147483647 h 91"/>
                    <a:gd name="T38" fmla="*/ 2147483647 w 103"/>
                    <a:gd name="T39" fmla="*/ 2147483647 h 91"/>
                    <a:gd name="T40" fmla="*/ 2147483647 w 103"/>
                    <a:gd name="T41" fmla="*/ 2147483647 h 91"/>
                    <a:gd name="T42" fmla="*/ 2147483647 w 103"/>
                    <a:gd name="T43" fmla="*/ 2147483647 h 91"/>
                    <a:gd name="T44" fmla="*/ 2147483647 w 103"/>
                    <a:gd name="T45" fmla="*/ 2147483647 h 91"/>
                    <a:gd name="T46" fmla="*/ 2147483647 w 103"/>
                    <a:gd name="T47" fmla="*/ 2147483647 h 91"/>
                    <a:gd name="T48" fmla="*/ 2147483647 w 103"/>
                    <a:gd name="T49" fmla="*/ 2147483647 h 91"/>
                    <a:gd name="T50" fmla="*/ 2147483647 w 103"/>
                    <a:gd name="T51" fmla="*/ 2147483647 h 91"/>
                    <a:gd name="T52" fmla="*/ 2147483647 w 103"/>
                    <a:gd name="T53" fmla="*/ 2147483647 h 91"/>
                    <a:gd name="T54" fmla="*/ 2147483647 w 103"/>
                    <a:gd name="T55" fmla="*/ 2147483647 h 91"/>
                    <a:gd name="T56" fmla="*/ 2147483647 w 103"/>
                    <a:gd name="T57" fmla="*/ 2147483647 h 91"/>
                    <a:gd name="T58" fmla="*/ 2147483647 w 103"/>
                    <a:gd name="T59" fmla="*/ 2147483647 h 91"/>
                    <a:gd name="T60" fmla="*/ 2147483647 w 103"/>
                    <a:gd name="T61" fmla="*/ 2147483647 h 91"/>
                    <a:gd name="T62" fmla="*/ 2147483647 w 103"/>
                    <a:gd name="T63" fmla="*/ 2147483647 h 91"/>
                    <a:gd name="T64" fmla="*/ 2147483647 w 103"/>
                    <a:gd name="T65" fmla="*/ 2147483647 h 91"/>
                    <a:gd name="T66" fmla="*/ 2147483647 w 103"/>
                    <a:gd name="T67" fmla="*/ 2147483647 h 91"/>
                    <a:gd name="T68" fmla="*/ 2147483647 w 103"/>
                    <a:gd name="T69" fmla="*/ 2147483647 h 91"/>
                    <a:gd name="T70" fmla="*/ 2147483647 w 103"/>
                    <a:gd name="T71" fmla="*/ 2147483647 h 91"/>
                    <a:gd name="T72" fmla="*/ 2147483647 w 103"/>
                    <a:gd name="T73" fmla="*/ 2147483647 h 91"/>
                    <a:gd name="T74" fmla="*/ 2147483647 w 103"/>
                    <a:gd name="T75" fmla="*/ 2147483647 h 91"/>
                    <a:gd name="T76" fmla="*/ 2147483647 w 103"/>
                    <a:gd name="T77" fmla="*/ 2147483647 h 91"/>
                    <a:gd name="T78" fmla="*/ 2147483647 w 103"/>
                    <a:gd name="T79" fmla="*/ 2147483647 h 91"/>
                    <a:gd name="T80" fmla="*/ 2147483647 w 103"/>
                    <a:gd name="T81" fmla="*/ 2147483647 h 91"/>
                    <a:gd name="T82" fmla="*/ 2147483647 w 103"/>
                    <a:gd name="T83" fmla="*/ 2147483647 h 91"/>
                    <a:gd name="T84" fmla="*/ 2147483647 w 103"/>
                    <a:gd name="T85" fmla="*/ 2147483647 h 91"/>
                    <a:gd name="T86" fmla="*/ 2147483647 w 103"/>
                    <a:gd name="T87" fmla="*/ 2147483647 h 91"/>
                    <a:gd name="T88" fmla="*/ 2147483647 w 103"/>
                    <a:gd name="T89" fmla="*/ 2147483647 h 91"/>
                    <a:gd name="T90" fmla="*/ 2147483647 w 103"/>
                    <a:gd name="T91" fmla="*/ 2147483647 h 9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03"/>
                    <a:gd name="T139" fmla="*/ 0 h 91"/>
                    <a:gd name="T140" fmla="*/ 103 w 103"/>
                    <a:gd name="T141" fmla="*/ 91 h 9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03" h="91">
                      <a:moveTo>
                        <a:pt x="41" y="2"/>
                      </a:moveTo>
                      <a:lnTo>
                        <a:pt x="37" y="0"/>
                      </a:lnTo>
                      <a:lnTo>
                        <a:pt x="35" y="0"/>
                      </a:lnTo>
                      <a:lnTo>
                        <a:pt x="33" y="2"/>
                      </a:lnTo>
                      <a:lnTo>
                        <a:pt x="32" y="4"/>
                      </a:lnTo>
                      <a:lnTo>
                        <a:pt x="31" y="17"/>
                      </a:lnTo>
                      <a:lnTo>
                        <a:pt x="31" y="23"/>
                      </a:lnTo>
                      <a:lnTo>
                        <a:pt x="30" y="29"/>
                      </a:lnTo>
                      <a:lnTo>
                        <a:pt x="28" y="35"/>
                      </a:lnTo>
                      <a:lnTo>
                        <a:pt x="30" y="40"/>
                      </a:lnTo>
                      <a:lnTo>
                        <a:pt x="30" y="44"/>
                      </a:lnTo>
                      <a:lnTo>
                        <a:pt x="30" y="47"/>
                      </a:lnTo>
                      <a:lnTo>
                        <a:pt x="28" y="49"/>
                      </a:lnTo>
                      <a:lnTo>
                        <a:pt x="27" y="50"/>
                      </a:lnTo>
                      <a:lnTo>
                        <a:pt x="24" y="51"/>
                      </a:lnTo>
                      <a:lnTo>
                        <a:pt x="21" y="50"/>
                      </a:lnTo>
                      <a:lnTo>
                        <a:pt x="17" y="49"/>
                      </a:lnTo>
                      <a:lnTo>
                        <a:pt x="12" y="48"/>
                      </a:lnTo>
                      <a:lnTo>
                        <a:pt x="9" y="49"/>
                      </a:lnTo>
                      <a:lnTo>
                        <a:pt x="11" y="54"/>
                      </a:lnTo>
                      <a:lnTo>
                        <a:pt x="11" y="56"/>
                      </a:lnTo>
                      <a:lnTo>
                        <a:pt x="9" y="59"/>
                      </a:lnTo>
                      <a:lnTo>
                        <a:pt x="8" y="61"/>
                      </a:lnTo>
                      <a:lnTo>
                        <a:pt x="4" y="62"/>
                      </a:lnTo>
                      <a:lnTo>
                        <a:pt x="0" y="65"/>
                      </a:lnTo>
                      <a:lnTo>
                        <a:pt x="0" y="67"/>
                      </a:lnTo>
                      <a:lnTo>
                        <a:pt x="0" y="70"/>
                      </a:lnTo>
                      <a:lnTo>
                        <a:pt x="2" y="79"/>
                      </a:lnTo>
                      <a:lnTo>
                        <a:pt x="4" y="87"/>
                      </a:lnTo>
                      <a:lnTo>
                        <a:pt x="7" y="89"/>
                      </a:lnTo>
                      <a:lnTo>
                        <a:pt x="9" y="91"/>
                      </a:lnTo>
                      <a:lnTo>
                        <a:pt x="11" y="91"/>
                      </a:lnTo>
                      <a:lnTo>
                        <a:pt x="12" y="91"/>
                      </a:lnTo>
                      <a:lnTo>
                        <a:pt x="16" y="88"/>
                      </a:lnTo>
                      <a:lnTo>
                        <a:pt x="23" y="87"/>
                      </a:lnTo>
                      <a:lnTo>
                        <a:pt x="27" y="86"/>
                      </a:lnTo>
                      <a:lnTo>
                        <a:pt x="30" y="82"/>
                      </a:lnTo>
                      <a:lnTo>
                        <a:pt x="30" y="81"/>
                      </a:lnTo>
                      <a:lnTo>
                        <a:pt x="30" y="79"/>
                      </a:lnTo>
                      <a:lnTo>
                        <a:pt x="26" y="75"/>
                      </a:lnTo>
                      <a:lnTo>
                        <a:pt x="21" y="73"/>
                      </a:lnTo>
                      <a:lnTo>
                        <a:pt x="17" y="69"/>
                      </a:lnTo>
                      <a:lnTo>
                        <a:pt x="17" y="67"/>
                      </a:lnTo>
                      <a:lnTo>
                        <a:pt x="18" y="66"/>
                      </a:lnTo>
                      <a:lnTo>
                        <a:pt x="21" y="65"/>
                      </a:lnTo>
                      <a:lnTo>
                        <a:pt x="23" y="66"/>
                      </a:lnTo>
                      <a:lnTo>
                        <a:pt x="27" y="66"/>
                      </a:lnTo>
                      <a:lnTo>
                        <a:pt x="31" y="66"/>
                      </a:lnTo>
                      <a:lnTo>
                        <a:pt x="35" y="66"/>
                      </a:lnTo>
                      <a:lnTo>
                        <a:pt x="38" y="66"/>
                      </a:lnTo>
                      <a:lnTo>
                        <a:pt x="44" y="67"/>
                      </a:lnTo>
                      <a:lnTo>
                        <a:pt x="47" y="69"/>
                      </a:lnTo>
                      <a:lnTo>
                        <a:pt x="57" y="78"/>
                      </a:lnTo>
                      <a:lnTo>
                        <a:pt x="64" y="80"/>
                      </a:lnTo>
                      <a:lnTo>
                        <a:pt x="69" y="80"/>
                      </a:lnTo>
                      <a:lnTo>
                        <a:pt x="70" y="79"/>
                      </a:lnTo>
                      <a:lnTo>
                        <a:pt x="70" y="78"/>
                      </a:lnTo>
                      <a:lnTo>
                        <a:pt x="69" y="73"/>
                      </a:lnTo>
                      <a:lnTo>
                        <a:pt x="68" y="69"/>
                      </a:lnTo>
                      <a:lnTo>
                        <a:pt x="66" y="67"/>
                      </a:lnTo>
                      <a:lnTo>
                        <a:pt x="66" y="66"/>
                      </a:lnTo>
                      <a:lnTo>
                        <a:pt x="70" y="63"/>
                      </a:lnTo>
                      <a:lnTo>
                        <a:pt x="75" y="61"/>
                      </a:lnTo>
                      <a:lnTo>
                        <a:pt x="84" y="59"/>
                      </a:lnTo>
                      <a:lnTo>
                        <a:pt x="93" y="57"/>
                      </a:lnTo>
                      <a:lnTo>
                        <a:pt x="99" y="56"/>
                      </a:lnTo>
                      <a:lnTo>
                        <a:pt x="103" y="53"/>
                      </a:lnTo>
                      <a:lnTo>
                        <a:pt x="103" y="50"/>
                      </a:lnTo>
                      <a:lnTo>
                        <a:pt x="103" y="48"/>
                      </a:lnTo>
                      <a:lnTo>
                        <a:pt x="102" y="46"/>
                      </a:lnTo>
                      <a:lnTo>
                        <a:pt x="98" y="46"/>
                      </a:lnTo>
                      <a:lnTo>
                        <a:pt x="96" y="44"/>
                      </a:lnTo>
                      <a:lnTo>
                        <a:pt x="92" y="43"/>
                      </a:lnTo>
                      <a:lnTo>
                        <a:pt x="92" y="41"/>
                      </a:lnTo>
                      <a:lnTo>
                        <a:pt x="92" y="37"/>
                      </a:lnTo>
                      <a:lnTo>
                        <a:pt x="91" y="35"/>
                      </a:lnTo>
                      <a:lnTo>
                        <a:pt x="92" y="33"/>
                      </a:lnTo>
                      <a:lnTo>
                        <a:pt x="96" y="29"/>
                      </a:lnTo>
                      <a:lnTo>
                        <a:pt x="97" y="28"/>
                      </a:lnTo>
                      <a:lnTo>
                        <a:pt x="97" y="25"/>
                      </a:lnTo>
                      <a:lnTo>
                        <a:pt x="96" y="24"/>
                      </a:lnTo>
                      <a:lnTo>
                        <a:pt x="94" y="24"/>
                      </a:lnTo>
                      <a:lnTo>
                        <a:pt x="93" y="25"/>
                      </a:lnTo>
                      <a:lnTo>
                        <a:pt x="88" y="28"/>
                      </a:lnTo>
                      <a:lnTo>
                        <a:pt x="84" y="29"/>
                      </a:lnTo>
                      <a:lnTo>
                        <a:pt x="80" y="30"/>
                      </a:lnTo>
                      <a:lnTo>
                        <a:pt x="75" y="30"/>
                      </a:lnTo>
                      <a:lnTo>
                        <a:pt x="68" y="28"/>
                      </a:lnTo>
                      <a:lnTo>
                        <a:pt x="60" y="24"/>
                      </a:lnTo>
                      <a:lnTo>
                        <a:pt x="54" y="19"/>
                      </a:lnTo>
                      <a:lnTo>
                        <a:pt x="50" y="14"/>
                      </a:lnTo>
                      <a:lnTo>
                        <a:pt x="4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1" name="Freeform 66">
                  <a:extLst>
                    <a:ext uri="{FF2B5EF4-FFF2-40B4-BE49-F238E27FC236}">
                      <a16:creationId xmlns:a16="http://schemas.microsoft.com/office/drawing/2014/main" id="{51F49953-E670-7E48-A398-8622216CFF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0057" y="3696401"/>
                  <a:ext cx="887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0 h 8"/>
                    <a:gd name="T6" fmla="*/ 2147483647 w 6"/>
                    <a:gd name="T7" fmla="*/ 0 h 8"/>
                    <a:gd name="T8" fmla="*/ 2147483647 w 6"/>
                    <a:gd name="T9" fmla="*/ 0 h 8"/>
                    <a:gd name="T10" fmla="*/ 2147483647 w 6"/>
                    <a:gd name="T11" fmla="*/ 2147483647 h 8"/>
                    <a:gd name="T12" fmla="*/ 0 w 6"/>
                    <a:gd name="T13" fmla="*/ 2147483647 h 8"/>
                    <a:gd name="T14" fmla="*/ 0 w 6"/>
                    <a:gd name="T15" fmla="*/ 2147483647 h 8"/>
                    <a:gd name="T16" fmla="*/ 2147483647 w 6"/>
                    <a:gd name="T17" fmla="*/ 2147483647 h 8"/>
                    <a:gd name="T18" fmla="*/ 2147483647 w 6"/>
                    <a:gd name="T19" fmla="*/ 2147483647 h 8"/>
                    <a:gd name="T20" fmla="*/ 2147483647 w 6"/>
                    <a:gd name="T21" fmla="*/ 2147483647 h 8"/>
                    <a:gd name="T22" fmla="*/ 2147483647 w 6"/>
                    <a:gd name="T23" fmla="*/ 2147483647 h 8"/>
                    <a:gd name="T24" fmla="*/ 2147483647 w 6"/>
                    <a:gd name="T25" fmla="*/ 2147483647 h 8"/>
                    <a:gd name="T26" fmla="*/ 2147483647 w 6"/>
                    <a:gd name="T27" fmla="*/ 2147483647 h 8"/>
                    <a:gd name="T28" fmla="*/ 2147483647 w 6"/>
                    <a:gd name="T29" fmla="*/ 2147483647 h 8"/>
                    <a:gd name="T30" fmla="*/ 2147483647 w 6"/>
                    <a:gd name="T31" fmla="*/ 2147483647 h 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8"/>
                    <a:gd name="T50" fmla="*/ 6 w 6"/>
                    <a:gd name="T51" fmla="*/ 8 h 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8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2" y="8"/>
                      </a:lnTo>
                      <a:lnTo>
                        <a:pt x="2" y="7"/>
                      </a:lnTo>
                      <a:lnTo>
                        <a:pt x="5" y="4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2" name="Freeform 67">
                  <a:extLst>
                    <a:ext uri="{FF2B5EF4-FFF2-40B4-BE49-F238E27FC236}">
                      <a16:creationId xmlns:a16="http://schemas.microsoft.com/office/drawing/2014/main" id="{DB5285AA-7012-EA4B-9000-54E0BB6FAC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94640" y="3215444"/>
                  <a:ext cx="140588" cy="133188"/>
                </a:xfrm>
                <a:custGeom>
                  <a:avLst/>
                  <a:gdLst>
                    <a:gd name="T0" fmla="*/ 2147483647 w 103"/>
                    <a:gd name="T1" fmla="*/ 2147483647 h 90"/>
                    <a:gd name="T2" fmla="*/ 2147483647 w 103"/>
                    <a:gd name="T3" fmla="*/ 0 h 90"/>
                    <a:gd name="T4" fmla="*/ 2147483647 w 103"/>
                    <a:gd name="T5" fmla="*/ 2147483647 h 90"/>
                    <a:gd name="T6" fmla="*/ 2147483647 w 103"/>
                    <a:gd name="T7" fmla="*/ 2147483647 h 90"/>
                    <a:gd name="T8" fmla="*/ 2147483647 w 103"/>
                    <a:gd name="T9" fmla="*/ 2147483647 h 90"/>
                    <a:gd name="T10" fmla="*/ 2147483647 w 103"/>
                    <a:gd name="T11" fmla="*/ 2147483647 h 90"/>
                    <a:gd name="T12" fmla="*/ 2147483647 w 103"/>
                    <a:gd name="T13" fmla="*/ 2147483647 h 90"/>
                    <a:gd name="T14" fmla="*/ 2147483647 w 103"/>
                    <a:gd name="T15" fmla="*/ 2147483647 h 90"/>
                    <a:gd name="T16" fmla="*/ 2147483647 w 103"/>
                    <a:gd name="T17" fmla="*/ 2147483647 h 90"/>
                    <a:gd name="T18" fmla="*/ 2147483647 w 103"/>
                    <a:gd name="T19" fmla="*/ 2147483647 h 90"/>
                    <a:gd name="T20" fmla="*/ 2147483647 w 103"/>
                    <a:gd name="T21" fmla="*/ 2147483647 h 90"/>
                    <a:gd name="T22" fmla="*/ 2147483647 w 103"/>
                    <a:gd name="T23" fmla="*/ 2147483647 h 90"/>
                    <a:gd name="T24" fmla="*/ 2147483647 w 103"/>
                    <a:gd name="T25" fmla="*/ 2147483647 h 90"/>
                    <a:gd name="T26" fmla="*/ 2147483647 w 103"/>
                    <a:gd name="T27" fmla="*/ 2147483647 h 90"/>
                    <a:gd name="T28" fmla="*/ 2147483647 w 103"/>
                    <a:gd name="T29" fmla="*/ 2147483647 h 90"/>
                    <a:gd name="T30" fmla="*/ 0 w 103"/>
                    <a:gd name="T31" fmla="*/ 2147483647 h 90"/>
                    <a:gd name="T32" fmla="*/ 0 w 103"/>
                    <a:gd name="T33" fmla="*/ 2147483647 h 90"/>
                    <a:gd name="T34" fmla="*/ 2147483647 w 103"/>
                    <a:gd name="T35" fmla="*/ 2147483647 h 90"/>
                    <a:gd name="T36" fmla="*/ 2147483647 w 103"/>
                    <a:gd name="T37" fmla="*/ 2147483647 h 90"/>
                    <a:gd name="T38" fmla="*/ 2147483647 w 103"/>
                    <a:gd name="T39" fmla="*/ 2147483647 h 90"/>
                    <a:gd name="T40" fmla="*/ 2147483647 w 103"/>
                    <a:gd name="T41" fmla="*/ 2147483647 h 90"/>
                    <a:gd name="T42" fmla="*/ 2147483647 w 103"/>
                    <a:gd name="T43" fmla="*/ 2147483647 h 90"/>
                    <a:gd name="T44" fmla="*/ 2147483647 w 103"/>
                    <a:gd name="T45" fmla="*/ 2147483647 h 90"/>
                    <a:gd name="T46" fmla="*/ 2147483647 w 103"/>
                    <a:gd name="T47" fmla="*/ 2147483647 h 90"/>
                    <a:gd name="T48" fmla="*/ 2147483647 w 103"/>
                    <a:gd name="T49" fmla="*/ 2147483647 h 90"/>
                    <a:gd name="T50" fmla="*/ 2147483647 w 103"/>
                    <a:gd name="T51" fmla="*/ 2147483647 h 90"/>
                    <a:gd name="T52" fmla="*/ 2147483647 w 103"/>
                    <a:gd name="T53" fmla="*/ 2147483647 h 90"/>
                    <a:gd name="T54" fmla="*/ 2147483647 w 103"/>
                    <a:gd name="T55" fmla="*/ 2147483647 h 90"/>
                    <a:gd name="T56" fmla="*/ 2147483647 w 103"/>
                    <a:gd name="T57" fmla="*/ 2147483647 h 90"/>
                    <a:gd name="T58" fmla="*/ 2147483647 w 103"/>
                    <a:gd name="T59" fmla="*/ 2147483647 h 90"/>
                    <a:gd name="T60" fmla="*/ 2147483647 w 103"/>
                    <a:gd name="T61" fmla="*/ 2147483647 h 90"/>
                    <a:gd name="T62" fmla="*/ 2147483647 w 103"/>
                    <a:gd name="T63" fmla="*/ 2147483647 h 90"/>
                    <a:gd name="T64" fmla="*/ 2147483647 w 103"/>
                    <a:gd name="T65" fmla="*/ 2147483647 h 90"/>
                    <a:gd name="T66" fmla="*/ 2147483647 w 103"/>
                    <a:gd name="T67" fmla="*/ 2147483647 h 90"/>
                    <a:gd name="T68" fmla="*/ 2147483647 w 103"/>
                    <a:gd name="T69" fmla="*/ 2147483647 h 90"/>
                    <a:gd name="T70" fmla="*/ 2147483647 w 103"/>
                    <a:gd name="T71" fmla="*/ 2147483647 h 90"/>
                    <a:gd name="T72" fmla="*/ 2147483647 w 103"/>
                    <a:gd name="T73" fmla="*/ 2147483647 h 90"/>
                    <a:gd name="T74" fmla="*/ 2147483647 w 103"/>
                    <a:gd name="T75" fmla="*/ 2147483647 h 90"/>
                    <a:gd name="T76" fmla="*/ 2147483647 w 103"/>
                    <a:gd name="T77" fmla="*/ 2147483647 h 90"/>
                    <a:gd name="T78" fmla="*/ 2147483647 w 103"/>
                    <a:gd name="T79" fmla="*/ 2147483647 h 90"/>
                    <a:gd name="T80" fmla="*/ 2147483647 w 103"/>
                    <a:gd name="T81" fmla="*/ 2147483647 h 90"/>
                    <a:gd name="T82" fmla="*/ 2147483647 w 103"/>
                    <a:gd name="T83" fmla="*/ 2147483647 h 90"/>
                    <a:gd name="T84" fmla="*/ 2147483647 w 103"/>
                    <a:gd name="T85" fmla="*/ 2147483647 h 90"/>
                    <a:gd name="T86" fmla="*/ 2147483647 w 103"/>
                    <a:gd name="T87" fmla="*/ 2147483647 h 90"/>
                    <a:gd name="T88" fmla="*/ 2147483647 w 103"/>
                    <a:gd name="T89" fmla="*/ 2147483647 h 90"/>
                    <a:gd name="T90" fmla="*/ 2147483647 w 103"/>
                    <a:gd name="T91" fmla="*/ 2147483647 h 90"/>
                    <a:gd name="T92" fmla="*/ 2147483647 w 103"/>
                    <a:gd name="T93" fmla="*/ 2147483647 h 90"/>
                    <a:gd name="T94" fmla="*/ 2147483647 w 103"/>
                    <a:gd name="T95" fmla="*/ 2147483647 h 90"/>
                    <a:gd name="T96" fmla="*/ 2147483647 w 103"/>
                    <a:gd name="T97" fmla="*/ 2147483647 h 90"/>
                    <a:gd name="T98" fmla="*/ 2147483647 w 103"/>
                    <a:gd name="T99" fmla="*/ 2147483647 h 90"/>
                    <a:gd name="T100" fmla="*/ 2147483647 w 103"/>
                    <a:gd name="T101" fmla="*/ 2147483647 h 90"/>
                    <a:gd name="T102" fmla="*/ 2147483647 w 103"/>
                    <a:gd name="T103" fmla="*/ 2147483647 h 90"/>
                    <a:gd name="T104" fmla="*/ 2147483647 w 103"/>
                    <a:gd name="T105" fmla="*/ 2147483647 h 90"/>
                    <a:gd name="T106" fmla="*/ 2147483647 w 103"/>
                    <a:gd name="T107" fmla="*/ 2147483647 h 90"/>
                    <a:gd name="T108" fmla="*/ 2147483647 w 103"/>
                    <a:gd name="T109" fmla="*/ 2147483647 h 90"/>
                    <a:gd name="T110" fmla="*/ 2147483647 w 103"/>
                    <a:gd name="T111" fmla="*/ 2147483647 h 90"/>
                    <a:gd name="T112" fmla="*/ 2147483647 w 103"/>
                    <a:gd name="T113" fmla="*/ 2147483647 h 90"/>
                    <a:gd name="T114" fmla="*/ 2147483647 w 103"/>
                    <a:gd name="T115" fmla="*/ 2147483647 h 90"/>
                    <a:gd name="T116" fmla="*/ 2147483647 w 103"/>
                    <a:gd name="T117" fmla="*/ 2147483647 h 9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03"/>
                    <a:gd name="T178" fmla="*/ 0 h 90"/>
                    <a:gd name="T179" fmla="*/ 103 w 103"/>
                    <a:gd name="T180" fmla="*/ 90 h 9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03" h="90">
                      <a:moveTo>
                        <a:pt x="41" y="1"/>
                      </a:moveTo>
                      <a:lnTo>
                        <a:pt x="41" y="1"/>
                      </a:lnTo>
                      <a:lnTo>
                        <a:pt x="37" y="0"/>
                      </a:lnTo>
                      <a:lnTo>
                        <a:pt x="34" y="0"/>
                      </a:lnTo>
                      <a:lnTo>
                        <a:pt x="33" y="1"/>
                      </a:lnTo>
                      <a:lnTo>
                        <a:pt x="32" y="4"/>
                      </a:lnTo>
                      <a:lnTo>
                        <a:pt x="31" y="17"/>
                      </a:lnTo>
                      <a:lnTo>
                        <a:pt x="31" y="23"/>
                      </a:lnTo>
                      <a:lnTo>
                        <a:pt x="29" y="29"/>
                      </a:lnTo>
                      <a:lnTo>
                        <a:pt x="28" y="35"/>
                      </a:lnTo>
                      <a:lnTo>
                        <a:pt x="29" y="39"/>
                      </a:lnTo>
                      <a:lnTo>
                        <a:pt x="29" y="44"/>
                      </a:lnTo>
                      <a:lnTo>
                        <a:pt x="29" y="47"/>
                      </a:lnTo>
                      <a:lnTo>
                        <a:pt x="28" y="49"/>
                      </a:lnTo>
                      <a:lnTo>
                        <a:pt x="27" y="50"/>
                      </a:lnTo>
                      <a:lnTo>
                        <a:pt x="24" y="51"/>
                      </a:lnTo>
                      <a:lnTo>
                        <a:pt x="20" y="50"/>
                      </a:lnTo>
                      <a:lnTo>
                        <a:pt x="17" y="49"/>
                      </a:lnTo>
                      <a:lnTo>
                        <a:pt x="12" y="48"/>
                      </a:lnTo>
                      <a:lnTo>
                        <a:pt x="9" y="49"/>
                      </a:lnTo>
                      <a:lnTo>
                        <a:pt x="10" y="54"/>
                      </a:lnTo>
                      <a:lnTo>
                        <a:pt x="10" y="56"/>
                      </a:lnTo>
                      <a:lnTo>
                        <a:pt x="9" y="58"/>
                      </a:lnTo>
                      <a:lnTo>
                        <a:pt x="8" y="61"/>
                      </a:lnTo>
                      <a:lnTo>
                        <a:pt x="4" y="62"/>
                      </a:lnTo>
                      <a:lnTo>
                        <a:pt x="0" y="64"/>
                      </a:lnTo>
                      <a:lnTo>
                        <a:pt x="0" y="67"/>
                      </a:lnTo>
                      <a:lnTo>
                        <a:pt x="0" y="70"/>
                      </a:lnTo>
                      <a:lnTo>
                        <a:pt x="1" y="79"/>
                      </a:lnTo>
                      <a:lnTo>
                        <a:pt x="4" y="87"/>
                      </a:lnTo>
                      <a:lnTo>
                        <a:pt x="6" y="89"/>
                      </a:lnTo>
                      <a:lnTo>
                        <a:pt x="9" y="90"/>
                      </a:lnTo>
                      <a:lnTo>
                        <a:pt x="10" y="90"/>
                      </a:lnTo>
                      <a:lnTo>
                        <a:pt x="12" y="90"/>
                      </a:lnTo>
                      <a:lnTo>
                        <a:pt x="15" y="88"/>
                      </a:lnTo>
                      <a:lnTo>
                        <a:pt x="23" y="87"/>
                      </a:lnTo>
                      <a:lnTo>
                        <a:pt x="27" y="86"/>
                      </a:lnTo>
                      <a:lnTo>
                        <a:pt x="29" y="82"/>
                      </a:lnTo>
                      <a:lnTo>
                        <a:pt x="29" y="81"/>
                      </a:lnTo>
                      <a:lnTo>
                        <a:pt x="29" y="79"/>
                      </a:lnTo>
                      <a:lnTo>
                        <a:pt x="25" y="75"/>
                      </a:lnTo>
                      <a:lnTo>
                        <a:pt x="20" y="73"/>
                      </a:lnTo>
                      <a:lnTo>
                        <a:pt x="17" y="69"/>
                      </a:lnTo>
                      <a:lnTo>
                        <a:pt x="17" y="67"/>
                      </a:lnTo>
                      <a:lnTo>
                        <a:pt x="18" y="66"/>
                      </a:lnTo>
                      <a:lnTo>
                        <a:pt x="20" y="64"/>
                      </a:lnTo>
                      <a:lnTo>
                        <a:pt x="23" y="66"/>
                      </a:lnTo>
                      <a:lnTo>
                        <a:pt x="27" y="66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8" y="66"/>
                      </a:lnTo>
                      <a:lnTo>
                        <a:pt x="43" y="67"/>
                      </a:lnTo>
                      <a:lnTo>
                        <a:pt x="47" y="69"/>
                      </a:lnTo>
                      <a:lnTo>
                        <a:pt x="57" y="77"/>
                      </a:lnTo>
                      <a:lnTo>
                        <a:pt x="64" y="80"/>
                      </a:lnTo>
                      <a:lnTo>
                        <a:pt x="69" y="80"/>
                      </a:lnTo>
                      <a:lnTo>
                        <a:pt x="70" y="79"/>
                      </a:lnTo>
                      <a:lnTo>
                        <a:pt x="70" y="77"/>
                      </a:lnTo>
                      <a:lnTo>
                        <a:pt x="69" y="73"/>
                      </a:lnTo>
                      <a:lnTo>
                        <a:pt x="67" y="69"/>
                      </a:lnTo>
                      <a:lnTo>
                        <a:pt x="66" y="67"/>
                      </a:lnTo>
                      <a:lnTo>
                        <a:pt x="66" y="66"/>
                      </a:lnTo>
                      <a:lnTo>
                        <a:pt x="70" y="63"/>
                      </a:lnTo>
                      <a:lnTo>
                        <a:pt x="75" y="61"/>
                      </a:lnTo>
                      <a:lnTo>
                        <a:pt x="84" y="58"/>
                      </a:lnTo>
                      <a:lnTo>
                        <a:pt x="93" y="57"/>
                      </a:lnTo>
                      <a:lnTo>
                        <a:pt x="99" y="56"/>
                      </a:lnTo>
                      <a:lnTo>
                        <a:pt x="103" y="52"/>
                      </a:lnTo>
                      <a:lnTo>
                        <a:pt x="103" y="50"/>
                      </a:lnTo>
                      <a:lnTo>
                        <a:pt x="103" y="48"/>
                      </a:lnTo>
                      <a:lnTo>
                        <a:pt x="102" y="45"/>
                      </a:lnTo>
                      <a:lnTo>
                        <a:pt x="98" y="45"/>
                      </a:lnTo>
                      <a:lnTo>
                        <a:pt x="95" y="44"/>
                      </a:lnTo>
                      <a:lnTo>
                        <a:pt x="92" y="43"/>
                      </a:lnTo>
                      <a:lnTo>
                        <a:pt x="92" y="41"/>
                      </a:lnTo>
                      <a:lnTo>
                        <a:pt x="92" y="37"/>
                      </a:lnTo>
                      <a:lnTo>
                        <a:pt x="90" y="35"/>
                      </a:lnTo>
                      <a:lnTo>
                        <a:pt x="92" y="32"/>
                      </a:lnTo>
                      <a:lnTo>
                        <a:pt x="95" y="29"/>
                      </a:lnTo>
                      <a:lnTo>
                        <a:pt x="97" y="28"/>
                      </a:lnTo>
                      <a:lnTo>
                        <a:pt x="97" y="25"/>
                      </a:lnTo>
                      <a:lnTo>
                        <a:pt x="95" y="24"/>
                      </a:lnTo>
                      <a:lnTo>
                        <a:pt x="94" y="24"/>
                      </a:lnTo>
                      <a:lnTo>
                        <a:pt x="93" y="25"/>
                      </a:lnTo>
                      <a:lnTo>
                        <a:pt x="88" y="28"/>
                      </a:lnTo>
                      <a:lnTo>
                        <a:pt x="84" y="29"/>
                      </a:lnTo>
                      <a:lnTo>
                        <a:pt x="80" y="30"/>
                      </a:lnTo>
                      <a:lnTo>
                        <a:pt x="75" y="30"/>
                      </a:lnTo>
                      <a:lnTo>
                        <a:pt x="67" y="28"/>
                      </a:lnTo>
                      <a:lnTo>
                        <a:pt x="60" y="24"/>
                      </a:lnTo>
                      <a:lnTo>
                        <a:pt x="53" y="19"/>
                      </a:lnTo>
                      <a:lnTo>
                        <a:pt x="50" y="13"/>
                      </a:lnTo>
                      <a:lnTo>
                        <a:pt x="4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3" name="Freeform 68">
                  <a:extLst>
                    <a:ext uri="{FF2B5EF4-FFF2-40B4-BE49-F238E27FC236}">
                      <a16:creationId xmlns:a16="http://schemas.microsoft.com/office/drawing/2014/main" id="{BFE52870-BB4D-6F44-87B6-A292FF4F98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32266" y="3248003"/>
                  <a:ext cx="22198" cy="22198"/>
                </a:xfrm>
                <a:custGeom>
                  <a:avLst/>
                  <a:gdLst>
                    <a:gd name="T0" fmla="*/ 2147483647 w 17"/>
                    <a:gd name="T1" fmla="*/ 2147483647 h 15"/>
                    <a:gd name="T2" fmla="*/ 2147483647 w 17"/>
                    <a:gd name="T3" fmla="*/ 2147483647 h 15"/>
                    <a:gd name="T4" fmla="*/ 2147483647 w 17"/>
                    <a:gd name="T5" fmla="*/ 2147483647 h 15"/>
                    <a:gd name="T6" fmla="*/ 2147483647 w 17"/>
                    <a:gd name="T7" fmla="*/ 0 h 15"/>
                    <a:gd name="T8" fmla="*/ 2147483647 w 17"/>
                    <a:gd name="T9" fmla="*/ 0 h 15"/>
                    <a:gd name="T10" fmla="*/ 2147483647 w 17"/>
                    <a:gd name="T11" fmla="*/ 0 h 15"/>
                    <a:gd name="T12" fmla="*/ 2147483647 w 17"/>
                    <a:gd name="T13" fmla="*/ 2147483647 h 15"/>
                    <a:gd name="T14" fmla="*/ 2147483647 w 17"/>
                    <a:gd name="T15" fmla="*/ 2147483647 h 15"/>
                    <a:gd name="T16" fmla="*/ 2147483647 w 17"/>
                    <a:gd name="T17" fmla="*/ 2147483647 h 15"/>
                    <a:gd name="T18" fmla="*/ 0 w 17"/>
                    <a:gd name="T19" fmla="*/ 2147483647 h 15"/>
                    <a:gd name="T20" fmla="*/ 0 w 17"/>
                    <a:gd name="T21" fmla="*/ 2147483647 h 15"/>
                    <a:gd name="T22" fmla="*/ 2147483647 w 17"/>
                    <a:gd name="T23" fmla="*/ 2147483647 h 15"/>
                    <a:gd name="T24" fmla="*/ 2147483647 w 17"/>
                    <a:gd name="T25" fmla="*/ 2147483647 h 15"/>
                    <a:gd name="T26" fmla="*/ 2147483647 w 17"/>
                    <a:gd name="T27" fmla="*/ 2147483647 h 15"/>
                    <a:gd name="T28" fmla="*/ 2147483647 w 17"/>
                    <a:gd name="T29" fmla="*/ 2147483647 h 15"/>
                    <a:gd name="T30" fmla="*/ 2147483647 w 17"/>
                    <a:gd name="T31" fmla="*/ 2147483647 h 1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7"/>
                    <a:gd name="T49" fmla="*/ 0 h 15"/>
                    <a:gd name="T50" fmla="*/ 17 w 17"/>
                    <a:gd name="T51" fmla="*/ 15 h 1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7" h="15">
                      <a:moveTo>
                        <a:pt x="17" y="3"/>
                      </a:moveTo>
                      <a:lnTo>
                        <a:pt x="17" y="2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3" y="9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3" y="15"/>
                      </a:lnTo>
                      <a:lnTo>
                        <a:pt x="5" y="14"/>
                      </a:lnTo>
                      <a:lnTo>
                        <a:pt x="9" y="12"/>
                      </a:lnTo>
                      <a:lnTo>
                        <a:pt x="17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4" name="Freeform 69">
                  <a:extLst>
                    <a:ext uri="{FF2B5EF4-FFF2-40B4-BE49-F238E27FC236}">
                      <a16:creationId xmlns:a16="http://schemas.microsoft.com/office/drawing/2014/main" id="{FD44FA67-DF50-BC48-AA30-A1AACF679E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9265" y="3206567"/>
                  <a:ext cx="44396" cy="38477"/>
                </a:xfrm>
                <a:custGeom>
                  <a:avLst/>
                  <a:gdLst>
                    <a:gd name="T0" fmla="*/ 2147483647 w 33"/>
                    <a:gd name="T1" fmla="*/ 2147483647 h 26"/>
                    <a:gd name="T2" fmla="*/ 2147483647 w 33"/>
                    <a:gd name="T3" fmla="*/ 0 h 26"/>
                    <a:gd name="T4" fmla="*/ 2147483647 w 33"/>
                    <a:gd name="T5" fmla="*/ 0 h 26"/>
                    <a:gd name="T6" fmla="*/ 2147483647 w 33"/>
                    <a:gd name="T7" fmla="*/ 2147483647 h 26"/>
                    <a:gd name="T8" fmla="*/ 2147483647 w 33"/>
                    <a:gd name="T9" fmla="*/ 2147483647 h 26"/>
                    <a:gd name="T10" fmla="*/ 2147483647 w 33"/>
                    <a:gd name="T11" fmla="*/ 2147483647 h 26"/>
                    <a:gd name="T12" fmla="*/ 2147483647 w 33"/>
                    <a:gd name="T13" fmla="*/ 2147483647 h 26"/>
                    <a:gd name="T14" fmla="*/ 2147483647 w 33"/>
                    <a:gd name="T15" fmla="*/ 2147483647 h 26"/>
                    <a:gd name="T16" fmla="*/ 2147483647 w 33"/>
                    <a:gd name="T17" fmla="*/ 2147483647 h 26"/>
                    <a:gd name="T18" fmla="*/ 2147483647 w 33"/>
                    <a:gd name="T19" fmla="*/ 2147483647 h 26"/>
                    <a:gd name="T20" fmla="*/ 2147483647 w 33"/>
                    <a:gd name="T21" fmla="*/ 2147483647 h 26"/>
                    <a:gd name="T22" fmla="*/ 0 w 33"/>
                    <a:gd name="T23" fmla="*/ 2147483647 h 26"/>
                    <a:gd name="T24" fmla="*/ 0 w 33"/>
                    <a:gd name="T25" fmla="*/ 2147483647 h 26"/>
                    <a:gd name="T26" fmla="*/ 2147483647 w 33"/>
                    <a:gd name="T27" fmla="*/ 2147483647 h 26"/>
                    <a:gd name="T28" fmla="*/ 2147483647 w 33"/>
                    <a:gd name="T29" fmla="*/ 2147483647 h 26"/>
                    <a:gd name="T30" fmla="*/ 2147483647 w 33"/>
                    <a:gd name="T31" fmla="*/ 2147483647 h 26"/>
                    <a:gd name="T32" fmla="*/ 2147483647 w 33"/>
                    <a:gd name="T33" fmla="*/ 2147483647 h 26"/>
                    <a:gd name="T34" fmla="*/ 2147483647 w 33"/>
                    <a:gd name="T35" fmla="*/ 2147483647 h 26"/>
                    <a:gd name="T36" fmla="*/ 2147483647 w 33"/>
                    <a:gd name="T37" fmla="*/ 2147483647 h 26"/>
                    <a:gd name="T38" fmla="*/ 2147483647 w 33"/>
                    <a:gd name="T39" fmla="*/ 2147483647 h 26"/>
                    <a:gd name="T40" fmla="*/ 2147483647 w 33"/>
                    <a:gd name="T41" fmla="*/ 2147483647 h 26"/>
                    <a:gd name="T42" fmla="*/ 2147483647 w 33"/>
                    <a:gd name="T43" fmla="*/ 2147483647 h 26"/>
                    <a:gd name="T44" fmla="*/ 2147483647 w 33"/>
                    <a:gd name="T45" fmla="*/ 2147483647 h 2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3"/>
                    <a:gd name="T70" fmla="*/ 0 h 26"/>
                    <a:gd name="T71" fmla="*/ 33 w 33"/>
                    <a:gd name="T72" fmla="*/ 26 h 2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3" h="26">
                      <a:moveTo>
                        <a:pt x="32" y="2"/>
                      </a:moveTo>
                      <a:lnTo>
                        <a:pt x="31" y="0"/>
                      </a:lnTo>
                      <a:lnTo>
                        <a:pt x="28" y="0"/>
                      </a:lnTo>
                      <a:lnTo>
                        <a:pt x="25" y="3"/>
                      </a:lnTo>
                      <a:lnTo>
                        <a:pt x="24" y="4"/>
                      </a:lnTo>
                      <a:lnTo>
                        <a:pt x="20" y="5"/>
                      </a:lnTo>
                      <a:lnTo>
                        <a:pt x="17" y="5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6" y="12"/>
                      </a:lnTo>
                      <a:lnTo>
                        <a:pt x="3" y="17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1" y="26"/>
                      </a:lnTo>
                      <a:lnTo>
                        <a:pt x="3" y="26"/>
                      </a:lnTo>
                      <a:lnTo>
                        <a:pt x="5" y="24"/>
                      </a:lnTo>
                      <a:lnTo>
                        <a:pt x="10" y="19"/>
                      </a:lnTo>
                      <a:lnTo>
                        <a:pt x="17" y="16"/>
                      </a:lnTo>
                      <a:lnTo>
                        <a:pt x="22" y="13"/>
                      </a:lnTo>
                      <a:lnTo>
                        <a:pt x="28" y="10"/>
                      </a:lnTo>
                      <a:lnTo>
                        <a:pt x="33" y="5"/>
                      </a:lnTo>
                      <a:lnTo>
                        <a:pt x="33" y="3"/>
                      </a:lnTo>
                      <a:lnTo>
                        <a:pt x="32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5" name="Freeform 70">
                  <a:extLst>
                    <a:ext uri="{FF2B5EF4-FFF2-40B4-BE49-F238E27FC236}">
                      <a16:creationId xmlns:a16="http://schemas.microsoft.com/office/drawing/2014/main" id="{051FD758-EF17-4D47-BBC0-7B42C29567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30787" y="3245041"/>
                  <a:ext cx="22199" cy="23678"/>
                </a:xfrm>
                <a:custGeom>
                  <a:avLst/>
                  <a:gdLst>
                    <a:gd name="T0" fmla="*/ 2147483647 w 17"/>
                    <a:gd name="T1" fmla="*/ 2147483647 h 16"/>
                    <a:gd name="T2" fmla="*/ 2147483647 w 17"/>
                    <a:gd name="T3" fmla="*/ 2147483647 h 16"/>
                    <a:gd name="T4" fmla="*/ 2147483647 w 17"/>
                    <a:gd name="T5" fmla="*/ 2147483647 h 16"/>
                    <a:gd name="T6" fmla="*/ 2147483647 w 17"/>
                    <a:gd name="T7" fmla="*/ 2147483647 h 16"/>
                    <a:gd name="T8" fmla="*/ 2147483647 w 17"/>
                    <a:gd name="T9" fmla="*/ 0 h 16"/>
                    <a:gd name="T10" fmla="*/ 2147483647 w 17"/>
                    <a:gd name="T11" fmla="*/ 0 h 16"/>
                    <a:gd name="T12" fmla="*/ 2147483647 w 17"/>
                    <a:gd name="T13" fmla="*/ 0 h 16"/>
                    <a:gd name="T14" fmla="*/ 2147483647 w 17"/>
                    <a:gd name="T15" fmla="*/ 0 h 16"/>
                    <a:gd name="T16" fmla="*/ 2147483647 w 17"/>
                    <a:gd name="T17" fmla="*/ 2147483647 h 16"/>
                    <a:gd name="T18" fmla="*/ 2147483647 w 17"/>
                    <a:gd name="T19" fmla="*/ 2147483647 h 16"/>
                    <a:gd name="T20" fmla="*/ 2147483647 w 17"/>
                    <a:gd name="T21" fmla="*/ 2147483647 h 16"/>
                    <a:gd name="T22" fmla="*/ 2147483647 w 17"/>
                    <a:gd name="T23" fmla="*/ 2147483647 h 16"/>
                    <a:gd name="T24" fmla="*/ 2147483647 w 17"/>
                    <a:gd name="T25" fmla="*/ 2147483647 h 16"/>
                    <a:gd name="T26" fmla="*/ 0 w 17"/>
                    <a:gd name="T27" fmla="*/ 2147483647 h 16"/>
                    <a:gd name="T28" fmla="*/ 0 w 17"/>
                    <a:gd name="T29" fmla="*/ 2147483647 h 16"/>
                    <a:gd name="T30" fmla="*/ 2147483647 w 17"/>
                    <a:gd name="T31" fmla="*/ 2147483647 h 16"/>
                    <a:gd name="T32" fmla="*/ 2147483647 w 17"/>
                    <a:gd name="T33" fmla="*/ 2147483647 h 16"/>
                    <a:gd name="T34" fmla="*/ 2147483647 w 17"/>
                    <a:gd name="T35" fmla="*/ 2147483647 h 16"/>
                    <a:gd name="T36" fmla="*/ 2147483647 w 17"/>
                    <a:gd name="T37" fmla="*/ 2147483647 h 16"/>
                    <a:gd name="T38" fmla="*/ 2147483647 w 17"/>
                    <a:gd name="T39" fmla="*/ 2147483647 h 16"/>
                    <a:gd name="T40" fmla="*/ 2147483647 w 17"/>
                    <a:gd name="T41" fmla="*/ 2147483647 h 16"/>
                    <a:gd name="T42" fmla="*/ 2147483647 w 17"/>
                    <a:gd name="T43" fmla="*/ 2147483647 h 1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7"/>
                    <a:gd name="T67" fmla="*/ 0 h 16"/>
                    <a:gd name="T68" fmla="*/ 17 w 17"/>
                    <a:gd name="T69" fmla="*/ 16 h 1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7" h="16">
                      <a:moveTo>
                        <a:pt x="17" y="4"/>
                      </a:moveTo>
                      <a:lnTo>
                        <a:pt x="17" y="4"/>
                      </a:lnTo>
                      <a:lnTo>
                        <a:pt x="17" y="3"/>
                      </a:lnTo>
                      <a:lnTo>
                        <a:pt x="17" y="2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9" y="3"/>
                      </a:lnTo>
                      <a:lnTo>
                        <a:pt x="3" y="10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1" y="15"/>
                      </a:lnTo>
                      <a:lnTo>
                        <a:pt x="3" y="16"/>
                      </a:lnTo>
                      <a:lnTo>
                        <a:pt x="5" y="15"/>
                      </a:lnTo>
                      <a:lnTo>
                        <a:pt x="9" y="12"/>
                      </a:lnTo>
                      <a:lnTo>
                        <a:pt x="17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6" name="Freeform 71">
                  <a:extLst>
                    <a:ext uri="{FF2B5EF4-FFF2-40B4-BE49-F238E27FC236}">
                      <a16:creationId xmlns:a16="http://schemas.microsoft.com/office/drawing/2014/main" id="{E31996ED-40A5-574F-ABF3-7780869785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67786" y="3205084"/>
                  <a:ext cx="44396" cy="38477"/>
                </a:xfrm>
                <a:custGeom>
                  <a:avLst/>
                  <a:gdLst>
                    <a:gd name="T0" fmla="*/ 2147483647 w 33"/>
                    <a:gd name="T1" fmla="*/ 2147483647 h 26"/>
                    <a:gd name="T2" fmla="*/ 2147483647 w 33"/>
                    <a:gd name="T3" fmla="*/ 2147483647 h 26"/>
                    <a:gd name="T4" fmla="*/ 2147483647 w 33"/>
                    <a:gd name="T5" fmla="*/ 0 h 26"/>
                    <a:gd name="T6" fmla="*/ 2147483647 w 33"/>
                    <a:gd name="T7" fmla="*/ 0 h 26"/>
                    <a:gd name="T8" fmla="*/ 2147483647 w 33"/>
                    <a:gd name="T9" fmla="*/ 0 h 26"/>
                    <a:gd name="T10" fmla="*/ 2147483647 w 33"/>
                    <a:gd name="T11" fmla="*/ 2147483647 h 26"/>
                    <a:gd name="T12" fmla="*/ 2147483647 w 33"/>
                    <a:gd name="T13" fmla="*/ 2147483647 h 26"/>
                    <a:gd name="T14" fmla="*/ 2147483647 w 33"/>
                    <a:gd name="T15" fmla="*/ 2147483647 h 26"/>
                    <a:gd name="T16" fmla="*/ 2147483647 w 33"/>
                    <a:gd name="T17" fmla="*/ 2147483647 h 26"/>
                    <a:gd name="T18" fmla="*/ 2147483647 w 33"/>
                    <a:gd name="T19" fmla="*/ 2147483647 h 26"/>
                    <a:gd name="T20" fmla="*/ 2147483647 w 33"/>
                    <a:gd name="T21" fmla="*/ 2147483647 h 26"/>
                    <a:gd name="T22" fmla="*/ 2147483647 w 33"/>
                    <a:gd name="T23" fmla="*/ 2147483647 h 26"/>
                    <a:gd name="T24" fmla="*/ 2147483647 w 33"/>
                    <a:gd name="T25" fmla="*/ 2147483647 h 26"/>
                    <a:gd name="T26" fmla="*/ 2147483647 w 33"/>
                    <a:gd name="T27" fmla="*/ 2147483647 h 26"/>
                    <a:gd name="T28" fmla="*/ 2147483647 w 33"/>
                    <a:gd name="T29" fmla="*/ 2147483647 h 26"/>
                    <a:gd name="T30" fmla="*/ 0 w 33"/>
                    <a:gd name="T31" fmla="*/ 2147483647 h 26"/>
                    <a:gd name="T32" fmla="*/ 0 w 33"/>
                    <a:gd name="T33" fmla="*/ 2147483647 h 26"/>
                    <a:gd name="T34" fmla="*/ 2147483647 w 33"/>
                    <a:gd name="T35" fmla="*/ 2147483647 h 26"/>
                    <a:gd name="T36" fmla="*/ 2147483647 w 33"/>
                    <a:gd name="T37" fmla="*/ 2147483647 h 26"/>
                    <a:gd name="T38" fmla="*/ 2147483647 w 33"/>
                    <a:gd name="T39" fmla="*/ 2147483647 h 26"/>
                    <a:gd name="T40" fmla="*/ 2147483647 w 33"/>
                    <a:gd name="T41" fmla="*/ 2147483647 h 26"/>
                    <a:gd name="T42" fmla="*/ 2147483647 w 33"/>
                    <a:gd name="T43" fmla="*/ 2147483647 h 26"/>
                    <a:gd name="T44" fmla="*/ 2147483647 w 33"/>
                    <a:gd name="T45" fmla="*/ 2147483647 h 26"/>
                    <a:gd name="T46" fmla="*/ 2147483647 w 33"/>
                    <a:gd name="T47" fmla="*/ 2147483647 h 26"/>
                    <a:gd name="T48" fmla="*/ 2147483647 w 33"/>
                    <a:gd name="T49" fmla="*/ 2147483647 h 26"/>
                    <a:gd name="T50" fmla="*/ 2147483647 w 33"/>
                    <a:gd name="T51" fmla="*/ 2147483647 h 26"/>
                    <a:gd name="T52" fmla="*/ 2147483647 w 33"/>
                    <a:gd name="T53" fmla="*/ 2147483647 h 26"/>
                    <a:gd name="T54" fmla="*/ 2147483647 w 33"/>
                    <a:gd name="T55" fmla="*/ 2147483647 h 26"/>
                    <a:gd name="T56" fmla="*/ 2147483647 w 33"/>
                    <a:gd name="T57" fmla="*/ 2147483647 h 26"/>
                    <a:gd name="T58" fmla="*/ 2147483647 w 33"/>
                    <a:gd name="T59" fmla="*/ 2147483647 h 26"/>
                    <a:gd name="T60" fmla="*/ 2147483647 w 33"/>
                    <a:gd name="T61" fmla="*/ 2147483647 h 2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3"/>
                    <a:gd name="T94" fmla="*/ 0 h 26"/>
                    <a:gd name="T95" fmla="*/ 33 w 33"/>
                    <a:gd name="T96" fmla="*/ 26 h 2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3" h="26">
                      <a:moveTo>
                        <a:pt x="32" y="1"/>
                      </a:moveTo>
                      <a:lnTo>
                        <a:pt x="32" y="1"/>
                      </a:lnTo>
                      <a:lnTo>
                        <a:pt x="30" y="0"/>
                      </a:lnTo>
                      <a:lnTo>
                        <a:pt x="28" y="0"/>
                      </a:lnTo>
                      <a:lnTo>
                        <a:pt x="25" y="3"/>
                      </a:lnTo>
                      <a:lnTo>
                        <a:pt x="24" y="4"/>
                      </a:lnTo>
                      <a:lnTo>
                        <a:pt x="20" y="5"/>
                      </a:lnTo>
                      <a:lnTo>
                        <a:pt x="16" y="5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6" y="12"/>
                      </a:lnTo>
                      <a:lnTo>
                        <a:pt x="2" y="17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1" y="26"/>
                      </a:lnTo>
                      <a:lnTo>
                        <a:pt x="2" y="26"/>
                      </a:lnTo>
                      <a:lnTo>
                        <a:pt x="5" y="24"/>
                      </a:lnTo>
                      <a:lnTo>
                        <a:pt x="10" y="19"/>
                      </a:lnTo>
                      <a:lnTo>
                        <a:pt x="16" y="16"/>
                      </a:lnTo>
                      <a:lnTo>
                        <a:pt x="21" y="13"/>
                      </a:lnTo>
                      <a:lnTo>
                        <a:pt x="28" y="10"/>
                      </a:lnTo>
                      <a:lnTo>
                        <a:pt x="33" y="5"/>
                      </a:lnTo>
                      <a:lnTo>
                        <a:pt x="33" y="3"/>
                      </a:lnTo>
                      <a:lnTo>
                        <a:pt x="32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7" name="Freeform 72">
                  <a:extLst>
                    <a:ext uri="{FF2B5EF4-FFF2-40B4-BE49-F238E27FC236}">
                      <a16:creationId xmlns:a16="http://schemas.microsoft.com/office/drawing/2014/main" id="{5E45217B-8E98-F54D-A525-E652AF837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29941" y="3184369"/>
                  <a:ext cx="20718" cy="19239"/>
                </a:xfrm>
                <a:custGeom>
                  <a:avLst/>
                  <a:gdLst>
                    <a:gd name="T0" fmla="*/ 2147483647 w 15"/>
                    <a:gd name="T1" fmla="*/ 2147483647 h 13"/>
                    <a:gd name="T2" fmla="*/ 2147483647 w 15"/>
                    <a:gd name="T3" fmla="*/ 2147483647 h 13"/>
                    <a:gd name="T4" fmla="*/ 2147483647 w 15"/>
                    <a:gd name="T5" fmla="*/ 0 h 13"/>
                    <a:gd name="T6" fmla="*/ 2147483647 w 15"/>
                    <a:gd name="T7" fmla="*/ 0 h 13"/>
                    <a:gd name="T8" fmla="*/ 2147483647 w 15"/>
                    <a:gd name="T9" fmla="*/ 0 h 13"/>
                    <a:gd name="T10" fmla="*/ 2147483647 w 15"/>
                    <a:gd name="T11" fmla="*/ 2147483647 h 13"/>
                    <a:gd name="T12" fmla="*/ 2147483647 w 15"/>
                    <a:gd name="T13" fmla="*/ 2147483647 h 13"/>
                    <a:gd name="T14" fmla="*/ 0 w 15"/>
                    <a:gd name="T15" fmla="*/ 2147483647 h 13"/>
                    <a:gd name="T16" fmla="*/ 0 w 15"/>
                    <a:gd name="T17" fmla="*/ 2147483647 h 13"/>
                    <a:gd name="T18" fmla="*/ 2147483647 w 15"/>
                    <a:gd name="T19" fmla="*/ 2147483647 h 13"/>
                    <a:gd name="T20" fmla="*/ 2147483647 w 15"/>
                    <a:gd name="T21" fmla="*/ 2147483647 h 13"/>
                    <a:gd name="T22" fmla="*/ 2147483647 w 15"/>
                    <a:gd name="T23" fmla="*/ 2147483647 h 13"/>
                    <a:gd name="T24" fmla="*/ 2147483647 w 15"/>
                    <a:gd name="T25" fmla="*/ 2147483647 h 13"/>
                    <a:gd name="T26" fmla="*/ 2147483647 w 15"/>
                    <a:gd name="T27" fmla="*/ 2147483647 h 13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5"/>
                    <a:gd name="T43" fmla="*/ 0 h 13"/>
                    <a:gd name="T44" fmla="*/ 15 w 15"/>
                    <a:gd name="T45" fmla="*/ 13 h 13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5" h="13">
                      <a:moveTo>
                        <a:pt x="13" y="4"/>
                      </a:moveTo>
                      <a:lnTo>
                        <a:pt x="15" y="1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8" y="0"/>
                      </a:lnTo>
                      <a:lnTo>
                        <a:pt x="3" y="5"/>
                      </a:lnTo>
                      <a:lnTo>
                        <a:pt x="1" y="7"/>
                      </a:lnTo>
                      <a:lnTo>
                        <a:pt x="0" y="9"/>
                      </a:lnTo>
                      <a:lnTo>
                        <a:pt x="0" y="12"/>
                      </a:lnTo>
                      <a:lnTo>
                        <a:pt x="1" y="13"/>
                      </a:lnTo>
                      <a:lnTo>
                        <a:pt x="3" y="13"/>
                      </a:lnTo>
                      <a:lnTo>
                        <a:pt x="6" y="12"/>
                      </a:lnTo>
                      <a:lnTo>
                        <a:pt x="10" y="8"/>
                      </a:lnTo>
                      <a:lnTo>
                        <a:pt x="13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8" name="Freeform 73">
                  <a:extLst>
                    <a:ext uri="{FF2B5EF4-FFF2-40B4-BE49-F238E27FC236}">
                      <a16:creationId xmlns:a16="http://schemas.microsoft.com/office/drawing/2014/main" id="{DF1C83BD-9549-1045-AB56-75D7994936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44953" y="2903193"/>
                  <a:ext cx="65114" cy="298934"/>
                </a:xfrm>
                <a:custGeom>
                  <a:avLst/>
                  <a:gdLst>
                    <a:gd name="T0" fmla="*/ 2147483647 w 48"/>
                    <a:gd name="T1" fmla="*/ 2147483647 h 202"/>
                    <a:gd name="T2" fmla="*/ 2147483647 w 48"/>
                    <a:gd name="T3" fmla="*/ 2147483647 h 202"/>
                    <a:gd name="T4" fmla="*/ 2147483647 w 48"/>
                    <a:gd name="T5" fmla="*/ 2147483647 h 202"/>
                    <a:gd name="T6" fmla="*/ 2147483647 w 48"/>
                    <a:gd name="T7" fmla="*/ 2147483647 h 202"/>
                    <a:gd name="T8" fmla="*/ 2147483647 w 48"/>
                    <a:gd name="T9" fmla="*/ 2147483647 h 202"/>
                    <a:gd name="T10" fmla="*/ 2147483647 w 48"/>
                    <a:gd name="T11" fmla="*/ 2147483647 h 202"/>
                    <a:gd name="T12" fmla="*/ 2147483647 w 48"/>
                    <a:gd name="T13" fmla="*/ 2147483647 h 202"/>
                    <a:gd name="T14" fmla="*/ 2147483647 w 48"/>
                    <a:gd name="T15" fmla="*/ 2147483647 h 202"/>
                    <a:gd name="T16" fmla="*/ 2147483647 w 48"/>
                    <a:gd name="T17" fmla="*/ 2147483647 h 202"/>
                    <a:gd name="T18" fmla="*/ 2147483647 w 48"/>
                    <a:gd name="T19" fmla="*/ 2147483647 h 202"/>
                    <a:gd name="T20" fmla="*/ 0 w 48"/>
                    <a:gd name="T21" fmla="*/ 2147483647 h 202"/>
                    <a:gd name="T22" fmla="*/ 2147483647 w 48"/>
                    <a:gd name="T23" fmla="*/ 2147483647 h 202"/>
                    <a:gd name="T24" fmla="*/ 2147483647 w 48"/>
                    <a:gd name="T25" fmla="*/ 2147483647 h 202"/>
                    <a:gd name="T26" fmla="*/ 2147483647 w 48"/>
                    <a:gd name="T27" fmla="*/ 2147483647 h 202"/>
                    <a:gd name="T28" fmla="*/ 2147483647 w 48"/>
                    <a:gd name="T29" fmla="*/ 2147483647 h 202"/>
                    <a:gd name="T30" fmla="*/ 2147483647 w 48"/>
                    <a:gd name="T31" fmla="*/ 2147483647 h 202"/>
                    <a:gd name="T32" fmla="*/ 2147483647 w 48"/>
                    <a:gd name="T33" fmla="*/ 2147483647 h 202"/>
                    <a:gd name="T34" fmla="*/ 2147483647 w 48"/>
                    <a:gd name="T35" fmla="*/ 2147483647 h 202"/>
                    <a:gd name="T36" fmla="*/ 2147483647 w 48"/>
                    <a:gd name="T37" fmla="*/ 2147483647 h 202"/>
                    <a:gd name="T38" fmla="*/ 2147483647 w 48"/>
                    <a:gd name="T39" fmla="*/ 2147483647 h 202"/>
                    <a:gd name="T40" fmla="*/ 2147483647 w 48"/>
                    <a:gd name="T41" fmla="*/ 2147483647 h 202"/>
                    <a:gd name="T42" fmla="*/ 2147483647 w 48"/>
                    <a:gd name="T43" fmla="*/ 2147483647 h 202"/>
                    <a:gd name="T44" fmla="*/ 2147483647 w 48"/>
                    <a:gd name="T45" fmla="*/ 2147483647 h 202"/>
                    <a:gd name="T46" fmla="*/ 2147483647 w 48"/>
                    <a:gd name="T47" fmla="*/ 2147483647 h 202"/>
                    <a:gd name="T48" fmla="*/ 2147483647 w 48"/>
                    <a:gd name="T49" fmla="*/ 2147483647 h 202"/>
                    <a:gd name="T50" fmla="*/ 2147483647 w 48"/>
                    <a:gd name="T51" fmla="*/ 2147483647 h 202"/>
                    <a:gd name="T52" fmla="*/ 2147483647 w 48"/>
                    <a:gd name="T53" fmla="*/ 2147483647 h 202"/>
                    <a:gd name="T54" fmla="*/ 2147483647 w 48"/>
                    <a:gd name="T55" fmla="*/ 2147483647 h 202"/>
                    <a:gd name="T56" fmla="*/ 2147483647 w 48"/>
                    <a:gd name="T57" fmla="*/ 2147483647 h 202"/>
                    <a:gd name="T58" fmla="*/ 2147483647 w 48"/>
                    <a:gd name="T59" fmla="*/ 2147483647 h 202"/>
                    <a:gd name="T60" fmla="*/ 2147483647 w 48"/>
                    <a:gd name="T61" fmla="*/ 2147483647 h 202"/>
                    <a:gd name="T62" fmla="*/ 2147483647 w 48"/>
                    <a:gd name="T63" fmla="*/ 2147483647 h 202"/>
                    <a:gd name="T64" fmla="*/ 2147483647 w 48"/>
                    <a:gd name="T65" fmla="*/ 2147483647 h 202"/>
                    <a:gd name="T66" fmla="*/ 2147483647 w 48"/>
                    <a:gd name="T67" fmla="*/ 2147483647 h 202"/>
                    <a:gd name="T68" fmla="*/ 2147483647 w 48"/>
                    <a:gd name="T69" fmla="*/ 2147483647 h 202"/>
                    <a:gd name="T70" fmla="*/ 2147483647 w 48"/>
                    <a:gd name="T71" fmla="*/ 2147483647 h 202"/>
                    <a:gd name="T72" fmla="*/ 2147483647 w 48"/>
                    <a:gd name="T73" fmla="*/ 2147483647 h 202"/>
                    <a:gd name="T74" fmla="*/ 2147483647 w 48"/>
                    <a:gd name="T75" fmla="*/ 2147483647 h 202"/>
                    <a:gd name="T76" fmla="*/ 2147483647 w 48"/>
                    <a:gd name="T77" fmla="*/ 2147483647 h 202"/>
                    <a:gd name="T78" fmla="*/ 2147483647 w 48"/>
                    <a:gd name="T79" fmla="*/ 2147483647 h 202"/>
                    <a:gd name="T80" fmla="*/ 2147483647 w 48"/>
                    <a:gd name="T81" fmla="*/ 2147483647 h 202"/>
                    <a:gd name="T82" fmla="*/ 2147483647 w 48"/>
                    <a:gd name="T83" fmla="*/ 2147483647 h 202"/>
                    <a:gd name="T84" fmla="*/ 2147483647 w 48"/>
                    <a:gd name="T85" fmla="*/ 2147483647 h 202"/>
                    <a:gd name="T86" fmla="*/ 2147483647 w 48"/>
                    <a:gd name="T87" fmla="*/ 2147483647 h 202"/>
                    <a:gd name="T88" fmla="*/ 2147483647 w 48"/>
                    <a:gd name="T89" fmla="*/ 2147483647 h 202"/>
                    <a:gd name="T90" fmla="*/ 2147483647 w 48"/>
                    <a:gd name="T91" fmla="*/ 2147483647 h 202"/>
                    <a:gd name="T92" fmla="*/ 2147483647 w 48"/>
                    <a:gd name="T93" fmla="*/ 2147483647 h 202"/>
                    <a:gd name="T94" fmla="*/ 2147483647 w 48"/>
                    <a:gd name="T95" fmla="*/ 2147483647 h 202"/>
                    <a:gd name="T96" fmla="*/ 2147483647 w 48"/>
                    <a:gd name="T97" fmla="*/ 2147483647 h 202"/>
                    <a:gd name="T98" fmla="*/ 2147483647 w 48"/>
                    <a:gd name="T99" fmla="*/ 2147483647 h 202"/>
                    <a:gd name="T100" fmla="*/ 2147483647 w 48"/>
                    <a:gd name="T101" fmla="*/ 2147483647 h 202"/>
                    <a:gd name="T102" fmla="*/ 2147483647 w 48"/>
                    <a:gd name="T103" fmla="*/ 2147483647 h 202"/>
                    <a:gd name="T104" fmla="*/ 2147483647 w 48"/>
                    <a:gd name="T105" fmla="*/ 2147483647 h 202"/>
                    <a:gd name="T106" fmla="*/ 2147483647 w 48"/>
                    <a:gd name="T107" fmla="*/ 2147483647 h 202"/>
                    <a:gd name="T108" fmla="*/ 2147483647 w 48"/>
                    <a:gd name="T109" fmla="*/ 2147483647 h 202"/>
                    <a:gd name="T110" fmla="*/ 2147483647 w 48"/>
                    <a:gd name="T111" fmla="*/ 2147483647 h 202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8"/>
                    <a:gd name="T169" fmla="*/ 0 h 202"/>
                    <a:gd name="T170" fmla="*/ 48 w 48"/>
                    <a:gd name="T171" fmla="*/ 202 h 202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8" h="202">
                      <a:moveTo>
                        <a:pt x="30" y="184"/>
                      </a:moveTo>
                      <a:lnTo>
                        <a:pt x="29" y="188"/>
                      </a:lnTo>
                      <a:lnTo>
                        <a:pt x="28" y="194"/>
                      </a:lnTo>
                      <a:lnTo>
                        <a:pt x="28" y="198"/>
                      </a:lnTo>
                      <a:lnTo>
                        <a:pt x="26" y="199"/>
                      </a:lnTo>
                      <a:lnTo>
                        <a:pt x="24" y="199"/>
                      </a:lnTo>
                      <a:lnTo>
                        <a:pt x="22" y="199"/>
                      </a:lnTo>
                      <a:lnTo>
                        <a:pt x="21" y="198"/>
                      </a:lnTo>
                      <a:lnTo>
                        <a:pt x="21" y="195"/>
                      </a:lnTo>
                      <a:lnTo>
                        <a:pt x="21" y="190"/>
                      </a:lnTo>
                      <a:lnTo>
                        <a:pt x="20" y="188"/>
                      </a:lnTo>
                      <a:lnTo>
                        <a:pt x="19" y="186"/>
                      </a:lnTo>
                      <a:lnTo>
                        <a:pt x="16" y="185"/>
                      </a:lnTo>
                      <a:lnTo>
                        <a:pt x="15" y="185"/>
                      </a:lnTo>
                      <a:lnTo>
                        <a:pt x="12" y="190"/>
                      </a:lnTo>
                      <a:lnTo>
                        <a:pt x="10" y="194"/>
                      </a:lnTo>
                      <a:lnTo>
                        <a:pt x="9" y="197"/>
                      </a:lnTo>
                      <a:lnTo>
                        <a:pt x="6" y="201"/>
                      </a:lnTo>
                      <a:lnTo>
                        <a:pt x="5" y="202"/>
                      </a:lnTo>
                      <a:lnTo>
                        <a:pt x="3" y="202"/>
                      </a:lnTo>
                      <a:lnTo>
                        <a:pt x="1" y="199"/>
                      </a:lnTo>
                      <a:lnTo>
                        <a:pt x="0" y="195"/>
                      </a:lnTo>
                      <a:lnTo>
                        <a:pt x="0" y="191"/>
                      </a:lnTo>
                      <a:lnTo>
                        <a:pt x="1" y="183"/>
                      </a:lnTo>
                      <a:lnTo>
                        <a:pt x="1" y="171"/>
                      </a:lnTo>
                      <a:lnTo>
                        <a:pt x="2" y="160"/>
                      </a:lnTo>
                      <a:lnTo>
                        <a:pt x="3" y="137"/>
                      </a:lnTo>
                      <a:lnTo>
                        <a:pt x="3" y="135"/>
                      </a:lnTo>
                      <a:lnTo>
                        <a:pt x="2" y="133"/>
                      </a:lnTo>
                      <a:lnTo>
                        <a:pt x="1" y="131"/>
                      </a:lnTo>
                      <a:lnTo>
                        <a:pt x="1" y="128"/>
                      </a:lnTo>
                      <a:lnTo>
                        <a:pt x="2" y="126"/>
                      </a:lnTo>
                      <a:lnTo>
                        <a:pt x="3" y="124"/>
                      </a:lnTo>
                      <a:lnTo>
                        <a:pt x="5" y="122"/>
                      </a:lnTo>
                      <a:lnTo>
                        <a:pt x="6" y="120"/>
                      </a:lnTo>
                      <a:lnTo>
                        <a:pt x="6" y="111"/>
                      </a:lnTo>
                      <a:lnTo>
                        <a:pt x="7" y="101"/>
                      </a:lnTo>
                      <a:lnTo>
                        <a:pt x="6" y="86"/>
                      </a:lnTo>
                      <a:lnTo>
                        <a:pt x="3" y="70"/>
                      </a:lnTo>
                      <a:lnTo>
                        <a:pt x="1" y="57"/>
                      </a:lnTo>
                      <a:lnTo>
                        <a:pt x="1" y="45"/>
                      </a:lnTo>
                      <a:lnTo>
                        <a:pt x="3" y="32"/>
                      </a:lnTo>
                      <a:lnTo>
                        <a:pt x="7" y="19"/>
                      </a:lnTo>
                      <a:lnTo>
                        <a:pt x="9" y="18"/>
                      </a:lnTo>
                      <a:lnTo>
                        <a:pt x="10" y="16"/>
                      </a:lnTo>
                      <a:lnTo>
                        <a:pt x="14" y="15"/>
                      </a:lnTo>
                      <a:lnTo>
                        <a:pt x="16" y="13"/>
                      </a:lnTo>
                      <a:lnTo>
                        <a:pt x="16" y="12"/>
                      </a:lnTo>
                      <a:lnTo>
                        <a:pt x="16" y="9"/>
                      </a:lnTo>
                      <a:lnTo>
                        <a:pt x="15" y="4"/>
                      </a:lnTo>
                      <a:lnTo>
                        <a:pt x="15" y="0"/>
                      </a:lnTo>
                      <a:lnTo>
                        <a:pt x="17" y="1"/>
                      </a:lnTo>
                      <a:lnTo>
                        <a:pt x="20" y="4"/>
                      </a:lnTo>
                      <a:lnTo>
                        <a:pt x="22" y="10"/>
                      </a:lnTo>
                      <a:lnTo>
                        <a:pt x="25" y="16"/>
                      </a:lnTo>
                      <a:lnTo>
                        <a:pt x="25" y="20"/>
                      </a:lnTo>
                      <a:lnTo>
                        <a:pt x="22" y="26"/>
                      </a:lnTo>
                      <a:lnTo>
                        <a:pt x="21" y="29"/>
                      </a:lnTo>
                      <a:lnTo>
                        <a:pt x="21" y="32"/>
                      </a:lnTo>
                      <a:lnTo>
                        <a:pt x="24" y="36"/>
                      </a:lnTo>
                      <a:lnTo>
                        <a:pt x="28" y="39"/>
                      </a:lnTo>
                      <a:lnTo>
                        <a:pt x="29" y="41"/>
                      </a:lnTo>
                      <a:lnTo>
                        <a:pt x="29" y="42"/>
                      </a:lnTo>
                      <a:lnTo>
                        <a:pt x="29" y="43"/>
                      </a:lnTo>
                      <a:lnTo>
                        <a:pt x="25" y="48"/>
                      </a:lnTo>
                      <a:lnTo>
                        <a:pt x="21" y="54"/>
                      </a:lnTo>
                      <a:lnTo>
                        <a:pt x="21" y="60"/>
                      </a:lnTo>
                      <a:lnTo>
                        <a:pt x="21" y="65"/>
                      </a:lnTo>
                      <a:lnTo>
                        <a:pt x="24" y="67"/>
                      </a:lnTo>
                      <a:lnTo>
                        <a:pt x="26" y="68"/>
                      </a:lnTo>
                      <a:lnTo>
                        <a:pt x="26" y="71"/>
                      </a:lnTo>
                      <a:lnTo>
                        <a:pt x="28" y="75"/>
                      </a:lnTo>
                      <a:lnTo>
                        <a:pt x="33" y="82"/>
                      </a:lnTo>
                      <a:lnTo>
                        <a:pt x="33" y="86"/>
                      </a:lnTo>
                      <a:lnTo>
                        <a:pt x="33" y="89"/>
                      </a:lnTo>
                      <a:lnTo>
                        <a:pt x="31" y="93"/>
                      </a:lnTo>
                      <a:lnTo>
                        <a:pt x="33" y="96"/>
                      </a:lnTo>
                      <a:lnTo>
                        <a:pt x="38" y="106"/>
                      </a:lnTo>
                      <a:lnTo>
                        <a:pt x="44" y="114"/>
                      </a:lnTo>
                      <a:lnTo>
                        <a:pt x="47" y="119"/>
                      </a:lnTo>
                      <a:lnTo>
                        <a:pt x="48" y="122"/>
                      </a:lnTo>
                      <a:lnTo>
                        <a:pt x="48" y="127"/>
                      </a:lnTo>
                      <a:lnTo>
                        <a:pt x="47" y="132"/>
                      </a:lnTo>
                      <a:lnTo>
                        <a:pt x="38" y="124"/>
                      </a:lnTo>
                      <a:lnTo>
                        <a:pt x="33" y="120"/>
                      </a:lnTo>
                      <a:lnTo>
                        <a:pt x="29" y="120"/>
                      </a:lnTo>
                      <a:lnTo>
                        <a:pt x="26" y="120"/>
                      </a:lnTo>
                      <a:lnTo>
                        <a:pt x="22" y="121"/>
                      </a:lnTo>
                      <a:lnTo>
                        <a:pt x="20" y="124"/>
                      </a:lnTo>
                      <a:lnTo>
                        <a:pt x="19" y="126"/>
                      </a:lnTo>
                      <a:lnTo>
                        <a:pt x="17" y="128"/>
                      </a:lnTo>
                      <a:lnTo>
                        <a:pt x="17" y="135"/>
                      </a:lnTo>
                      <a:lnTo>
                        <a:pt x="19" y="141"/>
                      </a:lnTo>
                      <a:lnTo>
                        <a:pt x="19" y="145"/>
                      </a:lnTo>
                      <a:lnTo>
                        <a:pt x="17" y="147"/>
                      </a:lnTo>
                      <a:lnTo>
                        <a:pt x="16" y="151"/>
                      </a:lnTo>
                      <a:lnTo>
                        <a:pt x="17" y="154"/>
                      </a:lnTo>
                      <a:lnTo>
                        <a:pt x="16" y="157"/>
                      </a:lnTo>
                      <a:lnTo>
                        <a:pt x="15" y="160"/>
                      </a:lnTo>
                      <a:lnTo>
                        <a:pt x="14" y="163"/>
                      </a:lnTo>
                      <a:lnTo>
                        <a:pt x="12" y="166"/>
                      </a:lnTo>
                      <a:lnTo>
                        <a:pt x="15" y="169"/>
                      </a:lnTo>
                      <a:lnTo>
                        <a:pt x="16" y="169"/>
                      </a:lnTo>
                      <a:lnTo>
                        <a:pt x="19" y="169"/>
                      </a:lnTo>
                      <a:lnTo>
                        <a:pt x="20" y="170"/>
                      </a:lnTo>
                      <a:lnTo>
                        <a:pt x="20" y="171"/>
                      </a:lnTo>
                      <a:lnTo>
                        <a:pt x="20" y="175"/>
                      </a:lnTo>
                      <a:lnTo>
                        <a:pt x="21" y="176"/>
                      </a:lnTo>
                      <a:lnTo>
                        <a:pt x="29" y="177"/>
                      </a:lnTo>
                      <a:lnTo>
                        <a:pt x="30" y="178"/>
                      </a:lnTo>
                      <a:lnTo>
                        <a:pt x="31" y="179"/>
                      </a:lnTo>
                      <a:lnTo>
                        <a:pt x="31" y="182"/>
                      </a:lnTo>
                      <a:lnTo>
                        <a:pt x="30" y="18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9" name="Freeform 74">
                  <a:extLst>
                    <a:ext uri="{FF2B5EF4-FFF2-40B4-BE49-F238E27FC236}">
                      <a16:creationId xmlns:a16="http://schemas.microsoft.com/office/drawing/2014/main" id="{E803C918-9E42-C545-AA54-BF0CC84F4D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26981" y="3182890"/>
                  <a:ext cx="20718" cy="19238"/>
                </a:xfrm>
                <a:custGeom>
                  <a:avLst/>
                  <a:gdLst>
                    <a:gd name="T0" fmla="*/ 2147483647 w 15"/>
                    <a:gd name="T1" fmla="*/ 2147483647 h 13"/>
                    <a:gd name="T2" fmla="*/ 2147483647 w 15"/>
                    <a:gd name="T3" fmla="*/ 2147483647 h 13"/>
                    <a:gd name="T4" fmla="*/ 2147483647 w 15"/>
                    <a:gd name="T5" fmla="*/ 2147483647 h 13"/>
                    <a:gd name="T6" fmla="*/ 2147483647 w 15"/>
                    <a:gd name="T7" fmla="*/ 0 h 13"/>
                    <a:gd name="T8" fmla="*/ 2147483647 w 15"/>
                    <a:gd name="T9" fmla="*/ 0 h 13"/>
                    <a:gd name="T10" fmla="*/ 2147483647 w 15"/>
                    <a:gd name="T11" fmla="*/ 0 h 13"/>
                    <a:gd name="T12" fmla="*/ 2147483647 w 15"/>
                    <a:gd name="T13" fmla="*/ 0 h 13"/>
                    <a:gd name="T14" fmla="*/ 2147483647 w 15"/>
                    <a:gd name="T15" fmla="*/ 2147483647 h 13"/>
                    <a:gd name="T16" fmla="*/ 2147483647 w 15"/>
                    <a:gd name="T17" fmla="*/ 2147483647 h 13"/>
                    <a:gd name="T18" fmla="*/ 0 w 15"/>
                    <a:gd name="T19" fmla="*/ 2147483647 h 13"/>
                    <a:gd name="T20" fmla="*/ 0 w 15"/>
                    <a:gd name="T21" fmla="*/ 2147483647 h 13"/>
                    <a:gd name="T22" fmla="*/ 0 w 15"/>
                    <a:gd name="T23" fmla="*/ 2147483647 h 13"/>
                    <a:gd name="T24" fmla="*/ 2147483647 w 15"/>
                    <a:gd name="T25" fmla="*/ 2147483647 h 13"/>
                    <a:gd name="T26" fmla="*/ 2147483647 w 15"/>
                    <a:gd name="T27" fmla="*/ 2147483647 h 13"/>
                    <a:gd name="T28" fmla="*/ 2147483647 w 15"/>
                    <a:gd name="T29" fmla="*/ 2147483647 h 13"/>
                    <a:gd name="T30" fmla="*/ 2147483647 w 15"/>
                    <a:gd name="T31" fmla="*/ 2147483647 h 13"/>
                    <a:gd name="T32" fmla="*/ 2147483647 w 15"/>
                    <a:gd name="T33" fmla="*/ 2147483647 h 13"/>
                    <a:gd name="T34" fmla="*/ 2147483647 w 15"/>
                    <a:gd name="T35" fmla="*/ 2147483647 h 13"/>
                    <a:gd name="T36" fmla="*/ 2147483647 w 15"/>
                    <a:gd name="T37" fmla="*/ 2147483647 h 13"/>
                    <a:gd name="T38" fmla="*/ 2147483647 w 15"/>
                    <a:gd name="T39" fmla="*/ 2147483647 h 1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13"/>
                    <a:gd name="T62" fmla="*/ 15 w 15"/>
                    <a:gd name="T63" fmla="*/ 13 h 1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13">
                      <a:moveTo>
                        <a:pt x="14" y="3"/>
                      </a:moveTo>
                      <a:lnTo>
                        <a:pt x="14" y="3"/>
                      </a:lnTo>
                      <a:lnTo>
                        <a:pt x="15" y="1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0" y="9"/>
                      </a:lnTo>
                      <a:lnTo>
                        <a:pt x="0" y="12"/>
                      </a:lnTo>
                      <a:lnTo>
                        <a:pt x="2" y="13"/>
                      </a:lnTo>
                      <a:lnTo>
                        <a:pt x="4" y="13"/>
                      </a:lnTo>
                      <a:lnTo>
                        <a:pt x="7" y="12"/>
                      </a:lnTo>
                      <a:lnTo>
                        <a:pt x="10" y="8"/>
                      </a:lnTo>
                      <a:lnTo>
                        <a:pt x="14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0" name="Freeform 75">
                  <a:extLst>
                    <a:ext uri="{FF2B5EF4-FFF2-40B4-BE49-F238E27FC236}">
                      <a16:creationId xmlns:a16="http://schemas.microsoft.com/office/drawing/2014/main" id="{B841E79E-0351-6A47-A438-BB91FE1C3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41993" y="2901716"/>
                  <a:ext cx="66595" cy="298934"/>
                </a:xfrm>
                <a:custGeom>
                  <a:avLst/>
                  <a:gdLst>
                    <a:gd name="T0" fmla="*/ 2147483647 w 49"/>
                    <a:gd name="T1" fmla="*/ 2147483647 h 202"/>
                    <a:gd name="T2" fmla="*/ 2147483647 w 49"/>
                    <a:gd name="T3" fmla="*/ 2147483647 h 202"/>
                    <a:gd name="T4" fmla="*/ 2147483647 w 49"/>
                    <a:gd name="T5" fmla="*/ 2147483647 h 202"/>
                    <a:gd name="T6" fmla="*/ 2147483647 w 49"/>
                    <a:gd name="T7" fmla="*/ 2147483647 h 202"/>
                    <a:gd name="T8" fmla="*/ 2147483647 w 49"/>
                    <a:gd name="T9" fmla="*/ 2147483647 h 202"/>
                    <a:gd name="T10" fmla="*/ 2147483647 w 49"/>
                    <a:gd name="T11" fmla="*/ 2147483647 h 202"/>
                    <a:gd name="T12" fmla="*/ 2147483647 w 49"/>
                    <a:gd name="T13" fmla="*/ 2147483647 h 202"/>
                    <a:gd name="T14" fmla="*/ 2147483647 w 49"/>
                    <a:gd name="T15" fmla="*/ 2147483647 h 202"/>
                    <a:gd name="T16" fmla="*/ 2147483647 w 49"/>
                    <a:gd name="T17" fmla="*/ 2147483647 h 202"/>
                    <a:gd name="T18" fmla="*/ 0 w 49"/>
                    <a:gd name="T19" fmla="*/ 2147483647 h 202"/>
                    <a:gd name="T20" fmla="*/ 2147483647 w 49"/>
                    <a:gd name="T21" fmla="*/ 2147483647 h 202"/>
                    <a:gd name="T22" fmla="*/ 2147483647 w 49"/>
                    <a:gd name="T23" fmla="*/ 2147483647 h 202"/>
                    <a:gd name="T24" fmla="*/ 2147483647 w 49"/>
                    <a:gd name="T25" fmla="*/ 2147483647 h 202"/>
                    <a:gd name="T26" fmla="*/ 2147483647 w 49"/>
                    <a:gd name="T27" fmla="*/ 2147483647 h 202"/>
                    <a:gd name="T28" fmla="*/ 2147483647 w 49"/>
                    <a:gd name="T29" fmla="*/ 2147483647 h 202"/>
                    <a:gd name="T30" fmla="*/ 2147483647 w 49"/>
                    <a:gd name="T31" fmla="*/ 2147483647 h 202"/>
                    <a:gd name="T32" fmla="*/ 2147483647 w 49"/>
                    <a:gd name="T33" fmla="*/ 2147483647 h 202"/>
                    <a:gd name="T34" fmla="*/ 2147483647 w 49"/>
                    <a:gd name="T35" fmla="*/ 2147483647 h 202"/>
                    <a:gd name="T36" fmla="*/ 2147483647 w 49"/>
                    <a:gd name="T37" fmla="*/ 2147483647 h 202"/>
                    <a:gd name="T38" fmla="*/ 2147483647 w 49"/>
                    <a:gd name="T39" fmla="*/ 2147483647 h 202"/>
                    <a:gd name="T40" fmla="*/ 2147483647 w 49"/>
                    <a:gd name="T41" fmla="*/ 2147483647 h 202"/>
                    <a:gd name="T42" fmla="*/ 2147483647 w 49"/>
                    <a:gd name="T43" fmla="*/ 0 h 202"/>
                    <a:gd name="T44" fmla="*/ 2147483647 w 49"/>
                    <a:gd name="T45" fmla="*/ 2147483647 h 202"/>
                    <a:gd name="T46" fmla="*/ 2147483647 w 49"/>
                    <a:gd name="T47" fmla="*/ 2147483647 h 202"/>
                    <a:gd name="T48" fmla="*/ 2147483647 w 49"/>
                    <a:gd name="T49" fmla="*/ 2147483647 h 202"/>
                    <a:gd name="T50" fmla="*/ 2147483647 w 49"/>
                    <a:gd name="T51" fmla="*/ 2147483647 h 202"/>
                    <a:gd name="T52" fmla="*/ 2147483647 w 49"/>
                    <a:gd name="T53" fmla="*/ 2147483647 h 202"/>
                    <a:gd name="T54" fmla="*/ 2147483647 w 49"/>
                    <a:gd name="T55" fmla="*/ 2147483647 h 202"/>
                    <a:gd name="T56" fmla="*/ 2147483647 w 49"/>
                    <a:gd name="T57" fmla="*/ 2147483647 h 202"/>
                    <a:gd name="T58" fmla="*/ 2147483647 w 49"/>
                    <a:gd name="T59" fmla="*/ 2147483647 h 202"/>
                    <a:gd name="T60" fmla="*/ 2147483647 w 49"/>
                    <a:gd name="T61" fmla="*/ 2147483647 h 202"/>
                    <a:gd name="T62" fmla="*/ 2147483647 w 49"/>
                    <a:gd name="T63" fmla="*/ 2147483647 h 202"/>
                    <a:gd name="T64" fmla="*/ 2147483647 w 49"/>
                    <a:gd name="T65" fmla="*/ 2147483647 h 202"/>
                    <a:gd name="T66" fmla="*/ 2147483647 w 49"/>
                    <a:gd name="T67" fmla="*/ 2147483647 h 202"/>
                    <a:gd name="T68" fmla="*/ 2147483647 w 49"/>
                    <a:gd name="T69" fmla="*/ 2147483647 h 202"/>
                    <a:gd name="T70" fmla="*/ 2147483647 w 49"/>
                    <a:gd name="T71" fmla="*/ 2147483647 h 202"/>
                    <a:gd name="T72" fmla="*/ 2147483647 w 49"/>
                    <a:gd name="T73" fmla="*/ 2147483647 h 202"/>
                    <a:gd name="T74" fmla="*/ 2147483647 w 49"/>
                    <a:gd name="T75" fmla="*/ 2147483647 h 202"/>
                    <a:gd name="T76" fmla="*/ 2147483647 w 49"/>
                    <a:gd name="T77" fmla="*/ 2147483647 h 202"/>
                    <a:gd name="T78" fmla="*/ 2147483647 w 49"/>
                    <a:gd name="T79" fmla="*/ 2147483647 h 202"/>
                    <a:gd name="T80" fmla="*/ 2147483647 w 49"/>
                    <a:gd name="T81" fmla="*/ 2147483647 h 202"/>
                    <a:gd name="T82" fmla="*/ 2147483647 w 49"/>
                    <a:gd name="T83" fmla="*/ 2147483647 h 202"/>
                    <a:gd name="T84" fmla="*/ 2147483647 w 49"/>
                    <a:gd name="T85" fmla="*/ 2147483647 h 202"/>
                    <a:gd name="T86" fmla="*/ 2147483647 w 49"/>
                    <a:gd name="T87" fmla="*/ 2147483647 h 202"/>
                    <a:gd name="T88" fmla="*/ 2147483647 w 49"/>
                    <a:gd name="T89" fmla="*/ 2147483647 h 202"/>
                    <a:gd name="T90" fmla="*/ 2147483647 w 49"/>
                    <a:gd name="T91" fmla="*/ 2147483647 h 202"/>
                    <a:gd name="T92" fmla="*/ 2147483647 w 49"/>
                    <a:gd name="T93" fmla="*/ 2147483647 h 202"/>
                    <a:gd name="T94" fmla="*/ 2147483647 w 49"/>
                    <a:gd name="T95" fmla="*/ 2147483647 h 202"/>
                    <a:gd name="T96" fmla="*/ 2147483647 w 49"/>
                    <a:gd name="T97" fmla="*/ 2147483647 h 20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9"/>
                    <a:gd name="T148" fmla="*/ 0 h 202"/>
                    <a:gd name="T149" fmla="*/ 49 w 49"/>
                    <a:gd name="T150" fmla="*/ 202 h 20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9" h="202">
                      <a:moveTo>
                        <a:pt x="31" y="184"/>
                      </a:moveTo>
                      <a:lnTo>
                        <a:pt x="31" y="184"/>
                      </a:lnTo>
                      <a:lnTo>
                        <a:pt x="30" y="187"/>
                      </a:lnTo>
                      <a:lnTo>
                        <a:pt x="28" y="193"/>
                      </a:lnTo>
                      <a:lnTo>
                        <a:pt x="28" y="198"/>
                      </a:lnTo>
                      <a:lnTo>
                        <a:pt x="27" y="199"/>
                      </a:lnTo>
                      <a:lnTo>
                        <a:pt x="24" y="199"/>
                      </a:lnTo>
                      <a:lnTo>
                        <a:pt x="23" y="199"/>
                      </a:lnTo>
                      <a:lnTo>
                        <a:pt x="22" y="198"/>
                      </a:lnTo>
                      <a:lnTo>
                        <a:pt x="22" y="195"/>
                      </a:lnTo>
                      <a:lnTo>
                        <a:pt x="22" y="190"/>
                      </a:lnTo>
                      <a:lnTo>
                        <a:pt x="21" y="187"/>
                      </a:lnTo>
                      <a:lnTo>
                        <a:pt x="19" y="186"/>
                      </a:lnTo>
                      <a:lnTo>
                        <a:pt x="17" y="185"/>
                      </a:lnTo>
                      <a:lnTo>
                        <a:pt x="16" y="185"/>
                      </a:lnTo>
                      <a:lnTo>
                        <a:pt x="13" y="190"/>
                      </a:lnTo>
                      <a:lnTo>
                        <a:pt x="11" y="193"/>
                      </a:lnTo>
                      <a:lnTo>
                        <a:pt x="9" y="197"/>
                      </a:lnTo>
                      <a:lnTo>
                        <a:pt x="7" y="200"/>
                      </a:lnTo>
                      <a:lnTo>
                        <a:pt x="5" y="202"/>
                      </a:lnTo>
                      <a:lnTo>
                        <a:pt x="4" y="202"/>
                      </a:lnTo>
                      <a:lnTo>
                        <a:pt x="2" y="199"/>
                      </a:lnTo>
                      <a:lnTo>
                        <a:pt x="0" y="195"/>
                      </a:lnTo>
                      <a:lnTo>
                        <a:pt x="0" y="191"/>
                      </a:lnTo>
                      <a:lnTo>
                        <a:pt x="2" y="183"/>
                      </a:lnTo>
                      <a:lnTo>
                        <a:pt x="2" y="171"/>
                      </a:lnTo>
                      <a:lnTo>
                        <a:pt x="3" y="160"/>
                      </a:lnTo>
                      <a:lnTo>
                        <a:pt x="4" y="136"/>
                      </a:lnTo>
                      <a:lnTo>
                        <a:pt x="4" y="135"/>
                      </a:lnTo>
                      <a:lnTo>
                        <a:pt x="3" y="133"/>
                      </a:lnTo>
                      <a:lnTo>
                        <a:pt x="2" y="131"/>
                      </a:lnTo>
                      <a:lnTo>
                        <a:pt x="2" y="128"/>
                      </a:lnTo>
                      <a:lnTo>
                        <a:pt x="3" y="126"/>
                      </a:lnTo>
                      <a:lnTo>
                        <a:pt x="4" y="123"/>
                      </a:lnTo>
                      <a:lnTo>
                        <a:pt x="5" y="122"/>
                      </a:lnTo>
                      <a:lnTo>
                        <a:pt x="7" y="120"/>
                      </a:lnTo>
                      <a:lnTo>
                        <a:pt x="7" y="110"/>
                      </a:lnTo>
                      <a:lnTo>
                        <a:pt x="8" y="101"/>
                      </a:lnTo>
                      <a:lnTo>
                        <a:pt x="7" y="85"/>
                      </a:lnTo>
                      <a:lnTo>
                        <a:pt x="4" y="70"/>
                      </a:lnTo>
                      <a:lnTo>
                        <a:pt x="2" y="57"/>
                      </a:lnTo>
                      <a:lnTo>
                        <a:pt x="2" y="45"/>
                      </a:lnTo>
                      <a:lnTo>
                        <a:pt x="4" y="32"/>
                      </a:lnTo>
                      <a:lnTo>
                        <a:pt x="8" y="19"/>
                      </a:lnTo>
                      <a:lnTo>
                        <a:pt x="9" y="18"/>
                      </a:lnTo>
                      <a:lnTo>
                        <a:pt x="11" y="16"/>
                      </a:lnTo>
                      <a:lnTo>
                        <a:pt x="14" y="14"/>
                      </a:lnTo>
                      <a:lnTo>
                        <a:pt x="17" y="13"/>
                      </a:lnTo>
                      <a:lnTo>
                        <a:pt x="17" y="12"/>
                      </a:lnTo>
                      <a:lnTo>
                        <a:pt x="17" y="8"/>
                      </a:lnTo>
                      <a:lnTo>
                        <a:pt x="16" y="4"/>
                      </a:lnTo>
                      <a:lnTo>
                        <a:pt x="16" y="0"/>
                      </a:lnTo>
                      <a:lnTo>
                        <a:pt x="18" y="1"/>
                      </a:lnTo>
                      <a:lnTo>
                        <a:pt x="21" y="4"/>
                      </a:lnTo>
                      <a:lnTo>
                        <a:pt x="23" y="10"/>
                      </a:lnTo>
                      <a:lnTo>
                        <a:pt x="26" y="16"/>
                      </a:lnTo>
                      <a:lnTo>
                        <a:pt x="26" y="20"/>
                      </a:lnTo>
                      <a:lnTo>
                        <a:pt x="23" y="26"/>
                      </a:lnTo>
                      <a:lnTo>
                        <a:pt x="22" y="29"/>
                      </a:lnTo>
                      <a:lnTo>
                        <a:pt x="22" y="32"/>
                      </a:lnTo>
                      <a:lnTo>
                        <a:pt x="24" y="36"/>
                      </a:lnTo>
                      <a:lnTo>
                        <a:pt x="28" y="39"/>
                      </a:lnTo>
                      <a:lnTo>
                        <a:pt x="30" y="40"/>
                      </a:lnTo>
                      <a:lnTo>
                        <a:pt x="30" y="42"/>
                      </a:lnTo>
                      <a:lnTo>
                        <a:pt x="30" y="43"/>
                      </a:lnTo>
                      <a:lnTo>
                        <a:pt x="26" y="48"/>
                      </a:lnTo>
                      <a:lnTo>
                        <a:pt x="22" y="53"/>
                      </a:lnTo>
                      <a:lnTo>
                        <a:pt x="22" y="59"/>
                      </a:lnTo>
                      <a:lnTo>
                        <a:pt x="22" y="65"/>
                      </a:lnTo>
                      <a:lnTo>
                        <a:pt x="24" y="66"/>
                      </a:lnTo>
                      <a:lnTo>
                        <a:pt x="27" y="68"/>
                      </a:lnTo>
                      <a:lnTo>
                        <a:pt x="27" y="71"/>
                      </a:lnTo>
                      <a:lnTo>
                        <a:pt x="28" y="75"/>
                      </a:lnTo>
                      <a:lnTo>
                        <a:pt x="33" y="82"/>
                      </a:lnTo>
                      <a:lnTo>
                        <a:pt x="33" y="85"/>
                      </a:lnTo>
                      <a:lnTo>
                        <a:pt x="33" y="89"/>
                      </a:lnTo>
                      <a:lnTo>
                        <a:pt x="32" y="93"/>
                      </a:lnTo>
                      <a:lnTo>
                        <a:pt x="33" y="96"/>
                      </a:lnTo>
                      <a:lnTo>
                        <a:pt x="38" y="106"/>
                      </a:lnTo>
                      <a:lnTo>
                        <a:pt x="45" y="114"/>
                      </a:lnTo>
                      <a:lnTo>
                        <a:pt x="47" y="119"/>
                      </a:lnTo>
                      <a:lnTo>
                        <a:pt x="49" y="122"/>
                      </a:lnTo>
                      <a:lnTo>
                        <a:pt x="49" y="127"/>
                      </a:lnTo>
                      <a:lnTo>
                        <a:pt x="47" y="132"/>
                      </a:lnTo>
                      <a:lnTo>
                        <a:pt x="38" y="123"/>
                      </a:lnTo>
                      <a:lnTo>
                        <a:pt x="33" y="120"/>
                      </a:lnTo>
                      <a:lnTo>
                        <a:pt x="30" y="120"/>
                      </a:lnTo>
                      <a:lnTo>
                        <a:pt x="27" y="120"/>
                      </a:lnTo>
                      <a:lnTo>
                        <a:pt x="23" y="121"/>
                      </a:lnTo>
                      <a:lnTo>
                        <a:pt x="21" y="123"/>
                      </a:lnTo>
                      <a:lnTo>
                        <a:pt x="19" y="126"/>
                      </a:lnTo>
                      <a:lnTo>
                        <a:pt x="18" y="128"/>
                      </a:lnTo>
                      <a:lnTo>
                        <a:pt x="18" y="135"/>
                      </a:lnTo>
                      <a:lnTo>
                        <a:pt x="19" y="141"/>
                      </a:lnTo>
                      <a:lnTo>
                        <a:pt x="19" y="145"/>
                      </a:lnTo>
                      <a:lnTo>
                        <a:pt x="18" y="147"/>
                      </a:lnTo>
                      <a:lnTo>
                        <a:pt x="17" y="151"/>
                      </a:lnTo>
                      <a:lnTo>
                        <a:pt x="18" y="154"/>
                      </a:lnTo>
                      <a:lnTo>
                        <a:pt x="17" y="157"/>
                      </a:lnTo>
                      <a:lnTo>
                        <a:pt x="16" y="160"/>
                      </a:lnTo>
                      <a:lnTo>
                        <a:pt x="14" y="163"/>
                      </a:lnTo>
                      <a:lnTo>
                        <a:pt x="13" y="166"/>
                      </a:lnTo>
                      <a:lnTo>
                        <a:pt x="16" y="168"/>
                      </a:lnTo>
                      <a:lnTo>
                        <a:pt x="17" y="168"/>
                      </a:lnTo>
                      <a:lnTo>
                        <a:pt x="19" y="168"/>
                      </a:lnTo>
                      <a:lnTo>
                        <a:pt x="21" y="170"/>
                      </a:lnTo>
                      <a:lnTo>
                        <a:pt x="21" y="171"/>
                      </a:lnTo>
                      <a:lnTo>
                        <a:pt x="21" y="174"/>
                      </a:lnTo>
                      <a:lnTo>
                        <a:pt x="22" y="176"/>
                      </a:lnTo>
                      <a:lnTo>
                        <a:pt x="30" y="177"/>
                      </a:lnTo>
                      <a:lnTo>
                        <a:pt x="31" y="178"/>
                      </a:lnTo>
                      <a:lnTo>
                        <a:pt x="32" y="179"/>
                      </a:lnTo>
                      <a:lnTo>
                        <a:pt x="32" y="181"/>
                      </a:lnTo>
                      <a:lnTo>
                        <a:pt x="31" y="18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1" name="Freeform 76">
                  <a:extLst>
                    <a:ext uri="{FF2B5EF4-FFF2-40B4-BE49-F238E27FC236}">
                      <a16:creationId xmlns:a16="http://schemas.microsoft.com/office/drawing/2014/main" id="{1696F12C-2696-7B47-8319-20AD4A9311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6459" y="4279474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6"/>
                    <a:gd name="T35" fmla="*/ 5 w 5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6">
                      <a:moveTo>
                        <a:pt x="5" y="5"/>
                      </a:moveTo>
                      <a:lnTo>
                        <a:pt x="5" y="2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2" name="Freeform 77">
                  <a:extLst>
                    <a:ext uri="{FF2B5EF4-FFF2-40B4-BE49-F238E27FC236}">
                      <a16:creationId xmlns:a16="http://schemas.microsoft.com/office/drawing/2014/main" id="{1E13C02B-DA0F-A04B-AF2D-61E6C79E56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93136" y="4312031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0 h 6"/>
                    <a:gd name="T4" fmla="*/ 2147483647 w 5"/>
                    <a:gd name="T5" fmla="*/ 0 h 6"/>
                    <a:gd name="T6" fmla="*/ 2147483647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3"/>
                      </a:move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5" y="5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3" name="Freeform 78">
                  <a:extLst>
                    <a:ext uri="{FF2B5EF4-FFF2-40B4-BE49-F238E27FC236}">
                      <a16:creationId xmlns:a16="http://schemas.microsoft.com/office/drawing/2014/main" id="{877266E7-9DEA-AD47-9B0A-BCE193FBE2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3497" y="4277995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2147483647 w 6"/>
                    <a:gd name="T11" fmla="*/ 0 h 6"/>
                    <a:gd name="T12" fmla="*/ 2147483647 w 6"/>
                    <a:gd name="T13" fmla="*/ 0 h 6"/>
                    <a:gd name="T14" fmla="*/ 0 w 6"/>
                    <a:gd name="T15" fmla="*/ 2147483647 h 6"/>
                    <a:gd name="T16" fmla="*/ 0 w 6"/>
                    <a:gd name="T17" fmla="*/ 2147483647 h 6"/>
                    <a:gd name="T18" fmla="*/ 0 w 6"/>
                    <a:gd name="T19" fmla="*/ 2147483647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2147483647 w 6"/>
                    <a:gd name="T29" fmla="*/ 2147483647 h 6"/>
                    <a:gd name="T30" fmla="*/ 2147483647 w 6"/>
                    <a:gd name="T31" fmla="*/ 2147483647 h 6"/>
                    <a:gd name="T32" fmla="*/ 2147483647 w 6"/>
                    <a:gd name="T33" fmla="*/ 2147483647 h 6"/>
                    <a:gd name="T34" fmla="*/ 2147483647 w 6"/>
                    <a:gd name="T35" fmla="*/ 2147483647 h 6"/>
                    <a:gd name="T36" fmla="*/ 2147483647 w 6"/>
                    <a:gd name="T37" fmla="*/ 2147483647 h 6"/>
                    <a:gd name="T38" fmla="*/ 2147483647 w 6"/>
                    <a:gd name="T39" fmla="*/ 2147483647 h 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6"/>
                    <a:gd name="T61" fmla="*/ 0 h 6"/>
                    <a:gd name="T62" fmla="*/ 6 w 6"/>
                    <a:gd name="T63" fmla="*/ 6 h 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6" h="6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4" name="Freeform 79">
                  <a:extLst>
                    <a:ext uri="{FF2B5EF4-FFF2-40B4-BE49-F238E27FC236}">
                      <a16:creationId xmlns:a16="http://schemas.microsoft.com/office/drawing/2014/main" id="{A46980D2-2544-F041-8F9D-2CE127FEEB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90177" y="4310552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0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5" name="Freeform 80">
                  <a:extLst>
                    <a:ext uri="{FF2B5EF4-FFF2-40B4-BE49-F238E27FC236}">
                      <a16:creationId xmlns:a16="http://schemas.microsoft.com/office/drawing/2014/main" id="{7B3BA94A-869C-FE47-9662-B6746B8C82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5335" y="4331270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0 h 6"/>
                    <a:gd name="T8" fmla="*/ 0 w 5"/>
                    <a:gd name="T9" fmla="*/ 2147483647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4"/>
                      </a:moveTo>
                      <a:lnTo>
                        <a:pt x="5" y="3"/>
                      </a:lnTo>
                      <a:lnTo>
                        <a:pt x="4" y="2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6" name="Freeform 81">
                  <a:extLst>
                    <a:ext uri="{FF2B5EF4-FFF2-40B4-BE49-F238E27FC236}">
                      <a16:creationId xmlns:a16="http://schemas.microsoft.com/office/drawing/2014/main" id="{90816499-C9EF-504E-B3EF-70EE88CC30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40492" y="4354947"/>
                  <a:ext cx="7400" cy="5919"/>
                </a:xfrm>
                <a:custGeom>
                  <a:avLst/>
                  <a:gdLst>
                    <a:gd name="T0" fmla="*/ 2147483647 w 5"/>
                    <a:gd name="T1" fmla="*/ 2147483647 h 4"/>
                    <a:gd name="T2" fmla="*/ 2147483647 w 5"/>
                    <a:gd name="T3" fmla="*/ 2147483647 h 4"/>
                    <a:gd name="T4" fmla="*/ 2147483647 w 5"/>
                    <a:gd name="T5" fmla="*/ 0 h 4"/>
                    <a:gd name="T6" fmla="*/ 2147483647 w 5"/>
                    <a:gd name="T7" fmla="*/ 0 h 4"/>
                    <a:gd name="T8" fmla="*/ 0 w 5"/>
                    <a:gd name="T9" fmla="*/ 2147483647 h 4"/>
                    <a:gd name="T10" fmla="*/ 0 w 5"/>
                    <a:gd name="T11" fmla="*/ 2147483647 h 4"/>
                    <a:gd name="T12" fmla="*/ 2147483647 w 5"/>
                    <a:gd name="T13" fmla="*/ 2147483647 h 4"/>
                    <a:gd name="T14" fmla="*/ 2147483647 w 5"/>
                    <a:gd name="T15" fmla="*/ 2147483647 h 4"/>
                    <a:gd name="T16" fmla="*/ 2147483647 w 5"/>
                    <a:gd name="T17" fmla="*/ 2147483647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4"/>
                    <a:gd name="T29" fmla="*/ 5 w 5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4">
                      <a:moveTo>
                        <a:pt x="5" y="2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4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7" name="Freeform 82">
                  <a:extLst>
                    <a:ext uri="{FF2B5EF4-FFF2-40B4-BE49-F238E27FC236}">
                      <a16:creationId xmlns:a16="http://schemas.microsoft.com/office/drawing/2014/main" id="{8CF923C9-4B6C-1741-BEAD-44A938764E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3855" y="4329790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0 h 6"/>
                    <a:gd name="T12" fmla="*/ 0 w 5"/>
                    <a:gd name="T13" fmla="*/ 2147483647 h 6"/>
                    <a:gd name="T14" fmla="*/ 0 w 5"/>
                    <a:gd name="T15" fmla="*/ 2147483647 h 6"/>
                    <a:gd name="T16" fmla="*/ 0 w 5"/>
                    <a:gd name="T17" fmla="*/ 2147483647 h 6"/>
                    <a:gd name="T18" fmla="*/ 0 w 5"/>
                    <a:gd name="T19" fmla="*/ 2147483647 h 6"/>
                    <a:gd name="T20" fmla="*/ 0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8" name="Freeform 83">
                  <a:extLst>
                    <a:ext uri="{FF2B5EF4-FFF2-40B4-BE49-F238E27FC236}">
                      <a16:creationId xmlns:a16="http://schemas.microsoft.com/office/drawing/2014/main" id="{CF43EBB4-B478-4A4A-8707-B69DA191E3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39017" y="4353467"/>
                  <a:ext cx="7399" cy="5919"/>
                </a:xfrm>
                <a:custGeom>
                  <a:avLst/>
                  <a:gdLst>
                    <a:gd name="T0" fmla="*/ 2147483647 w 5"/>
                    <a:gd name="T1" fmla="*/ 2147483647 h 4"/>
                    <a:gd name="T2" fmla="*/ 2147483647 w 5"/>
                    <a:gd name="T3" fmla="*/ 2147483647 h 4"/>
                    <a:gd name="T4" fmla="*/ 2147483647 w 5"/>
                    <a:gd name="T5" fmla="*/ 2147483647 h 4"/>
                    <a:gd name="T6" fmla="*/ 2147483647 w 5"/>
                    <a:gd name="T7" fmla="*/ 0 h 4"/>
                    <a:gd name="T8" fmla="*/ 2147483647 w 5"/>
                    <a:gd name="T9" fmla="*/ 0 h 4"/>
                    <a:gd name="T10" fmla="*/ 2147483647 w 5"/>
                    <a:gd name="T11" fmla="*/ 0 h 4"/>
                    <a:gd name="T12" fmla="*/ 0 w 5"/>
                    <a:gd name="T13" fmla="*/ 2147483647 h 4"/>
                    <a:gd name="T14" fmla="*/ 0 w 5"/>
                    <a:gd name="T15" fmla="*/ 2147483647 h 4"/>
                    <a:gd name="T16" fmla="*/ 0 w 5"/>
                    <a:gd name="T17" fmla="*/ 2147483647 h 4"/>
                    <a:gd name="T18" fmla="*/ 2147483647 w 5"/>
                    <a:gd name="T19" fmla="*/ 2147483647 h 4"/>
                    <a:gd name="T20" fmla="*/ 2147483647 w 5"/>
                    <a:gd name="T21" fmla="*/ 2147483647 h 4"/>
                    <a:gd name="T22" fmla="*/ 2147483647 w 5"/>
                    <a:gd name="T23" fmla="*/ 2147483647 h 4"/>
                    <a:gd name="T24" fmla="*/ 2147483647 w 5"/>
                    <a:gd name="T25" fmla="*/ 2147483647 h 4"/>
                    <a:gd name="T26" fmla="*/ 2147483647 w 5"/>
                    <a:gd name="T27" fmla="*/ 2147483647 h 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4"/>
                    <a:gd name="T44" fmla="*/ 5 w 5"/>
                    <a:gd name="T45" fmla="*/ 4 h 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4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4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9" name="Freeform 84">
                  <a:extLst>
                    <a:ext uri="{FF2B5EF4-FFF2-40B4-BE49-F238E27FC236}">
                      <a16:creationId xmlns:a16="http://schemas.microsoft.com/office/drawing/2014/main" id="{2E389D56-3D4E-B743-BE28-AE32A86C57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9458" y="4374182"/>
                  <a:ext cx="7400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0 h 8"/>
                    <a:gd name="T6" fmla="*/ 2147483647 w 5"/>
                    <a:gd name="T7" fmla="*/ 0 h 8"/>
                    <a:gd name="T8" fmla="*/ 2147483647 w 5"/>
                    <a:gd name="T9" fmla="*/ 2147483647 h 8"/>
                    <a:gd name="T10" fmla="*/ 0 w 5"/>
                    <a:gd name="T11" fmla="*/ 2147483647 h 8"/>
                    <a:gd name="T12" fmla="*/ 2147483647 w 5"/>
                    <a:gd name="T13" fmla="*/ 2147483647 h 8"/>
                    <a:gd name="T14" fmla="*/ 2147483647 w 5"/>
                    <a:gd name="T15" fmla="*/ 2147483647 h 8"/>
                    <a:gd name="T16" fmla="*/ 2147483647 w 5"/>
                    <a:gd name="T17" fmla="*/ 2147483647 h 8"/>
                    <a:gd name="T18" fmla="*/ 2147483647 w 5"/>
                    <a:gd name="T19" fmla="*/ 2147483647 h 8"/>
                    <a:gd name="T20" fmla="*/ 2147483647 w 5"/>
                    <a:gd name="T21" fmla="*/ 2147483647 h 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8"/>
                    <a:gd name="T35" fmla="*/ 5 w 5"/>
                    <a:gd name="T36" fmla="*/ 8 h 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8">
                      <a:moveTo>
                        <a:pt x="5" y="5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4" y="7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0" name="Freeform 85">
                  <a:extLst>
                    <a:ext uri="{FF2B5EF4-FFF2-40B4-BE49-F238E27FC236}">
                      <a16:creationId xmlns:a16="http://schemas.microsoft.com/office/drawing/2014/main" id="{5D3F68DB-5D4B-5644-BA59-676ECD6E40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39016" y="4397861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0 h 7"/>
                    <a:gd name="T6" fmla="*/ 0 w 6"/>
                    <a:gd name="T7" fmla="*/ 0 h 7"/>
                    <a:gd name="T8" fmla="*/ 0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7"/>
                    <a:gd name="T35" fmla="*/ 6 w 6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7">
                      <a:moveTo>
                        <a:pt x="6" y="6"/>
                      </a:moveTo>
                      <a:lnTo>
                        <a:pt x="4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6" y="6"/>
                      </a:lnTo>
                      <a:lnTo>
                        <a:pt x="6" y="5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1" name="Freeform 86">
                  <a:extLst>
                    <a:ext uri="{FF2B5EF4-FFF2-40B4-BE49-F238E27FC236}">
                      <a16:creationId xmlns:a16="http://schemas.microsoft.com/office/drawing/2014/main" id="{D3380FA7-6B9C-3444-B38B-85A166D422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7984" y="4372704"/>
                  <a:ext cx="739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0 h 8"/>
                    <a:gd name="T8" fmla="*/ 2147483647 w 5"/>
                    <a:gd name="T9" fmla="*/ 0 h 8"/>
                    <a:gd name="T10" fmla="*/ 2147483647 w 5"/>
                    <a:gd name="T11" fmla="*/ 0 h 8"/>
                    <a:gd name="T12" fmla="*/ 2147483647 w 5"/>
                    <a:gd name="T13" fmla="*/ 2147483647 h 8"/>
                    <a:gd name="T14" fmla="*/ 0 w 5"/>
                    <a:gd name="T15" fmla="*/ 2147483647 h 8"/>
                    <a:gd name="T16" fmla="*/ 2147483647 w 5"/>
                    <a:gd name="T17" fmla="*/ 2147483647 h 8"/>
                    <a:gd name="T18" fmla="*/ 2147483647 w 5"/>
                    <a:gd name="T19" fmla="*/ 2147483647 h 8"/>
                    <a:gd name="T20" fmla="*/ 2147483647 w 5"/>
                    <a:gd name="T21" fmla="*/ 2147483647 h 8"/>
                    <a:gd name="T22" fmla="*/ 2147483647 w 5"/>
                    <a:gd name="T23" fmla="*/ 2147483647 h 8"/>
                    <a:gd name="T24" fmla="*/ 2147483647 w 5"/>
                    <a:gd name="T25" fmla="*/ 2147483647 h 8"/>
                    <a:gd name="T26" fmla="*/ 2147483647 w 5"/>
                    <a:gd name="T27" fmla="*/ 2147483647 h 8"/>
                    <a:gd name="T28" fmla="*/ 2147483647 w 5"/>
                    <a:gd name="T29" fmla="*/ 2147483647 h 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8"/>
                    <a:gd name="T47" fmla="*/ 5 w 5"/>
                    <a:gd name="T48" fmla="*/ 8 h 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8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4" y="7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2" name="Freeform 87">
                  <a:extLst>
                    <a:ext uri="{FF2B5EF4-FFF2-40B4-BE49-F238E27FC236}">
                      <a16:creationId xmlns:a16="http://schemas.microsoft.com/office/drawing/2014/main" id="{66170681-6A60-0E41-830F-D4B8988ABC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37535" y="4396383"/>
                  <a:ext cx="887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0 h 7"/>
                    <a:gd name="T8" fmla="*/ 2147483647 w 6"/>
                    <a:gd name="T9" fmla="*/ 0 h 7"/>
                    <a:gd name="T10" fmla="*/ 0 w 6"/>
                    <a:gd name="T11" fmla="*/ 0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2147483647 w 6"/>
                    <a:gd name="T31" fmla="*/ 2147483647 h 7"/>
                    <a:gd name="T32" fmla="*/ 2147483647 w 6"/>
                    <a:gd name="T33" fmla="*/ 2147483647 h 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"/>
                    <a:gd name="T52" fmla="*/ 0 h 7"/>
                    <a:gd name="T53" fmla="*/ 6 w 6"/>
                    <a:gd name="T54" fmla="*/ 7 h 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" h="7">
                      <a:moveTo>
                        <a:pt x="6" y="6"/>
                      </a:moveTo>
                      <a:lnTo>
                        <a:pt x="6" y="6"/>
                      </a:lnTo>
                      <a:lnTo>
                        <a:pt x="3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6" y="6"/>
                      </a:lnTo>
                      <a:lnTo>
                        <a:pt x="6" y="5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3" name="Freeform 88">
                  <a:extLst>
                    <a:ext uri="{FF2B5EF4-FFF2-40B4-BE49-F238E27FC236}">
                      <a16:creationId xmlns:a16="http://schemas.microsoft.com/office/drawing/2014/main" id="{3E89B190-546D-D642-ACC8-BCB32BFB8B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3496" y="4423022"/>
                  <a:ext cx="1035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0 h 6"/>
                    <a:gd name="T6" fmla="*/ 2147483647 w 7"/>
                    <a:gd name="T7" fmla="*/ 0 h 6"/>
                    <a:gd name="T8" fmla="*/ 0 w 7"/>
                    <a:gd name="T9" fmla="*/ 2147483647 h 6"/>
                    <a:gd name="T10" fmla="*/ 0 w 7"/>
                    <a:gd name="T11" fmla="*/ 2147483647 h 6"/>
                    <a:gd name="T12" fmla="*/ 2147483647 w 7"/>
                    <a:gd name="T13" fmla="*/ 2147483647 h 6"/>
                    <a:gd name="T14" fmla="*/ 2147483647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7"/>
                    <a:gd name="T31" fmla="*/ 0 h 6"/>
                    <a:gd name="T32" fmla="*/ 7 w 7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7" h="6">
                      <a:moveTo>
                        <a:pt x="7" y="5"/>
                      </a:move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3" y="6"/>
                      </a:lnTo>
                      <a:lnTo>
                        <a:pt x="6" y="6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4" name="Freeform 89">
                  <a:extLst>
                    <a:ext uri="{FF2B5EF4-FFF2-40B4-BE49-F238E27FC236}">
                      <a16:creationId xmlns:a16="http://schemas.microsoft.com/office/drawing/2014/main" id="{520F31A0-DD77-6D41-B558-46832E6AD5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56772" y="4421543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0 h 6"/>
                    <a:gd name="T6" fmla="*/ 2147483647 w 6"/>
                    <a:gd name="T7" fmla="*/ 0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6"/>
                    <a:gd name="T35" fmla="*/ 6 w 6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6">
                      <a:moveTo>
                        <a:pt x="6" y="3"/>
                      </a:move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5" name="Freeform 90">
                  <a:extLst>
                    <a:ext uri="{FF2B5EF4-FFF2-40B4-BE49-F238E27FC236}">
                      <a16:creationId xmlns:a16="http://schemas.microsoft.com/office/drawing/2014/main" id="{60B326C9-B4D5-344E-8301-C64600F590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2019" y="4421543"/>
                  <a:ext cx="10360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0 h 6"/>
                    <a:gd name="T8" fmla="*/ 2147483647 w 7"/>
                    <a:gd name="T9" fmla="*/ 0 h 6"/>
                    <a:gd name="T10" fmla="*/ 2147483647 w 7"/>
                    <a:gd name="T11" fmla="*/ 0 h 6"/>
                    <a:gd name="T12" fmla="*/ 0 w 7"/>
                    <a:gd name="T13" fmla="*/ 2147483647 h 6"/>
                    <a:gd name="T14" fmla="*/ 0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2147483647 w 7"/>
                    <a:gd name="T27" fmla="*/ 2147483647 h 6"/>
                    <a:gd name="T28" fmla="*/ 2147483647 w 7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"/>
                    <a:gd name="T46" fmla="*/ 0 h 6"/>
                    <a:gd name="T47" fmla="*/ 7 w 7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" h="6">
                      <a:moveTo>
                        <a:pt x="7" y="5"/>
                      </a:moveTo>
                      <a:lnTo>
                        <a:pt x="7" y="5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6" name="Freeform 91">
                  <a:extLst>
                    <a:ext uri="{FF2B5EF4-FFF2-40B4-BE49-F238E27FC236}">
                      <a16:creationId xmlns:a16="http://schemas.microsoft.com/office/drawing/2014/main" id="{DB9F2E31-C103-0642-A2DD-11B878CE14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55292" y="4420062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0 h 6"/>
                    <a:gd name="T8" fmla="*/ 2147483647 w 7"/>
                    <a:gd name="T9" fmla="*/ 0 h 6"/>
                    <a:gd name="T10" fmla="*/ 2147483647 w 7"/>
                    <a:gd name="T11" fmla="*/ 0 h 6"/>
                    <a:gd name="T12" fmla="*/ 0 w 7"/>
                    <a:gd name="T13" fmla="*/ 2147483647 h 6"/>
                    <a:gd name="T14" fmla="*/ 0 w 7"/>
                    <a:gd name="T15" fmla="*/ 2147483647 h 6"/>
                    <a:gd name="T16" fmla="*/ 0 w 7"/>
                    <a:gd name="T17" fmla="*/ 2147483647 h 6"/>
                    <a:gd name="T18" fmla="*/ 0 w 7"/>
                    <a:gd name="T19" fmla="*/ 2147483647 h 6"/>
                    <a:gd name="T20" fmla="*/ 2147483647 w 7"/>
                    <a:gd name="T21" fmla="*/ 2147483647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2147483647 w 7"/>
                    <a:gd name="T27" fmla="*/ 2147483647 h 6"/>
                    <a:gd name="T28" fmla="*/ 2147483647 w 7"/>
                    <a:gd name="T29" fmla="*/ 2147483647 h 6"/>
                    <a:gd name="T30" fmla="*/ 2147483647 w 7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"/>
                    <a:gd name="T49" fmla="*/ 0 h 6"/>
                    <a:gd name="T50" fmla="*/ 7 w 7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7" name="Freeform 92">
                  <a:extLst>
                    <a:ext uri="{FF2B5EF4-FFF2-40B4-BE49-F238E27FC236}">
                      <a16:creationId xmlns:a16="http://schemas.microsoft.com/office/drawing/2014/main" id="{BB4F58B0-761A-AC4C-8FB3-33DEE499BA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7667" y="4310549"/>
                  <a:ext cx="739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2147483647 w 5"/>
                    <a:gd name="T9" fmla="*/ 0 h 8"/>
                    <a:gd name="T10" fmla="*/ 2147483647 w 5"/>
                    <a:gd name="T11" fmla="*/ 0 h 8"/>
                    <a:gd name="T12" fmla="*/ 0 w 5"/>
                    <a:gd name="T13" fmla="*/ 2147483647 h 8"/>
                    <a:gd name="T14" fmla="*/ 0 w 5"/>
                    <a:gd name="T15" fmla="*/ 2147483647 h 8"/>
                    <a:gd name="T16" fmla="*/ 0 w 5"/>
                    <a:gd name="T17" fmla="*/ 2147483647 h 8"/>
                    <a:gd name="T18" fmla="*/ 2147483647 w 5"/>
                    <a:gd name="T19" fmla="*/ 2147483647 h 8"/>
                    <a:gd name="T20" fmla="*/ 2147483647 w 5"/>
                    <a:gd name="T21" fmla="*/ 2147483647 h 8"/>
                    <a:gd name="T22" fmla="*/ 2147483647 w 5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"/>
                    <a:gd name="T37" fmla="*/ 0 h 8"/>
                    <a:gd name="T38" fmla="*/ 5 w 5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" h="8">
                      <a:moveTo>
                        <a:pt x="5" y="5"/>
                      </a:move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4" y="8"/>
                      </a:lnTo>
                      <a:lnTo>
                        <a:pt x="5" y="7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8" name="Freeform 93">
                  <a:extLst>
                    <a:ext uri="{FF2B5EF4-FFF2-40B4-BE49-F238E27FC236}">
                      <a16:creationId xmlns:a16="http://schemas.microsoft.com/office/drawing/2014/main" id="{EB42A4B3-9D50-694C-910B-ECCFA1AB30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587" y="4208439"/>
                  <a:ext cx="11839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2147483647 w 9"/>
                    <a:gd name="T3" fmla="*/ 2147483647 h 12"/>
                    <a:gd name="T4" fmla="*/ 2147483647 w 9"/>
                    <a:gd name="T5" fmla="*/ 2147483647 h 12"/>
                    <a:gd name="T6" fmla="*/ 2147483647 w 9"/>
                    <a:gd name="T7" fmla="*/ 2147483647 h 12"/>
                    <a:gd name="T8" fmla="*/ 0 w 9"/>
                    <a:gd name="T9" fmla="*/ 2147483647 h 12"/>
                    <a:gd name="T10" fmla="*/ 0 w 9"/>
                    <a:gd name="T11" fmla="*/ 2147483647 h 12"/>
                    <a:gd name="T12" fmla="*/ 2147483647 w 9"/>
                    <a:gd name="T13" fmla="*/ 2147483647 h 12"/>
                    <a:gd name="T14" fmla="*/ 2147483647 w 9"/>
                    <a:gd name="T15" fmla="*/ 0 h 12"/>
                    <a:gd name="T16" fmla="*/ 2147483647 w 9"/>
                    <a:gd name="T17" fmla="*/ 0 h 12"/>
                    <a:gd name="T18" fmla="*/ 2147483647 w 9"/>
                    <a:gd name="T19" fmla="*/ 0 h 12"/>
                    <a:gd name="T20" fmla="*/ 2147483647 w 9"/>
                    <a:gd name="T21" fmla="*/ 2147483647 h 12"/>
                    <a:gd name="T22" fmla="*/ 2147483647 w 9"/>
                    <a:gd name="T23" fmla="*/ 2147483647 h 12"/>
                    <a:gd name="T24" fmla="*/ 2147483647 w 9"/>
                    <a:gd name="T25" fmla="*/ 2147483647 h 12"/>
                    <a:gd name="T26" fmla="*/ 2147483647 w 9"/>
                    <a:gd name="T27" fmla="*/ 2147483647 h 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2"/>
                    <a:gd name="T44" fmla="*/ 9 w 9"/>
                    <a:gd name="T45" fmla="*/ 12 h 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2">
                      <a:moveTo>
                        <a:pt x="6" y="7"/>
                      </a:moveTo>
                      <a:lnTo>
                        <a:pt x="3" y="11"/>
                      </a:lnTo>
                      <a:lnTo>
                        <a:pt x="2" y="12"/>
                      </a:lnTo>
                      <a:lnTo>
                        <a:pt x="1" y="12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7" y="5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9" name="Freeform 94">
                  <a:extLst>
                    <a:ext uri="{FF2B5EF4-FFF2-40B4-BE49-F238E27FC236}">
                      <a16:creationId xmlns:a16="http://schemas.microsoft.com/office/drawing/2014/main" id="{EBEF6B92-5ADB-1446-8EE5-8FF5DE90B3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6183" y="4309069"/>
                  <a:ext cx="7400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2147483647 w 5"/>
                    <a:gd name="T9" fmla="*/ 2147483647 h 8"/>
                    <a:gd name="T10" fmla="*/ 2147483647 w 5"/>
                    <a:gd name="T11" fmla="*/ 2147483647 h 8"/>
                    <a:gd name="T12" fmla="*/ 2147483647 w 5"/>
                    <a:gd name="T13" fmla="*/ 0 h 8"/>
                    <a:gd name="T14" fmla="*/ 2147483647 w 5"/>
                    <a:gd name="T15" fmla="*/ 0 h 8"/>
                    <a:gd name="T16" fmla="*/ 2147483647 w 5"/>
                    <a:gd name="T17" fmla="*/ 0 h 8"/>
                    <a:gd name="T18" fmla="*/ 0 w 5"/>
                    <a:gd name="T19" fmla="*/ 2147483647 h 8"/>
                    <a:gd name="T20" fmla="*/ 0 w 5"/>
                    <a:gd name="T21" fmla="*/ 2147483647 h 8"/>
                    <a:gd name="T22" fmla="*/ 0 w 5"/>
                    <a:gd name="T23" fmla="*/ 2147483647 h 8"/>
                    <a:gd name="T24" fmla="*/ 0 w 5"/>
                    <a:gd name="T25" fmla="*/ 2147483647 h 8"/>
                    <a:gd name="T26" fmla="*/ 2147483647 w 5"/>
                    <a:gd name="T27" fmla="*/ 2147483647 h 8"/>
                    <a:gd name="T28" fmla="*/ 2147483647 w 5"/>
                    <a:gd name="T29" fmla="*/ 2147483647 h 8"/>
                    <a:gd name="T30" fmla="*/ 2147483647 w 5"/>
                    <a:gd name="T31" fmla="*/ 2147483647 h 8"/>
                    <a:gd name="T32" fmla="*/ 2147483647 w 5"/>
                    <a:gd name="T33" fmla="*/ 2147483647 h 8"/>
                    <a:gd name="T34" fmla="*/ 2147483647 w 5"/>
                    <a:gd name="T35" fmla="*/ 2147483647 h 8"/>
                    <a:gd name="T36" fmla="*/ 2147483647 w 5"/>
                    <a:gd name="T37" fmla="*/ 2147483647 h 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"/>
                    <a:gd name="T58" fmla="*/ 0 h 8"/>
                    <a:gd name="T59" fmla="*/ 5 w 5"/>
                    <a:gd name="T60" fmla="*/ 8 h 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" h="8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7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0" name="Freeform 95">
                  <a:extLst>
                    <a:ext uri="{FF2B5EF4-FFF2-40B4-BE49-F238E27FC236}">
                      <a16:creationId xmlns:a16="http://schemas.microsoft.com/office/drawing/2014/main" id="{36DB739C-F149-834D-9BD4-59C96A8978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5627" y="4206958"/>
                  <a:ext cx="11839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2147483647 w 9"/>
                    <a:gd name="T3" fmla="*/ 2147483647 h 12"/>
                    <a:gd name="T4" fmla="*/ 2147483647 w 9"/>
                    <a:gd name="T5" fmla="*/ 2147483647 h 12"/>
                    <a:gd name="T6" fmla="*/ 2147483647 w 9"/>
                    <a:gd name="T7" fmla="*/ 2147483647 h 12"/>
                    <a:gd name="T8" fmla="*/ 2147483647 w 9"/>
                    <a:gd name="T9" fmla="*/ 2147483647 h 12"/>
                    <a:gd name="T10" fmla="*/ 2147483647 w 9"/>
                    <a:gd name="T11" fmla="*/ 2147483647 h 12"/>
                    <a:gd name="T12" fmla="*/ 0 w 9"/>
                    <a:gd name="T13" fmla="*/ 2147483647 h 12"/>
                    <a:gd name="T14" fmla="*/ 0 w 9"/>
                    <a:gd name="T15" fmla="*/ 2147483647 h 12"/>
                    <a:gd name="T16" fmla="*/ 2147483647 w 9"/>
                    <a:gd name="T17" fmla="*/ 2147483647 h 12"/>
                    <a:gd name="T18" fmla="*/ 2147483647 w 9"/>
                    <a:gd name="T19" fmla="*/ 0 h 12"/>
                    <a:gd name="T20" fmla="*/ 2147483647 w 9"/>
                    <a:gd name="T21" fmla="*/ 0 h 12"/>
                    <a:gd name="T22" fmla="*/ 2147483647 w 9"/>
                    <a:gd name="T23" fmla="*/ 0 h 12"/>
                    <a:gd name="T24" fmla="*/ 2147483647 w 9"/>
                    <a:gd name="T25" fmla="*/ 0 h 12"/>
                    <a:gd name="T26" fmla="*/ 2147483647 w 9"/>
                    <a:gd name="T27" fmla="*/ 2147483647 h 12"/>
                    <a:gd name="T28" fmla="*/ 2147483647 w 9"/>
                    <a:gd name="T29" fmla="*/ 2147483647 h 12"/>
                    <a:gd name="T30" fmla="*/ 2147483647 w 9"/>
                    <a:gd name="T31" fmla="*/ 2147483647 h 12"/>
                    <a:gd name="T32" fmla="*/ 2147483647 w 9"/>
                    <a:gd name="T33" fmla="*/ 2147483647 h 12"/>
                    <a:gd name="T34" fmla="*/ 2147483647 w 9"/>
                    <a:gd name="T35" fmla="*/ 2147483647 h 12"/>
                    <a:gd name="T36" fmla="*/ 2147483647 w 9"/>
                    <a:gd name="T37" fmla="*/ 2147483647 h 1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9"/>
                    <a:gd name="T58" fmla="*/ 0 h 12"/>
                    <a:gd name="T59" fmla="*/ 9 w 9"/>
                    <a:gd name="T60" fmla="*/ 12 h 1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9" h="12">
                      <a:moveTo>
                        <a:pt x="7" y="7"/>
                      </a:moveTo>
                      <a:lnTo>
                        <a:pt x="7" y="7"/>
                      </a:lnTo>
                      <a:lnTo>
                        <a:pt x="4" y="11"/>
                      </a:lnTo>
                      <a:lnTo>
                        <a:pt x="3" y="12"/>
                      </a:lnTo>
                      <a:lnTo>
                        <a:pt x="2" y="12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9" y="1"/>
                      </a:ln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1" name="Freeform 96">
                  <a:extLst>
                    <a:ext uri="{FF2B5EF4-FFF2-40B4-BE49-F238E27FC236}">
                      <a16:creationId xmlns:a16="http://schemas.microsoft.com/office/drawing/2014/main" id="{9084B5F4-8725-9441-974C-02710C89D0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32268" y="4169960"/>
                  <a:ext cx="5919" cy="7400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0 h 5"/>
                    <a:gd name="T4" fmla="*/ 2147483647 w 5"/>
                    <a:gd name="T5" fmla="*/ 0 h 5"/>
                    <a:gd name="T6" fmla="*/ 2147483647 w 5"/>
                    <a:gd name="T7" fmla="*/ 0 h 5"/>
                    <a:gd name="T8" fmla="*/ 0 w 5"/>
                    <a:gd name="T9" fmla="*/ 2147483647 h 5"/>
                    <a:gd name="T10" fmla="*/ 0 w 5"/>
                    <a:gd name="T11" fmla="*/ 2147483647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2147483647 w 5"/>
                    <a:gd name="T17" fmla="*/ 2147483647 h 5"/>
                    <a:gd name="T18" fmla="*/ 2147483647 w 5"/>
                    <a:gd name="T19" fmla="*/ 2147483647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5"/>
                    <a:gd name="T32" fmla="*/ 5 w 5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5">
                      <a:moveTo>
                        <a:pt x="5" y="3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5" y="4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2" name="Freeform 97">
                  <a:extLst>
                    <a:ext uri="{FF2B5EF4-FFF2-40B4-BE49-F238E27FC236}">
                      <a16:creationId xmlns:a16="http://schemas.microsoft.com/office/drawing/2014/main" id="{EAA5F61B-C176-2648-B85D-69BA0151C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9306" y="4122608"/>
                  <a:ext cx="443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0 h 6"/>
                    <a:gd name="T6" fmla="*/ 0 w 4"/>
                    <a:gd name="T7" fmla="*/ 0 h 6"/>
                    <a:gd name="T8" fmla="*/ 0 w 4"/>
                    <a:gd name="T9" fmla="*/ 2147483647 h 6"/>
                    <a:gd name="T10" fmla="*/ 0 w 4"/>
                    <a:gd name="T11" fmla="*/ 2147483647 h 6"/>
                    <a:gd name="T12" fmla="*/ 2147483647 w 4"/>
                    <a:gd name="T13" fmla="*/ 2147483647 h 6"/>
                    <a:gd name="T14" fmla="*/ 2147483647 w 4"/>
                    <a:gd name="T15" fmla="*/ 2147483647 h 6"/>
                    <a:gd name="T16" fmla="*/ 2147483647 w 4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6"/>
                    <a:gd name="T29" fmla="*/ 4 w 4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6">
                      <a:moveTo>
                        <a:pt x="4" y="5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3" name="Freeform 98">
                  <a:extLst>
                    <a:ext uri="{FF2B5EF4-FFF2-40B4-BE49-F238E27FC236}">
                      <a16:creationId xmlns:a16="http://schemas.microsoft.com/office/drawing/2014/main" id="{265DE1E4-CD6F-DD44-B5FD-9EB6CE7E22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30788" y="4168484"/>
                  <a:ext cx="5919" cy="7399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0 h 5"/>
                    <a:gd name="T6" fmla="*/ 2147483647 w 5"/>
                    <a:gd name="T7" fmla="*/ 0 h 5"/>
                    <a:gd name="T8" fmla="*/ 2147483647 w 5"/>
                    <a:gd name="T9" fmla="*/ 0 h 5"/>
                    <a:gd name="T10" fmla="*/ 2147483647 w 5"/>
                    <a:gd name="T11" fmla="*/ 0 h 5"/>
                    <a:gd name="T12" fmla="*/ 0 w 5"/>
                    <a:gd name="T13" fmla="*/ 2147483647 h 5"/>
                    <a:gd name="T14" fmla="*/ 0 w 5"/>
                    <a:gd name="T15" fmla="*/ 2147483647 h 5"/>
                    <a:gd name="T16" fmla="*/ 2147483647 w 5"/>
                    <a:gd name="T17" fmla="*/ 2147483647 h 5"/>
                    <a:gd name="T18" fmla="*/ 2147483647 w 5"/>
                    <a:gd name="T19" fmla="*/ 2147483647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2147483647 w 5"/>
                    <a:gd name="T25" fmla="*/ 2147483647 h 5"/>
                    <a:gd name="T26" fmla="*/ 2147483647 w 5"/>
                    <a:gd name="T27" fmla="*/ 2147483647 h 5"/>
                    <a:gd name="T28" fmla="*/ 2147483647 w 5"/>
                    <a:gd name="T29" fmla="*/ 2147483647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5"/>
                    <a:gd name="T47" fmla="*/ 5 w 5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5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5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4" name="Freeform 99">
                  <a:extLst>
                    <a:ext uri="{FF2B5EF4-FFF2-40B4-BE49-F238E27FC236}">
                      <a16:creationId xmlns:a16="http://schemas.microsoft.com/office/drawing/2014/main" id="{762EDEBC-B896-0A42-9329-641D1695B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7826" y="4121129"/>
                  <a:ext cx="4440" cy="8879"/>
                </a:xfrm>
                <a:custGeom>
                  <a:avLst/>
                  <a:gdLst>
                    <a:gd name="T0" fmla="*/ 2147483647 w 3"/>
                    <a:gd name="T1" fmla="*/ 2147483647 h 6"/>
                    <a:gd name="T2" fmla="*/ 2147483647 w 3"/>
                    <a:gd name="T3" fmla="*/ 2147483647 h 6"/>
                    <a:gd name="T4" fmla="*/ 2147483647 w 3"/>
                    <a:gd name="T5" fmla="*/ 2147483647 h 6"/>
                    <a:gd name="T6" fmla="*/ 2147483647 w 3"/>
                    <a:gd name="T7" fmla="*/ 2147483647 h 6"/>
                    <a:gd name="T8" fmla="*/ 2147483647 w 3"/>
                    <a:gd name="T9" fmla="*/ 0 h 6"/>
                    <a:gd name="T10" fmla="*/ 0 w 3"/>
                    <a:gd name="T11" fmla="*/ 0 h 6"/>
                    <a:gd name="T12" fmla="*/ 0 w 3"/>
                    <a:gd name="T13" fmla="*/ 0 h 6"/>
                    <a:gd name="T14" fmla="*/ 0 w 3"/>
                    <a:gd name="T15" fmla="*/ 2147483647 h 6"/>
                    <a:gd name="T16" fmla="*/ 0 w 3"/>
                    <a:gd name="T17" fmla="*/ 2147483647 h 6"/>
                    <a:gd name="T18" fmla="*/ 0 w 3"/>
                    <a:gd name="T19" fmla="*/ 2147483647 h 6"/>
                    <a:gd name="T20" fmla="*/ 2147483647 w 3"/>
                    <a:gd name="T21" fmla="*/ 2147483647 h 6"/>
                    <a:gd name="T22" fmla="*/ 2147483647 w 3"/>
                    <a:gd name="T23" fmla="*/ 2147483647 h 6"/>
                    <a:gd name="T24" fmla="*/ 2147483647 w 3"/>
                    <a:gd name="T25" fmla="*/ 2147483647 h 6"/>
                    <a:gd name="T26" fmla="*/ 2147483647 w 3"/>
                    <a:gd name="T27" fmla="*/ 2147483647 h 6"/>
                    <a:gd name="T28" fmla="*/ 2147483647 w 3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"/>
                    <a:gd name="T46" fmla="*/ 0 h 6"/>
                    <a:gd name="T47" fmla="*/ 3 w 3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" h="6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5" name="Freeform 100">
                  <a:extLst>
                    <a:ext uri="{FF2B5EF4-FFF2-40B4-BE49-F238E27FC236}">
                      <a16:creationId xmlns:a16="http://schemas.microsoft.com/office/drawing/2014/main" id="{0DB0A688-FC60-9C4D-82DD-3F9849F085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9309" y="4061930"/>
                  <a:ext cx="739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0 h 7"/>
                    <a:gd name="T6" fmla="*/ 2147483647 w 6"/>
                    <a:gd name="T7" fmla="*/ 0 h 7"/>
                    <a:gd name="T8" fmla="*/ 0 w 6"/>
                    <a:gd name="T9" fmla="*/ 2147483647 h 7"/>
                    <a:gd name="T10" fmla="*/ 0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7"/>
                    <a:gd name="T38" fmla="*/ 6 w 6"/>
                    <a:gd name="T39" fmla="*/ 7 h 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7">
                      <a:moveTo>
                        <a:pt x="6" y="4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5" y="6"/>
                      </a:lnTo>
                      <a:lnTo>
                        <a:pt x="6" y="3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6" name="Freeform 101">
                  <a:extLst>
                    <a:ext uri="{FF2B5EF4-FFF2-40B4-BE49-F238E27FC236}">
                      <a16:creationId xmlns:a16="http://schemas.microsoft.com/office/drawing/2014/main" id="{05375067-7C68-C547-A0DE-9E8C8ECADD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5986" y="4005698"/>
                  <a:ext cx="7400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0 h 6"/>
                    <a:gd name="T4" fmla="*/ 2147483647 w 6"/>
                    <a:gd name="T5" fmla="*/ 0 h 6"/>
                    <a:gd name="T6" fmla="*/ 2147483647 w 6"/>
                    <a:gd name="T7" fmla="*/ 0 h 6"/>
                    <a:gd name="T8" fmla="*/ 2147483647 w 6"/>
                    <a:gd name="T9" fmla="*/ 0 h 6"/>
                    <a:gd name="T10" fmla="*/ 0 w 6"/>
                    <a:gd name="T11" fmla="*/ 2147483647 h 6"/>
                    <a:gd name="T12" fmla="*/ 2147483647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6"/>
                    <a:gd name="T35" fmla="*/ 6 w 6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6">
                      <a:moveTo>
                        <a:pt x="6" y="3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7" name="Freeform 102">
                  <a:extLst>
                    <a:ext uri="{FF2B5EF4-FFF2-40B4-BE49-F238E27FC236}">
                      <a16:creationId xmlns:a16="http://schemas.microsoft.com/office/drawing/2014/main" id="{D6BFE37B-8C6C-6E43-A596-124C8DABE3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7825" y="4060450"/>
                  <a:ext cx="7400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0 h 7"/>
                    <a:gd name="T8" fmla="*/ 2147483647 w 6"/>
                    <a:gd name="T9" fmla="*/ 0 h 7"/>
                    <a:gd name="T10" fmla="*/ 2147483647 w 6"/>
                    <a:gd name="T11" fmla="*/ 0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2147483647 w 6"/>
                    <a:gd name="T31" fmla="*/ 2147483647 h 7"/>
                    <a:gd name="T32" fmla="*/ 2147483647 w 6"/>
                    <a:gd name="T33" fmla="*/ 2147483647 h 7"/>
                    <a:gd name="T34" fmla="*/ 2147483647 w 6"/>
                    <a:gd name="T35" fmla="*/ 2147483647 h 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6"/>
                    <a:gd name="T55" fmla="*/ 0 h 7"/>
                    <a:gd name="T56" fmla="*/ 6 w 6"/>
                    <a:gd name="T57" fmla="*/ 7 h 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6" h="7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5" y="5"/>
                      </a:lnTo>
                      <a:lnTo>
                        <a:pt x="6" y="3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8" name="Freeform 103">
                  <a:extLst>
                    <a:ext uri="{FF2B5EF4-FFF2-40B4-BE49-F238E27FC236}">
                      <a16:creationId xmlns:a16="http://schemas.microsoft.com/office/drawing/2014/main" id="{AF331F25-E0ED-3F40-AEC0-00323DBA0C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3029" y="4004218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0 h 6"/>
                    <a:gd name="T6" fmla="*/ 2147483647 w 7"/>
                    <a:gd name="T7" fmla="*/ 0 h 6"/>
                    <a:gd name="T8" fmla="*/ 2147483647 w 7"/>
                    <a:gd name="T9" fmla="*/ 0 h 6"/>
                    <a:gd name="T10" fmla="*/ 2147483647 w 7"/>
                    <a:gd name="T11" fmla="*/ 0 h 6"/>
                    <a:gd name="T12" fmla="*/ 2147483647 w 7"/>
                    <a:gd name="T13" fmla="*/ 0 h 6"/>
                    <a:gd name="T14" fmla="*/ 0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2147483647 w 7"/>
                    <a:gd name="T27" fmla="*/ 2147483647 h 6"/>
                    <a:gd name="T28" fmla="*/ 2147483647 w 7"/>
                    <a:gd name="T29" fmla="*/ 2147483647 h 6"/>
                    <a:gd name="T30" fmla="*/ 2147483647 w 7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"/>
                    <a:gd name="T49" fmla="*/ 0 h 6"/>
                    <a:gd name="T50" fmla="*/ 7 w 7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" h="6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6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9" name="Freeform 104">
                  <a:extLst>
                    <a:ext uri="{FF2B5EF4-FFF2-40B4-BE49-F238E27FC236}">
                      <a16:creationId xmlns:a16="http://schemas.microsoft.com/office/drawing/2014/main" id="{44E315E6-6970-1B4E-A69C-372CE80FB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9090" y="3893228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0 h 6"/>
                    <a:gd name="T4" fmla="*/ 2147483647 w 5"/>
                    <a:gd name="T5" fmla="*/ 0 h 6"/>
                    <a:gd name="T6" fmla="*/ 2147483647 w 5"/>
                    <a:gd name="T7" fmla="*/ 0 h 6"/>
                    <a:gd name="T8" fmla="*/ 2147483647 w 5"/>
                    <a:gd name="T9" fmla="*/ 2147483647 h 6"/>
                    <a:gd name="T10" fmla="*/ 0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6"/>
                    <a:gd name="T35" fmla="*/ 5 w 5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6">
                      <a:moveTo>
                        <a:pt x="5" y="3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0" name="Freeform 105">
                  <a:extLst>
                    <a:ext uri="{FF2B5EF4-FFF2-40B4-BE49-F238E27FC236}">
                      <a16:creationId xmlns:a16="http://schemas.microsoft.com/office/drawing/2014/main" id="{8A057425-E165-F342-956D-256A5FE552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6163" y="4329789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0 h 7"/>
                    <a:gd name="T10" fmla="*/ 2147483647 w 6"/>
                    <a:gd name="T11" fmla="*/ 2147483647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7"/>
                    <a:gd name="T35" fmla="*/ 6 w 6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7">
                      <a:moveTo>
                        <a:pt x="5" y="6"/>
                      </a:moveTo>
                      <a:lnTo>
                        <a:pt x="6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4" y="7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1" name="Freeform 106">
                  <a:extLst>
                    <a:ext uri="{FF2B5EF4-FFF2-40B4-BE49-F238E27FC236}">
                      <a16:creationId xmlns:a16="http://schemas.microsoft.com/office/drawing/2014/main" id="{834765BD-C750-3B42-B25F-C0788BDB81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7609" y="3891748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2147483647 w 5"/>
                    <a:gd name="T11" fmla="*/ 0 h 6"/>
                    <a:gd name="T12" fmla="*/ 2147483647 w 5"/>
                    <a:gd name="T13" fmla="*/ 2147483647 h 6"/>
                    <a:gd name="T14" fmla="*/ 0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2" name="Freeform 107">
                  <a:extLst>
                    <a:ext uri="{FF2B5EF4-FFF2-40B4-BE49-F238E27FC236}">
                      <a16:creationId xmlns:a16="http://schemas.microsoft.com/office/drawing/2014/main" id="{4AB0354D-C75C-FB46-A65F-FD1A36C12E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6160" y="4328310"/>
                  <a:ext cx="7400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0 h 7"/>
                    <a:gd name="T14" fmla="*/ 2147483647 w 6"/>
                    <a:gd name="T15" fmla="*/ 2147483647 h 7"/>
                    <a:gd name="T16" fmla="*/ 0 w 6"/>
                    <a:gd name="T17" fmla="*/ 2147483647 h 7"/>
                    <a:gd name="T18" fmla="*/ 0 w 6"/>
                    <a:gd name="T19" fmla="*/ 2147483647 h 7"/>
                    <a:gd name="T20" fmla="*/ 0 w 6"/>
                    <a:gd name="T21" fmla="*/ 2147483647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5" y="6"/>
                      </a:moveTo>
                      <a:lnTo>
                        <a:pt x="5" y="6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4" y="7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3" name="Freeform 108">
                  <a:extLst>
                    <a:ext uri="{FF2B5EF4-FFF2-40B4-BE49-F238E27FC236}">
                      <a16:creationId xmlns:a16="http://schemas.microsoft.com/office/drawing/2014/main" id="{8DADEEE5-2E6A-DC42-A405-CFD70F705C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3291" y="4383062"/>
                  <a:ext cx="10360" cy="14799"/>
                </a:xfrm>
                <a:custGeom>
                  <a:avLst/>
                  <a:gdLst>
                    <a:gd name="T0" fmla="*/ 2147483647 w 7"/>
                    <a:gd name="T1" fmla="*/ 2147483647 h 10"/>
                    <a:gd name="T2" fmla="*/ 2147483647 w 7"/>
                    <a:gd name="T3" fmla="*/ 2147483647 h 10"/>
                    <a:gd name="T4" fmla="*/ 2147483647 w 7"/>
                    <a:gd name="T5" fmla="*/ 0 h 10"/>
                    <a:gd name="T6" fmla="*/ 2147483647 w 7"/>
                    <a:gd name="T7" fmla="*/ 0 h 10"/>
                    <a:gd name="T8" fmla="*/ 2147483647 w 7"/>
                    <a:gd name="T9" fmla="*/ 2147483647 h 10"/>
                    <a:gd name="T10" fmla="*/ 0 w 7"/>
                    <a:gd name="T11" fmla="*/ 2147483647 h 10"/>
                    <a:gd name="T12" fmla="*/ 0 w 7"/>
                    <a:gd name="T13" fmla="*/ 2147483647 h 10"/>
                    <a:gd name="T14" fmla="*/ 2147483647 w 7"/>
                    <a:gd name="T15" fmla="*/ 2147483647 h 10"/>
                    <a:gd name="T16" fmla="*/ 2147483647 w 7"/>
                    <a:gd name="T17" fmla="*/ 2147483647 h 10"/>
                    <a:gd name="T18" fmla="*/ 2147483647 w 7"/>
                    <a:gd name="T19" fmla="*/ 2147483647 h 10"/>
                    <a:gd name="T20" fmla="*/ 2147483647 w 7"/>
                    <a:gd name="T21" fmla="*/ 2147483647 h 10"/>
                    <a:gd name="T22" fmla="*/ 2147483647 w 7"/>
                    <a:gd name="T23" fmla="*/ 2147483647 h 10"/>
                    <a:gd name="T24" fmla="*/ 2147483647 w 7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"/>
                    <a:gd name="T40" fmla="*/ 0 h 10"/>
                    <a:gd name="T41" fmla="*/ 7 w 7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" h="10">
                      <a:moveTo>
                        <a:pt x="7" y="7"/>
                      </a:move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3" y="10"/>
                      </a:lnTo>
                      <a:lnTo>
                        <a:pt x="5" y="9"/>
                      </a:lnTo>
                      <a:lnTo>
                        <a:pt x="7" y="8"/>
                      </a:lnTo>
                      <a:lnTo>
                        <a:pt x="7" y="6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4" name="Freeform 109">
                  <a:extLst>
                    <a:ext uri="{FF2B5EF4-FFF2-40B4-BE49-F238E27FC236}">
                      <a16:creationId xmlns:a16="http://schemas.microsoft.com/office/drawing/2014/main" id="{0B04727E-CBF3-F643-96B3-A75C6567F6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57423" y="4667197"/>
                  <a:ext cx="25158" cy="13319"/>
                </a:xfrm>
                <a:custGeom>
                  <a:avLst/>
                  <a:gdLst>
                    <a:gd name="T0" fmla="*/ 2147483647 w 18"/>
                    <a:gd name="T1" fmla="*/ 2147483647 h 9"/>
                    <a:gd name="T2" fmla="*/ 0 w 18"/>
                    <a:gd name="T3" fmla="*/ 2147483647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2147483647 w 18"/>
                    <a:gd name="T11" fmla="*/ 2147483647 h 9"/>
                    <a:gd name="T12" fmla="*/ 2147483647 w 18"/>
                    <a:gd name="T13" fmla="*/ 2147483647 h 9"/>
                    <a:gd name="T14" fmla="*/ 2147483647 w 18"/>
                    <a:gd name="T15" fmla="*/ 2147483647 h 9"/>
                    <a:gd name="T16" fmla="*/ 2147483647 w 18"/>
                    <a:gd name="T17" fmla="*/ 2147483647 h 9"/>
                    <a:gd name="T18" fmla="*/ 2147483647 w 18"/>
                    <a:gd name="T19" fmla="*/ 2147483647 h 9"/>
                    <a:gd name="T20" fmla="*/ 2147483647 w 18"/>
                    <a:gd name="T21" fmla="*/ 2147483647 h 9"/>
                    <a:gd name="T22" fmla="*/ 2147483647 w 18"/>
                    <a:gd name="T23" fmla="*/ 2147483647 h 9"/>
                    <a:gd name="T24" fmla="*/ 2147483647 w 18"/>
                    <a:gd name="T25" fmla="*/ 2147483647 h 9"/>
                    <a:gd name="T26" fmla="*/ 2147483647 w 18"/>
                    <a:gd name="T27" fmla="*/ 2147483647 h 9"/>
                    <a:gd name="T28" fmla="*/ 2147483647 w 18"/>
                    <a:gd name="T29" fmla="*/ 2147483647 h 9"/>
                    <a:gd name="T30" fmla="*/ 2147483647 w 18"/>
                    <a:gd name="T31" fmla="*/ 2147483647 h 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"/>
                    <a:gd name="T49" fmla="*/ 0 h 9"/>
                    <a:gd name="T50" fmla="*/ 18 w 18"/>
                    <a:gd name="T51" fmla="*/ 9 h 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" h="9">
                      <a:moveTo>
                        <a:pt x="2" y="7"/>
                      </a:move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8" y="1"/>
                      </a:lnTo>
                      <a:lnTo>
                        <a:pt x="16" y="3"/>
                      </a:lnTo>
                      <a:lnTo>
                        <a:pt x="18" y="6"/>
                      </a:lnTo>
                      <a:lnTo>
                        <a:pt x="18" y="7"/>
                      </a:lnTo>
                      <a:lnTo>
                        <a:pt x="18" y="8"/>
                      </a:lnTo>
                      <a:lnTo>
                        <a:pt x="17" y="9"/>
                      </a:lnTo>
                      <a:lnTo>
                        <a:pt x="16" y="9"/>
                      </a:lnTo>
                      <a:lnTo>
                        <a:pt x="13" y="8"/>
                      </a:lnTo>
                      <a:lnTo>
                        <a:pt x="8" y="8"/>
                      </a:lnTo>
                      <a:lnTo>
                        <a:pt x="2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5" name="Freeform 110">
                  <a:extLst>
                    <a:ext uri="{FF2B5EF4-FFF2-40B4-BE49-F238E27FC236}">
                      <a16:creationId xmlns:a16="http://schemas.microsoft.com/office/drawing/2014/main" id="{4CC43BC4-4B47-5E45-9045-04AE70D2B2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1811" y="4381583"/>
                  <a:ext cx="8879" cy="14799"/>
                </a:xfrm>
                <a:custGeom>
                  <a:avLst/>
                  <a:gdLst>
                    <a:gd name="T0" fmla="*/ 2147483647 w 6"/>
                    <a:gd name="T1" fmla="*/ 2147483647 h 10"/>
                    <a:gd name="T2" fmla="*/ 2147483647 w 6"/>
                    <a:gd name="T3" fmla="*/ 2147483647 h 10"/>
                    <a:gd name="T4" fmla="*/ 2147483647 w 6"/>
                    <a:gd name="T5" fmla="*/ 2147483647 h 10"/>
                    <a:gd name="T6" fmla="*/ 2147483647 w 6"/>
                    <a:gd name="T7" fmla="*/ 0 h 10"/>
                    <a:gd name="T8" fmla="*/ 2147483647 w 6"/>
                    <a:gd name="T9" fmla="*/ 0 h 10"/>
                    <a:gd name="T10" fmla="*/ 2147483647 w 6"/>
                    <a:gd name="T11" fmla="*/ 0 h 10"/>
                    <a:gd name="T12" fmla="*/ 2147483647 w 6"/>
                    <a:gd name="T13" fmla="*/ 2147483647 h 10"/>
                    <a:gd name="T14" fmla="*/ 0 w 6"/>
                    <a:gd name="T15" fmla="*/ 2147483647 h 10"/>
                    <a:gd name="T16" fmla="*/ 0 w 6"/>
                    <a:gd name="T17" fmla="*/ 2147483647 h 10"/>
                    <a:gd name="T18" fmla="*/ 2147483647 w 6"/>
                    <a:gd name="T19" fmla="*/ 2147483647 h 10"/>
                    <a:gd name="T20" fmla="*/ 2147483647 w 6"/>
                    <a:gd name="T21" fmla="*/ 2147483647 h 10"/>
                    <a:gd name="T22" fmla="*/ 2147483647 w 6"/>
                    <a:gd name="T23" fmla="*/ 2147483647 h 10"/>
                    <a:gd name="T24" fmla="*/ 2147483647 w 6"/>
                    <a:gd name="T25" fmla="*/ 2147483647 h 10"/>
                    <a:gd name="T26" fmla="*/ 2147483647 w 6"/>
                    <a:gd name="T27" fmla="*/ 2147483647 h 10"/>
                    <a:gd name="T28" fmla="*/ 2147483647 w 6"/>
                    <a:gd name="T29" fmla="*/ 2147483647 h 10"/>
                    <a:gd name="T30" fmla="*/ 2147483647 w 6"/>
                    <a:gd name="T31" fmla="*/ 2147483647 h 10"/>
                    <a:gd name="T32" fmla="*/ 2147483647 w 6"/>
                    <a:gd name="T33" fmla="*/ 2147483647 h 10"/>
                    <a:gd name="T34" fmla="*/ 2147483647 w 6"/>
                    <a:gd name="T35" fmla="*/ 2147483647 h 1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6"/>
                    <a:gd name="T55" fmla="*/ 0 h 10"/>
                    <a:gd name="T56" fmla="*/ 6 w 6"/>
                    <a:gd name="T57" fmla="*/ 10 h 1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6" h="10"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2" y="10"/>
                      </a:lnTo>
                      <a:lnTo>
                        <a:pt x="5" y="9"/>
                      </a:lnTo>
                      <a:lnTo>
                        <a:pt x="6" y="8"/>
                      </a:lnTo>
                      <a:lnTo>
                        <a:pt x="6" y="5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6" name="Freeform 111">
                  <a:extLst>
                    <a:ext uri="{FF2B5EF4-FFF2-40B4-BE49-F238E27FC236}">
                      <a16:creationId xmlns:a16="http://schemas.microsoft.com/office/drawing/2014/main" id="{4A333B6C-1EEE-B546-9C59-EF41BAB585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55946" y="4665721"/>
                  <a:ext cx="25157" cy="13319"/>
                </a:xfrm>
                <a:custGeom>
                  <a:avLst/>
                  <a:gdLst>
                    <a:gd name="T0" fmla="*/ 2147483647 w 18"/>
                    <a:gd name="T1" fmla="*/ 2147483647 h 9"/>
                    <a:gd name="T2" fmla="*/ 2147483647 w 18"/>
                    <a:gd name="T3" fmla="*/ 2147483647 h 9"/>
                    <a:gd name="T4" fmla="*/ 0 w 18"/>
                    <a:gd name="T5" fmla="*/ 2147483647 h 9"/>
                    <a:gd name="T6" fmla="*/ 0 w 18"/>
                    <a:gd name="T7" fmla="*/ 2147483647 h 9"/>
                    <a:gd name="T8" fmla="*/ 2147483647 w 18"/>
                    <a:gd name="T9" fmla="*/ 0 h 9"/>
                    <a:gd name="T10" fmla="*/ 2147483647 w 18"/>
                    <a:gd name="T11" fmla="*/ 0 h 9"/>
                    <a:gd name="T12" fmla="*/ 2147483647 w 18"/>
                    <a:gd name="T13" fmla="*/ 0 h 9"/>
                    <a:gd name="T14" fmla="*/ 2147483647 w 18"/>
                    <a:gd name="T15" fmla="*/ 0 h 9"/>
                    <a:gd name="T16" fmla="*/ 2147483647 w 18"/>
                    <a:gd name="T17" fmla="*/ 2147483647 h 9"/>
                    <a:gd name="T18" fmla="*/ 2147483647 w 18"/>
                    <a:gd name="T19" fmla="*/ 2147483647 h 9"/>
                    <a:gd name="T20" fmla="*/ 2147483647 w 18"/>
                    <a:gd name="T21" fmla="*/ 2147483647 h 9"/>
                    <a:gd name="T22" fmla="*/ 2147483647 w 18"/>
                    <a:gd name="T23" fmla="*/ 2147483647 h 9"/>
                    <a:gd name="T24" fmla="*/ 2147483647 w 18"/>
                    <a:gd name="T25" fmla="*/ 2147483647 h 9"/>
                    <a:gd name="T26" fmla="*/ 2147483647 w 18"/>
                    <a:gd name="T27" fmla="*/ 2147483647 h 9"/>
                    <a:gd name="T28" fmla="*/ 2147483647 w 18"/>
                    <a:gd name="T29" fmla="*/ 2147483647 h 9"/>
                    <a:gd name="T30" fmla="*/ 2147483647 w 18"/>
                    <a:gd name="T31" fmla="*/ 2147483647 h 9"/>
                    <a:gd name="T32" fmla="*/ 2147483647 w 18"/>
                    <a:gd name="T33" fmla="*/ 2147483647 h 9"/>
                    <a:gd name="T34" fmla="*/ 2147483647 w 18"/>
                    <a:gd name="T35" fmla="*/ 2147483647 h 9"/>
                    <a:gd name="T36" fmla="*/ 2147483647 w 18"/>
                    <a:gd name="T37" fmla="*/ 2147483647 h 9"/>
                    <a:gd name="T38" fmla="*/ 2147483647 w 18"/>
                    <a:gd name="T39" fmla="*/ 2147483647 h 9"/>
                    <a:gd name="T40" fmla="*/ 2147483647 w 18"/>
                    <a:gd name="T41" fmla="*/ 2147483647 h 9"/>
                    <a:gd name="T42" fmla="*/ 2147483647 w 18"/>
                    <a:gd name="T43" fmla="*/ 2147483647 h 9"/>
                    <a:gd name="T44" fmla="*/ 2147483647 w 18"/>
                    <a:gd name="T45" fmla="*/ 2147483647 h 9"/>
                    <a:gd name="T46" fmla="*/ 2147483647 w 18"/>
                    <a:gd name="T47" fmla="*/ 2147483647 h 9"/>
                    <a:gd name="T48" fmla="*/ 2147483647 w 18"/>
                    <a:gd name="T49" fmla="*/ 2147483647 h 9"/>
                    <a:gd name="T50" fmla="*/ 2147483647 w 18"/>
                    <a:gd name="T51" fmla="*/ 2147483647 h 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8"/>
                    <a:gd name="T79" fmla="*/ 0 h 9"/>
                    <a:gd name="T80" fmla="*/ 18 w 18"/>
                    <a:gd name="T81" fmla="*/ 9 h 9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8" h="9">
                      <a:moveTo>
                        <a:pt x="1" y="7"/>
                      </a:move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8" y="1"/>
                      </a:lnTo>
                      <a:lnTo>
                        <a:pt x="15" y="3"/>
                      </a:lnTo>
                      <a:lnTo>
                        <a:pt x="18" y="6"/>
                      </a:lnTo>
                      <a:lnTo>
                        <a:pt x="18" y="7"/>
                      </a:lnTo>
                      <a:lnTo>
                        <a:pt x="18" y="8"/>
                      </a:lnTo>
                      <a:lnTo>
                        <a:pt x="17" y="9"/>
                      </a:lnTo>
                      <a:lnTo>
                        <a:pt x="15" y="9"/>
                      </a:lnTo>
                      <a:lnTo>
                        <a:pt x="13" y="8"/>
                      </a:lnTo>
                      <a:lnTo>
                        <a:pt x="8" y="8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7" name="Freeform 112">
                  <a:extLst>
                    <a:ext uri="{FF2B5EF4-FFF2-40B4-BE49-F238E27FC236}">
                      <a16:creationId xmlns:a16="http://schemas.microsoft.com/office/drawing/2014/main" id="{1F009419-DC37-924C-80F3-F1D758B382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34378" y="4658321"/>
                  <a:ext cx="5919" cy="4440"/>
                </a:xfrm>
                <a:custGeom>
                  <a:avLst/>
                  <a:gdLst>
                    <a:gd name="T0" fmla="*/ 2147483647 w 4"/>
                    <a:gd name="T1" fmla="*/ 2147483647 h 3"/>
                    <a:gd name="T2" fmla="*/ 2147483647 w 4"/>
                    <a:gd name="T3" fmla="*/ 0 h 3"/>
                    <a:gd name="T4" fmla="*/ 2147483647 w 4"/>
                    <a:gd name="T5" fmla="*/ 0 h 3"/>
                    <a:gd name="T6" fmla="*/ 2147483647 w 4"/>
                    <a:gd name="T7" fmla="*/ 0 h 3"/>
                    <a:gd name="T8" fmla="*/ 0 w 4"/>
                    <a:gd name="T9" fmla="*/ 2147483647 h 3"/>
                    <a:gd name="T10" fmla="*/ 0 w 4"/>
                    <a:gd name="T11" fmla="*/ 2147483647 h 3"/>
                    <a:gd name="T12" fmla="*/ 0 w 4"/>
                    <a:gd name="T13" fmla="*/ 2147483647 h 3"/>
                    <a:gd name="T14" fmla="*/ 2147483647 w 4"/>
                    <a:gd name="T15" fmla="*/ 2147483647 h 3"/>
                    <a:gd name="T16" fmla="*/ 2147483647 w 4"/>
                    <a:gd name="T17" fmla="*/ 2147483647 h 3"/>
                    <a:gd name="T18" fmla="*/ 2147483647 w 4"/>
                    <a:gd name="T19" fmla="*/ 2147483647 h 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"/>
                    <a:gd name="T31" fmla="*/ 0 h 3"/>
                    <a:gd name="T32" fmla="*/ 4 w 4"/>
                    <a:gd name="T33" fmla="*/ 3 h 3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" h="3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8" name="Freeform 113">
                  <a:extLst>
                    <a:ext uri="{FF2B5EF4-FFF2-40B4-BE49-F238E27FC236}">
                      <a16:creationId xmlns:a16="http://schemas.microsoft.com/office/drawing/2014/main" id="{E140E2CF-D484-2041-A5E5-CBE2AD68DE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3256" y="4680520"/>
                  <a:ext cx="1331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0 h 10"/>
                    <a:gd name="T8" fmla="*/ 2147483647 w 9"/>
                    <a:gd name="T9" fmla="*/ 2147483647 h 10"/>
                    <a:gd name="T10" fmla="*/ 0 w 9"/>
                    <a:gd name="T11" fmla="*/ 2147483647 h 10"/>
                    <a:gd name="T12" fmla="*/ 0 w 9"/>
                    <a:gd name="T13" fmla="*/ 2147483647 h 10"/>
                    <a:gd name="T14" fmla="*/ 2147483647 w 9"/>
                    <a:gd name="T15" fmla="*/ 2147483647 h 10"/>
                    <a:gd name="T16" fmla="*/ 2147483647 w 9"/>
                    <a:gd name="T17" fmla="*/ 2147483647 h 10"/>
                    <a:gd name="T18" fmla="*/ 2147483647 w 9"/>
                    <a:gd name="T19" fmla="*/ 2147483647 h 10"/>
                    <a:gd name="T20" fmla="*/ 2147483647 w 9"/>
                    <a:gd name="T21" fmla="*/ 2147483647 h 1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10"/>
                    <a:gd name="T35" fmla="*/ 9 w 9"/>
                    <a:gd name="T36" fmla="*/ 10 h 1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10">
                      <a:moveTo>
                        <a:pt x="9" y="6"/>
                      </a:moveTo>
                      <a:lnTo>
                        <a:pt x="9" y="4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3" y="10"/>
                      </a:lnTo>
                      <a:lnTo>
                        <a:pt x="6" y="9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9" name="Freeform 114">
                  <a:extLst>
                    <a:ext uri="{FF2B5EF4-FFF2-40B4-BE49-F238E27FC236}">
                      <a16:creationId xmlns:a16="http://schemas.microsoft.com/office/drawing/2014/main" id="{90BD048B-A15F-6345-B3A4-D589760290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32898" y="4656839"/>
                  <a:ext cx="5919" cy="4439"/>
                </a:xfrm>
                <a:custGeom>
                  <a:avLst/>
                  <a:gdLst>
                    <a:gd name="T0" fmla="*/ 2147483647 w 4"/>
                    <a:gd name="T1" fmla="*/ 2147483647 h 3"/>
                    <a:gd name="T2" fmla="*/ 2147483647 w 4"/>
                    <a:gd name="T3" fmla="*/ 2147483647 h 3"/>
                    <a:gd name="T4" fmla="*/ 2147483647 w 4"/>
                    <a:gd name="T5" fmla="*/ 0 h 3"/>
                    <a:gd name="T6" fmla="*/ 2147483647 w 4"/>
                    <a:gd name="T7" fmla="*/ 0 h 3"/>
                    <a:gd name="T8" fmla="*/ 2147483647 w 4"/>
                    <a:gd name="T9" fmla="*/ 0 h 3"/>
                    <a:gd name="T10" fmla="*/ 2147483647 w 4"/>
                    <a:gd name="T11" fmla="*/ 0 h 3"/>
                    <a:gd name="T12" fmla="*/ 0 w 4"/>
                    <a:gd name="T13" fmla="*/ 2147483647 h 3"/>
                    <a:gd name="T14" fmla="*/ 0 w 4"/>
                    <a:gd name="T15" fmla="*/ 2147483647 h 3"/>
                    <a:gd name="T16" fmla="*/ 0 w 4"/>
                    <a:gd name="T17" fmla="*/ 2147483647 h 3"/>
                    <a:gd name="T18" fmla="*/ 0 w 4"/>
                    <a:gd name="T19" fmla="*/ 2147483647 h 3"/>
                    <a:gd name="T20" fmla="*/ 2147483647 w 4"/>
                    <a:gd name="T21" fmla="*/ 2147483647 h 3"/>
                    <a:gd name="T22" fmla="*/ 2147483647 w 4"/>
                    <a:gd name="T23" fmla="*/ 2147483647 h 3"/>
                    <a:gd name="T24" fmla="*/ 2147483647 w 4"/>
                    <a:gd name="T25" fmla="*/ 2147483647 h 3"/>
                    <a:gd name="T26" fmla="*/ 2147483647 w 4"/>
                    <a:gd name="T27" fmla="*/ 2147483647 h 3"/>
                    <a:gd name="T28" fmla="*/ 2147483647 w 4"/>
                    <a:gd name="T29" fmla="*/ 2147483647 h 3"/>
                    <a:gd name="T30" fmla="*/ 2147483647 w 4"/>
                    <a:gd name="T31" fmla="*/ 2147483647 h 3"/>
                    <a:gd name="T32" fmla="*/ 2147483647 w 4"/>
                    <a:gd name="T33" fmla="*/ 2147483647 h 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"/>
                    <a:gd name="T52" fmla="*/ 0 h 3"/>
                    <a:gd name="T53" fmla="*/ 4 w 4"/>
                    <a:gd name="T54" fmla="*/ 3 h 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" h="3"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0" name="Freeform 115">
                  <a:extLst>
                    <a:ext uri="{FF2B5EF4-FFF2-40B4-BE49-F238E27FC236}">
                      <a16:creationId xmlns:a16="http://schemas.microsoft.com/office/drawing/2014/main" id="{3408FCD3-3D78-CF46-8818-49C1196D47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0296" y="4679038"/>
                  <a:ext cx="1331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2147483647 h 10"/>
                    <a:gd name="T8" fmla="*/ 2147483647 w 9"/>
                    <a:gd name="T9" fmla="*/ 0 h 10"/>
                    <a:gd name="T10" fmla="*/ 2147483647 w 9"/>
                    <a:gd name="T11" fmla="*/ 2147483647 h 10"/>
                    <a:gd name="T12" fmla="*/ 2147483647 w 9"/>
                    <a:gd name="T13" fmla="*/ 2147483647 h 10"/>
                    <a:gd name="T14" fmla="*/ 0 w 9"/>
                    <a:gd name="T15" fmla="*/ 2147483647 h 10"/>
                    <a:gd name="T16" fmla="*/ 0 w 9"/>
                    <a:gd name="T17" fmla="*/ 2147483647 h 10"/>
                    <a:gd name="T18" fmla="*/ 0 w 9"/>
                    <a:gd name="T19" fmla="*/ 2147483647 h 10"/>
                    <a:gd name="T20" fmla="*/ 2147483647 w 9"/>
                    <a:gd name="T21" fmla="*/ 2147483647 h 10"/>
                    <a:gd name="T22" fmla="*/ 2147483647 w 9"/>
                    <a:gd name="T23" fmla="*/ 2147483647 h 10"/>
                    <a:gd name="T24" fmla="*/ 2147483647 w 9"/>
                    <a:gd name="T25" fmla="*/ 2147483647 h 10"/>
                    <a:gd name="T26" fmla="*/ 2147483647 w 9"/>
                    <a:gd name="T27" fmla="*/ 2147483647 h 10"/>
                    <a:gd name="T28" fmla="*/ 2147483647 w 9"/>
                    <a:gd name="T29" fmla="*/ 2147483647 h 1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10"/>
                    <a:gd name="T47" fmla="*/ 9 w 9"/>
                    <a:gd name="T48" fmla="*/ 10 h 1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10">
                      <a:moveTo>
                        <a:pt x="9" y="6"/>
                      </a:moveTo>
                      <a:lnTo>
                        <a:pt x="9" y="6"/>
                      </a:lnTo>
                      <a:lnTo>
                        <a:pt x="9" y="4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4" y="10"/>
                      </a:lnTo>
                      <a:lnTo>
                        <a:pt x="7" y="8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1" name="Freeform 116">
                  <a:extLst>
                    <a:ext uri="{FF2B5EF4-FFF2-40B4-BE49-F238E27FC236}">
                      <a16:creationId xmlns:a16="http://schemas.microsoft.com/office/drawing/2014/main" id="{072E142C-E55C-134C-AFF6-7E70F539E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9503" y="4630204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0 h 6"/>
                    <a:gd name="T8" fmla="*/ 2147483647 w 7"/>
                    <a:gd name="T9" fmla="*/ 2147483647 h 6"/>
                    <a:gd name="T10" fmla="*/ 0 w 7"/>
                    <a:gd name="T11" fmla="*/ 2147483647 h 6"/>
                    <a:gd name="T12" fmla="*/ 0 w 7"/>
                    <a:gd name="T13" fmla="*/ 2147483647 h 6"/>
                    <a:gd name="T14" fmla="*/ 2147483647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6"/>
                    <a:gd name="T35" fmla="*/ 7 w 7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6">
                      <a:moveTo>
                        <a:pt x="7" y="5"/>
                      </a:moveTo>
                      <a:lnTo>
                        <a:pt x="7" y="2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2" name="Freeform 117">
                  <a:extLst>
                    <a:ext uri="{FF2B5EF4-FFF2-40B4-BE49-F238E27FC236}">
                      <a16:creationId xmlns:a16="http://schemas.microsoft.com/office/drawing/2014/main" id="{A8229DB4-5FCB-8946-BCC8-9F6C882FAB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2291" y="4599122"/>
                  <a:ext cx="13318" cy="11839"/>
                </a:xfrm>
                <a:custGeom>
                  <a:avLst/>
                  <a:gdLst>
                    <a:gd name="T0" fmla="*/ 2147483647 w 9"/>
                    <a:gd name="T1" fmla="*/ 2147483647 h 8"/>
                    <a:gd name="T2" fmla="*/ 2147483647 w 9"/>
                    <a:gd name="T3" fmla="*/ 2147483647 h 8"/>
                    <a:gd name="T4" fmla="*/ 2147483647 w 9"/>
                    <a:gd name="T5" fmla="*/ 2147483647 h 8"/>
                    <a:gd name="T6" fmla="*/ 2147483647 w 9"/>
                    <a:gd name="T7" fmla="*/ 0 h 8"/>
                    <a:gd name="T8" fmla="*/ 2147483647 w 9"/>
                    <a:gd name="T9" fmla="*/ 0 h 8"/>
                    <a:gd name="T10" fmla="*/ 2147483647 w 9"/>
                    <a:gd name="T11" fmla="*/ 0 h 8"/>
                    <a:gd name="T12" fmla="*/ 0 w 9"/>
                    <a:gd name="T13" fmla="*/ 2147483647 h 8"/>
                    <a:gd name="T14" fmla="*/ 2147483647 w 9"/>
                    <a:gd name="T15" fmla="*/ 2147483647 h 8"/>
                    <a:gd name="T16" fmla="*/ 2147483647 w 9"/>
                    <a:gd name="T17" fmla="*/ 2147483647 h 8"/>
                    <a:gd name="T18" fmla="*/ 2147483647 w 9"/>
                    <a:gd name="T19" fmla="*/ 2147483647 h 8"/>
                    <a:gd name="T20" fmla="*/ 2147483647 w 9"/>
                    <a:gd name="T21" fmla="*/ 2147483647 h 8"/>
                    <a:gd name="T22" fmla="*/ 2147483647 w 9"/>
                    <a:gd name="T23" fmla="*/ 2147483647 h 8"/>
                    <a:gd name="T24" fmla="*/ 2147483647 w 9"/>
                    <a:gd name="T25" fmla="*/ 2147483647 h 8"/>
                    <a:gd name="T26" fmla="*/ 2147483647 w 9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8"/>
                    <a:gd name="T44" fmla="*/ 9 w 9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8">
                      <a:moveTo>
                        <a:pt x="8" y="4"/>
                      </a:moveTo>
                      <a:lnTo>
                        <a:pt x="7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8" y="5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3" name="Freeform 118">
                  <a:extLst>
                    <a:ext uri="{FF2B5EF4-FFF2-40B4-BE49-F238E27FC236}">
                      <a16:creationId xmlns:a16="http://schemas.microsoft.com/office/drawing/2014/main" id="{5C021FF3-7543-8945-A23C-49A1C8B7B8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6543" y="4628724"/>
                  <a:ext cx="10359" cy="8879"/>
                </a:xfrm>
                <a:custGeom>
                  <a:avLst/>
                  <a:gdLst>
                    <a:gd name="T0" fmla="*/ 2147483647 w 8"/>
                    <a:gd name="T1" fmla="*/ 2147483647 h 6"/>
                    <a:gd name="T2" fmla="*/ 2147483647 w 8"/>
                    <a:gd name="T3" fmla="*/ 2147483647 h 6"/>
                    <a:gd name="T4" fmla="*/ 2147483647 w 8"/>
                    <a:gd name="T5" fmla="*/ 2147483647 h 6"/>
                    <a:gd name="T6" fmla="*/ 2147483647 w 8"/>
                    <a:gd name="T7" fmla="*/ 2147483647 h 6"/>
                    <a:gd name="T8" fmla="*/ 2147483647 w 8"/>
                    <a:gd name="T9" fmla="*/ 0 h 6"/>
                    <a:gd name="T10" fmla="*/ 2147483647 w 8"/>
                    <a:gd name="T11" fmla="*/ 2147483647 h 6"/>
                    <a:gd name="T12" fmla="*/ 2147483647 w 8"/>
                    <a:gd name="T13" fmla="*/ 2147483647 h 6"/>
                    <a:gd name="T14" fmla="*/ 0 w 8"/>
                    <a:gd name="T15" fmla="*/ 2147483647 h 6"/>
                    <a:gd name="T16" fmla="*/ 0 w 8"/>
                    <a:gd name="T17" fmla="*/ 2147483647 h 6"/>
                    <a:gd name="T18" fmla="*/ 0 w 8"/>
                    <a:gd name="T19" fmla="*/ 2147483647 h 6"/>
                    <a:gd name="T20" fmla="*/ 2147483647 w 8"/>
                    <a:gd name="T21" fmla="*/ 2147483647 h 6"/>
                    <a:gd name="T22" fmla="*/ 2147483647 w 8"/>
                    <a:gd name="T23" fmla="*/ 2147483647 h 6"/>
                    <a:gd name="T24" fmla="*/ 2147483647 w 8"/>
                    <a:gd name="T25" fmla="*/ 2147483647 h 6"/>
                    <a:gd name="T26" fmla="*/ 2147483647 w 8"/>
                    <a:gd name="T27" fmla="*/ 2147483647 h 6"/>
                    <a:gd name="T28" fmla="*/ 2147483647 w 8"/>
                    <a:gd name="T29" fmla="*/ 2147483647 h 6"/>
                    <a:gd name="T30" fmla="*/ 2147483647 w 8"/>
                    <a:gd name="T31" fmla="*/ 2147483647 h 6"/>
                    <a:gd name="T32" fmla="*/ 2147483647 w 8"/>
                    <a:gd name="T33" fmla="*/ 2147483647 h 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6"/>
                    <a:gd name="T53" fmla="*/ 8 w 8"/>
                    <a:gd name="T54" fmla="*/ 6 h 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6">
                      <a:moveTo>
                        <a:pt x="8" y="4"/>
                      </a:move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4" name="Freeform 119">
                  <a:extLst>
                    <a:ext uri="{FF2B5EF4-FFF2-40B4-BE49-F238E27FC236}">
                      <a16:creationId xmlns:a16="http://schemas.microsoft.com/office/drawing/2014/main" id="{17746467-0C50-804B-B6F5-197CC19B11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0808" y="4596163"/>
                  <a:ext cx="13319" cy="13319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2147483647 h 9"/>
                    <a:gd name="T8" fmla="*/ 2147483647 w 9"/>
                    <a:gd name="T9" fmla="*/ 0 h 9"/>
                    <a:gd name="T10" fmla="*/ 2147483647 w 9"/>
                    <a:gd name="T11" fmla="*/ 0 h 9"/>
                    <a:gd name="T12" fmla="*/ 2147483647 w 9"/>
                    <a:gd name="T13" fmla="*/ 0 h 9"/>
                    <a:gd name="T14" fmla="*/ 2147483647 w 9"/>
                    <a:gd name="T15" fmla="*/ 0 h 9"/>
                    <a:gd name="T16" fmla="*/ 0 w 9"/>
                    <a:gd name="T17" fmla="*/ 2147483647 h 9"/>
                    <a:gd name="T18" fmla="*/ 2147483647 w 9"/>
                    <a:gd name="T19" fmla="*/ 2147483647 h 9"/>
                    <a:gd name="T20" fmla="*/ 2147483647 w 9"/>
                    <a:gd name="T21" fmla="*/ 2147483647 h 9"/>
                    <a:gd name="T22" fmla="*/ 2147483647 w 9"/>
                    <a:gd name="T23" fmla="*/ 2147483647 h 9"/>
                    <a:gd name="T24" fmla="*/ 2147483647 w 9"/>
                    <a:gd name="T25" fmla="*/ 2147483647 h 9"/>
                    <a:gd name="T26" fmla="*/ 2147483647 w 9"/>
                    <a:gd name="T27" fmla="*/ 2147483647 h 9"/>
                    <a:gd name="T28" fmla="*/ 2147483647 w 9"/>
                    <a:gd name="T29" fmla="*/ 2147483647 h 9"/>
                    <a:gd name="T30" fmla="*/ 2147483647 w 9"/>
                    <a:gd name="T31" fmla="*/ 2147483647 h 9"/>
                    <a:gd name="T32" fmla="*/ 2147483647 w 9"/>
                    <a:gd name="T33" fmla="*/ 2147483647 h 9"/>
                    <a:gd name="T34" fmla="*/ 2147483647 w 9"/>
                    <a:gd name="T35" fmla="*/ 2147483647 h 9"/>
                    <a:gd name="T36" fmla="*/ 2147483647 w 9"/>
                    <a:gd name="T37" fmla="*/ 2147483647 h 9"/>
                    <a:gd name="T38" fmla="*/ 2147483647 w 9"/>
                    <a:gd name="T39" fmla="*/ 2147483647 h 9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"/>
                    <a:gd name="T61" fmla="*/ 0 h 9"/>
                    <a:gd name="T62" fmla="*/ 9 w 9"/>
                    <a:gd name="T63" fmla="*/ 9 h 9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" h="9">
                      <a:moveTo>
                        <a:pt x="8" y="5"/>
                      </a:moveTo>
                      <a:lnTo>
                        <a:pt x="8" y="5"/>
                      </a:lnTo>
                      <a:lnTo>
                        <a:pt x="6" y="4"/>
                      </a:lnTo>
                      <a:lnTo>
                        <a:pt x="5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5" y="9"/>
                      </a:lnTo>
                      <a:lnTo>
                        <a:pt x="6" y="9"/>
                      </a:lnTo>
                      <a:lnTo>
                        <a:pt x="9" y="7"/>
                      </a:lnTo>
                      <a:lnTo>
                        <a:pt x="8" y="6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5" name="Freeform 120">
                  <a:extLst>
                    <a:ext uri="{FF2B5EF4-FFF2-40B4-BE49-F238E27FC236}">
                      <a16:creationId xmlns:a16="http://schemas.microsoft.com/office/drawing/2014/main" id="{90BF6CFC-3844-0D43-933E-CC93E7A641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30769" y="4650922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0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4"/>
                      </a:move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6" name="Freeform 121">
                  <a:extLst>
                    <a:ext uri="{FF2B5EF4-FFF2-40B4-BE49-F238E27FC236}">
                      <a16:creationId xmlns:a16="http://schemas.microsoft.com/office/drawing/2014/main" id="{1CD36082-121C-F249-BCE5-8293053C51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0721" y="4646479"/>
                  <a:ext cx="5919" cy="740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0 h 5"/>
                    <a:gd name="T6" fmla="*/ 2147483647 w 4"/>
                    <a:gd name="T7" fmla="*/ 2147483647 h 5"/>
                    <a:gd name="T8" fmla="*/ 0 w 4"/>
                    <a:gd name="T9" fmla="*/ 2147483647 h 5"/>
                    <a:gd name="T10" fmla="*/ 2147483647 w 4"/>
                    <a:gd name="T11" fmla="*/ 2147483647 h 5"/>
                    <a:gd name="T12" fmla="*/ 2147483647 w 4"/>
                    <a:gd name="T13" fmla="*/ 2147483647 h 5"/>
                    <a:gd name="T14" fmla="*/ 2147483647 w 4"/>
                    <a:gd name="T15" fmla="*/ 2147483647 h 5"/>
                    <a:gd name="T16" fmla="*/ 2147483647 w 4"/>
                    <a:gd name="T17" fmla="*/ 2147483647 h 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5"/>
                    <a:gd name="T29" fmla="*/ 4 w 4"/>
                    <a:gd name="T30" fmla="*/ 5 h 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5">
                      <a:moveTo>
                        <a:pt x="4" y="3"/>
                      </a:move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4" y="4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7" name="Freeform 122">
                  <a:extLst>
                    <a:ext uri="{FF2B5EF4-FFF2-40B4-BE49-F238E27FC236}">
                      <a16:creationId xmlns:a16="http://schemas.microsoft.com/office/drawing/2014/main" id="{A206886A-6492-F940-95B0-CC015D0420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29285" y="4649442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0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8" name="Freeform 123">
                  <a:extLst>
                    <a:ext uri="{FF2B5EF4-FFF2-40B4-BE49-F238E27FC236}">
                      <a16:creationId xmlns:a16="http://schemas.microsoft.com/office/drawing/2014/main" id="{04A7A681-A757-964E-9989-E43B192865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69243" y="4643523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2147483647 h 6"/>
                    <a:gd name="T6" fmla="*/ 2147483647 w 4"/>
                    <a:gd name="T7" fmla="*/ 0 h 6"/>
                    <a:gd name="T8" fmla="*/ 2147483647 w 4"/>
                    <a:gd name="T9" fmla="*/ 0 h 6"/>
                    <a:gd name="T10" fmla="*/ 2147483647 w 4"/>
                    <a:gd name="T11" fmla="*/ 0 h 6"/>
                    <a:gd name="T12" fmla="*/ 2147483647 w 4"/>
                    <a:gd name="T13" fmla="*/ 2147483647 h 6"/>
                    <a:gd name="T14" fmla="*/ 0 w 4"/>
                    <a:gd name="T15" fmla="*/ 2147483647 h 6"/>
                    <a:gd name="T16" fmla="*/ 2147483647 w 4"/>
                    <a:gd name="T17" fmla="*/ 2147483647 h 6"/>
                    <a:gd name="T18" fmla="*/ 2147483647 w 4"/>
                    <a:gd name="T19" fmla="*/ 2147483647 h 6"/>
                    <a:gd name="T20" fmla="*/ 2147483647 w 4"/>
                    <a:gd name="T21" fmla="*/ 2147483647 h 6"/>
                    <a:gd name="T22" fmla="*/ 2147483647 w 4"/>
                    <a:gd name="T23" fmla="*/ 2147483647 h 6"/>
                    <a:gd name="T24" fmla="*/ 2147483647 w 4"/>
                    <a:gd name="T25" fmla="*/ 2147483647 h 6"/>
                    <a:gd name="T26" fmla="*/ 2147483647 w 4"/>
                    <a:gd name="T27" fmla="*/ 2147483647 h 6"/>
                    <a:gd name="T28" fmla="*/ 2147483647 w 4"/>
                    <a:gd name="T29" fmla="*/ 2147483647 h 6"/>
                    <a:gd name="T30" fmla="*/ 2147483647 w 4"/>
                    <a:gd name="T31" fmla="*/ 2147483647 h 6"/>
                    <a:gd name="T32" fmla="*/ 2147483647 w 4"/>
                    <a:gd name="T33" fmla="*/ 2147483647 h 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"/>
                    <a:gd name="T52" fmla="*/ 0 h 6"/>
                    <a:gd name="T53" fmla="*/ 4 w 4"/>
                    <a:gd name="T54" fmla="*/ 6 h 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9" name="Freeform 124">
                  <a:extLst>
                    <a:ext uri="{FF2B5EF4-FFF2-40B4-BE49-F238E27FC236}">
                      <a16:creationId xmlns:a16="http://schemas.microsoft.com/office/drawing/2014/main" id="{E18F7A6D-306F-064E-B352-51E2B620CF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67761" y="4662761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0 w 5"/>
                    <a:gd name="T3" fmla="*/ 2147483647 h 6"/>
                    <a:gd name="T4" fmla="*/ 0 w 5"/>
                    <a:gd name="T5" fmla="*/ 2147483647 h 6"/>
                    <a:gd name="T6" fmla="*/ 0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6"/>
                    <a:gd name="T35" fmla="*/ 5 w 5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6">
                      <a:moveTo>
                        <a:pt x="1" y="6"/>
                      </a:move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4" y="2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4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0" name="Freeform 125">
                  <a:extLst>
                    <a:ext uri="{FF2B5EF4-FFF2-40B4-BE49-F238E27FC236}">
                      <a16:creationId xmlns:a16="http://schemas.microsoft.com/office/drawing/2014/main" id="{951F5BCC-6A0D-394D-AB0E-7744202041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3681" y="4684955"/>
                  <a:ext cx="4440" cy="5919"/>
                </a:xfrm>
                <a:custGeom>
                  <a:avLst/>
                  <a:gdLst>
                    <a:gd name="T0" fmla="*/ 2147483647 w 3"/>
                    <a:gd name="T1" fmla="*/ 2147483647 h 4"/>
                    <a:gd name="T2" fmla="*/ 2147483647 w 3"/>
                    <a:gd name="T3" fmla="*/ 2147483647 h 4"/>
                    <a:gd name="T4" fmla="*/ 2147483647 w 3"/>
                    <a:gd name="T5" fmla="*/ 0 h 4"/>
                    <a:gd name="T6" fmla="*/ 0 w 3"/>
                    <a:gd name="T7" fmla="*/ 2147483647 h 4"/>
                    <a:gd name="T8" fmla="*/ 0 w 3"/>
                    <a:gd name="T9" fmla="*/ 2147483647 h 4"/>
                    <a:gd name="T10" fmla="*/ 2147483647 w 3"/>
                    <a:gd name="T11" fmla="*/ 2147483647 h 4"/>
                    <a:gd name="T12" fmla="*/ 2147483647 w 3"/>
                    <a:gd name="T13" fmla="*/ 2147483647 h 4"/>
                    <a:gd name="T14" fmla="*/ 2147483647 w 3"/>
                    <a:gd name="T15" fmla="*/ 2147483647 h 4"/>
                    <a:gd name="T16" fmla="*/ 2147483647 w 3"/>
                    <a:gd name="T17" fmla="*/ 2147483647 h 4"/>
                    <a:gd name="T18" fmla="*/ 2147483647 w 3"/>
                    <a:gd name="T19" fmla="*/ 2147483647 h 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"/>
                    <a:gd name="T31" fmla="*/ 0 h 4"/>
                    <a:gd name="T32" fmla="*/ 3 w 3"/>
                    <a:gd name="T33" fmla="*/ 4 h 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" h="4">
                      <a:moveTo>
                        <a:pt x="3" y="3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1" name="Freeform 126">
                  <a:extLst>
                    <a:ext uri="{FF2B5EF4-FFF2-40B4-BE49-F238E27FC236}">
                      <a16:creationId xmlns:a16="http://schemas.microsoft.com/office/drawing/2014/main" id="{9871F016-9D75-7847-8205-C3B538C63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66286" y="4661281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0 w 5"/>
                    <a:gd name="T5" fmla="*/ 2147483647 h 6"/>
                    <a:gd name="T6" fmla="*/ 0 w 5"/>
                    <a:gd name="T7" fmla="*/ 2147483647 h 6"/>
                    <a:gd name="T8" fmla="*/ 0 w 5"/>
                    <a:gd name="T9" fmla="*/ 2147483647 h 6"/>
                    <a:gd name="T10" fmla="*/ 0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0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2147483647 w 5"/>
                    <a:gd name="T31" fmla="*/ 2147483647 h 6"/>
                    <a:gd name="T32" fmla="*/ 2147483647 w 5"/>
                    <a:gd name="T33" fmla="*/ 2147483647 h 6"/>
                    <a:gd name="T34" fmla="*/ 2147483647 w 5"/>
                    <a:gd name="T35" fmla="*/ 2147483647 h 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5"/>
                    <a:gd name="T55" fmla="*/ 0 h 6"/>
                    <a:gd name="T56" fmla="*/ 5 w 5"/>
                    <a:gd name="T57" fmla="*/ 6 h 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5" h="6">
                      <a:moveTo>
                        <a:pt x="1" y="6"/>
                      </a:move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3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2" name="Freeform 127">
                  <a:extLst>
                    <a:ext uri="{FF2B5EF4-FFF2-40B4-BE49-F238E27FC236}">
                      <a16:creationId xmlns:a16="http://schemas.microsoft.com/office/drawing/2014/main" id="{A3305C14-0392-F441-8054-82ADA204A7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0721" y="4681997"/>
                  <a:ext cx="5919" cy="740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2147483647 w 4"/>
                    <a:gd name="T7" fmla="*/ 0 h 5"/>
                    <a:gd name="T8" fmla="*/ 0 w 4"/>
                    <a:gd name="T9" fmla="*/ 2147483647 h 5"/>
                    <a:gd name="T10" fmla="*/ 0 w 4"/>
                    <a:gd name="T11" fmla="*/ 2147483647 h 5"/>
                    <a:gd name="T12" fmla="*/ 0 w 4"/>
                    <a:gd name="T13" fmla="*/ 2147483647 h 5"/>
                    <a:gd name="T14" fmla="*/ 0 w 4"/>
                    <a:gd name="T15" fmla="*/ 2147483647 h 5"/>
                    <a:gd name="T16" fmla="*/ 2147483647 w 4"/>
                    <a:gd name="T17" fmla="*/ 2147483647 h 5"/>
                    <a:gd name="T18" fmla="*/ 2147483647 w 4"/>
                    <a:gd name="T19" fmla="*/ 2147483647 h 5"/>
                    <a:gd name="T20" fmla="*/ 2147483647 w 4"/>
                    <a:gd name="T21" fmla="*/ 2147483647 h 5"/>
                    <a:gd name="T22" fmla="*/ 2147483647 w 4"/>
                    <a:gd name="T23" fmla="*/ 2147483647 h 5"/>
                    <a:gd name="T24" fmla="*/ 2147483647 w 4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"/>
                    <a:gd name="T40" fmla="*/ 0 h 5"/>
                    <a:gd name="T41" fmla="*/ 4 w 4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" h="5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3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3" name="Freeform 128">
                  <a:extLst>
                    <a:ext uri="{FF2B5EF4-FFF2-40B4-BE49-F238E27FC236}">
                      <a16:creationId xmlns:a16="http://schemas.microsoft.com/office/drawing/2014/main" id="{70B7C97F-C04C-B448-8894-4C9759DEC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5922" y="4775228"/>
                  <a:ext cx="7400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0 h 7"/>
                    <a:gd name="T6" fmla="*/ 0 w 6"/>
                    <a:gd name="T7" fmla="*/ 0 h 7"/>
                    <a:gd name="T8" fmla="*/ 0 w 6"/>
                    <a:gd name="T9" fmla="*/ 2147483647 h 7"/>
                    <a:gd name="T10" fmla="*/ 0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7"/>
                    <a:gd name="T32" fmla="*/ 6 w 6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7">
                      <a:moveTo>
                        <a:pt x="5" y="4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6" y="6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4" name="Freeform 129">
                  <a:extLst>
                    <a:ext uri="{FF2B5EF4-FFF2-40B4-BE49-F238E27FC236}">
                      <a16:creationId xmlns:a16="http://schemas.microsoft.com/office/drawing/2014/main" id="{30C84ADB-8942-E549-9C7C-4C7BB4248F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82343" y="4716037"/>
                  <a:ext cx="10359" cy="7399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0 h 5"/>
                    <a:gd name="T4" fmla="*/ 2147483647 w 7"/>
                    <a:gd name="T5" fmla="*/ 0 h 5"/>
                    <a:gd name="T6" fmla="*/ 0 w 7"/>
                    <a:gd name="T7" fmla="*/ 2147483647 h 5"/>
                    <a:gd name="T8" fmla="*/ 0 w 7"/>
                    <a:gd name="T9" fmla="*/ 2147483647 h 5"/>
                    <a:gd name="T10" fmla="*/ 2147483647 w 7"/>
                    <a:gd name="T11" fmla="*/ 2147483647 h 5"/>
                    <a:gd name="T12" fmla="*/ 2147483647 w 7"/>
                    <a:gd name="T13" fmla="*/ 2147483647 h 5"/>
                    <a:gd name="T14" fmla="*/ 2147483647 w 7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"/>
                    <a:gd name="T25" fmla="*/ 0 h 5"/>
                    <a:gd name="T26" fmla="*/ 7 w 7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" h="5">
                      <a:moveTo>
                        <a:pt x="7" y="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5" name="Freeform 130">
                  <a:extLst>
                    <a:ext uri="{FF2B5EF4-FFF2-40B4-BE49-F238E27FC236}">
                      <a16:creationId xmlns:a16="http://schemas.microsoft.com/office/drawing/2014/main" id="{2711EE94-0CD9-1149-8541-A9E52AD88E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4447" y="4773749"/>
                  <a:ext cx="739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0 h 7"/>
                    <a:gd name="T8" fmla="*/ 0 w 6"/>
                    <a:gd name="T9" fmla="*/ 0 h 7"/>
                    <a:gd name="T10" fmla="*/ 0 w 6"/>
                    <a:gd name="T11" fmla="*/ 0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7"/>
                    <a:gd name="T44" fmla="*/ 6 w 6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7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6" y="6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6" name="Freeform 131">
                  <a:extLst>
                    <a:ext uri="{FF2B5EF4-FFF2-40B4-BE49-F238E27FC236}">
                      <a16:creationId xmlns:a16="http://schemas.microsoft.com/office/drawing/2014/main" id="{8A9284CA-87A9-6B42-B866-EB74059255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80864" y="4714553"/>
                  <a:ext cx="887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0 h 5"/>
                    <a:gd name="T6" fmla="*/ 2147483647 w 6"/>
                    <a:gd name="T7" fmla="*/ 0 h 5"/>
                    <a:gd name="T8" fmla="*/ 0 w 6"/>
                    <a:gd name="T9" fmla="*/ 2147483647 h 5"/>
                    <a:gd name="T10" fmla="*/ 0 w 6"/>
                    <a:gd name="T11" fmla="*/ 2147483647 h 5"/>
                    <a:gd name="T12" fmla="*/ 0 w 6"/>
                    <a:gd name="T13" fmla="*/ 2147483647 h 5"/>
                    <a:gd name="T14" fmla="*/ 2147483647 w 6"/>
                    <a:gd name="T15" fmla="*/ 2147483647 h 5"/>
                    <a:gd name="T16" fmla="*/ 2147483647 w 6"/>
                    <a:gd name="T17" fmla="*/ 2147483647 h 5"/>
                    <a:gd name="T18" fmla="*/ 2147483647 w 6"/>
                    <a:gd name="T19" fmla="*/ 2147483647 h 5"/>
                    <a:gd name="T20" fmla="*/ 2147483647 w 6"/>
                    <a:gd name="T21" fmla="*/ 2147483647 h 5"/>
                    <a:gd name="T22" fmla="*/ 2147483647 w 6"/>
                    <a:gd name="T23" fmla="*/ 2147483647 h 5"/>
                    <a:gd name="T24" fmla="*/ 2147483647 w 6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5"/>
                    <a:gd name="T41" fmla="*/ 6 w 6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5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7" name="Freeform 132">
                  <a:extLst>
                    <a:ext uri="{FF2B5EF4-FFF2-40B4-BE49-F238E27FC236}">
                      <a16:creationId xmlns:a16="http://schemas.microsoft.com/office/drawing/2014/main" id="{8FF6E2E0-C976-F84E-9170-F2F8BBEB45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26743" y="4738235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0 h 6"/>
                    <a:gd name="T6" fmla="*/ 2147483647 w 6"/>
                    <a:gd name="T7" fmla="*/ 0 h 6"/>
                    <a:gd name="T8" fmla="*/ 0 w 6"/>
                    <a:gd name="T9" fmla="*/ 0 h 6"/>
                    <a:gd name="T10" fmla="*/ 0 w 6"/>
                    <a:gd name="T11" fmla="*/ 2147483647 h 6"/>
                    <a:gd name="T12" fmla="*/ 2147483647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6" y="5"/>
                      </a:moveTo>
                      <a:lnTo>
                        <a:pt x="6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8" name="Freeform 133">
                  <a:extLst>
                    <a:ext uri="{FF2B5EF4-FFF2-40B4-BE49-F238E27FC236}">
                      <a16:creationId xmlns:a16="http://schemas.microsoft.com/office/drawing/2014/main" id="{B991248E-301D-C149-93C1-3E0B9FB05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53381" y="4733796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2147483647 w 5"/>
                    <a:gd name="T7" fmla="*/ 0 h 6"/>
                    <a:gd name="T8" fmla="*/ 0 w 5"/>
                    <a:gd name="T9" fmla="*/ 2147483647 h 6"/>
                    <a:gd name="T10" fmla="*/ 0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5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9" name="Freeform 134">
                  <a:extLst>
                    <a:ext uri="{FF2B5EF4-FFF2-40B4-BE49-F238E27FC236}">
                      <a16:creationId xmlns:a16="http://schemas.microsoft.com/office/drawing/2014/main" id="{9A827064-57F8-AD4C-95B8-2FBA7EF1D0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25259" y="4736755"/>
                  <a:ext cx="7400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0 h 6"/>
                    <a:gd name="T8" fmla="*/ 2147483647 w 6"/>
                    <a:gd name="T9" fmla="*/ 0 h 6"/>
                    <a:gd name="T10" fmla="*/ 0 w 6"/>
                    <a:gd name="T11" fmla="*/ 0 h 6"/>
                    <a:gd name="T12" fmla="*/ 0 w 6"/>
                    <a:gd name="T13" fmla="*/ 0 h 6"/>
                    <a:gd name="T14" fmla="*/ 0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6"/>
                    <a:gd name="T44" fmla="*/ 6 w 6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6">
                      <a:moveTo>
                        <a:pt x="6" y="5"/>
                      </a:move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0" name="Freeform 135">
                  <a:extLst>
                    <a:ext uri="{FF2B5EF4-FFF2-40B4-BE49-F238E27FC236}">
                      <a16:creationId xmlns:a16="http://schemas.microsoft.com/office/drawing/2014/main" id="{BBAA390E-B9FB-D847-A753-39D2CFC78E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51897" y="4732315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2147483647 w 5"/>
                    <a:gd name="T11" fmla="*/ 0 h 6"/>
                    <a:gd name="T12" fmla="*/ 0 w 5"/>
                    <a:gd name="T13" fmla="*/ 2147483647 h 6"/>
                    <a:gd name="T14" fmla="*/ 0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1" name="Freeform 136">
                  <a:extLst>
                    <a:ext uri="{FF2B5EF4-FFF2-40B4-BE49-F238E27FC236}">
                      <a16:creationId xmlns:a16="http://schemas.microsoft.com/office/drawing/2014/main" id="{B6EC8281-CFCD-C843-8806-80ADC08172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50421" y="4686439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0 h 6"/>
                    <a:gd name="T4" fmla="*/ 2147483647 w 5"/>
                    <a:gd name="T5" fmla="*/ 0 h 6"/>
                    <a:gd name="T6" fmla="*/ 0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2" name="Freeform 137">
                  <a:extLst>
                    <a:ext uri="{FF2B5EF4-FFF2-40B4-BE49-F238E27FC236}">
                      <a16:creationId xmlns:a16="http://schemas.microsoft.com/office/drawing/2014/main" id="{1FF555E2-B1B8-6E46-B865-5772DB7B0F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2430" y="3760037"/>
                  <a:ext cx="10359" cy="13319"/>
                </a:xfrm>
                <a:custGeom>
                  <a:avLst/>
                  <a:gdLst>
                    <a:gd name="T0" fmla="*/ 2147483647 w 8"/>
                    <a:gd name="T1" fmla="*/ 2147483647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2147483647 w 8"/>
                    <a:gd name="T7" fmla="*/ 0 h 9"/>
                    <a:gd name="T8" fmla="*/ 2147483647 w 8"/>
                    <a:gd name="T9" fmla="*/ 0 h 9"/>
                    <a:gd name="T10" fmla="*/ 2147483647 w 8"/>
                    <a:gd name="T11" fmla="*/ 2147483647 h 9"/>
                    <a:gd name="T12" fmla="*/ 0 w 8"/>
                    <a:gd name="T13" fmla="*/ 2147483647 h 9"/>
                    <a:gd name="T14" fmla="*/ 2147483647 w 8"/>
                    <a:gd name="T15" fmla="*/ 2147483647 h 9"/>
                    <a:gd name="T16" fmla="*/ 2147483647 w 8"/>
                    <a:gd name="T17" fmla="*/ 2147483647 h 9"/>
                    <a:gd name="T18" fmla="*/ 2147483647 w 8"/>
                    <a:gd name="T19" fmla="*/ 2147483647 h 9"/>
                    <a:gd name="T20" fmla="*/ 2147483647 w 8"/>
                    <a:gd name="T21" fmla="*/ 2147483647 h 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9"/>
                    <a:gd name="T35" fmla="*/ 8 w 8"/>
                    <a:gd name="T36" fmla="*/ 9 h 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9">
                      <a:moveTo>
                        <a:pt x="6" y="7"/>
                      </a:moveTo>
                      <a:lnTo>
                        <a:pt x="8" y="3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1" y="5"/>
                      </a:lnTo>
                      <a:lnTo>
                        <a:pt x="0" y="7"/>
                      </a:lnTo>
                      <a:lnTo>
                        <a:pt x="1" y="9"/>
                      </a:lnTo>
                      <a:lnTo>
                        <a:pt x="2" y="9"/>
                      </a:lnTo>
                      <a:lnTo>
                        <a:pt x="3" y="9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3" name="Freeform 138">
                  <a:extLst>
                    <a:ext uri="{FF2B5EF4-FFF2-40B4-BE49-F238E27FC236}">
                      <a16:creationId xmlns:a16="http://schemas.microsoft.com/office/drawing/2014/main" id="{D0EB921F-16DA-6C45-8852-DC9812076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8937" y="4684960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"/>
                    <a:gd name="T40" fmla="*/ 0 h 6"/>
                    <a:gd name="T41" fmla="*/ 5 w 5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" h="6">
                      <a:moveTo>
                        <a:pt x="3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4" name="Freeform 139">
                  <a:extLst>
                    <a:ext uri="{FF2B5EF4-FFF2-40B4-BE49-F238E27FC236}">
                      <a16:creationId xmlns:a16="http://schemas.microsoft.com/office/drawing/2014/main" id="{85A4ECFC-7881-A646-8668-36B60B2A69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99470" y="3758555"/>
                  <a:ext cx="11839" cy="13319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2147483647 w 9"/>
                    <a:gd name="T9" fmla="*/ 0 h 9"/>
                    <a:gd name="T10" fmla="*/ 2147483647 w 9"/>
                    <a:gd name="T11" fmla="*/ 0 h 9"/>
                    <a:gd name="T12" fmla="*/ 2147483647 w 9"/>
                    <a:gd name="T13" fmla="*/ 0 h 9"/>
                    <a:gd name="T14" fmla="*/ 2147483647 w 9"/>
                    <a:gd name="T15" fmla="*/ 0 h 9"/>
                    <a:gd name="T16" fmla="*/ 2147483647 w 9"/>
                    <a:gd name="T17" fmla="*/ 2147483647 h 9"/>
                    <a:gd name="T18" fmla="*/ 0 w 9"/>
                    <a:gd name="T19" fmla="*/ 2147483647 h 9"/>
                    <a:gd name="T20" fmla="*/ 2147483647 w 9"/>
                    <a:gd name="T21" fmla="*/ 2147483647 h 9"/>
                    <a:gd name="T22" fmla="*/ 2147483647 w 9"/>
                    <a:gd name="T23" fmla="*/ 2147483647 h 9"/>
                    <a:gd name="T24" fmla="*/ 2147483647 w 9"/>
                    <a:gd name="T25" fmla="*/ 2147483647 h 9"/>
                    <a:gd name="T26" fmla="*/ 2147483647 w 9"/>
                    <a:gd name="T27" fmla="*/ 2147483647 h 9"/>
                    <a:gd name="T28" fmla="*/ 2147483647 w 9"/>
                    <a:gd name="T29" fmla="*/ 2147483647 h 9"/>
                    <a:gd name="T30" fmla="*/ 2147483647 w 9"/>
                    <a:gd name="T31" fmla="*/ 2147483647 h 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"/>
                    <a:gd name="T49" fmla="*/ 0 h 9"/>
                    <a:gd name="T50" fmla="*/ 9 w 9"/>
                    <a:gd name="T51" fmla="*/ 9 h 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" h="9">
                      <a:moveTo>
                        <a:pt x="7" y="7"/>
                      </a:moveTo>
                      <a:lnTo>
                        <a:pt x="7" y="7"/>
                      </a:lnTo>
                      <a:lnTo>
                        <a:pt x="9" y="3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5" name="Freeform 140">
                  <a:extLst>
                    <a:ext uri="{FF2B5EF4-FFF2-40B4-BE49-F238E27FC236}">
                      <a16:creationId xmlns:a16="http://schemas.microsoft.com/office/drawing/2014/main" id="{09BE96B8-089C-A645-BA9E-39FF496EC2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1483" y="3751160"/>
                  <a:ext cx="10359" cy="13319"/>
                </a:xfrm>
                <a:custGeom>
                  <a:avLst/>
                  <a:gdLst>
                    <a:gd name="T0" fmla="*/ 2147483647 w 7"/>
                    <a:gd name="T1" fmla="*/ 2147483647 h 9"/>
                    <a:gd name="T2" fmla="*/ 2147483647 w 7"/>
                    <a:gd name="T3" fmla="*/ 2147483647 h 9"/>
                    <a:gd name="T4" fmla="*/ 2147483647 w 7"/>
                    <a:gd name="T5" fmla="*/ 2147483647 h 9"/>
                    <a:gd name="T6" fmla="*/ 2147483647 w 7"/>
                    <a:gd name="T7" fmla="*/ 0 h 9"/>
                    <a:gd name="T8" fmla="*/ 2147483647 w 7"/>
                    <a:gd name="T9" fmla="*/ 2147483647 h 9"/>
                    <a:gd name="T10" fmla="*/ 2147483647 w 7"/>
                    <a:gd name="T11" fmla="*/ 2147483647 h 9"/>
                    <a:gd name="T12" fmla="*/ 0 w 7"/>
                    <a:gd name="T13" fmla="*/ 2147483647 h 9"/>
                    <a:gd name="T14" fmla="*/ 2147483647 w 7"/>
                    <a:gd name="T15" fmla="*/ 2147483647 h 9"/>
                    <a:gd name="T16" fmla="*/ 2147483647 w 7"/>
                    <a:gd name="T17" fmla="*/ 2147483647 h 9"/>
                    <a:gd name="T18" fmla="*/ 2147483647 w 7"/>
                    <a:gd name="T19" fmla="*/ 2147483647 h 9"/>
                    <a:gd name="T20" fmla="*/ 2147483647 w 7"/>
                    <a:gd name="T21" fmla="*/ 2147483647 h 9"/>
                    <a:gd name="T22" fmla="*/ 2147483647 w 7"/>
                    <a:gd name="T23" fmla="*/ 2147483647 h 9"/>
                    <a:gd name="T24" fmla="*/ 2147483647 w 7"/>
                    <a:gd name="T25" fmla="*/ 2147483647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"/>
                    <a:gd name="T40" fmla="*/ 0 h 9"/>
                    <a:gd name="T41" fmla="*/ 7 w 7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" h="9">
                      <a:moveTo>
                        <a:pt x="7" y="6"/>
                      </a:moveTo>
                      <a:lnTo>
                        <a:pt x="7" y="3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6" name="Freeform 141">
                  <a:extLst>
                    <a:ext uri="{FF2B5EF4-FFF2-40B4-BE49-F238E27FC236}">
                      <a16:creationId xmlns:a16="http://schemas.microsoft.com/office/drawing/2014/main" id="{3CA71EEF-5FC6-724B-905A-BCF82E2A21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3006" y="3714160"/>
                  <a:ext cx="10359" cy="11839"/>
                </a:xfrm>
                <a:custGeom>
                  <a:avLst/>
                  <a:gdLst>
                    <a:gd name="T0" fmla="*/ 2147483647 w 7"/>
                    <a:gd name="T1" fmla="*/ 2147483647 h 8"/>
                    <a:gd name="T2" fmla="*/ 2147483647 w 7"/>
                    <a:gd name="T3" fmla="*/ 2147483647 h 8"/>
                    <a:gd name="T4" fmla="*/ 2147483647 w 7"/>
                    <a:gd name="T5" fmla="*/ 0 h 8"/>
                    <a:gd name="T6" fmla="*/ 2147483647 w 7"/>
                    <a:gd name="T7" fmla="*/ 0 h 8"/>
                    <a:gd name="T8" fmla="*/ 2147483647 w 7"/>
                    <a:gd name="T9" fmla="*/ 0 h 8"/>
                    <a:gd name="T10" fmla="*/ 0 w 7"/>
                    <a:gd name="T11" fmla="*/ 2147483647 h 8"/>
                    <a:gd name="T12" fmla="*/ 0 w 7"/>
                    <a:gd name="T13" fmla="*/ 2147483647 h 8"/>
                    <a:gd name="T14" fmla="*/ 2147483647 w 7"/>
                    <a:gd name="T15" fmla="*/ 2147483647 h 8"/>
                    <a:gd name="T16" fmla="*/ 2147483647 w 7"/>
                    <a:gd name="T17" fmla="*/ 2147483647 h 8"/>
                    <a:gd name="T18" fmla="*/ 2147483647 w 7"/>
                    <a:gd name="T19" fmla="*/ 2147483647 h 8"/>
                    <a:gd name="T20" fmla="*/ 2147483647 w 7"/>
                    <a:gd name="T21" fmla="*/ 2147483647 h 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8"/>
                    <a:gd name="T35" fmla="*/ 7 w 7"/>
                    <a:gd name="T36" fmla="*/ 8 h 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8">
                      <a:moveTo>
                        <a:pt x="7" y="5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4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7" name="Freeform 142">
                  <a:extLst>
                    <a:ext uri="{FF2B5EF4-FFF2-40B4-BE49-F238E27FC236}">
                      <a16:creationId xmlns:a16="http://schemas.microsoft.com/office/drawing/2014/main" id="{2C2F56C0-C2EC-8543-9F90-2CA56456B2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50004" y="3749676"/>
                  <a:ext cx="8879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2147483647 h 9"/>
                    <a:gd name="T4" fmla="*/ 2147483647 w 6"/>
                    <a:gd name="T5" fmla="*/ 2147483647 h 9"/>
                    <a:gd name="T6" fmla="*/ 2147483647 w 6"/>
                    <a:gd name="T7" fmla="*/ 2147483647 h 9"/>
                    <a:gd name="T8" fmla="*/ 2147483647 w 6"/>
                    <a:gd name="T9" fmla="*/ 2147483647 h 9"/>
                    <a:gd name="T10" fmla="*/ 2147483647 w 6"/>
                    <a:gd name="T11" fmla="*/ 0 h 9"/>
                    <a:gd name="T12" fmla="*/ 2147483647 w 6"/>
                    <a:gd name="T13" fmla="*/ 2147483647 h 9"/>
                    <a:gd name="T14" fmla="*/ 2147483647 w 6"/>
                    <a:gd name="T15" fmla="*/ 2147483647 h 9"/>
                    <a:gd name="T16" fmla="*/ 2147483647 w 6"/>
                    <a:gd name="T17" fmla="*/ 2147483647 h 9"/>
                    <a:gd name="T18" fmla="*/ 0 w 6"/>
                    <a:gd name="T19" fmla="*/ 2147483647 h 9"/>
                    <a:gd name="T20" fmla="*/ 2147483647 w 6"/>
                    <a:gd name="T21" fmla="*/ 2147483647 h 9"/>
                    <a:gd name="T22" fmla="*/ 2147483647 w 6"/>
                    <a:gd name="T23" fmla="*/ 2147483647 h 9"/>
                    <a:gd name="T24" fmla="*/ 2147483647 w 6"/>
                    <a:gd name="T25" fmla="*/ 2147483647 h 9"/>
                    <a:gd name="T26" fmla="*/ 2147483647 w 6"/>
                    <a:gd name="T27" fmla="*/ 2147483647 h 9"/>
                    <a:gd name="T28" fmla="*/ 2147483647 w 6"/>
                    <a:gd name="T29" fmla="*/ 2147483647 h 9"/>
                    <a:gd name="T30" fmla="*/ 2147483647 w 6"/>
                    <a:gd name="T31" fmla="*/ 2147483647 h 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9"/>
                    <a:gd name="T50" fmla="*/ 6 w 6"/>
                    <a:gd name="T51" fmla="*/ 9 h 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9">
                      <a:moveTo>
                        <a:pt x="6" y="6"/>
                      </a:moveTo>
                      <a:lnTo>
                        <a:pt x="6" y="6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6" y="7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8" name="Freeform 143">
                  <a:extLst>
                    <a:ext uri="{FF2B5EF4-FFF2-40B4-BE49-F238E27FC236}">
                      <a16:creationId xmlns:a16="http://schemas.microsoft.com/office/drawing/2014/main" id="{F96F7B49-1DB1-1240-A707-59DBF23CBB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1530" y="3712681"/>
                  <a:ext cx="10360" cy="11839"/>
                </a:xfrm>
                <a:custGeom>
                  <a:avLst/>
                  <a:gdLst>
                    <a:gd name="T0" fmla="*/ 2147483647 w 7"/>
                    <a:gd name="T1" fmla="*/ 2147483647 h 8"/>
                    <a:gd name="T2" fmla="*/ 2147483647 w 7"/>
                    <a:gd name="T3" fmla="*/ 2147483647 h 8"/>
                    <a:gd name="T4" fmla="*/ 2147483647 w 7"/>
                    <a:gd name="T5" fmla="*/ 2147483647 h 8"/>
                    <a:gd name="T6" fmla="*/ 2147483647 w 7"/>
                    <a:gd name="T7" fmla="*/ 0 h 8"/>
                    <a:gd name="T8" fmla="*/ 2147483647 w 7"/>
                    <a:gd name="T9" fmla="*/ 0 h 8"/>
                    <a:gd name="T10" fmla="*/ 2147483647 w 7"/>
                    <a:gd name="T11" fmla="*/ 0 h 8"/>
                    <a:gd name="T12" fmla="*/ 2147483647 w 7"/>
                    <a:gd name="T13" fmla="*/ 0 h 8"/>
                    <a:gd name="T14" fmla="*/ 0 w 7"/>
                    <a:gd name="T15" fmla="*/ 2147483647 h 8"/>
                    <a:gd name="T16" fmla="*/ 0 w 7"/>
                    <a:gd name="T17" fmla="*/ 2147483647 h 8"/>
                    <a:gd name="T18" fmla="*/ 2147483647 w 7"/>
                    <a:gd name="T19" fmla="*/ 2147483647 h 8"/>
                    <a:gd name="T20" fmla="*/ 2147483647 w 7"/>
                    <a:gd name="T21" fmla="*/ 2147483647 h 8"/>
                    <a:gd name="T22" fmla="*/ 2147483647 w 7"/>
                    <a:gd name="T23" fmla="*/ 2147483647 h 8"/>
                    <a:gd name="T24" fmla="*/ 2147483647 w 7"/>
                    <a:gd name="T25" fmla="*/ 2147483647 h 8"/>
                    <a:gd name="T26" fmla="*/ 2147483647 w 7"/>
                    <a:gd name="T27" fmla="*/ 2147483647 h 8"/>
                    <a:gd name="T28" fmla="*/ 2147483647 w 7"/>
                    <a:gd name="T29" fmla="*/ 2147483647 h 8"/>
                    <a:gd name="T30" fmla="*/ 2147483647 w 7"/>
                    <a:gd name="T31" fmla="*/ 2147483647 h 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"/>
                    <a:gd name="T49" fmla="*/ 0 h 8"/>
                    <a:gd name="T50" fmla="*/ 7 w 7"/>
                    <a:gd name="T51" fmla="*/ 8 h 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" h="8">
                      <a:moveTo>
                        <a:pt x="7" y="5"/>
                      </a:moveTo>
                      <a:lnTo>
                        <a:pt x="7" y="5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4" y="8"/>
                      </a:lnTo>
                      <a:lnTo>
                        <a:pt x="7" y="7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9" name="Freeform 144">
                  <a:extLst>
                    <a:ext uri="{FF2B5EF4-FFF2-40B4-BE49-F238E27FC236}">
                      <a16:creationId xmlns:a16="http://schemas.microsoft.com/office/drawing/2014/main" id="{78654D1D-4C97-BC4C-B45D-68CF7018C5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88500" y="4375665"/>
                  <a:ext cx="10359" cy="10359"/>
                </a:xfrm>
                <a:custGeom>
                  <a:avLst/>
                  <a:gdLst>
                    <a:gd name="T0" fmla="*/ 2147483647 w 7"/>
                    <a:gd name="T1" fmla="*/ 2147483647 h 7"/>
                    <a:gd name="T2" fmla="*/ 2147483647 w 7"/>
                    <a:gd name="T3" fmla="*/ 2147483647 h 7"/>
                    <a:gd name="T4" fmla="*/ 2147483647 w 7"/>
                    <a:gd name="T5" fmla="*/ 2147483647 h 7"/>
                    <a:gd name="T6" fmla="*/ 2147483647 w 7"/>
                    <a:gd name="T7" fmla="*/ 2147483647 h 7"/>
                    <a:gd name="T8" fmla="*/ 0 w 7"/>
                    <a:gd name="T9" fmla="*/ 2147483647 h 7"/>
                    <a:gd name="T10" fmla="*/ 0 w 7"/>
                    <a:gd name="T11" fmla="*/ 2147483647 h 7"/>
                    <a:gd name="T12" fmla="*/ 2147483647 w 7"/>
                    <a:gd name="T13" fmla="*/ 0 h 7"/>
                    <a:gd name="T14" fmla="*/ 2147483647 w 7"/>
                    <a:gd name="T15" fmla="*/ 0 h 7"/>
                    <a:gd name="T16" fmla="*/ 2147483647 w 7"/>
                    <a:gd name="T17" fmla="*/ 0 h 7"/>
                    <a:gd name="T18" fmla="*/ 2147483647 w 7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7"/>
                    <a:gd name="T31" fmla="*/ 0 h 7"/>
                    <a:gd name="T32" fmla="*/ 7 w 7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7" h="7">
                      <a:moveTo>
                        <a:pt x="7" y="4"/>
                      </a:moveTo>
                      <a:lnTo>
                        <a:pt x="7" y="6"/>
                      </a:lnTo>
                      <a:lnTo>
                        <a:pt x="5" y="7"/>
                      </a:ln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0" name="Freeform 145">
                  <a:extLst>
                    <a:ext uri="{FF2B5EF4-FFF2-40B4-BE49-F238E27FC236}">
                      <a16:creationId xmlns:a16="http://schemas.microsoft.com/office/drawing/2014/main" id="{4D76C48F-AF92-A246-82F2-B16770D637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24018" y="4387506"/>
                  <a:ext cx="8879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0 w 6"/>
                    <a:gd name="T7" fmla="*/ 2147483647 h 5"/>
                    <a:gd name="T8" fmla="*/ 0 w 6"/>
                    <a:gd name="T9" fmla="*/ 2147483647 h 5"/>
                    <a:gd name="T10" fmla="*/ 2147483647 w 6"/>
                    <a:gd name="T11" fmla="*/ 0 h 5"/>
                    <a:gd name="T12" fmla="*/ 2147483647 w 6"/>
                    <a:gd name="T13" fmla="*/ 0 h 5"/>
                    <a:gd name="T14" fmla="*/ 2147483647 w 6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"/>
                    <a:gd name="T25" fmla="*/ 0 h 5"/>
                    <a:gd name="T26" fmla="*/ 6 w 6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" h="5">
                      <a:moveTo>
                        <a:pt x="6" y="5"/>
                      </a:move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1" name="Freeform 146">
                  <a:extLst>
                    <a:ext uri="{FF2B5EF4-FFF2-40B4-BE49-F238E27FC236}">
                      <a16:creationId xmlns:a16="http://schemas.microsoft.com/office/drawing/2014/main" id="{1D4452C8-C00C-9544-8B97-F45D5E311C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87023" y="4374185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0 w 6"/>
                    <a:gd name="T15" fmla="*/ 2147483647 h 7"/>
                    <a:gd name="T16" fmla="*/ 0 w 6"/>
                    <a:gd name="T17" fmla="*/ 2147483647 h 7"/>
                    <a:gd name="T18" fmla="*/ 2147483647 w 6"/>
                    <a:gd name="T19" fmla="*/ 0 h 7"/>
                    <a:gd name="T20" fmla="*/ 2147483647 w 6"/>
                    <a:gd name="T21" fmla="*/ 0 h 7"/>
                    <a:gd name="T22" fmla="*/ 2147483647 w 6"/>
                    <a:gd name="T23" fmla="*/ 0 h 7"/>
                    <a:gd name="T24" fmla="*/ 2147483647 w 6"/>
                    <a:gd name="T25" fmla="*/ 0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2" name="Freeform 147">
                  <a:extLst>
                    <a:ext uri="{FF2B5EF4-FFF2-40B4-BE49-F238E27FC236}">
                      <a16:creationId xmlns:a16="http://schemas.microsoft.com/office/drawing/2014/main" id="{CA326626-468B-C143-AB85-B5D36C426A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22538" y="4386021"/>
                  <a:ext cx="8879" cy="7400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2147483647 h 5"/>
                    <a:gd name="T4" fmla="*/ 2147483647 w 7"/>
                    <a:gd name="T5" fmla="*/ 2147483647 h 5"/>
                    <a:gd name="T6" fmla="*/ 2147483647 w 7"/>
                    <a:gd name="T7" fmla="*/ 2147483647 h 5"/>
                    <a:gd name="T8" fmla="*/ 0 w 7"/>
                    <a:gd name="T9" fmla="*/ 2147483647 h 5"/>
                    <a:gd name="T10" fmla="*/ 0 w 7"/>
                    <a:gd name="T11" fmla="*/ 2147483647 h 5"/>
                    <a:gd name="T12" fmla="*/ 0 w 7"/>
                    <a:gd name="T13" fmla="*/ 2147483647 h 5"/>
                    <a:gd name="T14" fmla="*/ 2147483647 w 7"/>
                    <a:gd name="T15" fmla="*/ 0 h 5"/>
                    <a:gd name="T16" fmla="*/ 2147483647 w 7"/>
                    <a:gd name="T17" fmla="*/ 0 h 5"/>
                    <a:gd name="T18" fmla="*/ 2147483647 w 7"/>
                    <a:gd name="T19" fmla="*/ 2147483647 h 5"/>
                    <a:gd name="T20" fmla="*/ 2147483647 w 7"/>
                    <a:gd name="T21" fmla="*/ 2147483647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5"/>
                    <a:gd name="T35" fmla="*/ 7 w 7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5">
                      <a:moveTo>
                        <a:pt x="7" y="5"/>
                      </a:moveTo>
                      <a:lnTo>
                        <a:pt x="7" y="5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3" name="Freeform 148">
                  <a:extLst>
                    <a:ext uri="{FF2B5EF4-FFF2-40B4-BE49-F238E27FC236}">
                      <a16:creationId xmlns:a16="http://schemas.microsoft.com/office/drawing/2014/main" id="{91088DD5-DCE8-0441-8A49-057D733209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37336" y="4357908"/>
                  <a:ext cx="7400" cy="7399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0 w 6"/>
                    <a:gd name="T9" fmla="*/ 2147483647 h 5"/>
                    <a:gd name="T10" fmla="*/ 2147483647 w 6"/>
                    <a:gd name="T11" fmla="*/ 0 h 5"/>
                    <a:gd name="T12" fmla="*/ 2147483647 w 6"/>
                    <a:gd name="T13" fmla="*/ 0 h 5"/>
                    <a:gd name="T14" fmla="*/ 2147483647 w 6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"/>
                    <a:gd name="T25" fmla="*/ 0 h 5"/>
                    <a:gd name="T26" fmla="*/ 6 w 6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" h="5">
                      <a:moveTo>
                        <a:pt x="6" y="4"/>
                      </a:move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4" name="Freeform 149">
                  <a:extLst>
                    <a:ext uri="{FF2B5EF4-FFF2-40B4-BE49-F238E27FC236}">
                      <a16:creationId xmlns:a16="http://schemas.microsoft.com/office/drawing/2014/main" id="{F5650368-CA5C-E549-B098-994FF0F5AA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5812" y="4386025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0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5" y="5"/>
                      </a:move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5" name="Freeform 150">
                  <a:extLst>
                    <a:ext uri="{FF2B5EF4-FFF2-40B4-BE49-F238E27FC236}">
                      <a16:creationId xmlns:a16="http://schemas.microsoft.com/office/drawing/2014/main" id="{DB0CC0A2-8A89-5647-B49B-EF9387764C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34377" y="4356424"/>
                  <a:ext cx="8879" cy="7400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2147483647 h 5"/>
                    <a:gd name="T4" fmla="*/ 2147483647 w 7"/>
                    <a:gd name="T5" fmla="*/ 2147483647 h 5"/>
                    <a:gd name="T6" fmla="*/ 2147483647 w 7"/>
                    <a:gd name="T7" fmla="*/ 2147483647 h 5"/>
                    <a:gd name="T8" fmla="*/ 2147483647 w 7"/>
                    <a:gd name="T9" fmla="*/ 2147483647 h 5"/>
                    <a:gd name="T10" fmla="*/ 2147483647 w 7"/>
                    <a:gd name="T11" fmla="*/ 2147483647 h 5"/>
                    <a:gd name="T12" fmla="*/ 2147483647 w 7"/>
                    <a:gd name="T13" fmla="*/ 2147483647 h 5"/>
                    <a:gd name="T14" fmla="*/ 0 w 7"/>
                    <a:gd name="T15" fmla="*/ 2147483647 h 5"/>
                    <a:gd name="T16" fmla="*/ 0 w 7"/>
                    <a:gd name="T17" fmla="*/ 2147483647 h 5"/>
                    <a:gd name="T18" fmla="*/ 2147483647 w 7"/>
                    <a:gd name="T19" fmla="*/ 0 h 5"/>
                    <a:gd name="T20" fmla="*/ 2147483647 w 7"/>
                    <a:gd name="T21" fmla="*/ 0 h 5"/>
                    <a:gd name="T22" fmla="*/ 2147483647 w 7"/>
                    <a:gd name="T23" fmla="*/ 2147483647 h 5"/>
                    <a:gd name="T24" fmla="*/ 2147483647 w 7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"/>
                    <a:gd name="T40" fmla="*/ 0 h 5"/>
                    <a:gd name="T41" fmla="*/ 7 w 7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" h="5">
                      <a:moveTo>
                        <a:pt x="7" y="3"/>
                      </a:moveTo>
                      <a:lnTo>
                        <a:pt x="7" y="3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2" y="5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6" name="Freeform 151">
                  <a:extLst>
                    <a:ext uri="{FF2B5EF4-FFF2-40B4-BE49-F238E27FC236}">
                      <a16:creationId xmlns:a16="http://schemas.microsoft.com/office/drawing/2014/main" id="{DC2D8384-B0F6-624A-8A00-0726A8833C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5814" y="4384546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0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0 h 6"/>
                    <a:gd name="T18" fmla="*/ 2147483647 w 5"/>
                    <a:gd name="T19" fmla="*/ 0 h 6"/>
                    <a:gd name="T20" fmla="*/ 2147483647 w 5"/>
                    <a:gd name="T21" fmla="*/ 0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7" name="Freeform 152">
                  <a:extLst>
                    <a:ext uri="{FF2B5EF4-FFF2-40B4-BE49-F238E27FC236}">
                      <a16:creationId xmlns:a16="http://schemas.microsoft.com/office/drawing/2014/main" id="{7005CC5D-2CE5-7E4E-B3E6-6AEAEE0631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6532" y="4357908"/>
                  <a:ext cx="5919" cy="7399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2147483647 w 4"/>
                    <a:gd name="T7" fmla="*/ 2147483647 h 5"/>
                    <a:gd name="T8" fmla="*/ 0 w 4"/>
                    <a:gd name="T9" fmla="*/ 2147483647 h 5"/>
                    <a:gd name="T10" fmla="*/ 0 w 4"/>
                    <a:gd name="T11" fmla="*/ 2147483647 h 5"/>
                    <a:gd name="T12" fmla="*/ 0 w 4"/>
                    <a:gd name="T13" fmla="*/ 0 h 5"/>
                    <a:gd name="T14" fmla="*/ 2147483647 w 4"/>
                    <a:gd name="T15" fmla="*/ 0 h 5"/>
                    <a:gd name="T16" fmla="*/ 2147483647 w 4"/>
                    <a:gd name="T17" fmla="*/ 0 h 5"/>
                    <a:gd name="T18" fmla="*/ 2147483647 w 4"/>
                    <a:gd name="T19" fmla="*/ 2147483647 h 5"/>
                    <a:gd name="T20" fmla="*/ 2147483647 w 4"/>
                    <a:gd name="T21" fmla="*/ 2147483647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"/>
                    <a:gd name="T34" fmla="*/ 0 h 5"/>
                    <a:gd name="T35" fmla="*/ 4 w 4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" h="5">
                      <a:moveTo>
                        <a:pt x="4" y="2"/>
                      </a:moveTo>
                      <a:lnTo>
                        <a:pt x="4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8" name="Freeform 153">
                  <a:extLst>
                    <a:ext uri="{FF2B5EF4-FFF2-40B4-BE49-F238E27FC236}">
                      <a16:creationId xmlns:a16="http://schemas.microsoft.com/office/drawing/2014/main" id="{34043FA8-69C8-8F41-B973-A9DC7FDDB4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9088" y="4443739"/>
                  <a:ext cx="7400" cy="13319"/>
                </a:xfrm>
                <a:custGeom>
                  <a:avLst/>
                  <a:gdLst>
                    <a:gd name="T0" fmla="*/ 2147483647 w 5"/>
                    <a:gd name="T1" fmla="*/ 2147483647 h 9"/>
                    <a:gd name="T2" fmla="*/ 2147483647 w 5"/>
                    <a:gd name="T3" fmla="*/ 2147483647 h 9"/>
                    <a:gd name="T4" fmla="*/ 2147483647 w 5"/>
                    <a:gd name="T5" fmla="*/ 2147483647 h 9"/>
                    <a:gd name="T6" fmla="*/ 0 w 5"/>
                    <a:gd name="T7" fmla="*/ 2147483647 h 9"/>
                    <a:gd name="T8" fmla="*/ 0 w 5"/>
                    <a:gd name="T9" fmla="*/ 2147483647 h 9"/>
                    <a:gd name="T10" fmla="*/ 0 w 5"/>
                    <a:gd name="T11" fmla="*/ 0 h 9"/>
                    <a:gd name="T12" fmla="*/ 2147483647 w 5"/>
                    <a:gd name="T13" fmla="*/ 0 h 9"/>
                    <a:gd name="T14" fmla="*/ 2147483647 w 5"/>
                    <a:gd name="T15" fmla="*/ 2147483647 h 9"/>
                    <a:gd name="T16" fmla="*/ 2147483647 w 5"/>
                    <a:gd name="T17" fmla="*/ 2147483647 h 9"/>
                    <a:gd name="T18" fmla="*/ 2147483647 w 5"/>
                    <a:gd name="T19" fmla="*/ 2147483647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9"/>
                    <a:gd name="T32" fmla="*/ 5 w 5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9">
                      <a:moveTo>
                        <a:pt x="5" y="9"/>
                      </a:move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5" y="3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9" name="Freeform 154">
                  <a:extLst>
                    <a:ext uri="{FF2B5EF4-FFF2-40B4-BE49-F238E27FC236}">
                      <a16:creationId xmlns:a16="http://schemas.microsoft.com/office/drawing/2014/main" id="{E5F88E29-D8FC-154E-8FD4-C0315AF4A0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5051" y="4356424"/>
                  <a:ext cx="5919" cy="740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2147483647 w 4"/>
                    <a:gd name="T7" fmla="*/ 2147483647 h 5"/>
                    <a:gd name="T8" fmla="*/ 2147483647 w 4"/>
                    <a:gd name="T9" fmla="*/ 2147483647 h 5"/>
                    <a:gd name="T10" fmla="*/ 0 w 4"/>
                    <a:gd name="T11" fmla="*/ 2147483647 h 5"/>
                    <a:gd name="T12" fmla="*/ 0 w 4"/>
                    <a:gd name="T13" fmla="*/ 2147483647 h 5"/>
                    <a:gd name="T14" fmla="*/ 0 w 4"/>
                    <a:gd name="T15" fmla="*/ 2147483647 h 5"/>
                    <a:gd name="T16" fmla="*/ 0 w 4"/>
                    <a:gd name="T17" fmla="*/ 0 h 5"/>
                    <a:gd name="T18" fmla="*/ 0 w 4"/>
                    <a:gd name="T19" fmla="*/ 0 h 5"/>
                    <a:gd name="T20" fmla="*/ 2147483647 w 4"/>
                    <a:gd name="T21" fmla="*/ 0 h 5"/>
                    <a:gd name="T22" fmla="*/ 2147483647 w 4"/>
                    <a:gd name="T23" fmla="*/ 0 h 5"/>
                    <a:gd name="T24" fmla="*/ 2147483647 w 4"/>
                    <a:gd name="T25" fmla="*/ 2147483647 h 5"/>
                    <a:gd name="T26" fmla="*/ 2147483647 w 4"/>
                    <a:gd name="T27" fmla="*/ 2147483647 h 5"/>
                    <a:gd name="T28" fmla="*/ 2147483647 w 4"/>
                    <a:gd name="T29" fmla="*/ 2147483647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"/>
                    <a:gd name="T46" fmla="*/ 0 h 5"/>
                    <a:gd name="T47" fmla="*/ 4 w 4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" h="5"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0" name="Freeform 155">
                  <a:extLst>
                    <a:ext uri="{FF2B5EF4-FFF2-40B4-BE49-F238E27FC236}">
                      <a16:creationId xmlns:a16="http://schemas.microsoft.com/office/drawing/2014/main" id="{479EF198-7BB6-B34F-AB9B-885F4E4267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9090" y="4442256"/>
                  <a:ext cx="591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2147483647 w 5"/>
                    <a:gd name="T9" fmla="*/ 2147483647 h 8"/>
                    <a:gd name="T10" fmla="*/ 0 w 5"/>
                    <a:gd name="T11" fmla="*/ 2147483647 h 8"/>
                    <a:gd name="T12" fmla="*/ 0 w 5"/>
                    <a:gd name="T13" fmla="*/ 2147483647 h 8"/>
                    <a:gd name="T14" fmla="*/ 0 w 5"/>
                    <a:gd name="T15" fmla="*/ 0 h 8"/>
                    <a:gd name="T16" fmla="*/ 2147483647 w 5"/>
                    <a:gd name="T17" fmla="*/ 0 h 8"/>
                    <a:gd name="T18" fmla="*/ 2147483647 w 5"/>
                    <a:gd name="T19" fmla="*/ 0 h 8"/>
                    <a:gd name="T20" fmla="*/ 2147483647 w 5"/>
                    <a:gd name="T21" fmla="*/ 2147483647 h 8"/>
                    <a:gd name="T22" fmla="*/ 2147483647 w 5"/>
                    <a:gd name="T23" fmla="*/ 2147483647 h 8"/>
                    <a:gd name="T24" fmla="*/ 2147483647 w 5"/>
                    <a:gd name="T25" fmla="*/ 2147483647 h 8"/>
                    <a:gd name="T26" fmla="*/ 2147483647 w 5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8"/>
                    <a:gd name="T44" fmla="*/ 5 w 5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8">
                      <a:moveTo>
                        <a:pt x="5" y="8"/>
                      </a:moveTo>
                      <a:lnTo>
                        <a:pt x="5" y="8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1" name="Freeform 156">
                  <a:extLst>
                    <a:ext uri="{FF2B5EF4-FFF2-40B4-BE49-F238E27FC236}">
                      <a16:creationId xmlns:a16="http://schemas.microsoft.com/office/drawing/2014/main" id="{44327D1F-1751-2840-A6C3-1EC3F8AB0B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66087" y="4386025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0 w 6"/>
                    <a:gd name="T7" fmla="*/ 2147483647 h 6"/>
                    <a:gd name="T8" fmla="*/ 0 w 6"/>
                    <a:gd name="T9" fmla="*/ 2147483647 h 6"/>
                    <a:gd name="T10" fmla="*/ 2147483647 w 6"/>
                    <a:gd name="T11" fmla="*/ 0 h 6"/>
                    <a:gd name="T12" fmla="*/ 2147483647 w 6"/>
                    <a:gd name="T13" fmla="*/ 0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5" y="5"/>
                      </a:moveTo>
                      <a:lnTo>
                        <a:pt x="2" y="6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2" name="Freeform 157">
                  <a:extLst>
                    <a:ext uri="{FF2B5EF4-FFF2-40B4-BE49-F238E27FC236}">
                      <a16:creationId xmlns:a16="http://schemas.microsoft.com/office/drawing/2014/main" id="{5AA5BD6E-9F6B-914C-824A-20D1FAA945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40081" y="4406743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0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0 h 6"/>
                    <a:gd name="T12" fmla="*/ 2147483647 w 6"/>
                    <a:gd name="T13" fmla="*/ 0 h 6"/>
                    <a:gd name="T14" fmla="*/ 2147483647 w 6"/>
                    <a:gd name="T15" fmla="*/ 0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6" y="5"/>
                      </a:moveTo>
                      <a:lnTo>
                        <a:pt x="6" y="6"/>
                      </a:lnTo>
                      <a:lnTo>
                        <a:pt x="3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3" name="Freeform 158">
                  <a:extLst>
                    <a:ext uri="{FF2B5EF4-FFF2-40B4-BE49-F238E27FC236}">
                      <a16:creationId xmlns:a16="http://schemas.microsoft.com/office/drawing/2014/main" id="{74FFB459-BF88-CD40-A9A6-133655E1C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64607" y="4384546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2147483647 w 6"/>
                    <a:gd name="T15" fmla="*/ 0 h 6"/>
                    <a:gd name="T16" fmla="*/ 2147483647 w 6"/>
                    <a:gd name="T17" fmla="*/ 0 h 6"/>
                    <a:gd name="T18" fmla="*/ 2147483647 w 6"/>
                    <a:gd name="T19" fmla="*/ 0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2147483647 w 6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6"/>
                    <a:gd name="T47" fmla="*/ 6 w 6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6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2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4" name="Freeform 159">
                  <a:extLst>
                    <a:ext uri="{FF2B5EF4-FFF2-40B4-BE49-F238E27FC236}">
                      <a16:creationId xmlns:a16="http://schemas.microsoft.com/office/drawing/2014/main" id="{8D1BF00E-E890-1541-AFFC-0334D22071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8598" y="4405265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0 w 5"/>
                    <a:gd name="T13" fmla="*/ 2147483647 h 6"/>
                    <a:gd name="T14" fmla="*/ 0 w 5"/>
                    <a:gd name="T15" fmla="*/ 2147483647 h 6"/>
                    <a:gd name="T16" fmla="*/ 0 w 5"/>
                    <a:gd name="T17" fmla="*/ 0 h 6"/>
                    <a:gd name="T18" fmla="*/ 2147483647 w 5"/>
                    <a:gd name="T19" fmla="*/ 0 h 6"/>
                    <a:gd name="T20" fmla="*/ 2147483647 w 5"/>
                    <a:gd name="T21" fmla="*/ 0 h 6"/>
                    <a:gd name="T22" fmla="*/ 2147483647 w 5"/>
                    <a:gd name="T23" fmla="*/ 0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5" name="Freeform 160">
                  <a:extLst>
                    <a:ext uri="{FF2B5EF4-FFF2-40B4-BE49-F238E27FC236}">
                      <a16:creationId xmlns:a16="http://schemas.microsoft.com/office/drawing/2014/main" id="{3FD4E555-B752-1D4F-8831-11C63CA0D9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55729" y="4773748"/>
                  <a:ext cx="28118" cy="42918"/>
                </a:xfrm>
                <a:custGeom>
                  <a:avLst/>
                  <a:gdLst>
                    <a:gd name="T0" fmla="*/ 2147483647 w 21"/>
                    <a:gd name="T1" fmla="*/ 2147483647 h 29"/>
                    <a:gd name="T2" fmla="*/ 2147483647 w 21"/>
                    <a:gd name="T3" fmla="*/ 2147483647 h 29"/>
                    <a:gd name="T4" fmla="*/ 2147483647 w 21"/>
                    <a:gd name="T5" fmla="*/ 2147483647 h 29"/>
                    <a:gd name="T6" fmla="*/ 2147483647 w 21"/>
                    <a:gd name="T7" fmla="*/ 2147483647 h 29"/>
                    <a:gd name="T8" fmla="*/ 2147483647 w 21"/>
                    <a:gd name="T9" fmla="*/ 2147483647 h 29"/>
                    <a:gd name="T10" fmla="*/ 2147483647 w 21"/>
                    <a:gd name="T11" fmla="*/ 2147483647 h 29"/>
                    <a:gd name="T12" fmla="*/ 2147483647 w 21"/>
                    <a:gd name="T13" fmla="*/ 2147483647 h 29"/>
                    <a:gd name="T14" fmla="*/ 2147483647 w 21"/>
                    <a:gd name="T15" fmla="*/ 2147483647 h 29"/>
                    <a:gd name="T16" fmla="*/ 2147483647 w 21"/>
                    <a:gd name="T17" fmla="*/ 2147483647 h 29"/>
                    <a:gd name="T18" fmla="*/ 2147483647 w 21"/>
                    <a:gd name="T19" fmla="*/ 2147483647 h 29"/>
                    <a:gd name="T20" fmla="*/ 2147483647 w 21"/>
                    <a:gd name="T21" fmla="*/ 2147483647 h 29"/>
                    <a:gd name="T22" fmla="*/ 2147483647 w 21"/>
                    <a:gd name="T23" fmla="*/ 2147483647 h 29"/>
                    <a:gd name="T24" fmla="*/ 2147483647 w 21"/>
                    <a:gd name="T25" fmla="*/ 2147483647 h 29"/>
                    <a:gd name="T26" fmla="*/ 2147483647 w 21"/>
                    <a:gd name="T27" fmla="*/ 2147483647 h 29"/>
                    <a:gd name="T28" fmla="*/ 0 w 21"/>
                    <a:gd name="T29" fmla="*/ 2147483647 h 29"/>
                    <a:gd name="T30" fmla="*/ 0 w 21"/>
                    <a:gd name="T31" fmla="*/ 2147483647 h 29"/>
                    <a:gd name="T32" fmla="*/ 2147483647 w 21"/>
                    <a:gd name="T33" fmla="*/ 2147483647 h 29"/>
                    <a:gd name="T34" fmla="*/ 2147483647 w 21"/>
                    <a:gd name="T35" fmla="*/ 0 h 29"/>
                    <a:gd name="T36" fmla="*/ 2147483647 w 21"/>
                    <a:gd name="T37" fmla="*/ 0 h 29"/>
                    <a:gd name="T38" fmla="*/ 2147483647 w 21"/>
                    <a:gd name="T39" fmla="*/ 2147483647 h 29"/>
                    <a:gd name="T40" fmla="*/ 2147483647 w 21"/>
                    <a:gd name="T41" fmla="*/ 2147483647 h 29"/>
                    <a:gd name="T42" fmla="*/ 2147483647 w 21"/>
                    <a:gd name="T43" fmla="*/ 2147483647 h 2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1"/>
                    <a:gd name="T67" fmla="*/ 0 h 29"/>
                    <a:gd name="T68" fmla="*/ 21 w 21"/>
                    <a:gd name="T69" fmla="*/ 29 h 2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1" h="29">
                      <a:moveTo>
                        <a:pt x="15" y="16"/>
                      </a:moveTo>
                      <a:lnTo>
                        <a:pt x="17" y="18"/>
                      </a:lnTo>
                      <a:lnTo>
                        <a:pt x="19" y="20"/>
                      </a:lnTo>
                      <a:lnTo>
                        <a:pt x="21" y="23"/>
                      </a:lnTo>
                      <a:lnTo>
                        <a:pt x="21" y="25"/>
                      </a:lnTo>
                      <a:lnTo>
                        <a:pt x="19" y="27"/>
                      </a:lnTo>
                      <a:lnTo>
                        <a:pt x="17" y="29"/>
                      </a:lnTo>
                      <a:lnTo>
                        <a:pt x="14" y="29"/>
                      </a:lnTo>
                      <a:lnTo>
                        <a:pt x="10" y="27"/>
                      </a:lnTo>
                      <a:lnTo>
                        <a:pt x="8" y="25"/>
                      </a:lnTo>
                      <a:lnTo>
                        <a:pt x="7" y="21"/>
                      </a:lnTo>
                      <a:lnTo>
                        <a:pt x="4" y="18"/>
                      </a:lnTo>
                      <a:lnTo>
                        <a:pt x="1" y="16"/>
                      </a:lnTo>
                      <a:lnTo>
                        <a:pt x="1" y="11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10" y="8"/>
                      </a:lnTo>
                      <a:lnTo>
                        <a:pt x="15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6" name="Freeform 161">
                  <a:extLst>
                    <a:ext uri="{FF2B5EF4-FFF2-40B4-BE49-F238E27FC236}">
                      <a16:creationId xmlns:a16="http://schemas.microsoft.com/office/drawing/2014/main" id="{643EFD20-5C21-3149-9DC0-6B0241C21C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00122" y="4807787"/>
                  <a:ext cx="31078" cy="29598"/>
                </a:xfrm>
                <a:custGeom>
                  <a:avLst/>
                  <a:gdLst>
                    <a:gd name="T0" fmla="*/ 2147483647 w 23"/>
                    <a:gd name="T1" fmla="*/ 2147483647 h 20"/>
                    <a:gd name="T2" fmla="*/ 2147483647 w 23"/>
                    <a:gd name="T3" fmla="*/ 2147483647 h 20"/>
                    <a:gd name="T4" fmla="*/ 2147483647 w 23"/>
                    <a:gd name="T5" fmla="*/ 2147483647 h 20"/>
                    <a:gd name="T6" fmla="*/ 2147483647 w 23"/>
                    <a:gd name="T7" fmla="*/ 2147483647 h 20"/>
                    <a:gd name="T8" fmla="*/ 2147483647 w 23"/>
                    <a:gd name="T9" fmla="*/ 2147483647 h 20"/>
                    <a:gd name="T10" fmla="*/ 2147483647 w 23"/>
                    <a:gd name="T11" fmla="*/ 2147483647 h 20"/>
                    <a:gd name="T12" fmla="*/ 2147483647 w 23"/>
                    <a:gd name="T13" fmla="*/ 2147483647 h 20"/>
                    <a:gd name="T14" fmla="*/ 2147483647 w 23"/>
                    <a:gd name="T15" fmla="*/ 2147483647 h 20"/>
                    <a:gd name="T16" fmla="*/ 0 w 23"/>
                    <a:gd name="T17" fmla="*/ 2147483647 h 20"/>
                    <a:gd name="T18" fmla="*/ 0 w 23"/>
                    <a:gd name="T19" fmla="*/ 2147483647 h 20"/>
                    <a:gd name="T20" fmla="*/ 2147483647 w 23"/>
                    <a:gd name="T21" fmla="*/ 2147483647 h 20"/>
                    <a:gd name="T22" fmla="*/ 2147483647 w 23"/>
                    <a:gd name="T23" fmla="*/ 0 h 20"/>
                    <a:gd name="T24" fmla="*/ 2147483647 w 23"/>
                    <a:gd name="T25" fmla="*/ 0 h 20"/>
                    <a:gd name="T26" fmla="*/ 2147483647 w 23"/>
                    <a:gd name="T27" fmla="*/ 2147483647 h 20"/>
                    <a:gd name="T28" fmla="*/ 2147483647 w 23"/>
                    <a:gd name="T29" fmla="*/ 2147483647 h 20"/>
                    <a:gd name="T30" fmla="*/ 2147483647 w 23"/>
                    <a:gd name="T31" fmla="*/ 2147483647 h 20"/>
                    <a:gd name="T32" fmla="*/ 2147483647 w 23"/>
                    <a:gd name="T33" fmla="*/ 2147483647 h 20"/>
                    <a:gd name="T34" fmla="*/ 2147483647 w 23"/>
                    <a:gd name="T35" fmla="*/ 2147483647 h 2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3"/>
                    <a:gd name="T55" fmla="*/ 0 h 20"/>
                    <a:gd name="T56" fmla="*/ 23 w 23"/>
                    <a:gd name="T57" fmla="*/ 20 h 2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3" h="20">
                      <a:moveTo>
                        <a:pt x="19" y="11"/>
                      </a:moveTo>
                      <a:lnTo>
                        <a:pt x="23" y="16"/>
                      </a:lnTo>
                      <a:lnTo>
                        <a:pt x="23" y="19"/>
                      </a:lnTo>
                      <a:lnTo>
                        <a:pt x="22" y="20"/>
                      </a:lnTo>
                      <a:lnTo>
                        <a:pt x="15" y="20"/>
                      </a:lnTo>
                      <a:lnTo>
                        <a:pt x="10" y="19"/>
                      </a:lnTo>
                      <a:lnTo>
                        <a:pt x="5" y="16"/>
                      </a:lnTo>
                      <a:lnTo>
                        <a:pt x="1" y="11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3"/>
                      </a:lnTo>
                      <a:lnTo>
                        <a:pt x="11" y="8"/>
                      </a:lnTo>
                      <a:lnTo>
                        <a:pt x="15" y="11"/>
                      </a:lnTo>
                      <a:lnTo>
                        <a:pt x="16" y="11"/>
                      </a:lnTo>
                      <a:lnTo>
                        <a:pt x="19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7" name="Freeform 162">
                  <a:extLst>
                    <a:ext uri="{FF2B5EF4-FFF2-40B4-BE49-F238E27FC236}">
                      <a16:creationId xmlns:a16="http://schemas.microsoft.com/office/drawing/2014/main" id="{815BE5FE-AFF9-5E40-8C31-885C2F88B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54246" y="4772269"/>
                  <a:ext cx="28117" cy="41436"/>
                </a:xfrm>
                <a:custGeom>
                  <a:avLst/>
                  <a:gdLst>
                    <a:gd name="T0" fmla="*/ 2147483647 w 20"/>
                    <a:gd name="T1" fmla="*/ 2147483647 h 28"/>
                    <a:gd name="T2" fmla="*/ 2147483647 w 20"/>
                    <a:gd name="T3" fmla="*/ 2147483647 h 28"/>
                    <a:gd name="T4" fmla="*/ 2147483647 w 20"/>
                    <a:gd name="T5" fmla="*/ 2147483647 h 28"/>
                    <a:gd name="T6" fmla="*/ 2147483647 w 20"/>
                    <a:gd name="T7" fmla="*/ 2147483647 h 28"/>
                    <a:gd name="T8" fmla="*/ 2147483647 w 20"/>
                    <a:gd name="T9" fmla="*/ 2147483647 h 28"/>
                    <a:gd name="T10" fmla="*/ 2147483647 w 20"/>
                    <a:gd name="T11" fmla="*/ 2147483647 h 28"/>
                    <a:gd name="T12" fmla="*/ 2147483647 w 20"/>
                    <a:gd name="T13" fmla="*/ 2147483647 h 28"/>
                    <a:gd name="T14" fmla="*/ 2147483647 w 20"/>
                    <a:gd name="T15" fmla="*/ 2147483647 h 28"/>
                    <a:gd name="T16" fmla="*/ 2147483647 w 20"/>
                    <a:gd name="T17" fmla="*/ 2147483647 h 28"/>
                    <a:gd name="T18" fmla="*/ 2147483647 w 20"/>
                    <a:gd name="T19" fmla="*/ 2147483647 h 28"/>
                    <a:gd name="T20" fmla="*/ 2147483647 w 20"/>
                    <a:gd name="T21" fmla="*/ 2147483647 h 28"/>
                    <a:gd name="T22" fmla="*/ 2147483647 w 20"/>
                    <a:gd name="T23" fmla="*/ 2147483647 h 28"/>
                    <a:gd name="T24" fmla="*/ 2147483647 w 20"/>
                    <a:gd name="T25" fmla="*/ 2147483647 h 28"/>
                    <a:gd name="T26" fmla="*/ 2147483647 w 20"/>
                    <a:gd name="T27" fmla="*/ 2147483647 h 28"/>
                    <a:gd name="T28" fmla="*/ 2147483647 w 20"/>
                    <a:gd name="T29" fmla="*/ 2147483647 h 28"/>
                    <a:gd name="T30" fmla="*/ 2147483647 w 20"/>
                    <a:gd name="T31" fmla="*/ 2147483647 h 28"/>
                    <a:gd name="T32" fmla="*/ 2147483647 w 20"/>
                    <a:gd name="T33" fmla="*/ 2147483647 h 28"/>
                    <a:gd name="T34" fmla="*/ 2147483647 w 20"/>
                    <a:gd name="T35" fmla="*/ 2147483647 h 28"/>
                    <a:gd name="T36" fmla="*/ 0 w 20"/>
                    <a:gd name="T37" fmla="*/ 2147483647 h 28"/>
                    <a:gd name="T38" fmla="*/ 0 w 20"/>
                    <a:gd name="T39" fmla="*/ 2147483647 h 28"/>
                    <a:gd name="T40" fmla="*/ 0 w 20"/>
                    <a:gd name="T41" fmla="*/ 2147483647 h 28"/>
                    <a:gd name="T42" fmla="*/ 2147483647 w 20"/>
                    <a:gd name="T43" fmla="*/ 2147483647 h 28"/>
                    <a:gd name="T44" fmla="*/ 2147483647 w 20"/>
                    <a:gd name="T45" fmla="*/ 0 h 28"/>
                    <a:gd name="T46" fmla="*/ 2147483647 w 20"/>
                    <a:gd name="T47" fmla="*/ 0 h 28"/>
                    <a:gd name="T48" fmla="*/ 2147483647 w 20"/>
                    <a:gd name="T49" fmla="*/ 2147483647 h 28"/>
                    <a:gd name="T50" fmla="*/ 2147483647 w 20"/>
                    <a:gd name="T51" fmla="*/ 2147483647 h 28"/>
                    <a:gd name="T52" fmla="*/ 2147483647 w 20"/>
                    <a:gd name="T53" fmla="*/ 2147483647 h 28"/>
                    <a:gd name="T54" fmla="*/ 2147483647 w 20"/>
                    <a:gd name="T55" fmla="*/ 2147483647 h 28"/>
                    <a:gd name="T56" fmla="*/ 2147483647 w 20"/>
                    <a:gd name="T57" fmla="*/ 2147483647 h 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"/>
                    <a:gd name="T88" fmla="*/ 0 h 28"/>
                    <a:gd name="T89" fmla="*/ 20 w 20"/>
                    <a:gd name="T90" fmla="*/ 28 h 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" h="28">
                      <a:moveTo>
                        <a:pt x="15" y="15"/>
                      </a:moveTo>
                      <a:lnTo>
                        <a:pt x="15" y="15"/>
                      </a:lnTo>
                      <a:lnTo>
                        <a:pt x="16" y="18"/>
                      </a:lnTo>
                      <a:lnTo>
                        <a:pt x="19" y="20"/>
                      </a:lnTo>
                      <a:lnTo>
                        <a:pt x="20" y="22"/>
                      </a:lnTo>
                      <a:lnTo>
                        <a:pt x="20" y="25"/>
                      </a:lnTo>
                      <a:lnTo>
                        <a:pt x="19" y="27"/>
                      </a:lnTo>
                      <a:lnTo>
                        <a:pt x="16" y="28"/>
                      </a:lnTo>
                      <a:lnTo>
                        <a:pt x="14" y="28"/>
                      </a:lnTo>
                      <a:lnTo>
                        <a:pt x="10" y="27"/>
                      </a:lnTo>
                      <a:lnTo>
                        <a:pt x="8" y="25"/>
                      </a:lnTo>
                      <a:lnTo>
                        <a:pt x="6" y="21"/>
                      </a:lnTo>
                      <a:lnTo>
                        <a:pt x="4" y="18"/>
                      </a:lnTo>
                      <a:lnTo>
                        <a:pt x="1" y="15"/>
                      </a:lnTo>
                      <a:lnTo>
                        <a:pt x="1" y="11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10" y="8"/>
                      </a:lnTo>
                      <a:lnTo>
                        <a:pt x="15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8" name="Freeform 163">
                  <a:extLst>
                    <a:ext uri="{FF2B5EF4-FFF2-40B4-BE49-F238E27FC236}">
                      <a16:creationId xmlns:a16="http://schemas.microsoft.com/office/drawing/2014/main" id="{9900575A-9D55-D740-8C3F-C34CF1A7AC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98646" y="4804829"/>
                  <a:ext cx="31077" cy="31077"/>
                </a:xfrm>
                <a:custGeom>
                  <a:avLst/>
                  <a:gdLst>
                    <a:gd name="T0" fmla="*/ 2147483647 w 23"/>
                    <a:gd name="T1" fmla="*/ 2147483647 h 21"/>
                    <a:gd name="T2" fmla="*/ 2147483647 w 23"/>
                    <a:gd name="T3" fmla="*/ 2147483647 h 21"/>
                    <a:gd name="T4" fmla="*/ 2147483647 w 23"/>
                    <a:gd name="T5" fmla="*/ 2147483647 h 21"/>
                    <a:gd name="T6" fmla="*/ 2147483647 w 23"/>
                    <a:gd name="T7" fmla="*/ 2147483647 h 21"/>
                    <a:gd name="T8" fmla="*/ 2147483647 w 23"/>
                    <a:gd name="T9" fmla="*/ 2147483647 h 21"/>
                    <a:gd name="T10" fmla="*/ 2147483647 w 23"/>
                    <a:gd name="T11" fmla="*/ 2147483647 h 21"/>
                    <a:gd name="T12" fmla="*/ 2147483647 w 23"/>
                    <a:gd name="T13" fmla="*/ 2147483647 h 21"/>
                    <a:gd name="T14" fmla="*/ 2147483647 w 23"/>
                    <a:gd name="T15" fmla="*/ 2147483647 h 21"/>
                    <a:gd name="T16" fmla="*/ 2147483647 w 23"/>
                    <a:gd name="T17" fmla="*/ 2147483647 h 21"/>
                    <a:gd name="T18" fmla="*/ 2147483647 w 23"/>
                    <a:gd name="T19" fmla="*/ 2147483647 h 21"/>
                    <a:gd name="T20" fmla="*/ 2147483647 w 23"/>
                    <a:gd name="T21" fmla="*/ 2147483647 h 21"/>
                    <a:gd name="T22" fmla="*/ 0 w 23"/>
                    <a:gd name="T23" fmla="*/ 2147483647 h 21"/>
                    <a:gd name="T24" fmla="*/ 0 w 23"/>
                    <a:gd name="T25" fmla="*/ 2147483647 h 21"/>
                    <a:gd name="T26" fmla="*/ 2147483647 w 23"/>
                    <a:gd name="T27" fmla="*/ 2147483647 h 21"/>
                    <a:gd name="T28" fmla="*/ 2147483647 w 23"/>
                    <a:gd name="T29" fmla="*/ 2147483647 h 21"/>
                    <a:gd name="T30" fmla="*/ 2147483647 w 23"/>
                    <a:gd name="T31" fmla="*/ 0 h 21"/>
                    <a:gd name="T32" fmla="*/ 2147483647 w 23"/>
                    <a:gd name="T33" fmla="*/ 0 h 21"/>
                    <a:gd name="T34" fmla="*/ 2147483647 w 23"/>
                    <a:gd name="T35" fmla="*/ 2147483647 h 21"/>
                    <a:gd name="T36" fmla="*/ 2147483647 w 23"/>
                    <a:gd name="T37" fmla="*/ 2147483647 h 21"/>
                    <a:gd name="T38" fmla="*/ 2147483647 w 23"/>
                    <a:gd name="T39" fmla="*/ 2147483647 h 21"/>
                    <a:gd name="T40" fmla="*/ 2147483647 w 23"/>
                    <a:gd name="T41" fmla="*/ 2147483647 h 21"/>
                    <a:gd name="T42" fmla="*/ 2147483647 w 23"/>
                    <a:gd name="T43" fmla="*/ 2147483647 h 21"/>
                    <a:gd name="T44" fmla="*/ 2147483647 w 23"/>
                    <a:gd name="T45" fmla="*/ 2147483647 h 21"/>
                    <a:gd name="T46" fmla="*/ 2147483647 w 23"/>
                    <a:gd name="T47" fmla="*/ 2147483647 h 2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3"/>
                    <a:gd name="T73" fmla="*/ 0 h 21"/>
                    <a:gd name="T74" fmla="*/ 23 w 23"/>
                    <a:gd name="T75" fmla="*/ 21 h 2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3" h="21">
                      <a:moveTo>
                        <a:pt x="19" y="12"/>
                      </a:moveTo>
                      <a:lnTo>
                        <a:pt x="19" y="12"/>
                      </a:lnTo>
                      <a:lnTo>
                        <a:pt x="23" y="17"/>
                      </a:lnTo>
                      <a:lnTo>
                        <a:pt x="23" y="19"/>
                      </a:lnTo>
                      <a:lnTo>
                        <a:pt x="21" y="21"/>
                      </a:lnTo>
                      <a:lnTo>
                        <a:pt x="15" y="21"/>
                      </a:lnTo>
                      <a:lnTo>
                        <a:pt x="10" y="19"/>
                      </a:lnTo>
                      <a:lnTo>
                        <a:pt x="5" y="17"/>
                      </a:lnTo>
                      <a:lnTo>
                        <a:pt x="1" y="12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9" y="4"/>
                      </a:lnTo>
                      <a:lnTo>
                        <a:pt x="11" y="9"/>
                      </a:lnTo>
                      <a:lnTo>
                        <a:pt x="15" y="12"/>
                      </a:lnTo>
                      <a:lnTo>
                        <a:pt x="16" y="12"/>
                      </a:lnTo>
                      <a:lnTo>
                        <a:pt x="19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9" name="Freeform 164">
                  <a:extLst>
                    <a:ext uri="{FF2B5EF4-FFF2-40B4-BE49-F238E27FC236}">
                      <a16:creationId xmlns:a16="http://schemas.microsoft.com/office/drawing/2014/main" id="{A9E3138B-9557-1C4B-88C7-B5A7727CE4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91246" y="4831463"/>
                  <a:ext cx="10360" cy="16278"/>
                </a:xfrm>
                <a:custGeom>
                  <a:avLst/>
                  <a:gdLst>
                    <a:gd name="T0" fmla="*/ 2147483647 w 8"/>
                    <a:gd name="T1" fmla="*/ 2147483647 h 11"/>
                    <a:gd name="T2" fmla="*/ 2147483647 w 8"/>
                    <a:gd name="T3" fmla="*/ 2147483647 h 11"/>
                    <a:gd name="T4" fmla="*/ 2147483647 w 8"/>
                    <a:gd name="T5" fmla="*/ 2147483647 h 11"/>
                    <a:gd name="T6" fmla="*/ 2147483647 w 8"/>
                    <a:gd name="T7" fmla="*/ 2147483647 h 11"/>
                    <a:gd name="T8" fmla="*/ 0 w 8"/>
                    <a:gd name="T9" fmla="*/ 2147483647 h 11"/>
                    <a:gd name="T10" fmla="*/ 0 w 8"/>
                    <a:gd name="T11" fmla="*/ 2147483647 h 11"/>
                    <a:gd name="T12" fmla="*/ 0 w 8"/>
                    <a:gd name="T13" fmla="*/ 2147483647 h 11"/>
                    <a:gd name="T14" fmla="*/ 2147483647 w 8"/>
                    <a:gd name="T15" fmla="*/ 2147483647 h 11"/>
                    <a:gd name="T16" fmla="*/ 2147483647 w 8"/>
                    <a:gd name="T17" fmla="*/ 0 h 11"/>
                    <a:gd name="T18" fmla="*/ 2147483647 w 8"/>
                    <a:gd name="T19" fmla="*/ 0 h 11"/>
                    <a:gd name="T20" fmla="*/ 2147483647 w 8"/>
                    <a:gd name="T21" fmla="*/ 2147483647 h 11"/>
                    <a:gd name="T22" fmla="*/ 2147483647 w 8"/>
                    <a:gd name="T23" fmla="*/ 2147483647 h 11"/>
                    <a:gd name="T24" fmla="*/ 2147483647 w 8"/>
                    <a:gd name="T25" fmla="*/ 2147483647 h 11"/>
                    <a:gd name="T26" fmla="*/ 2147483647 w 8"/>
                    <a:gd name="T27" fmla="*/ 2147483647 h 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"/>
                    <a:gd name="T43" fmla="*/ 0 h 11"/>
                    <a:gd name="T44" fmla="*/ 8 w 8"/>
                    <a:gd name="T45" fmla="*/ 11 h 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" h="11">
                      <a:moveTo>
                        <a:pt x="7" y="10"/>
                      </a:moveTo>
                      <a:lnTo>
                        <a:pt x="5" y="11"/>
                      </a:lnTo>
                      <a:lnTo>
                        <a:pt x="3" y="11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7" y="3"/>
                      </a:lnTo>
                      <a:lnTo>
                        <a:pt x="8" y="6"/>
                      </a:lnTo>
                      <a:lnTo>
                        <a:pt x="8" y="7"/>
                      </a:lnTo>
                      <a:lnTo>
                        <a:pt x="7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0" name="Freeform 165">
                  <a:extLst>
                    <a:ext uri="{FF2B5EF4-FFF2-40B4-BE49-F238E27FC236}">
                      <a16:creationId xmlns:a16="http://schemas.microsoft.com/office/drawing/2014/main" id="{761B83BF-58BD-5442-AEE8-BA0373003D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10482" y="4847742"/>
                  <a:ext cx="22198" cy="22199"/>
                </a:xfrm>
                <a:custGeom>
                  <a:avLst/>
                  <a:gdLst>
                    <a:gd name="T0" fmla="*/ 2147483647 w 16"/>
                    <a:gd name="T1" fmla="*/ 2147483647 h 15"/>
                    <a:gd name="T2" fmla="*/ 2147483647 w 16"/>
                    <a:gd name="T3" fmla="*/ 2147483647 h 15"/>
                    <a:gd name="T4" fmla="*/ 2147483647 w 16"/>
                    <a:gd name="T5" fmla="*/ 2147483647 h 15"/>
                    <a:gd name="T6" fmla="*/ 2147483647 w 16"/>
                    <a:gd name="T7" fmla="*/ 2147483647 h 15"/>
                    <a:gd name="T8" fmla="*/ 2147483647 w 16"/>
                    <a:gd name="T9" fmla="*/ 2147483647 h 15"/>
                    <a:gd name="T10" fmla="*/ 2147483647 w 16"/>
                    <a:gd name="T11" fmla="*/ 2147483647 h 15"/>
                    <a:gd name="T12" fmla="*/ 2147483647 w 16"/>
                    <a:gd name="T13" fmla="*/ 2147483647 h 15"/>
                    <a:gd name="T14" fmla="*/ 0 w 16"/>
                    <a:gd name="T15" fmla="*/ 2147483647 h 15"/>
                    <a:gd name="T16" fmla="*/ 0 w 16"/>
                    <a:gd name="T17" fmla="*/ 2147483647 h 15"/>
                    <a:gd name="T18" fmla="*/ 0 w 16"/>
                    <a:gd name="T19" fmla="*/ 2147483647 h 15"/>
                    <a:gd name="T20" fmla="*/ 2147483647 w 16"/>
                    <a:gd name="T21" fmla="*/ 2147483647 h 15"/>
                    <a:gd name="T22" fmla="*/ 2147483647 w 16"/>
                    <a:gd name="T23" fmla="*/ 0 h 15"/>
                    <a:gd name="T24" fmla="*/ 2147483647 w 16"/>
                    <a:gd name="T25" fmla="*/ 0 h 15"/>
                    <a:gd name="T26" fmla="*/ 2147483647 w 16"/>
                    <a:gd name="T27" fmla="*/ 0 h 15"/>
                    <a:gd name="T28" fmla="*/ 2147483647 w 16"/>
                    <a:gd name="T29" fmla="*/ 2147483647 h 15"/>
                    <a:gd name="T30" fmla="*/ 2147483647 w 16"/>
                    <a:gd name="T31" fmla="*/ 2147483647 h 15"/>
                    <a:gd name="T32" fmla="*/ 2147483647 w 16"/>
                    <a:gd name="T33" fmla="*/ 2147483647 h 1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6"/>
                    <a:gd name="T52" fmla="*/ 0 h 15"/>
                    <a:gd name="T53" fmla="*/ 16 w 16"/>
                    <a:gd name="T54" fmla="*/ 15 h 1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6" h="15">
                      <a:moveTo>
                        <a:pt x="15" y="8"/>
                      </a:moveTo>
                      <a:lnTo>
                        <a:pt x="16" y="13"/>
                      </a:lnTo>
                      <a:lnTo>
                        <a:pt x="16" y="14"/>
                      </a:lnTo>
                      <a:lnTo>
                        <a:pt x="15" y="15"/>
                      </a:lnTo>
                      <a:lnTo>
                        <a:pt x="10" y="15"/>
                      </a:lnTo>
                      <a:lnTo>
                        <a:pt x="5" y="14"/>
                      </a:lnTo>
                      <a:lnTo>
                        <a:pt x="1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1" y="0"/>
                      </a:lnTo>
                      <a:lnTo>
                        <a:pt x="14" y="2"/>
                      </a:lnTo>
                      <a:lnTo>
                        <a:pt x="15" y="5"/>
                      </a:lnTo>
                      <a:lnTo>
                        <a:pt x="15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1" name="Freeform 166">
                  <a:extLst>
                    <a:ext uri="{FF2B5EF4-FFF2-40B4-BE49-F238E27FC236}">
                      <a16:creationId xmlns:a16="http://schemas.microsoft.com/office/drawing/2014/main" id="{1FF20D2D-B2A4-5948-BEC5-08AD6B0E78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88284" y="4829986"/>
                  <a:ext cx="11839" cy="16279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2147483647 h 11"/>
                    <a:gd name="T8" fmla="*/ 2147483647 w 9"/>
                    <a:gd name="T9" fmla="*/ 2147483647 h 11"/>
                    <a:gd name="T10" fmla="*/ 0 w 9"/>
                    <a:gd name="T11" fmla="*/ 2147483647 h 11"/>
                    <a:gd name="T12" fmla="*/ 0 w 9"/>
                    <a:gd name="T13" fmla="*/ 2147483647 h 11"/>
                    <a:gd name="T14" fmla="*/ 0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0 h 11"/>
                    <a:gd name="T22" fmla="*/ 2147483647 w 9"/>
                    <a:gd name="T23" fmla="*/ 0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2147483647 w 9"/>
                    <a:gd name="T29" fmla="*/ 2147483647 h 11"/>
                    <a:gd name="T30" fmla="*/ 2147483647 w 9"/>
                    <a:gd name="T31" fmla="*/ 2147483647 h 11"/>
                    <a:gd name="T32" fmla="*/ 2147483647 w 9"/>
                    <a:gd name="T33" fmla="*/ 2147483647 h 1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9"/>
                    <a:gd name="T52" fmla="*/ 0 h 11"/>
                    <a:gd name="T53" fmla="*/ 9 w 9"/>
                    <a:gd name="T54" fmla="*/ 11 h 1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9" h="11"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5" y="11"/>
                      </a:lnTo>
                      <a:lnTo>
                        <a:pt x="4" y="11"/>
                      </a:lnTo>
                      <a:lnTo>
                        <a:pt x="2" y="10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2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2" name="Freeform 167">
                  <a:extLst>
                    <a:ext uri="{FF2B5EF4-FFF2-40B4-BE49-F238E27FC236}">
                      <a16:creationId xmlns:a16="http://schemas.microsoft.com/office/drawing/2014/main" id="{3798E914-C3E2-DA46-B3B6-16529801B2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07521" y="4846262"/>
                  <a:ext cx="23678" cy="22198"/>
                </a:xfrm>
                <a:custGeom>
                  <a:avLst/>
                  <a:gdLst>
                    <a:gd name="T0" fmla="*/ 2147483647 w 17"/>
                    <a:gd name="T1" fmla="*/ 2147483647 h 15"/>
                    <a:gd name="T2" fmla="*/ 2147483647 w 17"/>
                    <a:gd name="T3" fmla="*/ 2147483647 h 15"/>
                    <a:gd name="T4" fmla="*/ 2147483647 w 17"/>
                    <a:gd name="T5" fmla="*/ 2147483647 h 15"/>
                    <a:gd name="T6" fmla="*/ 2147483647 w 17"/>
                    <a:gd name="T7" fmla="*/ 2147483647 h 15"/>
                    <a:gd name="T8" fmla="*/ 2147483647 w 17"/>
                    <a:gd name="T9" fmla="*/ 2147483647 h 15"/>
                    <a:gd name="T10" fmla="*/ 2147483647 w 17"/>
                    <a:gd name="T11" fmla="*/ 2147483647 h 15"/>
                    <a:gd name="T12" fmla="*/ 2147483647 w 17"/>
                    <a:gd name="T13" fmla="*/ 2147483647 h 15"/>
                    <a:gd name="T14" fmla="*/ 2147483647 w 17"/>
                    <a:gd name="T15" fmla="*/ 2147483647 h 15"/>
                    <a:gd name="T16" fmla="*/ 2147483647 w 17"/>
                    <a:gd name="T17" fmla="*/ 2147483647 h 15"/>
                    <a:gd name="T18" fmla="*/ 0 w 17"/>
                    <a:gd name="T19" fmla="*/ 2147483647 h 15"/>
                    <a:gd name="T20" fmla="*/ 0 w 17"/>
                    <a:gd name="T21" fmla="*/ 2147483647 h 15"/>
                    <a:gd name="T22" fmla="*/ 0 w 17"/>
                    <a:gd name="T23" fmla="*/ 2147483647 h 15"/>
                    <a:gd name="T24" fmla="*/ 0 w 17"/>
                    <a:gd name="T25" fmla="*/ 2147483647 h 15"/>
                    <a:gd name="T26" fmla="*/ 2147483647 w 17"/>
                    <a:gd name="T27" fmla="*/ 2147483647 h 15"/>
                    <a:gd name="T28" fmla="*/ 2147483647 w 17"/>
                    <a:gd name="T29" fmla="*/ 0 h 15"/>
                    <a:gd name="T30" fmla="*/ 2147483647 w 17"/>
                    <a:gd name="T31" fmla="*/ 0 h 15"/>
                    <a:gd name="T32" fmla="*/ 2147483647 w 17"/>
                    <a:gd name="T33" fmla="*/ 0 h 15"/>
                    <a:gd name="T34" fmla="*/ 2147483647 w 17"/>
                    <a:gd name="T35" fmla="*/ 0 h 15"/>
                    <a:gd name="T36" fmla="*/ 2147483647 w 17"/>
                    <a:gd name="T37" fmla="*/ 2147483647 h 15"/>
                    <a:gd name="T38" fmla="*/ 2147483647 w 17"/>
                    <a:gd name="T39" fmla="*/ 2147483647 h 15"/>
                    <a:gd name="T40" fmla="*/ 2147483647 w 17"/>
                    <a:gd name="T41" fmla="*/ 2147483647 h 15"/>
                    <a:gd name="T42" fmla="*/ 2147483647 w 17"/>
                    <a:gd name="T43" fmla="*/ 2147483647 h 1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7"/>
                    <a:gd name="T67" fmla="*/ 0 h 15"/>
                    <a:gd name="T68" fmla="*/ 17 w 17"/>
                    <a:gd name="T69" fmla="*/ 15 h 1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7" h="15">
                      <a:moveTo>
                        <a:pt x="16" y="8"/>
                      </a:moveTo>
                      <a:lnTo>
                        <a:pt x="16" y="8"/>
                      </a:lnTo>
                      <a:lnTo>
                        <a:pt x="17" y="13"/>
                      </a:lnTo>
                      <a:lnTo>
                        <a:pt x="17" y="14"/>
                      </a:lnTo>
                      <a:lnTo>
                        <a:pt x="16" y="15"/>
                      </a:lnTo>
                      <a:lnTo>
                        <a:pt x="10" y="15"/>
                      </a:lnTo>
                      <a:lnTo>
                        <a:pt x="5" y="14"/>
                      </a:lnTo>
                      <a:lnTo>
                        <a:pt x="2" y="12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3" y="3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6" y="4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3" name="Freeform 168">
                  <a:extLst>
                    <a:ext uri="{FF2B5EF4-FFF2-40B4-BE49-F238E27FC236}">
                      <a16:creationId xmlns:a16="http://schemas.microsoft.com/office/drawing/2014/main" id="{3C3510EA-C57F-0241-90A3-6DC7B7BB0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43039" y="4837384"/>
                  <a:ext cx="26637" cy="31077"/>
                </a:xfrm>
                <a:custGeom>
                  <a:avLst/>
                  <a:gdLst>
                    <a:gd name="T0" fmla="*/ 2147483647 w 19"/>
                    <a:gd name="T1" fmla="*/ 2147483647 h 21"/>
                    <a:gd name="T2" fmla="*/ 2147483647 w 19"/>
                    <a:gd name="T3" fmla="*/ 2147483647 h 21"/>
                    <a:gd name="T4" fmla="*/ 2147483647 w 19"/>
                    <a:gd name="T5" fmla="*/ 2147483647 h 21"/>
                    <a:gd name="T6" fmla="*/ 2147483647 w 19"/>
                    <a:gd name="T7" fmla="*/ 2147483647 h 21"/>
                    <a:gd name="T8" fmla="*/ 2147483647 w 19"/>
                    <a:gd name="T9" fmla="*/ 2147483647 h 21"/>
                    <a:gd name="T10" fmla="*/ 2147483647 w 19"/>
                    <a:gd name="T11" fmla="*/ 2147483647 h 21"/>
                    <a:gd name="T12" fmla="*/ 2147483647 w 19"/>
                    <a:gd name="T13" fmla="*/ 2147483647 h 21"/>
                    <a:gd name="T14" fmla="*/ 0 w 19"/>
                    <a:gd name="T15" fmla="*/ 2147483647 h 21"/>
                    <a:gd name="T16" fmla="*/ 0 w 19"/>
                    <a:gd name="T17" fmla="*/ 0 h 21"/>
                    <a:gd name="T18" fmla="*/ 2147483647 w 19"/>
                    <a:gd name="T19" fmla="*/ 2147483647 h 21"/>
                    <a:gd name="T20" fmla="*/ 2147483647 w 19"/>
                    <a:gd name="T21" fmla="*/ 2147483647 h 21"/>
                    <a:gd name="T22" fmla="*/ 2147483647 w 19"/>
                    <a:gd name="T23" fmla="*/ 2147483647 h 21"/>
                    <a:gd name="T24" fmla="*/ 2147483647 w 19"/>
                    <a:gd name="T25" fmla="*/ 2147483647 h 2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9"/>
                    <a:gd name="T40" fmla="*/ 0 h 21"/>
                    <a:gd name="T41" fmla="*/ 19 w 19"/>
                    <a:gd name="T42" fmla="*/ 21 h 2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9" h="21">
                      <a:moveTo>
                        <a:pt x="19" y="19"/>
                      </a:moveTo>
                      <a:lnTo>
                        <a:pt x="19" y="21"/>
                      </a:lnTo>
                      <a:lnTo>
                        <a:pt x="17" y="21"/>
                      </a:lnTo>
                      <a:lnTo>
                        <a:pt x="16" y="21"/>
                      </a:lnTo>
                      <a:lnTo>
                        <a:pt x="10" y="16"/>
                      </a:lnTo>
                      <a:lnTo>
                        <a:pt x="5" y="12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6" y="3"/>
                      </a:lnTo>
                      <a:lnTo>
                        <a:pt x="11" y="8"/>
                      </a:lnTo>
                      <a:lnTo>
                        <a:pt x="16" y="13"/>
                      </a:lnTo>
                      <a:lnTo>
                        <a:pt x="19" y="1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4" name="Freeform 169">
                  <a:extLst>
                    <a:ext uri="{FF2B5EF4-FFF2-40B4-BE49-F238E27FC236}">
                      <a16:creationId xmlns:a16="http://schemas.microsoft.com/office/drawing/2014/main" id="{2ECFBC74-1C9A-344F-BB5E-B6AB2E424E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93354" y="4856624"/>
                  <a:ext cx="28117" cy="39957"/>
                </a:xfrm>
                <a:custGeom>
                  <a:avLst/>
                  <a:gdLst>
                    <a:gd name="T0" fmla="*/ 2147483647 w 20"/>
                    <a:gd name="T1" fmla="*/ 2147483647 h 27"/>
                    <a:gd name="T2" fmla="*/ 2147483647 w 20"/>
                    <a:gd name="T3" fmla="*/ 2147483647 h 27"/>
                    <a:gd name="T4" fmla="*/ 2147483647 w 20"/>
                    <a:gd name="T5" fmla="*/ 2147483647 h 27"/>
                    <a:gd name="T6" fmla="*/ 2147483647 w 20"/>
                    <a:gd name="T7" fmla="*/ 2147483647 h 27"/>
                    <a:gd name="T8" fmla="*/ 2147483647 w 20"/>
                    <a:gd name="T9" fmla="*/ 2147483647 h 27"/>
                    <a:gd name="T10" fmla="*/ 2147483647 w 20"/>
                    <a:gd name="T11" fmla="*/ 2147483647 h 27"/>
                    <a:gd name="T12" fmla="*/ 2147483647 w 20"/>
                    <a:gd name="T13" fmla="*/ 2147483647 h 27"/>
                    <a:gd name="T14" fmla="*/ 2147483647 w 20"/>
                    <a:gd name="T15" fmla="*/ 2147483647 h 27"/>
                    <a:gd name="T16" fmla="*/ 2147483647 w 20"/>
                    <a:gd name="T17" fmla="*/ 2147483647 h 27"/>
                    <a:gd name="T18" fmla="*/ 2147483647 w 20"/>
                    <a:gd name="T19" fmla="*/ 2147483647 h 27"/>
                    <a:gd name="T20" fmla="*/ 2147483647 w 20"/>
                    <a:gd name="T21" fmla="*/ 2147483647 h 27"/>
                    <a:gd name="T22" fmla="*/ 2147483647 w 20"/>
                    <a:gd name="T23" fmla="*/ 2147483647 h 27"/>
                    <a:gd name="T24" fmla="*/ 0 w 20"/>
                    <a:gd name="T25" fmla="*/ 2147483647 h 27"/>
                    <a:gd name="T26" fmla="*/ 2147483647 w 20"/>
                    <a:gd name="T27" fmla="*/ 2147483647 h 27"/>
                    <a:gd name="T28" fmla="*/ 2147483647 w 20"/>
                    <a:gd name="T29" fmla="*/ 0 h 27"/>
                    <a:gd name="T30" fmla="*/ 2147483647 w 20"/>
                    <a:gd name="T31" fmla="*/ 0 h 27"/>
                    <a:gd name="T32" fmla="*/ 2147483647 w 20"/>
                    <a:gd name="T33" fmla="*/ 0 h 27"/>
                    <a:gd name="T34" fmla="*/ 2147483647 w 20"/>
                    <a:gd name="T35" fmla="*/ 2147483647 h 27"/>
                    <a:gd name="T36" fmla="*/ 2147483647 w 20"/>
                    <a:gd name="T37" fmla="*/ 2147483647 h 27"/>
                    <a:gd name="T38" fmla="*/ 2147483647 w 20"/>
                    <a:gd name="T39" fmla="*/ 2147483647 h 27"/>
                    <a:gd name="T40" fmla="*/ 2147483647 w 20"/>
                    <a:gd name="T41" fmla="*/ 2147483647 h 27"/>
                    <a:gd name="T42" fmla="*/ 2147483647 w 20"/>
                    <a:gd name="T43" fmla="*/ 2147483647 h 27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"/>
                    <a:gd name="T67" fmla="*/ 0 h 27"/>
                    <a:gd name="T68" fmla="*/ 20 w 20"/>
                    <a:gd name="T69" fmla="*/ 27 h 27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" h="27">
                      <a:moveTo>
                        <a:pt x="17" y="18"/>
                      </a:moveTo>
                      <a:lnTo>
                        <a:pt x="20" y="21"/>
                      </a:lnTo>
                      <a:lnTo>
                        <a:pt x="20" y="22"/>
                      </a:lnTo>
                      <a:lnTo>
                        <a:pt x="20" y="24"/>
                      </a:lnTo>
                      <a:lnTo>
                        <a:pt x="17" y="26"/>
                      </a:lnTo>
                      <a:lnTo>
                        <a:pt x="15" y="27"/>
                      </a:lnTo>
                      <a:lnTo>
                        <a:pt x="12" y="27"/>
                      </a:lnTo>
                      <a:lnTo>
                        <a:pt x="10" y="25"/>
                      </a:lnTo>
                      <a:lnTo>
                        <a:pt x="5" y="20"/>
                      </a:lnTo>
                      <a:lnTo>
                        <a:pt x="3" y="15"/>
                      </a:lnTo>
                      <a:lnTo>
                        <a:pt x="1" y="9"/>
                      </a:lnTo>
                      <a:lnTo>
                        <a:pt x="1" y="6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1" y="7"/>
                      </a:lnTo>
                      <a:lnTo>
                        <a:pt x="13" y="14"/>
                      </a:lnTo>
                      <a:lnTo>
                        <a:pt x="15" y="15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5" name="Freeform 170">
                  <a:extLst>
                    <a:ext uri="{FF2B5EF4-FFF2-40B4-BE49-F238E27FC236}">
                      <a16:creationId xmlns:a16="http://schemas.microsoft.com/office/drawing/2014/main" id="{E5940856-05CE-AF49-9D4B-F3E6B1CFD1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40080" y="4835902"/>
                  <a:ext cx="26637" cy="31078"/>
                </a:xfrm>
                <a:custGeom>
                  <a:avLst/>
                  <a:gdLst>
                    <a:gd name="T0" fmla="*/ 2147483647 w 19"/>
                    <a:gd name="T1" fmla="*/ 2147483647 h 21"/>
                    <a:gd name="T2" fmla="*/ 2147483647 w 19"/>
                    <a:gd name="T3" fmla="*/ 2147483647 h 21"/>
                    <a:gd name="T4" fmla="*/ 2147483647 w 19"/>
                    <a:gd name="T5" fmla="*/ 2147483647 h 21"/>
                    <a:gd name="T6" fmla="*/ 2147483647 w 19"/>
                    <a:gd name="T7" fmla="*/ 2147483647 h 21"/>
                    <a:gd name="T8" fmla="*/ 2147483647 w 19"/>
                    <a:gd name="T9" fmla="*/ 2147483647 h 21"/>
                    <a:gd name="T10" fmla="*/ 2147483647 w 19"/>
                    <a:gd name="T11" fmla="*/ 2147483647 h 21"/>
                    <a:gd name="T12" fmla="*/ 2147483647 w 19"/>
                    <a:gd name="T13" fmla="*/ 2147483647 h 21"/>
                    <a:gd name="T14" fmla="*/ 2147483647 w 19"/>
                    <a:gd name="T15" fmla="*/ 2147483647 h 21"/>
                    <a:gd name="T16" fmla="*/ 2147483647 w 19"/>
                    <a:gd name="T17" fmla="*/ 2147483647 h 21"/>
                    <a:gd name="T18" fmla="*/ 0 w 19"/>
                    <a:gd name="T19" fmla="*/ 2147483647 h 21"/>
                    <a:gd name="T20" fmla="*/ 0 w 19"/>
                    <a:gd name="T21" fmla="*/ 0 h 21"/>
                    <a:gd name="T22" fmla="*/ 0 w 19"/>
                    <a:gd name="T23" fmla="*/ 0 h 21"/>
                    <a:gd name="T24" fmla="*/ 2147483647 w 19"/>
                    <a:gd name="T25" fmla="*/ 2147483647 h 21"/>
                    <a:gd name="T26" fmla="*/ 2147483647 w 19"/>
                    <a:gd name="T27" fmla="*/ 2147483647 h 21"/>
                    <a:gd name="T28" fmla="*/ 2147483647 w 19"/>
                    <a:gd name="T29" fmla="*/ 2147483647 h 21"/>
                    <a:gd name="T30" fmla="*/ 2147483647 w 19"/>
                    <a:gd name="T31" fmla="*/ 2147483647 h 21"/>
                    <a:gd name="T32" fmla="*/ 2147483647 w 19"/>
                    <a:gd name="T33" fmla="*/ 2147483647 h 2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9"/>
                    <a:gd name="T52" fmla="*/ 0 h 21"/>
                    <a:gd name="T53" fmla="*/ 19 w 19"/>
                    <a:gd name="T54" fmla="*/ 21 h 2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9" h="21">
                      <a:moveTo>
                        <a:pt x="19" y="19"/>
                      </a:moveTo>
                      <a:lnTo>
                        <a:pt x="19" y="19"/>
                      </a:lnTo>
                      <a:lnTo>
                        <a:pt x="19" y="21"/>
                      </a:lnTo>
                      <a:lnTo>
                        <a:pt x="18" y="21"/>
                      </a:lnTo>
                      <a:lnTo>
                        <a:pt x="17" y="21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2" y="6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7" y="3"/>
                      </a:lnTo>
                      <a:lnTo>
                        <a:pt x="12" y="8"/>
                      </a:lnTo>
                      <a:lnTo>
                        <a:pt x="17" y="13"/>
                      </a:lnTo>
                      <a:lnTo>
                        <a:pt x="19" y="1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6" name="Freeform 171">
                  <a:extLst>
                    <a:ext uri="{FF2B5EF4-FFF2-40B4-BE49-F238E27FC236}">
                      <a16:creationId xmlns:a16="http://schemas.microsoft.com/office/drawing/2014/main" id="{423A23BA-B73F-7A4D-A8A2-5A4823D711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90394" y="4855142"/>
                  <a:ext cx="29597" cy="39956"/>
                </a:xfrm>
                <a:custGeom>
                  <a:avLst/>
                  <a:gdLst>
                    <a:gd name="T0" fmla="*/ 2147483647 w 21"/>
                    <a:gd name="T1" fmla="*/ 2147483647 h 27"/>
                    <a:gd name="T2" fmla="*/ 2147483647 w 21"/>
                    <a:gd name="T3" fmla="*/ 2147483647 h 27"/>
                    <a:gd name="T4" fmla="*/ 2147483647 w 21"/>
                    <a:gd name="T5" fmla="*/ 2147483647 h 27"/>
                    <a:gd name="T6" fmla="*/ 2147483647 w 21"/>
                    <a:gd name="T7" fmla="*/ 2147483647 h 27"/>
                    <a:gd name="T8" fmla="*/ 2147483647 w 21"/>
                    <a:gd name="T9" fmla="*/ 2147483647 h 27"/>
                    <a:gd name="T10" fmla="*/ 2147483647 w 21"/>
                    <a:gd name="T11" fmla="*/ 2147483647 h 27"/>
                    <a:gd name="T12" fmla="*/ 2147483647 w 21"/>
                    <a:gd name="T13" fmla="*/ 2147483647 h 27"/>
                    <a:gd name="T14" fmla="*/ 2147483647 w 21"/>
                    <a:gd name="T15" fmla="*/ 2147483647 h 27"/>
                    <a:gd name="T16" fmla="*/ 2147483647 w 21"/>
                    <a:gd name="T17" fmla="*/ 2147483647 h 27"/>
                    <a:gd name="T18" fmla="*/ 2147483647 w 21"/>
                    <a:gd name="T19" fmla="*/ 2147483647 h 27"/>
                    <a:gd name="T20" fmla="*/ 2147483647 w 21"/>
                    <a:gd name="T21" fmla="*/ 2147483647 h 27"/>
                    <a:gd name="T22" fmla="*/ 2147483647 w 21"/>
                    <a:gd name="T23" fmla="*/ 2147483647 h 27"/>
                    <a:gd name="T24" fmla="*/ 2147483647 w 21"/>
                    <a:gd name="T25" fmla="*/ 2147483647 h 27"/>
                    <a:gd name="T26" fmla="*/ 2147483647 w 21"/>
                    <a:gd name="T27" fmla="*/ 2147483647 h 27"/>
                    <a:gd name="T28" fmla="*/ 2147483647 w 21"/>
                    <a:gd name="T29" fmla="*/ 2147483647 h 27"/>
                    <a:gd name="T30" fmla="*/ 0 w 21"/>
                    <a:gd name="T31" fmla="*/ 2147483647 h 27"/>
                    <a:gd name="T32" fmla="*/ 0 w 21"/>
                    <a:gd name="T33" fmla="*/ 2147483647 h 27"/>
                    <a:gd name="T34" fmla="*/ 2147483647 w 21"/>
                    <a:gd name="T35" fmla="*/ 2147483647 h 27"/>
                    <a:gd name="T36" fmla="*/ 2147483647 w 21"/>
                    <a:gd name="T37" fmla="*/ 0 h 27"/>
                    <a:gd name="T38" fmla="*/ 2147483647 w 21"/>
                    <a:gd name="T39" fmla="*/ 0 h 27"/>
                    <a:gd name="T40" fmla="*/ 2147483647 w 21"/>
                    <a:gd name="T41" fmla="*/ 0 h 27"/>
                    <a:gd name="T42" fmla="*/ 2147483647 w 21"/>
                    <a:gd name="T43" fmla="*/ 0 h 27"/>
                    <a:gd name="T44" fmla="*/ 2147483647 w 21"/>
                    <a:gd name="T45" fmla="*/ 2147483647 h 27"/>
                    <a:gd name="T46" fmla="*/ 2147483647 w 21"/>
                    <a:gd name="T47" fmla="*/ 2147483647 h 27"/>
                    <a:gd name="T48" fmla="*/ 2147483647 w 21"/>
                    <a:gd name="T49" fmla="*/ 2147483647 h 27"/>
                    <a:gd name="T50" fmla="*/ 2147483647 w 21"/>
                    <a:gd name="T51" fmla="*/ 2147483647 h 27"/>
                    <a:gd name="T52" fmla="*/ 2147483647 w 21"/>
                    <a:gd name="T53" fmla="*/ 2147483647 h 27"/>
                    <a:gd name="T54" fmla="*/ 2147483647 w 21"/>
                    <a:gd name="T55" fmla="*/ 2147483647 h 27"/>
                    <a:gd name="T56" fmla="*/ 2147483647 w 21"/>
                    <a:gd name="T57" fmla="*/ 2147483647 h 2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1"/>
                    <a:gd name="T88" fmla="*/ 0 h 27"/>
                    <a:gd name="T89" fmla="*/ 21 w 21"/>
                    <a:gd name="T90" fmla="*/ 27 h 2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1" h="27">
                      <a:moveTo>
                        <a:pt x="18" y="17"/>
                      </a:moveTo>
                      <a:lnTo>
                        <a:pt x="18" y="17"/>
                      </a:lnTo>
                      <a:lnTo>
                        <a:pt x="21" y="21"/>
                      </a:lnTo>
                      <a:lnTo>
                        <a:pt x="21" y="22"/>
                      </a:lnTo>
                      <a:lnTo>
                        <a:pt x="21" y="23"/>
                      </a:lnTo>
                      <a:lnTo>
                        <a:pt x="18" y="26"/>
                      </a:lnTo>
                      <a:lnTo>
                        <a:pt x="15" y="27"/>
                      </a:lnTo>
                      <a:lnTo>
                        <a:pt x="13" y="27"/>
                      </a:lnTo>
                      <a:lnTo>
                        <a:pt x="10" y="25"/>
                      </a:lnTo>
                      <a:lnTo>
                        <a:pt x="5" y="20"/>
                      </a:lnTo>
                      <a:lnTo>
                        <a:pt x="4" y="15"/>
                      </a:lnTo>
                      <a:lnTo>
                        <a:pt x="2" y="9"/>
                      </a:lnTo>
                      <a:lnTo>
                        <a:pt x="2" y="6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9" y="3"/>
                      </a:lnTo>
                      <a:lnTo>
                        <a:pt x="12" y="7"/>
                      </a:lnTo>
                      <a:lnTo>
                        <a:pt x="14" y="14"/>
                      </a:lnTo>
                      <a:lnTo>
                        <a:pt x="15" y="15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7" name="Freeform 172">
                  <a:extLst>
                    <a:ext uri="{FF2B5EF4-FFF2-40B4-BE49-F238E27FC236}">
                      <a16:creationId xmlns:a16="http://schemas.microsoft.com/office/drawing/2014/main" id="{0945B498-E0F0-F540-948B-20F7D7D366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65237" y="4883262"/>
                  <a:ext cx="32557" cy="22199"/>
                </a:xfrm>
                <a:custGeom>
                  <a:avLst/>
                  <a:gdLst>
                    <a:gd name="T0" fmla="*/ 2147483647 w 24"/>
                    <a:gd name="T1" fmla="*/ 2147483647 h 15"/>
                    <a:gd name="T2" fmla="*/ 2147483647 w 24"/>
                    <a:gd name="T3" fmla="*/ 2147483647 h 15"/>
                    <a:gd name="T4" fmla="*/ 2147483647 w 24"/>
                    <a:gd name="T5" fmla="*/ 2147483647 h 15"/>
                    <a:gd name="T6" fmla="*/ 2147483647 w 24"/>
                    <a:gd name="T7" fmla="*/ 2147483647 h 15"/>
                    <a:gd name="T8" fmla="*/ 2147483647 w 24"/>
                    <a:gd name="T9" fmla="*/ 2147483647 h 15"/>
                    <a:gd name="T10" fmla="*/ 2147483647 w 24"/>
                    <a:gd name="T11" fmla="*/ 2147483647 h 15"/>
                    <a:gd name="T12" fmla="*/ 2147483647 w 24"/>
                    <a:gd name="T13" fmla="*/ 2147483647 h 15"/>
                    <a:gd name="T14" fmla="*/ 2147483647 w 24"/>
                    <a:gd name="T15" fmla="*/ 2147483647 h 15"/>
                    <a:gd name="T16" fmla="*/ 0 w 24"/>
                    <a:gd name="T17" fmla="*/ 2147483647 h 15"/>
                    <a:gd name="T18" fmla="*/ 0 w 24"/>
                    <a:gd name="T19" fmla="*/ 2147483647 h 15"/>
                    <a:gd name="T20" fmla="*/ 2147483647 w 24"/>
                    <a:gd name="T21" fmla="*/ 0 h 15"/>
                    <a:gd name="T22" fmla="*/ 2147483647 w 24"/>
                    <a:gd name="T23" fmla="*/ 0 h 15"/>
                    <a:gd name="T24" fmla="*/ 2147483647 w 24"/>
                    <a:gd name="T25" fmla="*/ 2147483647 h 15"/>
                    <a:gd name="T26" fmla="*/ 2147483647 w 24"/>
                    <a:gd name="T27" fmla="*/ 2147483647 h 15"/>
                    <a:gd name="T28" fmla="*/ 2147483647 w 24"/>
                    <a:gd name="T29" fmla="*/ 2147483647 h 15"/>
                    <a:gd name="T30" fmla="*/ 2147483647 w 24"/>
                    <a:gd name="T31" fmla="*/ 2147483647 h 15"/>
                    <a:gd name="T32" fmla="*/ 2147483647 w 24"/>
                    <a:gd name="T33" fmla="*/ 2147483647 h 1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4"/>
                    <a:gd name="T52" fmla="*/ 0 h 15"/>
                    <a:gd name="T53" fmla="*/ 24 w 24"/>
                    <a:gd name="T54" fmla="*/ 15 h 1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4" h="15">
                      <a:moveTo>
                        <a:pt x="24" y="11"/>
                      </a:moveTo>
                      <a:lnTo>
                        <a:pt x="24" y="14"/>
                      </a:lnTo>
                      <a:lnTo>
                        <a:pt x="23" y="15"/>
                      </a:lnTo>
                      <a:lnTo>
                        <a:pt x="18" y="13"/>
                      </a:lnTo>
                      <a:lnTo>
                        <a:pt x="14" y="10"/>
                      </a:lnTo>
                      <a:lnTo>
                        <a:pt x="9" y="8"/>
                      </a:lnTo>
                      <a:lnTo>
                        <a:pt x="4" y="8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9" y="0"/>
                      </a:lnTo>
                      <a:lnTo>
                        <a:pt x="15" y="1"/>
                      </a:lnTo>
                      <a:lnTo>
                        <a:pt x="19" y="3"/>
                      </a:lnTo>
                      <a:lnTo>
                        <a:pt x="22" y="4"/>
                      </a:lnTo>
                      <a:lnTo>
                        <a:pt x="23" y="8"/>
                      </a:lnTo>
                      <a:lnTo>
                        <a:pt x="24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8" name="Freeform 173">
                  <a:extLst>
                    <a:ext uri="{FF2B5EF4-FFF2-40B4-BE49-F238E27FC236}">
                      <a16:creationId xmlns:a16="http://schemas.microsoft.com/office/drawing/2014/main" id="{CFAB033A-10A8-8440-BC01-7489AB82D1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06672" y="4906936"/>
                  <a:ext cx="35517" cy="26638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2147483647 h 18"/>
                    <a:gd name="T14" fmla="*/ 2147483647 w 26"/>
                    <a:gd name="T15" fmla="*/ 2147483647 h 18"/>
                    <a:gd name="T16" fmla="*/ 2147483647 w 26"/>
                    <a:gd name="T17" fmla="*/ 2147483647 h 18"/>
                    <a:gd name="T18" fmla="*/ 2147483647 w 26"/>
                    <a:gd name="T19" fmla="*/ 2147483647 h 18"/>
                    <a:gd name="T20" fmla="*/ 0 w 26"/>
                    <a:gd name="T21" fmla="*/ 2147483647 h 18"/>
                    <a:gd name="T22" fmla="*/ 0 w 26"/>
                    <a:gd name="T23" fmla="*/ 2147483647 h 18"/>
                    <a:gd name="T24" fmla="*/ 2147483647 w 26"/>
                    <a:gd name="T25" fmla="*/ 2147483647 h 18"/>
                    <a:gd name="T26" fmla="*/ 2147483647 w 26"/>
                    <a:gd name="T27" fmla="*/ 0 h 18"/>
                    <a:gd name="T28" fmla="*/ 2147483647 w 26"/>
                    <a:gd name="T29" fmla="*/ 0 h 18"/>
                    <a:gd name="T30" fmla="*/ 2147483647 w 26"/>
                    <a:gd name="T31" fmla="*/ 0 h 18"/>
                    <a:gd name="T32" fmla="*/ 2147483647 w 26"/>
                    <a:gd name="T33" fmla="*/ 2147483647 h 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6"/>
                    <a:gd name="T52" fmla="*/ 0 h 18"/>
                    <a:gd name="T53" fmla="*/ 26 w 26"/>
                    <a:gd name="T54" fmla="*/ 18 h 1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6" h="18">
                      <a:moveTo>
                        <a:pt x="20" y="6"/>
                      </a:moveTo>
                      <a:lnTo>
                        <a:pt x="24" y="8"/>
                      </a:lnTo>
                      <a:lnTo>
                        <a:pt x="25" y="13"/>
                      </a:lnTo>
                      <a:lnTo>
                        <a:pt x="26" y="14"/>
                      </a:lnTo>
                      <a:lnTo>
                        <a:pt x="25" y="17"/>
                      </a:lnTo>
                      <a:lnTo>
                        <a:pt x="24" y="18"/>
                      </a:lnTo>
                      <a:lnTo>
                        <a:pt x="21" y="18"/>
                      </a:lnTo>
                      <a:lnTo>
                        <a:pt x="15" y="16"/>
                      </a:lnTo>
                      <a:lnTo>
                        <a:pt x="7" y="12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9" y="0"/>
                      </a:lnTo>
                      <a:lnTo>
                        <a:pt x="2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9" name="Freeform 174">
                  <a:extLst>
                    <a:ext uri="{FF2B5EF4-FFF2-40B4-BE49-F238E27FC236}">
                      <a16:creationId xmlns:a16="http://schemas.microsoft.com/office/drawing/2014/main" id="{4E44CD28-BC6C-5347-8023-3C8B9C1EDD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63757" y="4880298"/>
                  <a:ext cx="32557" cy="23678"/>
                </a:xfrm>
                <a:custGeom>
                  <a:avLst/>
                  <a:gdLst>
                    <a:gd name="T0" fmla="*/ 2147483647 w 24"/>
                    <a:gd name="T1" fmla="*/ 2147483647 h 16"/>
                    <a:gd name="T2" fmla="*/ 2147483647 w 24"/>
                    <a:gd name="T3" fmla="*/ 2147483647 h 16"/>
                    <a:gd name="T4" fmla="*/ 2147483647 w 24"/>
                    <a:gd name="T5" fmla="*/ 2147483647 h 16"/>
                    <a:gd name="T6" fmla="*/ 2147483647 w 24"/>
                    <a:gd name="T7" fmla="*/ 2147483647 h 16"/>
                    <a:gd name="T8" fmla="*/ 2147483647 w 24"/>
                    <a:gd name="T9" fmla="*/ 2147483647 h 16"/>
                    <a:gd name="T10" fmla="*/ 2147483647 w 24"/>
                    <a:gd name="T11" fmla="*/ 2147483647 h 16"/>
                    <a:gd name="T12" fmla="*/ 2147483647 w 24"/>
                    <a:gd name="T13" fmla="*/ 2147483647 h 16"/>
                    <a:gd name="T14" fmla="*/ 2147483647 w 24"/>
                    <a:gd name="T15" fmla="*/ 2147483647 h 16"/>
                    <a:gd name="T16" fmla="*/ 2147483647 w 24"/>
                    <a:gd name="T17" fmla="*/ 2147483647 h 16"/>
                    <a:gd name="T18" fmla="*/ 2147483647 w 24"/>
                    <a:gd name="T19" fmla="*/ 2147483647 h 16"/>
                    <a:gd name="T20" fmla="*/ 2147483647 w 24"/>
                    <a:gd name="T21" fmla="*/ 2147483647 h 16"/>
                    <a:gd name="T22" fmla="*/ 0 w 24"/>
                    <a:gd name="T23" fmla="*/ 2147483647 h 16"/>
                    <a:gd name="T24" fmla="*/ 0 w 24"/>
                    <a:gd name="T25" fmla="*/ 2147483647 h 16"/>
                    <a:gd name="T26" fmla="*/ 0 w 24"/>
                    <a:gd name="T27" fmla="*/ 2147483647 h 16"/>
                    <a:gd name="T28" fmla="*/ 2147483647 w 24"/>
                    <a:gd name="T29" fmla="*/ 0 h 16"/>
                    <a:gd name="T30" fmla="*/ 2147483647 w 24"/>
                    <a:gd name="T31" fmla="*/ 0 h 16"/>
                    <a:gd name="T32" fmla="*/ 2147483647 w 24"/>
                    <a:gd name="T33" fmla="*/ 0 h 16"/>
                    <a:gd name="T34" fmla="*/ 2147483647 w 24"/>
                    <a:gd name="T35" fmla="*/ 2147483647 h 16"/>
                    <a:gd name="T36" fmla="*/ 2147483647 w 24"/>
                    <a:gd name="T37" fmla="*/ 2147483647 h 16"/>
                    <a:gd name="T38" fmla="*/ 2147483647 w 24"/>
                    <a:gd name="T39" fmla="*/ 2147483647 h 16"/>
                    <a:gd name="T40" fmla="*/ 2147483647 w 24"/>
                    <a:gd name="T41" fmla="*/ 2147483647 h 16"/>
                    <a:gd name="T42" fmla="*/ 2147483647 w 24"/>
                    <a:gd name="T43" fmla="*/ 2147483647 h 16"/>
                    <a:gd name="T44" fmla="*/ 2147483647 w 24"/>
                    <a:gd name="T45" fmla="*/ 2147483647 h 1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4"/>
                    <a:gd name="T70" fmla="*/ 0 h 16"/>
                    <a:gd name="T71" fmla="*/ 24 w 24"/>
                    <a:gd name="T72" fmla="*/ 16 h 1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4" h="16">
                      <a:moveTo>
                        <a:pt x="24" y="12"/>
                      </a:moveTo>
                      <a:lnTo>
                        <a:pt x="24" y="12"/>
                      </a:lnTo>
                      <a:lnTo>
                        <a:pt x="24" y="15"/>
                      </a:lnTo>
                      <a:lnTo>
                        <a:pt x="23" y="16"/>
                      </a:lnTo>
                      <a:lnTo>
                        <a:pt x="18" y="13"/>
                      </a:lnTo>
                      <a:lnTo>
                        <a:pt x="14" y="11"/>
                      </a:lnTo>
                      <a:lnTo>
                        <a:pt x="9" y="9"/>
                      </a:lnTo>
                      <a:lnTo>
                        <a:pt x="4" y="9"/>
                      </a:ln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9" y="0"/>
                      </a:lnTo>
                      <a:lnTo>
                        <a:pt x="15" y="2"/>
                      </a:lnTo>
                      <a:lnTo>
                        <a:pt x="19" y="4"/>
                      </a:lnTo>
                      <a:lnTo>
                        <a:pt x="22" y="5"/>
                      </a:lnTo>
                      <a:lnTo>
                        <a:pt x="23" y="9"/>
                      </a:lnTo>
                      <a:lnTo>
                        <a:pt x="24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0" name="Freeform 175">
                  <a:extLst>
                    <a:ext uri="{FF2B5EF4-FFF2-40B4-BE49-F238E27FC236}">
                      <a16:creationId xmlns:a16="http://schemas.microsoft.com/office/drawing/2014/main" id="{44A53B47-6A38-B646-A67A-E181E6B72C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05195" y="4905459"/>
                  <a:ext cx="36996" cy="26638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2147483647 h 18"/>
                    <a:gd name="T6" fmla="*/ 2147483647 w 27"/>
                    <a:gd name="T7" fmla="*/ 2147483647 h 18"/>
                    <a:gd name="T8" fmla="*/ 2147483647 w 27"/>
                    <a:gd name="T9" fmla="*/ 2147483647 h 18"/>
                    <a:gd name="T10" fmla="*/ 2147483647 w 27"/>
                    <a:gd name="T11" fmla="*/ 2147483647 h 18"/>
                    <a:gd name="T12" fmla="*/ 2147483647 w 27"/>
                    <a:gd name="T13" fmla="*/ 2147483647 h 18"/>
                    <a:gd name="T14" fmla="*/ 2147483647 w 27"/>
                    <a:gd name="T15" fmla="*/ 2147483647 h 18"/>
                    <a:gd name="T16" fmla="*/ 2147483647 w 27"/>
                    <a:gd name="T17" fmla="*/ 2147483647 h 18"/>
                    <a:gd name="T18" fmla="*/ 2147483647 w 27"/>
                    <a:gd name="T19" fmla="*/ 2147483647 h 18"/>
                    <a:gd name="T20" fmla="*/ 2147483647 w 27"/>
                    <a:gd name="T21" fmla="*/ 2147483647 h 18"/>
                    <a:gd name="T22" fmla="*/ 2147483647 w 27"/>
                    <a:gd name="T23" fmla="*/ 2147483647 h 18"/>
                    <a:gd name="T24" fmla="*/ 0 w 27"/>
                    <a:gd name="T25" fmla="*/ 2147483647 h 18"/>
                    <a:gd name="T26" fmla="*/ 0 w 27"/>
                    <a:gd name="T27" fmla="*/ 2147483647 h 18"/>
                    <a:gd name="T28" fmla="*/ 0 w 27"/>
                    <a:gd name="T29" fmla="*/ 2147483647 h 18"/>
                    <a:gd name="T30" fmla="*/ 2147483647 w 27"/>
                    <a:gd name="T31" fmla="*/ 2147483647 h 18"/>
                    <a:gd name="T32" fmla="*/ 2147483647 w 27"/>
                    <a:gd name="T33" fmla="*/ 0 h 18"/>
                    <a:gd name="T34" fmla="*/ 2147483647 w 27"/>
                    <a:gd name="T35" fmla="*/ 0 h 18"/>
                    <a:gd name="T36" fmla="*/ 2147483647 w 27"/>
                    <a:gd name="T37" fmla="*/ 0 h 18"/>
                    <a:gd name="T38" fmla="*/ 2147483647 w 27"/>
                    <a:gd name="T39" fmla="*/ 2147483647 h 18"/>
                    <a:gd name="T40" fmla="*/ 2147483647 w 27"/>
                    <a:gd name="T41" fmla="*/ 2147483647 h 1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7"/>
                    <a:gd name="T64" fmla="*/ 0 h 18"/>
                    <a:gd name="T65" fmla="*/ 27 w 27"/>
                    <a:gd name="T66" fmla="*/ 18 h 1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7" h="18">
                      <a:moveTo>
                        <a:pt x="21" y="6"/>
                      </a:moveTo>
                      <a:lnTo>
                        <a:pt x="21" y="6"/>
                      </a:lnTo>
                      <a:lnTo>
                        <a:pt x="25" y="8"/>
                      </a:lnTo>
                      <a:lnTo>
                        <a:pt x="26" y="13"/>
                      </a:lnTo>
                      <a:lnTo>
                        <a:pt x="27" y="14"/>
                      </a:lnTo>
                      <a:lnTo>
                        <a:pt x="26" y="17"/>
                      </a:lnTo>
                      <a:lnTo>
                        <a:pt x="25" y="18"/>
                      </a:lnTo>
                      <a:lnTo>
                        <a:pt x="22" y="18"/>
                      </a:lnTo>
                      <a:lnTo>
                        <a:pt x="16" y="15"/>
                      </a:lnTo>
                      <a:lnTo>
                        <a:pt x="8" y="12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9" y="0"/>
                      </a:lnTo>
                      <a:lnTo>
                        <a:pt x="2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1" name="Freeform 176">
                  <a:extLst>
                    <a:ext uri="{FF2B5EF4-FFF2-40B4-BE49-F238E27FC236}">
                      <a16:creationId xmlns:a16="http://schemas.microsoft.com/office/drawing/2014/main" id="{413609A9-942D-5A48-AD49-C4D0B4CD05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9865" y="4899541"/>
                  <a:ext cx="10360" cy="7399"/>
                </a:xfrm>
                <a:custGeom>
                  <a:avLst/>
                  <a:gdLst>
                    <a:gd name="T0" fmla="*/ 2147483647 w 8"/>
                    <a:gd name="T1" fmla="*/ 0 h 5"/>
                    <a:gd name="T2" fmla="*/ 2147483647 w 8"/>
                    <a:gd name="T3" fmla="*/ 2147483647 h 5"/>
                    <a:gd name="T4" fmla="*/ 2147483647 w 8"/>
                    <a:gd name="T5" fmla="*/ 2147483647 h 5"/>
                    <a:gd name="T6" fmla="*/ 2147483647 w 8"/>
                    <a:gd name="T7" fmla="*/ 2147483647 h 5"/>
                    <a:gd name="T8" fmla="*/ 2147483647 w 8"/>
                    <a:gd name="T9" fmla="*/ 2147483647 h 5"/>
                    <a:gd name="T10" fmla="*/ 0 w 8"/>
                    <a:gd name="T11" fmla="*/ 2147483647 h 5"/>
                    <a:gd name="T12" fmla="*/ 0 w 8"/>
                    <a:gd name="T13" fmla="*/ 2147483647 h 5"/>
                    <a:gd name="T14" fmla="*/ 2147483647 w 8"/>
                    <a:gd name="T15" fmla="*/ 0 h 5"/>
                    <a:gd name="T16" fmla="*/ 2147483647 w 8"/>
                    <a:gd name="T17" fmla="*/ 0 h 5"/>
                    <a:gd name="T18" fmla="*/ 2147483647 w 8"/>
                    <a:gd name="T19" fmla="*/ 0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"/>
                    <a:gd name="T31" fmla="*/ 0 h 5"/>
                    <a:gd name="T32" fmla="*/ 8 w 8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" h="5">
                      <a:moveTo>
                        <a:pt x="7" y="0"/>
                      </a:move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2" name="Freeform 177">
                  <a:extLst>
                    <a:ext uri="{FF2B5EF4-FFF2-40B4-BE49-F238E27FC236}">
                      <a16:creationId xmlns:a16="http://schemas.microsoft.com/office/drawing/2014/main" id="{B7224922-231F-7B4B-AA77-F3B2940118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7666" y="4923219"/>
                  <a:ext cx="13318" cy="8879"/>
                </a:xfrm>
                <a:custGeom>
                  <a:avLst/>
                  <a:gdLst>
                    <a:gd name="T0" fmla="*/ 2147483647 w 9"/>
                    <a:gd name="T1" fmla="*/ 2147483647 h 6"/>
                    <a:gd name="T2" fmla="*/ 2147483647 w 9"/>
                    <a:gd name="T3" fmla="*/ 2147483647 h 6"/>
                    <a:gd name="T4" fmla="*/ 2147483647 w 9"/>
                    <a:gd name="T5" fmla="*/ 2147483647 h 6"/>
                    <a:gd name="T6" fmla="*/ 2147483647 w 9"/>
                    <a:gd name="T7" fmla="*/ 2147483647 h 6"/>
                    <a:gd name="T8" fmla="*/ 2147483647 w 9"/>
                    <a:gd name="T9" fmla="*/ 2147483647 h 6"/>
                    <a:gd name="T10" fmla="*/ 0 w 9"/>
                    <a:gd name="T11" fmla="*/ 2147483647 h 6"/>
                    <a:gd name="T12" fmla="*/ 0 w 9"/>
                    <a:gd name="T13" fmla="*/ 2147483647 h 6"/>
                    <a:gd name="T14" fmla="*/ 2147483647 w 9"/>
                    <a:gd name="T15" fmla="*/ 0 h 6"/>
                    <a:gd name="T16" fmla="*/ 2147483647 w 9"/>
                    <a:gd name="T17" fmla="*/ 0 h 6"/>
                    <a:gd name="T18" fmla="*/ 2147483647 w 9"/>
                    <a:gd name="T19" fmla="*/ 2147483647 h 6"/>
                    <a:gd name="T20" fmla="*/ 2147483647 w 9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6"/>
                    <a:gd name="T35" fmla="*/ 9 w 9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6">
                      <a:moveTo>
                        <a:pt x="9" y="2"/>
                      </a:moveTo>
                      <a:lnTo>
                        <a:pt x="9" y="3"/>
                      </a:lnTo>
                      <a:lnTo>
                        <a:pt x="8" y="5"/>
                      </a:lnTo>
                      <a:lnTo>
                        <a:pt x="5" y="6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3" name="Freeform 178">
                  <a:extLst>
                    <a:ext uri="{FF2B5EF4-FFF2-40B4-BE49-F238E27FC236}">
                      <a16:creationId xmlns:a16="http://schemas.microsoft.com/office/drawing/2014/main" id="{EAAAF273-4985-594C-8B9D-4428178020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8382" y="4898057"/>
                  <a:ext cx="10359" cy="7400"/>
                </a:xfrm>
                <a:custGeom>
                  <a:avLst/>
                  <a:gdLst>
                    <a:gd name="T0" fmla="*/ 2147483647 w 8"/>
                    <a:gd name="T1" fmla="*/ 0 h 5"/>
                    <a:gd name="T2" fmla="*/ 2147483647 w 8"/>
                    <a:gd name="T3" fmla="*/ 0 h 5"/>
                    <a:gd name="T4" fmla="*/ 2147483647 w 8"/>
                    <a:gd name="T5" fmla="*/ 2147483647 h 5"/>
                    <a:gd name="T6" fmla="*/ 2147483647 w 8"/>
                    <a:gd name="T7" fmla="*/ 2147483647 h 5"/>
                    <a:gd name="T8" fmla="*/ 2147483647 w 8"/>
                    <a:gd name="T9" fmla="*/ 2147483647 h 5"/>
                    <a:gd name="T10" fmla="*/ 2147483647 w 8"/>
                    <a:gd name="T11" fmla="*/ 2147483647 h 5"/>
                    <a:gd name="T12" fmla="*/ 2147483647 w 8"/>
                    <a:gd name="T13" fmla="*/ 2147483647 h 5"/>
                    <a:gd name="T14" fmla="*/ 0 w 8"/>
                    <a:gd name="T15" fmla="*/ 2147483647 h 5"/>
                    <a:gd name="T16" fmla="*/ 0 w 8"/>
                    <a:gd name="T17" fmla="*/ 2147483647 h 5"/>
                    <a:gd name="T18" fmla="*/ 0 w 8"/>
                    <a:gd name="T19" fmla="*/ 2147483647 h 5"/>
                    <a:gd name="T20" fmla="*/ 2147483647 w 8"/>
                    <a:gd name="T21" fmla="*/ 0 h 5"/>
                    <a:gd name="T22" fmla="*/ 2147483647 w 8"/>
                    <a:gd name="T23" fmla="*/ 0 h 5"/>
                    <a:gd name="T24" fmla="*/ 2147483647 w 8"/>
                    <a:gd name="T25" fmla="*/ 0 h 5"/>
                    <a:gd name="T26" fmla="*/ 2147483647 w 8"/>
                    <a:gd name="T27" fmla="*/ 0 h 5"/>
                    <a:gd name="T28" fmla="*/ 2147483647 w 8"/>
                    <a:gd name="T29" fmla="*/ 0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8"/>
                    <a:gd name="T46" fmla="*/ 0 h 5"/>
                    <a:gd name="T47" fmla="*/ 8 w 8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8" h="5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4" name="Freeform 179">
                  <a:extLst>
                    <a:ext uri="{FF2B5EF4-FFF2-40B4-BE49-F238E27FC236}">
                      <a16:creationId xmlns:a16="http://schemas.microsoft.com/office/drawing/2014/main" id="{F9808C47-9546-DA43-9BA0-23DCA1E440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6183" y="4921740"/>
                  <a:ext cx="13319" cy="8879"/>
                </a:xfrm>
                <a:custGeom>
                  <a:avLst/>
                  <a:gdLst>
                    <a:gd name="T0" fmla="*/ 2147483647 w 9"/>
                    <a:gd name="T1" fmla="*/ 2147483647 h 6"/>
                    <a:gd name="T2" fmla="*/ 2147483647 w 9"/>
                    <a:gd name="T3" fmla="*/ 2147483647 h 6"/>
                    <a:gd name="T4" fmla="*/ 2147483647 w 9"/>
                    <a:gd name="T5" fmla="*/ 2147483647 h 6"/>
                    <a:gd name="T6" fmla="*/ 2147483647 w 9"/>
                    <a:gd name="T7" fmla="*/ 2147483647 h 6"/>
                    <a:gd name="T8" fmla="*/ 2147483647 w 9"/>
                    <a:gd name="T9" fmla="*/ 2147483647 h 6"/>
                    <a:gd name="T10" fmla="*/ 2147483647 w 9"/>
                    <a:gd name="T11" fmla="*/ 2147483647 h 6"/>
                    <a:gd name="T12" fmla="*/ 0 w 9"/>
                    <a:gd name="T13" fmla="*/ 2147483647 h 6"/>
                    <a:gd name="T14" fmla="*/ 0 w 9"/>
                    <a:gd name="T15" fmla="*/ 2147483647 h 6"/>
                    <a:gd name="T16" fmla="*/ 0 w 9"/>
                    <a:gd name="T17" fmla="*/ 2147483647 h 6"/>
                    <a:gd name="T18" fmla="*/ 2147483647 w 9"/>
                    <a:gd name="T19" fmla="*/ 0 h 6"/>
                    <a:gd name="T20" fmla="*/ 2147483647 w 9"/>
                    <a:gd name="T21" fmla="*/ 0 h 6"/>
                    <a:gd name="T22" fmla="*/ 2147483647 w 9"/>
                    <a:gd name="T23" fmla="*/ 0 h 6"/>
                    <a:gd name="T24" fmla="*/ 2147483647 w 9"/>
                    <a:gd name="T25" fmla="*/ 2147483647 h 6"/>
                    <a:gd name="T26" fmla="*/ 2147483647 w 9"/>
                    <a:gd name="T27" fmla="*/ 2147483647 h 6"/>
                    <a:gd name="T28" fmla="*/ 2147483647 w 9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6"/>
                    <a:gd name="T47" fmla="*/ 9 w 9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6">
                      <a:moveTo>
                        <a:pt x="9" y="2"/>
                      </a:moveTo>
                      <a:lnTo>
                        <a:pt x="9" y="2"/>
                      </a:lnTo>
                      <a:lnTo>
                        <a:pt x="9" y="3"/>
                      </a:lnTo>
                      <a:lnTo>
                        <a:pt x="7" y="4"/>
                      </a:lnTo>
                      <a:lnTo>
                        <a:pt x="5" y="6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5" name="Freeform 180">
                  <a:extLst>
                    <a:ext uri="{FF2B5EF4-FFF2-40B4-BE49-F238E27FC236}">
                      <a16:creationId xmlns:a16="http://schemas.microsoft.com/office/drawing/2014/main" id="{9FAE1302-CEFE-D74B-9F57-7F578F8A2E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9506" y="4942453"/>
                  <a:ext cx="739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0 w 6"/>
                    <a:gd name="T9" fmla="*/ 2147483647 h 5"/>
                    <a:gd name="T10" fmla="*/ 0 w 6"/>
                    <a:gd name="T11" fmla="*/ 2147483647 h 5"/>
                    <a:gd name="T12" fmla="*/ 0 w 6"/>
                    <a:gd name="T13" fmla="*/ 2147483647 h 5"/>
                    <a:gd name="T14" fmla="*/ 2147483647 w 6"/>
                    <a:gd name="T15" fmla="*/ 0 h 5"/>
                    <a:gd name="T16" fmla="*/ 2147483647 w 6"/>
                    <a:gd name="T17" fmla="*/ 0 h 5"/>
                    <a:gd name="T18" fmla="*/ 2147483647 w 6"/>
                    <a:gd name="T19" fmla="*/ 2147483647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5"/>
                    <a:gd name="T32" fmla="*/ 6 w 6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5">
                      <a:moveTo>
                        <a:pt x="6" y="2"/>
                      </a:moveTo>
                      <a:lnTo>
                        <a:pt x="6" y="3"/>
                      </a:lnTo>
                      <a:lnTo>
                        <a:pt x="5" y="5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6" name="Freeform 181">
                  <a:extLst>
                    <a:ext uri="{FF2B5EF4-FFF2-40B4-BE49-F238E27FC236}">
                      <a16:creationId xmlns:a16="http://schemas.microsoft.com/office/drawing/2014/main" id="{52919BC1-8B4B-D94B-9F2F-6BB9FCE80D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51701" y="5020890"/>
                  <a:ext cx="13319" cy="8879"/>
                </a:xfrm>
                <a:custGeom>
                  <a:avLst/>
                  <a:gdLst>
                    <a:gd name="T0" fmla="*/ 2147483647 w 9"/>
                    <a:gd name="T1" fmla="*/ 2147483647 h 6"/>
                    <a:gd name="T2" fmla="*/ 2147483647 w 9"/>
                    <a:gd name="T3" fmla="*/ 2147483647 h 6"/>
                    <a:gd name="T4" fmla="*/ 2147483647 w 9"/>
                    <a:gd name="T5" fmla="*/ 2147483647 h 6"/>
                    <a:gd name="T6" fmla="*/ 2147483647 w 9"/>
                    <a:gd name="T7" fmla="*/ 2147483647 h 6"/>
                    <a:gd name="T8" fmla="*/ 2147483647 w 9"/>
                    <a:gd name="T9" fmla="*/ 2147483647 h 6"/>
                    <a:gd name="T10" fmla="*/ 0 w 9"/>
                    <a:gd name="T11" fmla="*/ 2147483647 h 6"/>
                    <a:gd name="T12" fmla="*/ 2147483647 w 9"/>
                    <a:gd name="T13" fmla="*/ 2147483647 h 6"/>
                    <a:gd name="T14" fmla="*/ 2147483647 w 9"/>
                    <a:gd name="T15" fmla="*/ 0 h 6"/>
                    <a:gd name="T16" fmla="*/ 2147483647 w 9"/>
                    <a:gd name="T17" fmla="*/ 0 h 6"/>
                    <a:gd name="T18" fmla="*/ 2147483647 w 9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"/>
                    <a:gd name="T31" fmla="*/ 0 h 6"/>
                    <a:gd name="T32" fmla="*/ 9 w 9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" h="6">
                      <a:moveTo>
                        <a:pt x="9" y="3"/>
                      </a:moveTo>
                      <a:lnTo>
                        <a:pt x="9" y="4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7" name="Freeform 182">
                  <a:extLst>
                    <a:ext uri="{FF2B5EF4-FFF2-40B4-BE49-F238E27FC236}">
                      <a16:creationId xmlns:a16="http://schemas.microsoft.com/office/drawing/2014/main" id="{BB120281-876C-9B4D-B012-984C60AE4D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26543" y="4940974"/>
                  <a:ext cx="8879" cy="5919"/>
                </a:xfrm>
                <a:custGeom>
                  <a:avLst/>
                  <a:gdLst>
                    <a:gd name="T0" fmla="*/ 2147483647 w 7"/>
                    <a:gd name="T1" fmla="*/ 2147483647 h 4"/>
                    <a:gd name="T2" fmla="*/ 2147483647 w 7"/>
                    <a:gd name="T3" fmla="*/ 2147483647 h 4"/>
                    <a:gd name="T4" fmla="*/ 2147483647 w 7"/>
                    <a:gd name="T5" fmla="*/ 2147483647 h 4"/>
                    <a:gd name="T6" fmla="*/ 2147483647 w 7"/>
                    <a:gd name="T7" fmla="*/ 2147483647 h 4"/>
                    <a:gd name="T8" fmla="*/ 2147483647 w 7"/>
                    <a:gd name="T9" fmla="*/ 2147483647 h 4"/>
                    <a:gd name="T10" fmla="*/ 2147483647 w 7"/>
                    <a:gd name="T11" fmla="*/ 2147483647 h 4"/>
                    <a:gd name="T12" fmla="*/ 0 w 7"/>
                    <a:gd name="T13" fmla="*/ 2147483647 h 4"/>
                    <a:gd name="T14" fmla="*/ 0 w 7"/>
                    <a:gd name="T15" fmla="*/ 2147483647 h 4"/>
                    <a:gd name="T16" fmla="*/ 0 w 7"/>
                    <a:gd name="T17" fmla="*/ 2147483647 h 4"/>
                    <a:gd name="T18" fmla="*/ 2147483647 w 7"/>
                    <a:gd name="T19" fmla="*/ 0 h 4"/>
                    <a:gd name="T20" fmla="*/ 2147483647 w 7"/>
                    <a:gd name="T21" fmla="*/ 0 h 4"/>
                    <a:gd name="T22" fmla="*/ 2147483647 w 7"/>
                    <a:gd name="T23" fmla="*/ 0 h 4"/>
                    <a:gd name="T24" fmla="*/ 2147483647 w 7"/>
                    <a:gd name="T25" fmla="*/ 2147483647 h 4"/>
                    <a:gd name="T26" fmla="*/ 2147483647 w 7"/>
                    <a:gd name="T27" fmla="*/ 2147483647 h 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"/>
                    <a:gd name="T43" fmla="*/ 0 h 4"/>
                    <a:gd name="T44" fmla="*/ 7 w 7"/>
                    <a:gd name="T45" fmla="*/ 4 h 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" h="4">
                      <a:moveTo>
                        <a:pt x="7" y="2"/>
                      </a:moveTo>
                      <a:lnTo>
                        <a:pt x="7" y="2"/>
                      </a:lnTo>
                      <a:lnTo>
                        <a:pt x="7" y="3"/>
                      </a:lnTo>
                      <a:lnTo>
                        <a:pt x="5" y="4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8" name="Freeform 183">
                  <a:extLst>
                    <a:ext uri="{FF2B5EF4-FFF2-40B4-BE49-F238E27FC236}">
                      <a16:creationId xmlns:a16="http://schemas.microsoft.com/office/drawing/2014/main" id="{C240457B-E790-FA4E-AF86-E731CC5B40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50224" y="5019410"/>
                  <a:ext cx="13318" cy="8879"/>
                </a:xfrm>
                <a:custGeom>
                  <a:avLst/>
                  <a:gdLst>
                    <a:gd name="T0" fmla="*/ 2147483647 w 9"/>
                    <a:gd name="T1" fmla="*/ 2147483647 h 6"/>
                    <a:gd name="T2" fmla="*/ 2147483647 w 9"/>
                    <a:gd name="T3" fmla="*/ 2147483647 h 6"/>
                    <a:gd name="T4" fmla="*/ 2147483647 w 9"/>
                    <a:gd name="T5" fmla="*/ 2147483647 h 6"/>
                    <a:gd name="T6" fmla="*/ 2147483647 w 9"/>
                    <a:gd name="T7" fmla="*/ 2147483647 h 6"/>
                    <a:gd name="T8" fmla="*/ 2147483647 w 9"/>
                    <a:gd name="T9" fmla="*/ 2147483647 h 6"/>
                    <a:gd name="T10" fmla="*/ 2147483647 w 9"/>
                    <a:gd name="T11" fmla="*/ 2147483647 h 6"/>
                    <a:gd name="T12" fmla="*/ 2147483647 w 9"/>
                    <a:gd name="T13" fmla="*/ 2147483647 h 6"/>
                    <a:gd name="T14" fmla="*/ 0 w 9"/>
                    <a:gd name="T15" fmla="*/ 2147483647 h 6"/>
                    <a:gd name="T16" fmla="*/ 2147483647 w 9"/>
                    <a:gd name="T17" fmla="*/ 2147483647 h 6"/>
                    <a:gd name="T18" fmla="*/ 2147483647 w 9"/>
                    <a:gd name="T19" fmla="*/ 2147483647 h 6"/>
                    <a:gd name="T20" fmla="*/ 2147483647 w 9"/>
                    <a:gd name="T21" fmla="*/ 0 h 6"/>
                    <a:gd name="T22" fmla="*/ 2147483647 w 9"/>
                    <a:gd name="T23" fmla="*/ 0 h 6"/>
                    <a:gd name="T24" fmla="*/ 2147483647 w 9"/>
                    <a:gd name="T25" fmla="*/ 2147483647 h 6"/>
                    <a:gd name="T26" fmla="*/ 2147483647 w 9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6"/>
                    <a:gd name="T44" fmla="*/ 9 w 9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6">
                      <a:moveTo>
                        <a:pt x="9" y="2"/>
                      </a:move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9" y="5"/>
                      </a:lnTo>
                      <a:lnTo>
                        <a:pt x="6" y="6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9" name="Freeform 184">
                  <a:extLst>
                    <a:ext uri="{FF2B5EF4-FFF2-40B4-BE49-F238E27FC236}">
                      <a16:creationId xmlns:a16="http://schemas.microsoft.com/office/drawing/2014/main" id="{1589C2D9-419F-A84F-A4E8-A333D4E5DD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5426" y="5038645"/>
                  <a:ext cx="20718" cy="34037"/>
                </a:xfrm>
                <a:custGeom>
                  <a:avLst/>
                  <a:gdLst>
                    <a:gd name="T0" fmla="*/ 2147483647 w 15"/>
                    <a:gd name="T1" fmla="*/ 2147483647 h 23"/>
                    <a:gd name="T2" fmla="*/ 2147483647 w 15"/>
                    <a:gd name="T3" fmla="*/ 2147483647 h 23"/>
                    <a:gd name="T4" fmla="*/ 2147483647 w 15"/>
                    <a:gd name="T5" fmla="*/ 2147483647 h 23"/>
                    <a:gd name="T6" fmla="*/ 2147483647 w 15"/>
                    <a:gd name="T7" fmla="*/ 2147483647 h 23"/>
                    <a:gd name="T8" fmla="*/ 2147483647 w 15"/>
                    <a:gd name="T9" fmla="*/ 2147483647 h 23"/>
                    <a:gd name="T10" fmla="*/ 2147483647 w 15"/>
                    <a:gd name="T11" fmla="*/ 2147483647 h 23"/>
                    <a:gd name="T12" fmla="*/ 2147483647 w 15"/>
                    <a:gd name="T13" fmla="*/ 2147483647 h 23"/>
                    <a:gd name="T14" fmla="*/ 2147483647 w 15"/>
                    <a:gd name="T15" fmla="*/ 2147483647 h 23"/>
                    <a:gd name="T16" fmla="*/ 2147483647 w 15"/>
                    <a:gd name="T17" fmla="*/ 2147483647 h 23"/>
                    <a:gd name="T18" fmla="*/ 2147483647 w 15"/>
                    <a:gd name="T19" fmla="*/ 2147483647 h 23"/>
                    <a:gd name="T20" fmla="*/ 0 w 15"/>
                    <a:gd name="T21" fmla="*/ 2147483647 h 23"/>
                    <a:gd name="T22" fmla="*/ 0 w 15"/>
                    <a:gd name="T23" fmla="*/ 2147483647 h 23"/>
                    <a:gd name="T24" fmla="*/ 2147483647 w 15"/>
                    <a:gd name="T25" fmla="*/ 2147483647 h 23"/>
                    <a:gd name="T26" fmla="*/ 2147483647 w 15"/>
                    <a:gd name="T27" fmla="*/ 2147483647 h 23"/>
                    <a:gd name="T28" fmla="*/ 2147483647 w 15"/>
                    <a:gd name="T29" fmla="*/ 0 h 23"/>
                    <a:gd name="T30" fmla="*/ 2147483647 w 15"/>
                    <a:gd name="T31" fmla="*/ 2147483647 h 23"/>
                    <a:gd name="T32" fmla="*/ 2147483647 w 15"/>
                    <a:gd name="T33" fmla="*/ 2147483647 h 23"/>
                    <a:gd name="T34" fmla="*/ 2147483647 w 15"/>
                    <a:gd name="T35" fmla="*/ 2147483647 h 2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5"/>
                    <a:gd name="T55" fmla="*/ 0 h 23"/>
                    <a:gd name="T56" fmla="*/ 15 w 15"/>
                    <a:gd name="T57" fmla="*/ 23 h 2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5" h="23">
                      <a:moveTo>
                        <a:pt x="11" y="6"/>
                      </a:moveTo>
                      <a:lnTo>
                        <a:pt x="12" y="10"/>
                      </a:lnTo>
                      <a:lnTo>
                        <a:pt x="14" y="12"/>
                      </a:lnTo>
                      <a:lnTo>
                        <a:pt x="15" y="16"/>
                      </a:lnTo>
                      <a:lnTo>
                        <a:pt x="14" y="19"/>
                      </a:lnTo>
                      <a:lnTo>
                        <a:pt x="11" y="21"/>
                      </a:lnTo>
                      <a:lnTo>
                        <a:pt x="10" y="23"/>
                      </a:lnTo>
                      <a:lnTo>
                        <a:pt x="7" y="21"/>
                      </a:lnTo>
                      <a:lnTo>
                        <a:pt x="5" y="20"/>
                      </a:lnTo>
                      <a:lnTo>
                        <a:pt x="3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10" y="4"/>
                      </a:lnTo>
                      <a:lnTo>
                        <a:pt x="1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0" name="Freeform 185">
                  <a:extLst>
                    <a:ext uri="{FF2B5EF4-FFF2-40B4-BE49-F238E27FC236}">
                      <a16:creationId xmlns:a16="http://schemas.microsoft.com/office/drawing/2014/main" id="{86B56B5A-1EF8-4C4D-8C7E-64C9F91648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5019" y="5049008"/>
                  <a:ext cx="17758" cy="34038"/>
                </a:xfrm>
                <a:custGeom>
                  <a:avLst/>
                  <a:gdLst>
                    <a:gd name="T0" fmla="*/ 2147483647 w 13"/>
                    <a:gd name="T1" fmla="*/ 2147483647 h 23"/>
                    <a:gd name="T2" fmla="*/ 2147483647 w 13"/>
                    <a:gd name="T3" fmla="*/ 2147483647 h 23"/>
                    <a:gd name="T4" fmla="*/ 2147483647 w 13"/>
                    <a:gd name="T5" fmla="*/ 2147483647 h 23"/>
                    <a:gd name="T6" fmla="*/ 2147483647 w 13"/>
                    <a:gd name="T7" fmla="*/ 2147483647 h 23"/>
                    <a:gd name="T8" fmla="*/ 2147483647 w 13"/>
                    <a:gd name="T9" fmla="*/ 2147483647 h 23"/>
                    <a:gd name="T10" fmla="*/ 2147483647 w 13"/>
                    <a:gd name="T11" fmla="*/ 2147483647 h 23"/>
                    <a:gd name="T12" fmla="*/ 2147483647 w 13"/>
                    <a:gd name="T13" fmla="*/ 2147483647 h 23"/>
                    <a:gd name="T14" fmla="*/ 2147483647 w 13"/>
                    <a:gd name="T15" fmla="*/ 2147483647 h 23"/>
                    <a:gd name="T16" fmla="*/ 2147483647 w 13"/>
                    <a:gd name="T17" fmla="*/ 2147483647 h 23"/>
                    <a:gd name="T18" fmla="*/ 0 w 13"/>
                    <a:gd name="T19" fmla="*/ 2147483647 h 23"/>
                    <a:gd name="T20" fmla="*/ 2147483647 w 13"/>
                    <a:gd name="T21" fmla="*/ 0 h 23"/>
                    <a:gd name="T22" fmla="*/ 2147483647 w 13"/>
                    <a:gd name="T23" fmla="*/ 0 h 23"/>
                    <a:gd name="T24" fmla="*/ 2147483647 w 13"/>
                    <a:gd name="T25" fmla="*/ 2147483647 h 23"/>
                    <a:gd name="T26" fmla="*/ 2147483647 w 13"/>
                    <a:gd name="T27" fmla="*/ 2147483647 h 23"/>
                    <a:gd name="T28" fmla="*/ 2147483647 w 13"/>
                    <a:gd name="T29" fmla="*/ 2147483647 h 23"/>
                    <a:gd name="T30" fmla="*/ 2147483647 w 13"/>
                    <a:gd name="T31" fmla="*/ 2147483647 h 2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"/>
                    <a:gd name="T49" fmla="*/ 0 h 23"/>
                    <a:gd name="T50" fmla="*/ 13 w 13"/>
                    <a:gd name="T51" fmla="*/ 23 h 2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" h="23">
                      <a:moveTo>
                        <a:pt x="12" y="13"/>
                      </a:moveTo>
                      <a:lnTo>
                        <a:pt x="13" y="19"/>
                      </a:lnTo>
                      <a:lnTo>
                        <a:pt x="12" y="22"/>
                      </a:lnTo>
                      <a:lnTo>
                        <a:pt x="10" y="23"/>
                      </a:lnTo>
                      <a:lnTo>
                        <a:pt x="9" y="23"/>
                      </a:lnTo>
                      <a:lnTo>
                        <a:pt x="7" y="20"/>
                      </a:lnTo>
                      <a:lnTo>
                        <a:pt x="4" y="18"/>
                      </a:lnTo>
                      <a:lnTo>
                        <a:pt x="4" y="11"/>
                      </a:lnTo>
                      <a:lnTo>
                        <a:pt x="2" y="5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9" y="4"/>
                      </a:lnTo>
                      <a:lnTo>
                        <a:pt x="12" y="9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1" name="Freeform 186">
                  <a:extLst>
                    <a:ext uri="{FF2B5EF4-FFF2-40B4-BE49-F238E27FC236}">
                      <a16:creationId xmlns:a16="http://schemas.microsoft.com/office/drawing/2014/main" id="{C92E1783-C735-DB47-8130-5C3BA83540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2463" y="5037168"/>
                  <a:ext cx="22198" cy="32557"/>
                </a:xfrm>
                <a:custGeom>
                  <a:avLst/>
                  <a:gdLst>
                    <a:gd name="T0" fmla="*/ 2147483647 w 16"/>
                    <a:gd name="T1" fmla="*/ 2147483647 h 22"/>
                    <a:gd name="T2" fmla="*/ 2147483647 w 16"/>
                    <a:gd name="T3" fmla="*/ 2147483647 h 22"/>
                    <a:gd name="T4" fmla="*/ 2147483647 w 16"/>
                    <a:gd name="T5" fmla="*/ 2147483647 h 22"/>
                    <a:gd name="T6" fmla="*/ 2147483647 w 16"/>
                    <a:gd name="T7" fmla="*/ 2147483647 h 22"/>
                    <a:gd name="T8" fmla="*/ 2147483647 w 16"/>
                    <a:gd name="T9" fmla="*/ 2147483647 h 22"/>
                    <a:gd name="T10" fmla="*/ 2147483647 w 16"/>
                    <a:gd name="T11" fmla="*/ 2147483647 h 22"/>
                    <a:gd name="T12" fmla="*/ 2147483647 w 16"/>
                    <a:gd name="T13" fmla="*/ 2147483647 h 22"/>
                    <a:gd name="T14" fmla="*/ 2147483647 w 16"/>
                    <a:gd name="T15" fmla="*/ 2147483647 h 22"/>
                    <a:gd name="T16" fmla="*/ 2147483647 w 16"/>
                    <a:gd name="T17" fmla="*/ 2147483647 h 22"/>
                    <a:gd name="T18" fmla="*/ 2147483647 w 16"/>
                    <a:gd name="T19" fmla="*/ 2147483647 h 22"/>
                    <a:gd name="T20" fmla="*/ 2147483647 w 16"/>
                    <a:gd name="T21" fmla="*/ 2147483647 h 22"/>
                    <a:gd name="T22" fmla="*/ 2147483647 w 16"/>
                    <a:gd name="T23" fmla="*/ 2147483647 h 22"/>
                    <a:gd name="T24" fmla="*/ 2147483647 w 16"/>
                    <a:gd name="T25" fmla="*/ 2147483647 h 22"/>
                    <a:gd name="T26" fmla="*/ 0 w 16"/>
                    <a:gd name="T27" fmla="*/ 2147483647 h 22"/>
                    <a:gd name="T28" fmla="*/ 0 w 16"/>
                    <a:gd name="T29" fmla="*/ 2147483647 h 22"/>
                    <a:gd name="T30" fmla="*/ 2147483647 w 16"/>
                    <a:gd name="T31" fmla="*/ 2147483647 h 22"/>
                    <a:gd name="T32" fmla="*/ 2147483647 w 16"/>
                    <a:gd name="T33" fmla="*/ 2147483647 h 22"/>
                    <a:gd name="T34" fmla="*/ 2147483647 w 16"/>
                    <a:gd name="T35" fmla="*/ 2147483647 h 22"/>
                    <a:gd name="T36" fmla="*/ 2147483647 w 16"/>
                    <a:gd name="T37" fmla="*/ 0 h 22"/>
                    <a:gd name="T38" fmla="*/ 2147483647 w 16"/>
                    <a:gd name="T39" fmla="*/ 2147483647 h 22"/>
                    <a:gd name="T40" fmla="*/ 2147483647 w 16"/>
                    <a:gd name="T41" fmla="*/ 2147483647 h 22"/>
                    <a:gd name="T42" fmla="*/ 2147483647 w 16"/>
                    <a:gd name="T43" fmla="*/ 2147483647 h 22"/>
                    <a:gd name="T44" fmla="*/ 2147483647 w 16"/>
                    <a:gd name="T45" fmla="*/ 2147483647 h 2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6"/>
                    <a:gd name="T70" fmla="*/ 0 h 22"/>
                    <a:gd name="T71" fmla="*/ 16 w 16"/>
                    <a:gd name="T72" fmla="*/ 22 h 2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6" h="22">
                      <a:moveTo>
                        <a:pt x="12" y="6"/>
                      </a:moveTo>
                      <a:lnTo>
                        <a:pt x="12" y="6"/>
                      </a:lnTo>
                      <a:lnTo>
                        <a:pt x="13" y="9"/>
                      </a:lnTo>
                      <a:lnTo>
                        <a:pt x="14" y="12"/>
                      </a:lnTo>
                      <a:lnTo>
                        <a:pt x="16" y="15"/>
                      </a:lnTo>
                      <a:lnTo>
                        <a:pt x="14" y="19"/>
                      </a:lnTo>
                      <a:lnTo>
                        <a:pt x="12" y="21"/>
                      </a:lnTo>
                      <a:lnTo>
                        <a:pt x="11" y="22"/>
                      </a:lnTo>
                      <a:lnTo>
                        <a:pt x="8" y="21"/>
                      </a:lnTo>
                      <a:lnTo>
                        <a:pt x="5" y="20"/>
                      </a:lnTo>
                      <a:lnTo>
                        <a:pt x="4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11" y="3"/>
                      </a:lnTo>
                      <a:lnTo>
                        <a:pt x="12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2" name="Freeform 187">
                  <a:extLst>
                    <a:ext uri="{FF2B5EF4-FFF2-40B4-BE49-F238E27FC236}">
                      <a16:creationId xmlns:a16="http://schemas.microsoft.com/office/drawing/2014/main" id="{A43D5117-8933-5648-A504-DF0E008C0A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3539" y="5047528"/>
                  <a:ext cx="17758" cy="34037"/>
                </a:xfrm>
                <a:custGeom>
                  <a:avLst/>
                  <a:gdLst>
                    <a:gd name="T0" fmla="*/ 2147483647 w 13"/>
                    <a:gd name="T1" fmla="*/ 2147483647 h 23"/>
                    <a:gd name="T2" fmla="*/ 2147483647 w 13"/>
                    <a:gd name="T3" fmla="*/ 2147483647 h 23"/>
                    <a:gd name="T4" fmla="*/ 2147483647 w 13"/>
                    <a:gd name="T5" fmla="*/ 2147483647 h 23"/>
                    <a:gd name="T6" fmla="*/ 2147483647 w 13"/>
                    <a:gd name="T7" fmla="*/ 2147483647 h 23"/>
                    <a:gd name="T8" fmla="*/ 2147483647 w 13"/>
                    <a:gd name="T9" fmla="*/ 2147483647 h 23"/>
                    <a:gd name="T10" fmla="*/ 2147483647 w 13"/>
                    <a:gd name="T11" fmla="*/ 2147483647 h 23"/>
                    <a:gd name="T12" fmla="*/ 2147483647 w 13"/>
                    <a:gd name="T13" fmla="*/ 2147483647 h 23"/>
                    <a:gd name="T14" fmla="*/ 2147483647 w 13"/>
                    <a:gd name="T15" fmla="*/ 2147483647 h 23"/>
                    <a:gd name="T16" fmla="*/ 2147483647 w 13"/>
                    <a:gd name="T17" fmla="*/ 2147483647 h 23"/>
                    <a:gd name="T18" fmla="*/ 2147483647 w 13"/>
                    <a:gd name="T19" fmla="*/ 2147483647 h 23"/>
                    <a:gd name="T20" fmla="*/ 2147483647 w 13"/>
                    <a:gd name="T21" fmla="*/ 2147483647 h 23"/>
                    <a:gd name="T22" fmla="*/ 2147483647 w 13"/>
                    <a:gd name="T23" fmla="*/ 2147483647 h 23"/>
                    <a:gd name="T24" fmla="*/ 2147483647 w 13"/>
                    <a:gd name="T25" fmla="*/ 2147483647 h 23"/>
                    <a:gd name="T26" fmla="*/ 0 w 13"/>
                    <a:gd name="T27" fmla="*/ 2147483647 h 23"/>
                    <a:gd name="T28" fmla="*/ 2147483647 w 13"/>
                    <a:gd name="T29" fmla="*/ 0 h 23"/>
                    <a:gd name="T30" fmla="*/ 2147483647 w 13"/>
                    <a:gd name="T31" fmla="*/ 0 h 23"/>
                    <a:gd name="T32" fmla="*/ 2147483647 w 13"/>
                    <a:gd name="T33" fmla="*/ 0 h 23"/>
                    <a:gd name="T34" fmla="*/ 2147483647 w 13"/>
                    <a:gd name="T35" fmla="*/ 0 h 23"/>
                    <a:gd name="T36" fmla="*/ 2147483647 w 13"/>
                    <a:gd name="T37" fmla="*/ 2147483647 h 23"/>
                    <a:gd name="T38" fmla="*/ 2147483647 w 13"/>
                    <a:gd name="T39" fmla="*/ 2147483647 h 23"/>
                    <a:gd name="T40" fmla="*/ 2147483647 w 13"/>
                    <a:gd name="T41" fmla="*/ 2147483647 h 23"/>
                    <a:gd name="T42" fmla="*/ 2147483647 w 13"/>
                    <a:gd name="T43" fmla="*/ 2147483647 h 23"/>
                    <a:gd name="T44" fmla="*/ 2147483647 w 13"/>
                    <a:gd name="T45" fmla="*/ 2147483647 h 2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3"/>
                    <a:gd name="T70" fmla="*/ 0 h 23"/>
                    <a:gd name="T71" fmla="*/ 13 w 13"/>
                    <a:gd name="T72" fmla="*/ 23 h 2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3" h="23">
                      <a:moveTo>
                        <a:pt x="11" y="13"/>
                      </a:moveTo>
                      <a:lnTo>
                        <a:pt x="11" y="13"/>
                      </a:lnTo>
                      <a:lnTo>
                        <a:pt x="13" y="19"/>
                      </a:lnTo>
                      <a:lnTo>
                        <a:pt x="11" y="21"/>
                      </a:lnTo>
                      <a:lnTo>
                        <a:pt x="10" y="23"/>
                      </a:lnTo>
                      <a:lnTo>
                        <a:pt x="9" y="23"/>
                      </a:lnTo>
                      <a:lnTo>
                        <a:pt x="6" y="20"/>
                      </a:lnTo>
                      <a:lnTo>
                        <a:pt x="4" y="18"/>
                      </a:lnTo>
                      <a:lnTo>
                        <a:pt x="4" y="11"/>
                      </a:lnTo>
                      <a:lnTo>
                        <a:pt x="1" y="5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9" y="4"/>
                      </a:lnTo>
                      <a:lnTo>
                        <a:pt x="11" y="8"/>
                      </a:lnTo>
                      <a:lnTo>
                        <a:pt x="11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3" name="Freeform 188">
                  <a:extLst>
                    <a:ext uri="{FF2B5EF4-FFF2-40B4-BE49-F238E27FC236}">
                      <a16:creationId xmlns:a16="http://schemas.microsoft.com/office/drawing/2014/main" id="{03E8C1F9-CB1E-8D4F-956A-FCBF89D665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0939" y="5087481"/>
                  <a:ext cx="11839" cy="13319"/>
                </a:xfrm>
                <a:custGeom>
                  <a:avLst/>
                  <a:gdLst>
                    <a:gd name="T0" fmla="*/ 2147483647 w 8"/>
                    <a:gd name="T1" fmla="*/ 2147483647 h 9"/>
                    <a:gd name="T2" fmla="*/ 2147483647 w 8"/>
                    <a:gd name="T3" fmla="*/ 2147483647 h 9"/>
                    <a:gd name="T4" fmla="*/ 2147483647 w 8"/>
                    <a:gd name="T5" fmla="*/ 2147483647 h 9"/>
                    <a:gd name="T6" fmla="*/ 2147483647 w 8"/>
                    <a:gd name="T7" fmla="*/ 2147483647 h 9"/>
                    <a:gd name="T8" fmla="*/ 0 w 8"/>
                    <a:gd name="T9" fmla="*/ 2147483647 h 9"/>
                    <a:gd name="T10" fmla="*/ 2147483647 w 8"/>
                    <a:gd name="T11" fmla="*/ 2147483647 h 9"/>
                    <a:gd name="T12" fmla="*/ 2147483647 w 8"/>
                    <a:gd name="T13" fmla="*/ 0 h 9"/>
                    <a:gd name="T14" fmla="*/ 2147483647 w 8"/>
                    <a:gd name="T15" fmla="*/ 2147483647 h 9"/>
                    <a:gd name="T16" fmla="*/ 2147483647 w 8"/>
                    <a:gd name="T17" fmla="*/ 2147483647 h 9"/>
                    <a:gd name="T18" fmla="*/ 2147483647 w 8"/>
                    <a:gd name="T19" fmla="*/ 2147483647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"/>
                    <a:gd name="T31" fmla="*/ 0 h 9"/>
                    <a:gd name="T32" fmla="*/ 8 w 8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" h="9">
                      <a:moveTo>
                        <a:pt x="8" y="7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2" y="6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7" y="4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4" name="Freeform 189">
                  <a:extLst>
                    <a:ext uri="{FF2B5EF4-FFF2-40B4-BE49-F238E27FC236}">
                      <a16:creationId xmlns:a16="http://schemas.microsoft.com/office/drawing/2014/main" id="{D9125642-7237-034D-B727-199051495A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8341" y="5120038"/>
                  <a:ext cx="10360" cy="5919"/>
                </a:xfrm>
                <a:custGeom>
                  <a:avLst/>
                  <a:gdLst>
                    <a:gd name="T0" fmla="*/ 2147483647 w 8"/>
                    <a:gd name="T1" fmla="*/ 2147483647 h 4"/>
                    <a:gd name="T2" fmla="*/ 2147483647 w 8"/>
                    <a:gd name="T3" fmla="*/ 2147483647 h 4"/>
                    <a:gd name="T4" fmla="*/ 2147483647 w 8"/>
                    <a:gd name="T5" fmla="*/ 2147483647 h 4"/>
                    <a:gd name="T6" fmla="*/ 2147483647 w 8"/>
                    <a:gd name="T7" fmla="*/ 2147483647 h 4"/>
                    <a:gd name="T8" fmla="*/ 0 w 8"/>
                    <a:gd name="T9" fmla="*/ 2147483647 h 4"/>
                    <a:gd name="T10" fmla="*/ 0 w 8"/>
                    <a:gd name="T11" fmla="*/ 2147483647 h 4"/>
                    <a:gd name="T12" fmla="*/ 2147483647 w 8"/>
                    <a:gd name="T13" fmla="*/ 0 h 4"/>
                    <a:gd name="T14" fmla="*/ 2147483647 w 8"/>
                    <a:gd name="T15" fmla="*/ 2147483647 h 4"/>
                    <a:gd name="T16" fmla="*/ 2147483647 w 8"/>
                    <a:gd name="T17" fmla="*/ 2147483647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"/>
                    <a:gd name="T28" fmla="*/ 0 h 4"/>
                    <a:gd name="T29" fmla="*/ 8 w 8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" h="4">
                      <a:moveTo>
                        <a:pt x="7" y="2"/>
                      </a:moveTo>
                      <a:lnTo>
                        <a:pt x="8" y="3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5" name="Freeform 190">
                  <a:extLst>
                    <a:ext uri="{FF2B5EF4-FFF2-40B4-BE49-F238E27FC236}">
                      <a16:creationId xmlns:a16="http://schemas.microsoft.com/office/drawing/2014/main" id="{EBCF330E-ACAA-9C46-BE46-E7B5ACF16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9458" y="5086002"/>
                  <a:ext cx="11839" cy="11839"/>
                </a:xfrm>
                <a:custGeom>
                  <a:avLst/>
                  <a:gdLst>
                    <a:gd name="T0" fmla="*/ 2147483647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2147483647 h 8"/>
                    <a:gd name="T6" fmla="*/ 2147483647 w 8"/>
                    <a:gd name="T7" fmla="*/ 2147483647 h 8"/>
                    <a:gd name="T8" fmla="*/ 2147483647 w 8"/>
                    <a:gd name="T9" fmla="*/ 2147483647 h 8"/>
                    <a:gd name="T10" fmla="*/ 2147483647 w 8"/>
                    <a:gd name="T11" fmla="*/ 2147483647 h 8"/>
                    <a:gd name="T12" fmla="*/ 2147483647 w 8"/>
                    <a:gd name="T13" fmla="*/ 2147483647 h 8"/>
                    <a:gd name="T14" fmla="*/ 0 w 8"/>
                    <a:gd name="T15" fmla="*/ 2147483647 h 8"/>
                    <a:gd name="T16" fmla="*/ 0 w 8"/>
                    <a:gd name="T17" fmla="*/ 2147483647 h 8"/>
                    <a:gd name="T18" fmla="*/ 2147483647 w 8"/>
                    <a:gd name="T19" fmla="*/ 2147483647 h 8"/>
                    <a:gd name="T20" fmla="*/ 2147483647 w 8"/>
                    <a:gd name="T21" fmla="*/ 0 h 8"/>
                    <a:gd name="T22" fmla="*/ 2147483647 w 8"/>
                    <a:gd name="T23" fmla="*/ 2147483647 h 8"/>
                    <a:gd name="T24" fmla="*/ 2147483647 w 8"/>
                    <a:gd name="T25" fmla="*/ 2147483647 h 8"/>
                    <a:gd name="T26" fmla="*/ 2147483647 w 8"/>
                    <a:gd name="T27" fmla="*/ 2147483647 h 8"/>
                    <a:gd name="T28" fmla="*/ 2147483647 w 8"/>
                    <a:gd name="T29" fmla="*/ 2147483647 h 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8"/>
                    <a:gd name="T46" fmla="*/ 0 h 8"/>
                    <a:gd name="T47" fmla="*/ 8 w 8"/>
                    <a:gd name="T48" fmla="*/ 8 h 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8" h="8">
                      <a:moveTo>
                        <a:pt x="8" y="7"/>
                      </a:moveTo>
                      <a:lnTo>
                        <a:pt x="8" y="7"/>
                      </a:lnTo>
                      <a:lnTo>
                        <a:pt x="6" y="8"/>
                      </a:lnTo>
                      <a:lnTo>
                        <a:pt x="4" y="8"/>
                      </a:lnTo>
                      <a:lnTo>
                        <a:pt x="1" y="6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4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6" name="Freeform 191">
                  <a:extLst>
                    <a:ext uri="{FF2B5EF4-FFF2-40B4-BE49-F238E27FC236}">
                      <a16:creationId xmlns:a16="http://schemas.microsoft.com/office/drawing/2014/main" id="{D2D89A59-34C3-1247-80FC-E5145077EF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6858" y="5117078"/>
                  <a:ext cx="10359" cy="7400"/>
                </a:xfrm>
                <a:custGeom>
                  <a:avLst/>
                  <a:gdLst>
                    <a:gd name="T0" fmla="*/ 2147483647 w 8"/>
                    <a:gd name="T1" fmla="*/ 2147483647 h 5"/>
                    <a:gd name="T2" fmla="*/ 2147483647 w 8"/>
                    <a:gd name="T3" fmla="*/ 2147483647 h 5"/>
                    <a:gd name="T4" fmla="*/ 2147483647 w 8"/>
                    <a:gd name="T5" fmla="*/ 2147483647 h 5"/>
                    <a:gd name="T6" fmla="*/ 2147483647 w 8"/>
                    <a:gd name="T7" fmla="*/ 2147483647 h 5"/>
                    <a:gd name="T8" fmla="*/ 2147483647 w 8"/>
                    <a:gd name="T9" fmla="*/ 2147483647 h 5"/>
                    <a:gd name="T10" fmla="*/ 2147483647 w 8"/>
                    <a:gd name="T11" fmla="*/ 2147483647 h 5"/>
                    <a:gd name="T12" fmla="*/ 0 w 8"/>
                    <a:gd name="T13" fmla="*/ 2147483647 h 5"/>
                    <a:gd name="T14" fmla="*/ 0 w 8"/>
                    <a:gd name="T15" fmla="*/ 2147483647 h 5"/>
                    <a:gd name="T16" fmla="*/ 0 w 8"/>
                    <a:gd name="T17" fmla="*/ 2147483647 h 5"/>
                    <a:gd name="T18" fmla="*/ 2147483647 w 8"/>
                    <a:gd name="T19" fmla="*/ 0 h 5"/>
                    <a:gd name="T20" fmla="*/ 2147483647 w 8"/>
                    <a:gd name="T21" fmla="*/ 2147483647 h 5"/>
                    <a:gd name="T22" fmla="*/ 2147483647 w 8"/>
                    <a:gd name="T23" fmla="*/ 2147483647 h 5"/>
                    <a:gd name="T24" fmla="*/ 2147483647 w 8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5"/>
                    <a:gd name="T41" fmla="*/ 8 w 8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5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8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7" name="Freeform 192">
                  <a:extLst>
                    <a:ext uri="{FF2B5EF4-FFF2-40B4-BE49-F238E27FC236}">
                      <a16:creationId xmlns:a16="http://schemas.microsoft.com/office/drawing/2014/main" id="{3932DA50-3B66-284B-BEB6-01A40DE560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96096" y="5148159"/>
                  <a:ext cx="7400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0 w 6"/>
                    <a:gd name="T15" fmla="*/ 2147483647 h 6"/>
                    <a:gd name="T16" fmla="*/ 2147483647 w 6"/>
                    <a:gd name="T17" fmla="*/ 0 h 6"/>
                    <a:gd name="T18" fmla="*/ 2147483647 w 6"/>
                    <a:gd name="T19" fmla="*/ 0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6"/>
                    <a:gd name="T38" fmla="*/ 6 w 6"/>
                    <a:gd name="T39" fmla="*/ 6 h 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6">
                      <a:moveTo>
                        <a:pt x="6" y="3"/>
                      </a:move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8" name="Freeform 193">
                  <a:extLst>
                    <a:ext uri="{FF2B5EF4-FFF2-40B4-BE49-F238E27FC236}">
                      <a16:creationId xmlns:a16="http://schemas.microsoft.com/office/drawing/2014/main" id="{7BD09ADD-8D90-3A43-B5B1-02841A0DC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0537" y="5168875"/>
                  <a:ext cx="5919" cy="10359"/>
                </a:xfrm>
                <a:custGeom>
                  <a:avLst/>
                  <a:gdLst>
                    <a:gd name="T0" fmla="*/ 2147483647 w 5"/>
                    <a:gd name="T1" fmla="*/ 2147483647 h 7"/>
                    <a:gd name="T2" fmla="*/ 2147483647 w 5"/>
                    <a:gd name="T3" fmla="*/ 2147483647 h 7"/>
                    <a:gd name="T4" fmla="*/ 2147483647 w 5"/>
                    <a:gd name="T5" fmla="*/ 2147483647 h 7"/>
                    <a:gd name="T6" fmla="*/ 2147483647 w 5"/>
                    <a:gd name="T7" fmla="*/ 2147483647 h 7"/>
                    <a:gd name="T8" fmla="*/ 0 w 5"/>
                    <a:gd name="T9" fmla="*/ 2147483647 h 7"/>
                    <a:gd name="T10" fmla="*/ 2147483647 w 5"/>
                    <a:gd name="T11" fmla="*/ 2147483647 h 7"/>
                    <a:gd name="T12" fmla="*/ 2147483647 w 5"/>
                    <a:gd name="T13" fmla="*/ 0 h 7"/>
                    <a:gd name="T14" fmla="*/ 2147483647 w 5"/>
                    <a:gd name="T15" fmla="*/ 0 h 7"/>
                    <a:gd name="T16" fmla="*/ 2147483647 w 5"/>
                    <a:gd name="T17" fmla="*/ 2147483647 h 7"/>
                    <a:gd name="T18" fmla="*/ 2147483647 w 5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7"/>
                    <a:gd name="T32" fmla="*/ 5 w 5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7">
                      <a:moveTo>
                        <a:pt x="5" y="6"/>
                      </a:move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9" name="Freeform 194">
                  <a:extLst>
                    <a:ext uri="{FF2B5EF4-FFF2-40B4-BE49-F238E27FC236}">
                      <a16:creationId xmlns:a16="http://schemas.microsoft.com/office/drawing/2014/main" id="{CDE13B89-4ACF-E74F-A368-CDFECD217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94620" y="5145200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0 w 6"/>
                    <a:gd name="T15" fmla="*/ 2147483647 h 6"/>
                    <a:gd name="T16" fmla="*/ 0 w 6"/>
                    <a:gd name="T17" fmla="*/ 2147483647 h 6"/>
                    <a:gd name="T18" fmla="*/ 0 w 6"/>
                    <a:gd name="T19" fmla="*/ 2147483647 h 6"/>
                    <a:gd name="T20" fmla="*/ 0 w 6"/>
                    <a:gd name="T21" fmla="*/ 2147483647 h 6"/>
                    <a:gd name="T22" fmla="*/ 2147483647 w 6"/>
                    <a:gd name="T23" fmla="*/ 0 h 6"/>
                    <a:gd name="T24" fmla="*/ 2147483647 w 6"/>
                    <a:gd name="T25" fmla="*/ 0 h 6"/>
                    <a:gd name="T26" fmla="*/ 2147483647 w 6"/>
                    <a:gd name="T27" fmla="*/ 2147483647 h 6"/>
                    <a:gd name="T28" fmla="*/ 2147483647 w 6"/>
                    <a:gd name="T29" fmla="*/ 2147483647 h 6"/>
                    <a:gd name="T30" fmla="*/ 2147483647 w 6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6"/>
                    <a:gd name="T50" fmla="*/ 6 w 6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6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4" y="6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0" name="Freeform 195">
                  <a:extLst>
                    <a:ext uri="{FF2B5EF4-FFF2-40B4-BE49-F238E27FC236}">
                      <a16:creationId xmlns:a16="http://schemas.microsoft.com/office/drawing/2014/main" id="{F8090421-19DD-0043-B5D4-5ABD28E4E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97576" y="5167395"/>
                  <a:ext cx="5919" cy="10360"/>
                </a:xfrm>
                <a:custGeom>
                  <a:avLst/>
                  <a:gdLst>
                    <a:gd name="T0" fmla="*/ 2147483647 w 5"/>
                    <a:gd name="T1" fmla="*/ 2147483647 h 7"/>
                    <a:gd name="T2" fmla="*/ 2147483647 w 5"/>
                    <a:gd name="T3" fmla="*/ 2147483647 h 7"/>
                    <a:gd name="T4" fmla="*/ 2147483647 w 5"/>
                    <a:gd name="T5" fmla="*/ 2147483647 h 7"/>
                    <a:gd name="T6" fmla="*/ 2147483647 w 5"/>
                    <a:gd name="T7" fmla="*/ 2147483647 h 7"/>
                    <a:gd name="T8" fmla="*/ 2147483647 w 5"/>
                    <a:gd name="T9" fmla="*/ 2147483647 h 7"/>
                    <a:gd name="T10" fmla="*/ 2147483647 w 5"/>
                    <a:gd name="T11" fmla="*/ 2147483647 h 7"/>
                    <a:gd name="T12" fmla="*/ 0 w 5"/>
                    <a:gd name="T13" fmla="*/ 2147483647 h 7"/>
                    <a:gd name="T14" fmla="*/ 2147483647 w 5"/>
                    <a:gd name="T15" fmla="*/ 2147483647 h 7"/>
                    <a:gd name="T16" fmla="*/ 2147483647 w 5"/>
                    <a:gd name="T17" fmla="*/ 2147483647 h 7"/>
                    <a:gd name="T18" fmla="*/ 2147483647 w 5"/>
                    <a:gd name="T19" fmla="*/ 0 h 7"/>
                    <a:gd name="T20" fmla="*/ 2147483647 w 5"/>
                    <a:gd name="T21" fmla="*/ 0 h 7"/>
                    <a:gd name="T22" fmla="*/ 2147483647 w 5"/>
                    <a:gd name="T23" fmla="*/ 2147483647 h 7"/>
                    <a:gd name="T24" fmla="*/ 2147483647 w 5"/>
                    <a:gd name="T25" fmla="*/ 2147483647 h 7"/>
                    <a:gd name="T26" fmla="*/ 2147483647 w 5"/>
                    <a:gd name="T27" fmla="*/ 2147483647 h 7"/>
                    <a:gd name="T28" fmla="*/ 2147483647 w 5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7"/>
                    <a:gd name="T47" fmla="*/ 5 w 5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7">
                      <a:moveTo>
                        <a:pt x="5" y="6"/>
                      </a:move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1" name="Freeform 196">
                  <a:extLst>
                    <a:ext uri="{FF2B5EF4-FFF2-40B4-BE49-F238E27FC236}">
                      <a16:creationId xmlns:a16="http://schemas.microsoft.com/office/drawing/2014/main" id="{BC0AAA3C-42BB-9D44-A9DF-2BB1AF716D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2379" y="5191072"/>
                  <a:ext cx="739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0 w 6"/>
                    <a:gd name="T7" fmla="*/ 2147483647 h 5"/>
                    <a:gd name="T8" fmla="*/ 2147483647 w 6"/>
                    <a:gd name="T9" fmla="*/ 2147483647 h 5"/>
                    <a:gd name="T10" fmla="*/ 2147483647 w 6"/>
                    <a:gd name="T11" fmla="*/ 0 h 5"/>
                    <a:gd name="T12" fmla="*/ 2147483647 w 6"/>
                    <a:gd name="T13" fmla="*/ 2147483647 h 5"/>
                    <a:gd name="T14" fmla="*/ 2147483647 w 6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"/>
                    <a:gd name="T25" fmla="*/ 0 h 5"/>
                    <a:gd name="T26" fmla="*/ 6 w 6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" h="5">
                      <a:moveTo>
                        <a:pt x="6" y="4"/>
                      </a:moveTo>
                      <a:lnTo>
                        <a:pt x="5" y="5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2" name="Freeform 197">
                  <a:extLst>
                    <a:ext uri="{FF2B5EF4-FFF2-40B4-BE49-F238E27FC236}">
                      <a16:creationId xmlns:a16="http://schemas.microsoft.com/office/drawing/2014/main" id="{1CC6C8E1-FF1A-8E49-B355-287B96FFDB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2158" y="5158518"/>
                  <a:ext cx="8879" cy="8879"/>
                </a:xfrm>
                <a:custGeom>
                  <a:avLst/>
                  <a:gdLst>
                    <a:gd name="T0" fmla="*/ 2147483647 w 7"/>
                    <a:gd name="T1" fmla="*/ 0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2147483647 w 7"/>
                    <a:gd name="T11" fmla="*/ 2147483647 h 6"/>
                    <a:gd name="T12" fmla="*/ 2147483647 w 7"/>
                    <a:gd name="T13" fmla="*/ 2147483647 h 6"/>
                    <a:gd name="T14" fmla="*/ 0 w 7"/>
                    <a:gd name="T15" fmla="*/ 2147483647 h 6"/>
                    <a:gd name="T16" fmla="*/ 0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0 h 6"/>
                    <a:gd name="T22" fmla="*/ 2147483647 w 7"/>
                    <a:gd name="T23" fmla="*/ 0 h 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"/>
                    <a:gd name="T37" fmla="*/ 0 h 6"/>
                    <a:gd name="T38" fmla="*/ 7 w 7"/>
                    <a:gd name="T39" fmla="*/ 6 h 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" h="6">
                      <a:moveTo>
                        <a:pt x="6" y="0"/>
                      </a:move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3"/>
                      </a:lnTo>
                      <a:lnTo>
                        <a:pt x="6" y="4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3" name="Freeform 198">
                  <a:extLst>
                    <a:ext uri="{FF2B5EF4-FFF2-40B4-BE49-F238E27FC236}">
                      <a16:creationId xmlns:a16="http://schemas.microsoft.com/office/drawing/2014/main" id="{7C3EAEDF-2406-5347-86CA-F5F82954C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9415" y="5189596"/>
                  <a:ext cx="10359" cy="7399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2147483647 h 5"/>
                    <a:gd name="T4" fmla="*/ 2147483647 w 7"/>
                    <a:gd name="T5" fmla="*/ 2147483647 h 5"/>
                    <a:gd name="T6" fmla="*/ 2147483647 w 7"/>
                    <a:gd name="T7" fmla="*/ 2147483647 h 5"/>
                    <a:gd name="T8" fmla="*/ 0 w 7"/>
                    <a:gd name="T9" fmla="*/ 2147483647 h 5"/>
                    <a:gd name="T10" fmla="*/ 0 w 7"/>
                    <a:gd name="T11" fmla="*/ 2147483647 h 5"/>
                    <a:gd name="T12" fmla="*/ 2147483647 w 7"/>
                    <a:gd name="T13" fmla="*/ 2147483647 h 5"/>
                    <a:gd name="T14" fmla="*/ 2147483647 w 7"/>
                    <a:gd name="T15" fmla="*/ 2147483647 h 5"/>
                    <a:gd name="T16" fmla="*/ 2147483647 w 7"/>
                    <a:gd name="T17" fmla="*/ 0 h 5"/>
                    <a:gd name="T18" fmla="*/ 2147483647 w 7"/>
                    <a:gd name="T19" fmla="*/ 2147483647 h 5"/>
                    <a:gd name="T20" fmla="*/ 2147483647 w 7"/>
                    <a:gd name="T21" fmla="*/ 2147483647 h 5"/>
                    <a:gd name="T22" fmla="*/ 2147483647 w 7"/>
                    <a:gd name="T23" fmla="*/ 2147483647 h 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"/>
                    <a:gd name="T37" fmla="*/ 0 h 5"/>
                    <a:gd name="T38" fmla="*/ 7 w 7"/>
                    <a:gd name="T39" fmla="*/ 5 h 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" h="5">
                      <a:moveTo>
                        <a:pt x="7" y="4"/>
                      </a:move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3" y="4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4" name="Freeform 199">
                  <a:extLst>
                    <a:ext uri="{FF2B5EF4-FFF2-40B4-BE49-F238E27FC236}">
                      <a16:creationId xmlns:a16="http://schemas.microsoft.com/office/drawing/2014/main" id="{9D11BB89-8A16-0F45-8BDB-EE6ED94B8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09201" y="5157039"/>
                  <a:ext cx="10360" cy="7399"/>
                </a:xfrm>
                <a:custGeom>
                  <a:avLst/>
                  <a:gdLst>
                    <a:gd name="T0" fmla="*/ 2147483647 w 8"/>
                    <a:gd name="T1" fmla="*/ 0 h 5"/>
                    <a:gd name="T2" fmla="*/ 2147483647 w 8"/>
                    <a:gd name="T3" fmla="*/ 0 h 5"/>
                    <a:gd name="T4" fmla="*/ 2147483647 w 8"/>
                    <a:gd name="T5" fmla="*/ 2147483647 h 5"/>
                    <a:gd name="T6" fmla="*/ 2147483647 w 8"/>
                    <a:gd name="T7" fmla="*/ 2147483647 h 5"/>
                    <a:gd name="T8" fmla="*/ 2147483647 w 8"/>
                    <a:gd name="T9" fmla="*/ 2147483647 h 5"/>
                    <a:gd name="T10" fmla="*/ 2147483647 w 8"/>
                    <a:gd name="T11" fmla="*/ 2147483647 h 5"/>
                    <a:gd name="T12" fmla="*/ 2147483647 w 8"/>
                    <a:gd name="T13" fmla="*/ 2147483647 h 5"/>
                    <a:gd name="T14" fmla="*/ 2147483647 w 8"/>
                    <a:gd name="T15" fmla="*/ 2147483647 h 5"/>
                    <a:gd name="T16" fmla="*/ 2147483647 w 8"/>
                    <a:gd name="T17" fmla="*/ 2147483647 h 5"/>
                    <a:gd name="T18" fmla="*/ 0 w 8"/>
                    <a:gd name="T19" fmla="*/ 2147483647 h 5"/>
                    <a:gd name="T20" fmla="*/ 0 w 8"/>
                    <a:gd name="T21" fmla="*/ 2147483647 h 5"/>
                    <a:gd name="T22" fmla="*/ 0 w 8"/>
                    <a:gd name="T23" fmla="*/ 2147483647 h 5"/>
                    <a:gd name="T24" fmla="*/ 2147483647 w 8"/>
                    <a:gd name="T25" fmla="*/ 2147483647 h 5"/>
                    <a:gd name="T26" fmla="*/ 2147483647 w 8"/>
                    <a:gd name="T27" fmla="*/ 0 h 5"/>
                    <a:gd name="T28" fmla="*/ 2147483647 w 8"/>
                    <a:gd name="T29" fmla="*/ 0 h 5"/>
                    <a:gd name="T30" fmla="*/ 2147483647 w 8"/>
                    <a:gd name="T31" fmla="*/ 0 h 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"/>
                    <a:gd name="T49" fmla="*/ 0 h 5"/>
                    <a:gd name="T50" fmla="*/ 8 w 8"/>
                    <a:gd name="T51" fmla="*/ 5 h 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" h="5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8" y="2"/>
                      </a:lnTo>
                      <a:lnTo>
                        <a:pt x="8" y="3"/>
                      </a:lnTo>
                      <a:lnTo>
                        <a:pt x="7" y="4"/>
                      </a:ln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5" name="Freeform 200">
                  <a:extLst>
                    <a:ext uri="{FF2B5EF4-FFF2-40B4-BE49-F238E27FC236}">
                      <a16:creationId xmlns:a16="http://schemas.microsoft.com/office/drawing/2014/main" id="{887A11CF-D8AE-E347-B1DC-B828F0443D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44301" y="5208834"/>
                  <a:ext cx="17758" cy="20718"/>
                </a:xfrm>
                <a:custGeom>
                  <a:avLst/>
                  <a:gdLst>
                    <a:gd name="T0" fmla="*/ 2147483647 w 13"/>
                    <a:gd name="T1" fmla="*/ 2147483647 h 14"/>
                    <a:gd name="T2" fmla="*/ 2147483647 w 13"/>
                    <a:gd name="T3" fmla="*/ 2147483647 h 14"/>
                    <a:gd name="T4" fmla="*/ 2147483647 w 13"/>
                    <a:gd name="T5" fmla="*/ 2147483647 h 14"/>
                    <a:gd name="T6" fmla="*/ 2147483647 w 13"/>
                    <a:gd name="T7" fmla="*/ 2147483647 h 14"/>
                    <a:gd name="T8" fmla="*/ 2147483647 w 13"/>
                    <a:gd name="T9" fmla="*/ 2147483647 h 14"/>
                    <a:gd name="T10" fmla="*/ 2147483647 w 13"/>
                    <a:gd name="T11" fmla="*/ 2147483647 h 14"/>
                    <a:gd name="T12" fmla="*/ 2147483647 w 13"/>
                    <a:gd name="T13" fmla="*/ 2147483647 h 14"/>
                    <a:gd name="T14" fmla="*/ 2147483647 w 13"/>
                    <a:gd name="T15" fmla="*/ 2147483647 h 14"/>
                    <a:gd name="T16" fmla="*/ 0 w 13"/>
                    <a:gd name="T17" fmla="*/ 2147483647 h 14"/>
                    <a:gd name="T18" fmla="*/ 0 w 13"/>
                    <a:gd name="T19" fmla="*/ 2147483647 h 14"/>
                    <a:gd name="T20" fmla="*/ 0 w 13"/>
                    <a:gd name="T21" fmla="*/ 2147483647 h 14"/>
                    <a:gd name="T22" fmla="*/ 2147483647 w 13"/>
                    <a:gd name="T23" fmla="*/ 2147483647 h 14"/>
                    <a:gd name="T24" fmla="*/ 2147483647 w 13"/>
                    <a:gd name="T25" fmla="*/ 0 h 14"/>
                    <a:gd name="T26" fmla="*/ 2147483647 w 13"/>
                    <a:gd name="T27" fmla="*/ 0 h 14"/>
                    <a:gd name="T28" fmla="*/ 2147483647 w 13"/>
                    <a:gd name="T29" fmla="*/ 2147483647 h 14"/>
                    <a:gd name="T30" fmla="*/ 2147483647 w 13"/>
                    <a:gd name="T31" fmla="*/ 2147483647 h 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"/>
                    <a:gd name="T49" fmla="*/ 0 h 14"/>
                    <a:gd name="T50" fmla="*/ 13 w 13"/>
                    <a:gd name="T51" fmla="*/ 14 h 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" h="14">
                      <a:moveTo>
                        <a:pt x="10" y="7"/>
                      </a:moveTo>
                      <a:lnTo>
                        <a:pt x="11" y="8"/>
                      </a:lnTo>
                      <a:lnTo>
                        <a:pt x="13" y="10"/>
                      </a:lnTo>
                      <a:lnTo>
                        <a:pt x="11" y="11"/>
                      </a:lnTo>
                      <a:lnTo>
                        <a:pt x="9" y="13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10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6" name="Freeform 201">
                  <a:extLst>
                    <a:ext uri="{FF2B5EF4-FFF2-40B4-BE49-F238E27FC236}">
                      <a16:creationId xmlns:a16="http://schemas.microsoft.com/office/drawing/2014/main" id="{7C8F8DA0-7622-8B43-8628-FEC017CAAF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6500" y="5228073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0 h 6"/>
                    <a:gd name="T14" fmla="*/ 2147483647 w 6"/>
                    <a:gd name="T15" fmla="*/ 0 h 6"/>
                    <a:gd name="T16" fmla="*/ 2147483647 w 6"/>
                    <a:gd name="T17" fmla="*/ 0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6"/>
                    <a:gd name="T35" fmla="*/ 6 w 6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6">
                      <a:moveTo>
                        <a:pt x="6" y="4"/>
                      </a:moveTo>
                      <a:lnTo>
                        <a:pt x="6" y="6"/>
                      </a:lnTo>
                      <a:lnTo>
                        <a:pt x="3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7" name="Freeform 202">
                  <a:extLst>
                    <a:ext uri="{FF2B5EF4-FFF2-40B4-BE49-F238E27FC236}">
                      <a16:creationId xmlns:a16="http://schemas.microsoft.com/office/drawing/2014/main" id="{3412BE47-9208-964B-9575-85C8764BDB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42824" y="5207354"/>
                  <a:ext cx="16279" cy="20718"/>
                </a:xfrm>
                <a:custGeom>
                  <a:avLst/>
                  <a:gdLst>
                    <a:gd name="T0" fmla="*/ 2147483647 w 12"/>
                    <a:gd name="T1" fmla="*/ 2147483647 h 14"/>
                    <a:gd name="T2" fmla="*/ 2147483647 w 12"/>
                    <a:gd name="T3" fmla="*/ 2147483647 h 14"/>
                    <a:gd name="T4" fmla="*/ 2147483647 w 12"/>
                    <a:gd name="T5" fmla="*/ 2147483647 h 14"/>
                    <a:gd name="T6" fmla="*/ 2147483647 w 12"/>
                    <a:gd name="T7" fmla="*/ 2147483647 h 14"/>
                    <a:gd name="T8" fmla="*/ 2147483647 w 12"/>
                    <a:gd name="T9" fmla="*/ 2147483647 h 14"/>
                    <a:gd name="T10" fmla="*/ 2147483647 w 12"/>
                    <a:gd name="T11" fmla="*/ 2147483647 h 14"/>
                    <a:gd name="T12" fmla="*/ 2147483647 w 12"/>
                    <a:gd name="T13" fmla="*/ 2147483647 h 14"/>
                    <a:gd name="T14" fmla="*/ 2147483647 w 12"/>
                    <a:gd name="T15" fmla="*/ 2147483647 h 14"/>
                    <a:gd name="T16" fmla="*/ 2147483647 w 12"/>
                    <a:gd name="T17" fmla="*/ 2147483647 h 14"/>
                    <a:gd name="T18" fmla="*/ 2147483647 w 12"/>
                    <a:gd name="T19" fmla="*/ 2147483647 h 14"/>
                    <a:gd name="T20" fmla="*/ 0 w 12"/>
                    <a:gd name="T21" fmla="*/ 2147483647 h 14"/>
                    <a:gd name="T22" fmla="*/ 0 w 12"/>
                    <a:gd name="T23" fmla="*/ 2147483647 h 14"/>
                    <a:gd name="T24" fmla="*/ 0 w 12"/>
                    <a:gd name="T25" fmla="*/ 2147483647 h 14"/>
                    <a:gd name="T26" fmla="*/ 0 w 12"/>
                    <a:gd name="T27" fmla="*/ 2147483647 h 14"/>
                    <a:gd name="T28" fmla="*/ 2147483647 w 12"/>
                    <a:gd name="T29" fmla="*/ 2147483647 h 14"/>
                    <a:gd name="T30" fmla="*/ 2147483647 w 12"/>
                    <a:gd name="T31" fmla="*/ 0 h 14"/>
                    <a:gd name="T32" fmla="*/ 2147483647 w 12"/>
                    <a:gd name="T33" fmla="*/ 0 h 14"/>
                    <a:gd name="T34" fmla="*/ 2147483647 w 12"/>
                    <a:gd name="T35" fmla="*/ 0 h 14"/>
                    <a:gd name="T36" fmla="*/ 2147483647 w 12"/>
                    <a:gd name="T37" fmla="*/ 2147483647 h 14"/>
                    <a:gd name="T38" fmla="*/ 2147483647 w 12"/>
                    <a:gd name="T39" fmla="*/ 2147483647 h 14"/>
                    <a:gd name="T40" fmla="*/ 2147483647 w 12"/>
                    <a:gd name="T41" fmla="*/ 2147483647 h 1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2"/>
                    <a:gd name="T64" fmla="*/ 0 h 14"/>
                    <a:gd name="T65" fmla="*/ 12 w 12"/>
                    <a:gd name="T66" fmla="*/ 14 h 1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2" h="14">
                      <a:moveTo>
                        <a:pt x="10" y="7"/>
                      </a:moveTo>
                      <a:lnTo>
                        <a:pt x="10" y="7"/>
                      </a:lnTo>
                      <a:lnTo>
                        <a:pt x="11" y="8"/>
                      </a:lnTo>
                      <a:lnTo>
                        <a:pt x="12" y="9"/>
                      </a:lnTo>
                      <a:lnTo>
                        <a:pt x="11" y="11"/>
                      </a:lnTo>
                      <a:lnTo>
                        <a:pt x="9" y="13"/>
                      </a:lnTo>
                      <a:lnTo>
                        <a:pt x="5" y="14"/>
                      </a:lnTo>
                      <a:lnTo>
                        <a:pt x="2" y="14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7" y="2"/>
                      </a:lnTo>
                      <a:lnTo>
                        <a:pt x="10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8" name="Freeform 203">
                  <a:extLst>
                    <a:ext uri="{FF2B5EF4-FFF2-40B4-BE49-F238E27FC236}">
                      <a16:creationId xmlns:a16="http://schemas.microsoft.com/office/drawing/2014/main" id="{7136E39F-6147-5E46-9711-0A506287DF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5022" y="5226592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2147483647 w 7"/>
                    <a:gd name="T11" fmla="*/ 2147483647 h 6"/>
                    <a:gd name="T12" fmla="*/ 0 w 7"/>
                    <a:gd name="T13" fmla="*/ 2147483647 h 6"/>
                    <a:gd name="T14" fmla="*/ 0 w 7"/>
                    <a:gd name="T15" fmla="*/ 2147483647 h 6"/>
                    <a:gd name="T16" fmla="*/ 0 w 7"/>
                    <a:gd name="T17" fmla="*/ 2147483647 h 6"/>
                    <a:gd name="T18" fmla="*/ 0 w 7"/>
                    <a:gd name="T19" fmla="*/ 2147483647 h 6"/>
                    <a:gd name="T20" fmla="*/ 0 w 7"/>
                    <a:gd name="T21" fmla="*/ 0 h 6"/>
                    <a:gd name="T22" fmla="*/ 0 w 7"/>
                    <a:gd name="T23" fmla="*/ 0 h 6"/>
                    <a:gd name="T24" fmla="*/ 2147483647 w 7"/>
                    <a:gd name="T25" fmla="*/ 0 h 6"/>
                    <a:gd name="T26" fmla="*/ 2147483647 w 7"/>
                    <a:gd name="T27" fmla="*/ 0 h 6"/>
                    <a:gd name="T28" fmla="*/ 2147483647 w 7"/>
                    <a:gd name="T29" fmla="*/ 2147483647 h 6"/>
                    <a:gd name="T30" fmla="*/ 2147483647 w 7"/>
                    <a:gd name="T31" fmla="*/ 2147483647 h 6"/>
                    <a:gd name="T32" fmla="*/ 2147483647 w 7"/>
                    <a:gd name="T33" fmla="*/ 2147483647 h 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"/>
                    <a:gd name="T52" fmla="*/ 0 h 6"/>
                    <a:gd name="T53" fmla="*/ 7 w 7"/>
                    <a:gd name="T54" fmla="*/ 6 h 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" h="6">
                      <a:moveTo>
                        <a:pt x="7" y="4"/>
                      </a:moveTo>
                      <a:lnTo>
                        <a:pt x="7" y="4"/>
                      </a:lnTo>
                      <a:lnTo>
                        <a:pt x="7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9" name="Freeform 204">
                  <a:extLst>
                    <a:ext uri="{FF2B5EF4-FFF2-40B4-BE49-F238E27FC236}">
                      <a16:creationId xmlns:a16="http://schemas.microsoft.com/office/drawing/2014/main" id="{F0869A15-2B6F-9542-A6F2-DA013297FD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0983" y="5201435"/>
                  <a:ext cx="5919" cy="7399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2147483647 w 4"/>
                    <a:gd name="T7" fmla="*/ 2147483647 h 5"/>
                    <a:gd name="T8" fmla="*/ 0 w 4"/>
                    <a:gd name="T9" fmla="*/ 2147483647 h 5"/>
                    <a:gd name="T10" fmla="*/ 0 w 4"/>
                    <a:gd name="T11" fmla="*/ 2147483647 h 5"/>
                    <a:gd name="T12" fmla="*/ 2147483647 w 4"/>
                    <a:gd name="T13" fmla="*/ 0 h 5"/>
                    <a:gd name="T14" fmla="*/ 2147483647 w 4"/>
                    <a:gd name="T15" fmla="*/ 0 h 5"/>
                    <a:gd name="T16" fmla="*/ 2147483647 w 4"/>
                    <a:gd name="T17" fmla="*/ 0 h 5"/>
                    <a:gd name="T18" fmla="*/ 2147483647 w 4"/>
                    <a:gd name="T19" fmla="*/ 2147483647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"/>
                    <a:gd name="T31" fmla="*/ 0 h 5"/>
                    <a:gd name="T32" fmla="*/ 4 w 4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" h="5">
                      <a:moveTo>
                        <a:pt x="4" y="4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0" name="Freeform 205">
                  <a:extLst>
                    <a:ext uri="{FF2B5EF4-FFF2-40B4-BE49-F238E27FC236}">
                      <a16:creationId xmlns:a16="http://schemas.microsoft.com/office/drawing/2014/main" id="{B03C23A9-6622-5B4F-B767-757D80962D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77706" y="5191074"/>
                  <a:ext cx="73994" cy="71034"/>
                </a:xfrm>
                <a:custGeom>
                  <a:avLst/>
                  <a:gdLst>
                    <a:gd name="T0" fmla="*/ 2147483647 w 54"/>
                    <a:gd name="T1" fmla="*/ 2147483647 h 48"/>
                    <a:gd name="T2" fmla="*/ 2147483647 w 54"/>
                    <a:gd name="T3" fmla="*/ 2147483647 h 48"/>
                    <a:gd name="T4" fmla="*/ 2147483647 w 54"/>
                    <a:gd name="T5" fmla="*/ 2147483647 h 48"/>
                    <a:gd name="T6" fmla="*/ 2147483647 w 54"/>
                    <a:gd name="T7" fmla="*/ 2147483647 h 48"/>
                    <a:gd name="T8" fmla="*/ 2147483647 w 54"/>
                    <a:gd name="T9" fmla="*/ 2147483647 h 48"/>
                    <a:gd name="T10" fmla="*/ 2147483647 w 54"/>
                    <a:gd name="T11" fmla="*/ 2147483647 h 48"/>
                    <a:gd name="T12" fmla="*/ 2147483647 w 54"/>
                    <a:gd name="T13" fmla="*/ 2147483647 h 48"/>
                    <a:gd name="T14" fmla="*/ 2147483647 w 54"/>
                    <a:gd name="T15" fmla="*/ 2147483647 h 48"/>
                    <a:gd name="T16" fmla="*/ 2147483647 w 54"/>
                    <a:gd name="T17" fmla="*/ 2147483647 h 48"/>
                    <a:gd name="T18" fmla="*/ 2147483647 w 54"/>
                    <a:gd name="T19" fmla="*/ 2147483647 h 48"/>
                    <a:gd name="T20" fmla="*/ 2147483647 w 54"/>
                    <a:gd name="T21" fmla="*/ 2147483647 h 48"/>
                    <a:gd name="T22" fmla="*/ 2147483647 w 54"/>
                    <a:gd name="T23" fmla="*/ 2147483647 h 48"/>
                    <a:gd name="T24" fmla="*/ 2147483647 w 54"/>
                    <a:gd name="T25" fmla="*/ 2147483647 h 48"/>
                    <a:gd name="T26" fmla="*/ 2147483647 w 54"/>
                    <a:gd name="T27" fmla="*/ 2147483647 h 48"/>
                    <a:gd name="T28" fmla="*/ 0 w 54"/>
                    <a:gd name="T29" fmla="*/ 2147483647 h 48"/>
                    <a:gd name="T30" fmla="*/ 0 w 54"/>
                    <a:gd name="T31" fmla="*/ 2147483647 h 48"/>
                    <a:gd name="T32" fmla="*/ 2147483647 w 54"/>
                    <a:gd name="T33" fmla="*/ 0 h 48"/>
                    <a:gd name="T34" fmla="*/ 2147483647 w 54"/>
                    <a:gd name="T35" fmla="*/ 0 h 48"/>
                    <a:gd name="T36" fmla="*/ 2147483647 w 54"/>
                    <a:gd name="T37" fmla="*/ 0 h 48"/>
                    <a:gd name="T38" fmla="*/ 2147483647 w 54"/>
                    <a:gd name="T39" fmla="*/ 2147483647 h 48"/>
                    <a:gd name="T40" fmla="*/ 2147483647 w 54"/>
                    <a:gd name="T41" fmla="*/ 2147483647 h 48"/>
                    <a:gd name="T42" fmla="*/ 2147483647 w 54"/>
                    <a:gd name="T43" fmla="*/ 2147483647 h 4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54"/>
                    <a:gd name="T67" fmla="*/ 0 h 48"/>
                    <a:gd name="T68" fmla="*/ 54 w 54"/>
                    <a:gd name="T69" fmla="*/ 48 h 4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54" h="48">
                      <a:moveTo>
                        <a:pt x="37" y="28"/>
                      </a:moveTo>
                      <a:lnTo>
                        <a:pt x="51" y="39"/>
                      </a:lnTo>
                      <a:lnTo>
                        <a:pt x="54" y="45"/>
                      </a:lnTo>
                      <a:lnTo>
                        <a:pt x="54" y="46"/>
                      </a:lnTo>
                      <a:lnTo>
                        <a:pt x="53" y="48"/>
                      </a:lnTo>
                      <a:lnTo>
                        <a:pt x="49" y="48"/>
                      </a:lnTo>
                      <a:lnTo>
                        <a:pt x="45" y="46"/>
                      </a:lnTo>
                      <a:lnTo>
                        <a:pt x="38" y="42"/>
                      </a:lnTo>
                      <a:lnTo>
                        <a:pt x="28" y="37"/>
                      </a:lnTo>
                      <a:lnTo>
                        <a:pt x="19" y="32"/>
                      </a:lnTo>
                      <a:lnTo>
                        <a:pt x="14" y="26"/>
                      </a:lnTo>
                      <a:lnTo>
                        <a:pt x="9" y="17"/>
                      </a:lnTo>
                      <a:lnTo>
                        <a:pt x="6" y="13"/>
                      </a:lnTo>
                      <a:lnTo>
                        <a:pt x="2" y="10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14" y="5"/>
                      </a:lnTo>
                      <a:lnTo>
                        <a:pt x="23" y="13"/>
                      </a:lnTo>
                      <a:lnTo>
                        <a:pt x="37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1" name="Freeform 206">
                  <a:extLst>
                    <a:ext uri="{FF2B5EF4-FFF2-40B4-BE49-F238E27FC236}">
                      <a16:creationId xmlns:a16="http://schemas.microsoft.com/office/drawing/2014/main" id="{B73D21AE-6156-5744-88B4-000CB6A89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0982" y="5199951"/>
                  <a:ext cx="4440" cy="740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2147483647 w 4"/>
                    <a:gd name="T7" fmla="*/ 2147483647 h 5"/>
                    <a:gd name="T8" fmla="*/ 2147483647 w 4"/>
                    <a:gd name="T9" fmla="*/ 2147483647 h 5"/>
                    <a:gd name="T10" fmla="*/ 2147483647 w 4"/>
                    <a:gd name="T11" fmla="*/ 2147483647 h 5"/>
                    <a:gd name="T12" fmla="*/ 0 w 4"/>
                    <a:gd name="T13" fmla="*/ 2147483647 h 5"/>
                    <a:gd name="T14" fmla="*/ 0 w 4"/>
                    <a:gd name="T15" fmla="*/ 2147483647 h 5"/>
                    <a:gd name="T16" fmla="*/ 2147483647 w 4"/>
                    <a:gd name="T17" fmla="*/ 0 h 5"/>
                    <a:gd name="T18" fmla="*/ 2147483647 w 4"/>
                    <a:gd name="T19" fmla="*/ 0 h 5"/>
                    <a:gd name="T20" fmla="*/ 2147483647 w 4"/>
                    <a:gd name="T21" fmla="*/ 0 h 5"/>
                    <a:gd name="T22" fmla="*/ 2147483647 w 4"/>
                    <a:gd name="T23" fmla="*/ 0 h 5"/>
                    <a:gd name="T24" fmla="*/ 2147483647 w 4"/>
                    <a:gd name="T25" fmla="*/ 2147483647 h 5"/>
                    <a:gd name="T26" fmla="*/ 2147483647 w 4"/>
                    <a:gd name="T27" fmla="*/ 2147483647 h 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"/>
                    <a:gd name="T43" fmla="*/ 0 h 5"/>
                    <a:gd name="T44" fmla="*/ 4 w 4"/>
                    <a:gd name="T45" fmla="*/ 5 h 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" h="5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2" name="Freeform 207">
                  <a:extLst>
                    <a:ext uri="{FF2B5EF4-FFF2-40B4-BE49-F238E27FC236}">
                      <a16:creationId xmlns:a16="http://schemas.microsoft.com/office/drawing/2014/main" id="{E0265A11-5287-8B4E-8DF1-65EC2B6DB1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76228" y="5189593"/>
                  <a:ext cx="73994" cy="69554"/>
                </a:xfrm>
                <a:custGeom>
                  <a:avLst/>
                  <a:gdLst>
                    <a:gd name="T0" fmla="*/ 2147483647 w 55"/>
                    <a:gd name="T1" fmla="*/ 2147483647 h 47"/>
                    <a:gd name="T2" fmla="*/ 2147483647 w 55"/>
                    <a:gd name="T3" fmla="*/ 2147483647 h 47"/>
                    <a:gd name="T4" fmla="*/ 2147483647 w 55"/>
                    <a:gd name="T5" fmla="*/ 2147483647 h 47"/>
                    <a:gd name="T6" fmla="*/ 2147483647 w 55"/>
                    <a:gd name="T7" fmla="*/ 2147483647 h 47"/>
                    <a:gd name="T8" fmla="*/ 2147483647 w 55"/>
                    <a:gd name="T9" fmla="*/ 2147483647 h 47"/>
                    <a:gd name="T10" fmla="*/ 2147483647 w 55"/>
                    <a:gd name="T11" fmla="*/ 2147483647 h 47"/>
                    <a:gd name="T12" fmla="*/ 2147483647 w 55"/>
                    <a:gd name="T13" fmla="*/ 2147483647 h 47"/>
                    <a:gd name="T14" fmla="*/ 2147483647 w 55"/>
                    <a:gd name="T15" fmla="*/ 2147483647 h 47"/>
                    <a:gd name="T16" fmla="*/ 2147483647 w 55"/>
                    <a:gd name="T17" fmla="*/ 2147483647 h 47"/>
                    <a:gd name="T18" fmla="*/ 2147483647 w 55"/>
                    <a:gd name="T19" fmla="*/ 2147483647 h 47"/>
                    <a:gd name="T20" fmla="*/ 2147483647 w 55"/>
                    <a:gd name="T21" fmla="*/ 2147483647 h 47"/>
                    <a:gd name="T22" fmla="*/ 2147483647 w 55"/>
                    <a:gd name="T23" fmla="*/ 2147483647 h 47"/>
                    <a:gd name="T24" fmla="*/ 2147483647 w 55"/>
                    <a:gd name="T25" fmla="*/ 2147483647 h 47"/>
                    <a:gd name="T26" fmla="*/ 2147483647 w 55"/>
                    <a:gd name="T27" fmla="*/ 2147483647 h 47"/>
                    <a:gd name="T28" fmla="*/ 2147483647 w 55"/>
                    <a:gd name="T29" fmla="*/ 2147483647 h 47"/>
                    <a:gd name="T30" fmla="*/ 2147483647 w 55"/>
                    <a:gd name="T31" fmla="*/ 2147483647 h 47"/>
                    <a:gd name="T32" fmla="*/ 2147483647 w 55"/>
                    <a:gd name="T33" fmla="*/ 2147483647 h 47"/>
                    <a:gd name="T34" fmla="*/ 2147483647 w 55"/>
                    <a:gd name="T35" fmla="*/ 2147483647 h 47"/>
                    <a:gd name="T36" fmla="*/ 2147483647 w 55"/>
                    <a:gd name="T37" fmla="*/ 2147483647 h 47"/>
                    <a:gd name="T38" fmla="*/ 0 w 55"/>
                    <a:gd name="T39" fmla="*/ 2147483647 h 47"/>
                    <a:gd name="T40" fmla="*/ 0 w 55"/>
                    <a:gd name="T41" fmla="*/ 2147483647 h 47"/>
                    <a:gd name="T42" fmla="*/ 2147483647 w 55"/>
                    <a:gd name="T43" fmla="*/ 0 h 47"/>
                    <a:gd name="T44" fmla="*/ 2147483647 w 55"/>
                    <a:gd name="T45" fmla="*/ 0 h 47"/>
                    <a:gd name="T46" fmla="*/ 2147483647 w 55"/>
                    <a:gd name="T47" fmla="*/ 0 h 47"/>
                    <a:gd name="T48" fmla="*/ 2147483647 w 55"/>
                    <a:gd name="T49" fmla="*/ 0 h 47"/>
                    <a:gd name="T50" fmla="*/ 2147483647 w 55"/>
                    <a:gd name="T51" fmla="*/ 2147483647 h 47"/>
                    <a:gd name="T52" fmla="*/ 2147483647 w 55"/>
                    <a:gd name="T53" fmla="*/ 2147483647 h 47"/>
                    <a:gd name="T54" fmla="*/ 2147483647 w 55"/>
                    <a:gd name="T55" fmla="*/ 2147483647 h 47"/>
                    <a:gd name="T56" fmla="*/ 2147483647 w 55"/>
                    <a:gd name="T57" fmla="*/ 2147483647 h 4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55"/>
                    <a:gd name="T88" fmla="*/ 0 h 47"/>
                    <a:gd name="T89" fmla="*/ 55 w 55"/>
                    <a:gd name="T90" fmla="*/ 47 h 4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55" h="47">
                      <a:moveTo>
                        <a:pt x="37" y="27"/>
                      </a:moveTo>
                      <a:lnTo>
                        <a:pt x="37" y="27"/>
                      </a:lnTo>
                      <a:lnTo>
                        <a:pt x="51" y="39"/>
                      </a:lnTo>
                      <a:lnTo>
                        <a:pt x="55" y="45"/>
                      </a:lnTo>
                      <a:lnTo>
                        <a:pt x="55" y="46"/>
                      </a:lnTo>
                      <a:lnTo>
                        <a:pt x="54" y="47"/>
                      </a:lnTo>
                      <a:lnTo>
                        <a:pt x="50" y="47"/>
                      </a:lnTo>
                      <a:lnTo>
                        <a:pt x="46" y="46"/>
                      </a:lnTo>
                      <a:lnTo>
                        <a:pt x="39" y="42"/>
                      </a:lnTo>
                      <a:lnTo>
                        <a:pt x="28" y="37"/>
                      </a:lnTo>
                      <a:lnTo>
                        <a:pt x="20" y="32"/>
                      </a:lnTo>
                      <a:lnTo>
                        <a:pt x="14" y="26"/>
                      </a:lnTo>
                      <a:lnTo>
                        <a:pt x="9" y="17"/>
                      </a:lnTo>
                      <a:lnTo>
                        <a:pt x="7" y="13"/>
                      </a:lnTo>
                      <a:lnTo>
                        <a:pt x="3" y="10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4" y="5"/>
                      </a:lnTo>
                      <a:lnTo>
                        <a:pt x="23" y="13"/>
                      </a:lnTo>
                      <a:lnTo>
                        <a:pt x="37" y="2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3" name="Freeform 208">
                  <a:extLst>
                    <a:ext uri="{FF2B5EF4-FFF2-40B4-BE49-F238E27FC236}">
                      <a16:creationId xmlns:a16="http://schemas.microsoft.com/office/drawing/2014/main" id="{BB3DBA27-63DA-4E44-862F-109BEA5DB9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82562" y="5111158"/>
                  <a:ext cx="45877" cy="36997"/>
                </a:xfrm>
                <a:custGeom>
                  <a:avLst/>
                  <a:gdLst>
                    <a:gd name="T0" fmla="*/ 2147483647 w 33"/>
                    <a:gd name="T1" fmla="*/ 2147483647 h 25"/>
                    <a:gd name="T2" fmla="*/ 2147483647 w 33"/>
                    <a:gd name="T3" fmla="*/ 2147483647 h 25"/>
                    <a:gd name="T4" fmla="*/ 2147483647 w 33"/>
                    <a:gd name="T5" fmla="*/ 2147483647 h 25"/>
                    <a:gd name="T6" fmla="*/ 2147483647 w 33"/>
                    <a:gd name="T7" fmla="*/ 2147483647 h 25"/>
                    <a:gd name="T8" fmla="*/ 2147483647 w 33"/>
                    <a:gd name="T9" fmla="*/ 2147483647 h 25"/>
                    <a:gd name="T10" fmla="*/ 0 w 33"/>
                    <a:gd name="T11" fmla="*/ 2147483647 h 25"/>
                    <a:gd name="T12" fmla="*/ 2147483647 w 33"/>
                    <a:gd name="T13" fmla="*/ 2147483647 h 25"/>
                    <a:gd name="T14" fmla="*/ 2147483647 w 33"/>
                    <a:gd name="T15" fmla="*/ 2147483647 h 25"/>
                    <a:gd name="T16" fmla="*/ 2147483647 w 33"/>
                    <a:gd name="T17" fmla="*/ 2147483647 h 25"/>
                    <a:gd name="T18" fmla="*/ 2147483647 w 33"/>
                    <a:gd name="T19" fmla="*/ 0 h 25"/>
                    <a:gd name="T20" fmla="*/ 2147483647 w 33"/>
                    <a:gd name="T21" fmla="*/ 0 h 25"/>
                    <a:gd name="T22" fmla="*/ 2147483647 w 33"/>
                    <a:gd name="T23" fmla="*/ 2147483647 h 25"/>
                    <a:gd name="T24" fmla="*/ 2147483647 w 33"/>
                    <a:gd name="T25" fmla="*/ 2147483647 h 25"/>
                    <a:gd name="T26" fmla="*/ 2147483647 w 33"/>
                    <a:gd name="T27" fmla="*/ 2147483647 h 25"/>
                    <a:gd name="T28" fmla="*/ 2147483647 w 33"/>
                    <a:gd name="T29" fmla="*/ 2147483647 h 25"/>
                    <a:gd name="T30" fmla="*/ 2147483647 w 33"/>
                    <a:gd name="T31" fmla="*/ 2147483647 h 25"/>
                    <a:gd name="T32" fmla="*/ 2147483647 w 33"/>
                    <a:gd name="T33" fmla="*/ 2147483647 h 25"/>
                    <a:gd name="T34" fmla="*/ 2147483647 w 33"/>
                    <a:gd name="T35" fmla="*/ 2147483647 h 25"/>
                    <a:gd name="T36" fmla="*/ 2147483647 w 33"/>
                    <a:gd name="T37" fmla="*/ 2147483647 h 25"/>
                    <a:gd name="T38" fmla="*/ 2147483647 w 33"/>
                    <a:gd name="T39" fmla="*/ 2147483647 h 25"/>
                    <a:gd name="T40" fmla="*/ 2147483647 w 33"/>
                    <a:gd name="T41" fmla="*/ 2147483647 h 2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3"/>
                    <a:gd name="T64" fmla="*/ 0 h 25"/>
                    <a:gd name="T65" fmla="*/ 33 w 33"/>
                    <a:gd name="T66" fmla="*/ 25 h 2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3" h="25">
                      <a:moveTo>
                        <a:pt x="14" y="22"/>
                      </a:moveTo>
                      <a:lnTo>
                        <a:pt x="8" y="22"/>
                      </a:lnTo>
                      <a:lnTo>
                        <a:pt x="5" y="21"/>
                      </a:lnTo>
                      <a:lnTo>
                        <a:pt x="4" y="20"/>
                      </a:lnTo>
                      <a:lnTo>
                        <a:pt x="2" y="16"/>
                      </a:lnTo>
                      <a:lnTo>
                        <a:pt x="0" y="13"/>
                      </a:lnTo>
                      <a:lnTo>
                        <a:pt x="2" y="8"/>
                      </a:lnTo>
                      <a:lnTo>
                        <a:pt x="4" y="4"/>
                      </a:lnTo>
                      <a:lnTo>
                        <a:pt x="8" y="2"/>
                      </a:lnTo>
                      <a:lnTo>
                        <a:pt x="13" y="0"/>
                      </a:lnTo>
                      <a:lnTo>
                        <a:pt x="17" y="0"/>
                      </a:lnTo>
                      <a:lnTo>
                        <a:pt x="22" y="1"/>
                      </a:lnTo>
                      <a:lnTo>
                        <a:pt x="26" y="2"/>
                      </a:lnTo>
                      <a:lnTo>
                        <a:pt x="29" y="6"/>
                      </a:lnTo>
                      <a:lnTo>
                        <a:pt x="32" y="9"/>
                      </a:lnTo>
                      <a:lnTo>
                        <a:pt x="33" y="14"/>
                      </a:lnTo>
                      <a:lnTo>
                        <a:pt x="33" y="19"/>
                      </a:lnTo>
                      <a:lnTo>
                        <a:pt x="29" y="22"/>
                      </a:lnTo>
                      <a:lnTo>
                        <a:pt x="26" y="25"/>
                      </a:lnTo>
                      <a:lnTo>
                        <a:pt x="19" y="25"/>
                      </a:lnTo>
                      <a:lnTo>
                        <a:pt x="14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4" name="Freeform 209">
                  <a:extLst>
                    <a:ext uri="{FF2B5EF4-FFF2-40B4-BE49-F238E27FC236}">
                      <a16:creationId xmlns:a16="http://schemas.microsoft.com/office/drawing/2014/main" id="{FE244EEB-E8A6-E645-A20D-44E1F9749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5118" y="5074165"/>
                  <a:ext cx="50316" cy="32557"/>
                </a:xfrm>
                <a:custGeom>
                  <a:avLst/>
                  <a:gdLst>
                    <a:gd name="T0" fmla="*/ 2147483647 w 37"/>
                    <a:gd name="T1" fmla="*/ 2147483647 h 22"/>
                    <a:gd name="T2" fmla="*/ 2147483647 w 37"/>
                    <a:gd name="T3" fmla="*/ 2147483647 h 22"/>
                    <a:gd name="T4" fmla="*/ 2147483647 w 37"/>
                    <a:gd name="T5" fmla="*/ 2147483647 h 22"/>
                    <a:gd name="T6" fmla="*/ 2147483647 w 37"/>
                    <a:gd name="T7" fmla="*/ 2147483647 h 22"/>
                    <a:gd name="T8" fmla="*/ 2147483647 w 37"/>
                    <a:gd name="T9" fmla="*/ 2147483647 h 22"/>
                    <a:gd name="T10" fmla="*/ 2147483647 w 37"/>
                    <a:gd name="T11" fmla="*/ 2147483647 h 22"/>
                    <a:gd name="T12" fmla="*/ 2147483647 w 37"/>
                    <a:gd name="T13" fmla="*/ 2147483647 h 22"/>
                    <a:gd name="T14" fmla="*/ 2147483647 w 37"/>
                    <a:gd name="T15" fmla="*/ 2147483647 h 22"/>
                    <a:gd name="T16" fmla="*/ 2147483647 w 37"/>
                    <a:gd name="T17" fmla="*/ 2147483647 h 22"/>
                    <a:gd name="T18" fmla="*/ 2147483647 w 37"/>
                    <a:gd name="T19" fmla="*/ 2147483647 h 22"/>
                    <a:gd name="T20" fmla="*/ 2147483647 w 37"/>
                    <a:gd name="T21" fmla="*/ 2147483647 h 22"/>
                    <a:gd name="T22" fmla="*/ 2147483647 w 37"/>
                    <a:gd name="T23" fmla="*/ 2147483647 h 22"/>
                    <a:gd name="T24" fmla="*/ 2147483647 w 37"/>
                    <a:gd name="T25" fmla="*/ 2147483647 h 22"/>
                    <a:gd name="T26" fmla="*/ 2147483647 w 37"/>
                    <a:gd name="T27" fmla="*/ 2147483647 h 22"/>
                    <a:gd name="T28" fmla="*/ 2147483647 w 37"/>
                    <a:gd name="T29" fmla="*/ 2147483647 h 22"/>
                    <a:gd name="T30" fmla="*/ 2147483647 w 37"/>
                    <a:gd name="T31" fmla="*/ 2147483647 h 22"/>
                    <a:gd name="T32" fmla="*/ 0 w 37"/>
                    <a:gd name="T33" fmla="*/ 2147483647 h 22"/>
                    <a:gd name="T34" fmla="*/ 0 w 37"/>
                    <a:gd name="T35" fmla="*/ 2147483647 h 22"/>
                    <a:gd name="T36" fmla="*/ 0 w 37"/>
                    <a:gd name="T37" fmla="*/ 2147483647 h 22"/>
                    <a:gd name="T38" fmla="*/ 2147483647 w 37"/>
                    <a:gd name="T39" fmla="*/ 2147483647 h 22"/>
                    <a:gd name="T40" fmla="*/ 2147483647 w 37"/>
                    <a:gd name="T41" fmla="*/ 2147483647 h 22"/>
                    <a:gd name="T42" fmla="*/ 2147483647 w 37"/>
                    <a:gd name="T43" fmla="*/ 2147483647 h 22"/>
                    <a:gd name="T44" fmla="*/ 2147483647 w 37"/>
                    <a:gd name="T45" fmla="*/ 2147483647 h 22"/>
                    <a:gd name="T46" fmla="*/ 2147483647 w 37"/>
                    <a:gd name="T47" fmla="*/ 0 h 22"/>
                    <a:gd name="T48" fmla="*/ 2147483647 w 37"/>
                    <a:gd name="T49" fmla="*/ 2147483647 h 2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7"/>
                    <a:gd name="T76" fmla="*/ 0 h 22"/>
                    <a:gd name="T77" fmla="*/ 37 w 37"/>
                    <a:gd name="T78" fmla="*/ 22 h 2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7" h="22">
                      <a:moveTo>
                        <a:pt x="31" y="1"/>
                      </a:moveTo>
                      <a:lnTo>
                        <a:pt x="36" y="3"/>
                      </a:lnTo>
                      <a:lnTo>
                        <a:pt x="36" y="5"/>
                      </a:lnTo>
                      <a:lnTo>
                        <a:pt x="37" y="6"/>
                      </a:lnTo>
                      <a:lnTo>
                        <a:pt x="34" y="12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18"/>
                      </a:lnTo>
                      <a:lnTo>
                        <a:pt x="24" y="18"/>
                      </a:lnTo>
                      <a:lnTo>
                        <a:pt x="20" y="16"/>
                      </a:lnTo>
                      <a:lnTo>
                        <a:pt x="17" y="16"/>
                      </a:lnTo>
                      <a:lnTo>
                        <a:pt x="14" y="18"/>
                      </a:lnTo>
                      <a:lnTo>
                        <a:pt x="12" y="20"/>
                      </a:lnTo>
                      <a:lnTo>
                        <a:pt x="9" y="21"/>
                      </a:lnTo>
                      <a:lnTo>
                        <a:pt x="5" y="22"/>
                      </a:lnTo>
                      <a:lnTo>
                        <a:pt x="3" y="20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3" y="10"/>
                      </a:lnTo>
                      <a:lnTo>
                        <a:pt x="9" y="7"/>
                      </a:lnTo>
                      <a:lnTo>
                        <a:pt x="17" y="3"/>
                      </a:lnTo>
                      <a:lnTo>
                        <a:pt x="23" y="1"/>
                      </a:lnTo>
                      <a:lnTo>
                        <a:pt x="27" y="0"/>
                      </a:lnTo>
                      <a:lnTo>
                        <a:pt x="3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5" name="Freeform 210">
                  <a:extLst>
                    <a:ext uri="{FF2B5EF4-FFF2-40B4-BE49-F238E27FC236}">
                      <a16:creationId xmlns:a16="http://schemas.microsoft.com/office/drawing/2014/main" id="{8E737796-FD82-684C-BA60-9CA7057C8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81081" y="5109679"/>
                  <a:ext cx="45876" cy="35517"/>
                </a:xfrm>
                <a:custGeom>
                  <a:avLst/>
                  <a:gdLst>
                    <a:gd name="T0" fmla="*/ 2147483647 w 33"/>
                    <a:gd name="T1" fmla="*/ 2147483647 h 24"/>
                    <a:gd name="T2" fmla="*/ 2147483647 w 33"/>
                    <a:gd name="T3" fmla="*/ 2147483647 h 24"/>
                    <a:gd name="T4" fmla="*/ 2147483647 w 33"/>
                    <a:gd name="T5" fmla="*/ 2147483647 h 24"/>
                    <a:gd name="T6" fmla="*/ 2147483647 w 33"/>
                    <a:gd name="T7" fmla="*/ 2147483647 h 24"/>
                    <a:gd name="T8" fmla="*/ 2147483647 w 33"/>
                    <a:gd name="T9" fmla="*/ 2147483647 h 24"/>
                    <a:gd name="T10" fmla="*/ 2147483647 w 33"/>
                    <a:gd name="T11" fmla="*/ 2147483647 h 24"/>
                    <a:gd name="T12" fmla="*/ 2147483647 w 33"/>
                    <a:gd name="T13" fmla="*/ 2147483647 h 24"/>
                    <a:gd name="T14" fmla="*/ 0 w 33"/>
                    <a:gd name="T15" fmla="*/ 2147483647 h 24"/>
                    <a:gd name="T16" fmla="*/ 2147483647 w 33"/>
                    <a:gd name="T17" fmla="*/ 2147483647 h 24"/>
                    <a:gd name="T18" fmla="*/ 2147483647 w 33"/>
                    <a:gd name="T19" fmla="*/ 2147483647 h 24"/>
                    <a:gd name="T20" fmla="*/ 2147483647 w 33"/>
                    <a:gd name="T21" fmla="*/ 2147483647 h 24"/>
                    <a:gd name="T22" fmla="*/ 2147483647 w 33"/>
                    <a:gd name="T23" fmla="*/ 2147483647 h 24"/>
                    <a:gd name="T24" fmla="*/ 2147483647 w 33"/>
                    <a:gd name="T25" fmla="*/ 0 h 24"/>
                    <a:gd name="T26" fmla="*/ 2147483647 w 33"/>
                    <a:gd name="T27" fmla="*/ 0 h 24"/>
                    <a:gd name="T28" fmla="*/ 2147483647 w 33"/>
                    <a:gd name="T29" fmla="*/ 2147483647 h 24"/>
                    <a:gd name="T30" fmla="*/ 2147483647 w 33"/>
                    <a:gd name="T31" fmla="*/ 2147483647 h 24"/>
                    <a:gd name="T32" fmla="*/ 2147483647 w 33"/>
                    <a:gd name="T33" fmla="*/ 2147483647 h 24"/>
                    <a:gd name="T34" fmla="*/ 2147483647 w 33"/>
                    <a:gd name="T35" fmla="*/ 2147483647 h 24"/>
                    <a:gd name="T36" fmla="*/ 2147483647 w 33"/>
                    <a:gd name="T37" fmla="*/ 2147483647 h 24"/>
                    <a:gd name="T38" fmla="*/ 2147483647 w 33"/>
                    <a:gd name="T39" fmla="*/ 2147483647 h 24"/>
                    <a:gd name="T40" fmla="*/ 2147483647 w 33"/>
                    <a:gd name="T41" fmla="*/ 2147483647 h 24"/>
                    <a:gd name="T42" fmla="*/ 2147483647 w 33"/>
                    <a:gd name="T43" fmla="*/ 2147483647 h 24"/>
                    <a:gd name="T44" fmla="*/ 2147483647 w 33"/>
                    <a:gd name="T45" fmla="*/ 2147483647 h 24"/>
                    <a:gd name="T46" fmla="*/ 2147483647 w 33"/>
                    <a:gd name="T47" fmla="*/ 2147483647 h 24"/>
                    <a:gd name="T48" fmla="*/ 2147483647 w 33"/>
                    <a:gd name="T49" fmla="*/ 2147483647 h 24"/>
                    <a:gd name="T50" fmla="*/ 2147483647 w 33"/>
                    <a:gd name="T51" fmla="*/ 2147483647 h 24"/>
                    <a:gd name="T52" fmla="*/ 2147483647 w 33"/>
                    <a:gd name="T53" fmla="*/ 2147483647 h 2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33"/>
                    <a:gd name="T82" fmla="*/ 0 h 24"/>
                    <a:gd name="T83" fmla="*/ 33 w 33"/>
                    <a:gd name="T84" fmla="*/ 24 h 2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33" h="24">
                      <a:moveTo>
                        <a:pt x="14" y="22"/>
                      </a:moveTo>
                      <a:lnTo>
                        <a:pt x="14" y="22"/>
                      </a:lnTo>
                      <a:lnTo>
                        <a:pt x="8" y="22"/>
                      </a:lnTo>
                      <a:lnTo>
                        <a:pt x="5" y="21"/>
                      </a:lnTo>
                      <a:lnTo>
                        <a:pt x="4" y="20"/>
                      </a:lnTo>
                      <a:lnTo>
                        <a:pt x="1" y="16"/>
                      </a:lnTo>
                      <a:lnTo>
                        <a:pt x="0" y="13"/>
                      </a:lnTo>
                      <a:lnTo>
                        <a:pt x="1" y="8"/>
                      </a:lnTo>
                      <a:lnTo>
                        <a:pt x="4" y="4"/>
                      </a:lnTo>
                      <a:lnTo>
                        <a:pt x="8" y="2"/>
                      </a:lnTo>
                      <a:lnTo>
                        <a:pt x="13" y="0"/>
                      </a:lnTo>
                      <a:lnTo>
                        <a:pt x="16" y="0"/>
                      </a:lnTo>
                      <a:lnTo>
                        <a:pt x="22" y="1"/>
                      </a:lnTo>
                      <a:lnTo>
                        <a:pt x="25" y="2"/>
                      </a:lnTo>
                      <a:lnTo>
                        <a:pt x="29" y="5"/>
                      </a:lnTo>
                      <a:lnTo>
                        <a:pt x="32" y="9"/>
                      </a:lnTo>
                      <a:lnTo>
                        <a:pt x="33" y="14"/>
                      </a:lnTo>
                      <a:lnTo>
                        <a:pt x="33" y="19"/>
                      </a:lnTo>
                      <a:lnTo>
                        <a:pt x="29" y="22"/>
                      </a:lnTo>
                      <a:lnTo>
                        <a:pt x="25" y="24"/>
                      </a:lnTo>
                      <a:lnTo>
                        <a:pt x="19" y="24"/>
                      </a:lnTo>
                      <a:lnTo>
                        <a:pt x="14" y="2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6" name="Freeform 211">
                  <a:extLst>
                    <a:ext uri="{FF2B5EF4-FFF2-40B4-BE49-F238E27FC236}">
                      <a16:creationId xmlns:a16="http://schemas.microsoft.com/office/drawing/2014/main" id="{8500FF18-A1E2-5243-AFCA-8A296A1692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639" y="5072685"/>
                  <a:ext cx="50316" cy="32557"/>
                </a:xfrm>
                <a:custGeom>
                  <a:avLst/>
                  <a:gdLst>
                    <a:gd name="T0" fmla="*/ 2147483647 w 37"/>
                    <a:gd name="T1" fmla="*/ 2147483647 h 22"/>
                    <a:gd name="T2" fmla="*/ 2147483647 w 37"/>
                    <a:gd name="T3" fmla="*/ 2147483647 h 22"/>
                    <a:gd name="T4" fmla="*/ 2147483647 w 37"/>
                    <a:gd name="T5" fmla="*/ 2147483647 h 22"/>
                    <a:gd name="T6" fmla="*/ 2147483647 w 37"/>
                    <a:gd name="T7" fmla="*/ 2147483647 h 22"/>
                    <a:gd name="T8" fmla="*/ 2147483647 w 37"/>
                    <a:gd name="T9" fmla="*/ 2147483647 h 22"/>
                    <a:gd name="T10" fmla="*/ 2147483647 w 37"/>
                    <a:gd name="T11" fmla="*/ 2147483647 h 22"/>
                    <a:gd name="T12" fmla="*/ 2147483647 w 37"/>
                    <a:gd name="T13" fmla="*/ 2147483647 h 22"/>
                    <a:gd name="T14" fmla="*/ 2147483647 w 37"/>
                    <a:gd name="T15" fmla="*/ 2147483647 h 22"/>
                    <a:gd name="T16" fmla="*/ 2147483647 w 37"/>
                    <a:gd name="T17" fmla="*/ 2147483647 h 22"/>
                    <a:gd name="T18" fmla="*/ 2147483647 w 37"/>
                    <a:gd name="T19" fmla="*/ 2147483647 h 22"/>
                    <a:gd name="T20" fmla="*/ 2147483647 w 37"/>
                    <a:gd name="T21" fmla="*/ 2147483647 h 22"/>
                    <a:gd name="T22" fmla="*/ 2147483647 w 37"/>
                    <a:gd name="T23" fmla="*/ 2147483647 h 22"/>
                    <a:gd name="T24" fmla="*/ 2147483647 w 37"/>
                    <a:gd name="T25" fmla="*/ 2147483647 h 22"/>
                    <a:gd name="T26" fmla="*/ 2147483647 w 37"/>
                    <a:gd name="T27" fmla="*/ 2147483647 h 22"/>
                    <a:gd name="T28" fmla="*/ 2147483647 w 37"/>
                    <a:gd name="T29" fmla="*/ 2147483647 h 22"/>
                    <a:gd name="T30" fmla="*/ 2147483647 w 37"/>
                    <a:gd name="T31" fmla="*/ 2147483647 h 22"/>
                    <a:gd name="T32" fmla="*/ 2147483647 w 37"/>
                    <a:gd name="T33" fmla="*/ 2147483647 h 22"/>
                    <a:gd name="T34" fmla="*/ 2147483647 w 37"/>
                    <a:gd name="T35" fmla="*/ 2147483647 h 22"/>
                    <a:gd name="T36" fmla="*/ 2147483647 w 37"/>
                    <a:gd name="T37" fmla="*/ 2147483647 h 22"/>
                    <a:gd name="T38" fmla="*/ 2147483647 w 37"/>
                    <a:gd name="T39" fmla="*/ 2147483647 h 22"/>
                    <a:gd name="T40" fmla="*/ 2147483647 w 37"/>
                    <a:gd name="T41" fmla="*/ 2147483647 h 22"/>
                    <a:gd name="T42" fmla="*/ 0 w 37"/>
                    <a:gd name="T43" fmla="*/ 2147483647 h 22"/>
                    <a:gd name="T44" fmla="*/ 0 w 37"/>
                    <a:gd name="T45" fmla="*/ 2147483647 h 22"/>
                    <a:gd name="T46" fmla="*/ 0 w 37"/>
                    <a:gd name="T47" fmla="*/ 2147483647 h 22"/>
                    <a:gd name="T48" fmla="*/ 2147483647 w 37"/>
                    <a:gd name="T49" fmla="*/ 2147483647 h 22"/>
                    <a:gd name="T50" fmla="*/ 2147483647 w 37"/>
                    <a:gd name="T51" fmla="*/ 2147483647 h 22"/>
                    <a:gd name="T52" fmla="*/ 2147483647 w 37"/>
                    <a:gd name="T53" fmla="*/ 2147483647 h 22"/>
                    <a:gd name="T54" fmla="*/ 2147483647 w 37"/>
                    <a:gd name="T55" fmla="*/ 2147483647 h 22"/>
                    <a:gd name="T56" fmla="*/ 2147483647 w 37"/>
                    <a:gd name="T57" fmla="*/ 2147483647 h 22"/>
                    <a:gd name="T58" fmla="*/ 2147483647 w 37"/>
                    <a:gd name="T59" fmla="*/ 0 h 22"/>
                    <a:gd name="T60" fmla="*/ 2147483647 w 37"/>
                    <a:gd name="T61" fmla="*/ 2147483647 h 22"/>
                    <a:gd name="T62" fmla="*/ 2147483647 w 37"/>
                    <a:gd name="T63" fmla="*/ 2147483647 h 2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7"/>
                    <a:gd name="T97" fmla="*/ 0 h 22"/>
                    <a:gd name="T98" fmla="*/ 37 w 37"/>
                    <a:gd name="T99" fmla="*/ 22 h 2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7" h="22">
                      <a:moveTo>
                        <a:pt x="30" y="1"/>
                      </a:moveTo>
                      <a:lnTo>
                        <a:pt x="30" y="1"/>
                      </a:lnTo>
                      <a:lnTo>
                        <a:pt x="35" y="3"/>
                      </a:lnTo>
                      <a:lnTo>
                        <a:pt x="35" y="4"/>
                      </a:lnTo>
                      <a:lnTo>
                        <a:pt x="37" y="6"/>
                      </a:lnTo>
                      <a:lnTo>
                        <a:pt x="34" y="11"/>
                      </a:lnTo>
                      <a:lnTo>
                        <a:pt x="34" y="15"/>
                      </a:lnTo>
                      <a:lnTo>
                        <a:pt x="33" y="17"/>
                      </a:lnTo>
                      <a:lnTo>
                        <a:pt x="32" y="17"/>
                      </a:lnTo>
                      <a:lnTo>
                        <a:pt x="24" y="17"/>
                      </a:lnTo>
                      <a:lnTo>
                        <a:pt x="20" y="16"/>
                      </a:lnTo>
                      <a:lnTo>
                        <a:pt x="16" y="16"/>
                      </a:lnTo>
                      <a:lnTo>
                        <a:pt x="14" y="17"/>
                      </a:lnTo>
                      <a:lnTo>
                        <a:pt x="11" y="20"/>
                      </a:lnTo>
                      <a:lnTo>
                        <a:pt x="9" y="21"/>
                      </a:lnTo>
                      <a:lnTo>
                        <a:pt x="5" y="22"/>
                      </a:lnTo>
                      <a:lnTo>
                        <a:pt x="2" y="20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2" y="10"/>
                      </a:lnTo>
                      <a:lnTo>
                        <a:pt x="9" y="7"/>
                      </a:lnTo>
                      <a:lnTo>
                        <a:pt x="16" y="3"/>
                      </a:lnTo>
                      <a:lnTo>
                        <a:pt x="23" y="1"/>
                      </a:lnTo>
                      <a:lnTo>
                        <a:pt x="26" y="0"/>
                      </a:lnTo>
                      <a:lnTo>
                        <a:pt x="30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7" name="Freeform 212">
                  <a:extLst>
                    <a:ext uri="{FF2B5EF4-FFF2-40B4-BE49-F238E27FC236}">
                      <a16:creationId xmlns:a16="http://schemas.microsoft.com/office/drawing/2014/main" id="{7DA74E4E-8C5A-8046-AB89-504951045D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4673" y="5123001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0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5" y="2"/>
                      </a:move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8" name="Freeform 213">
                  <a:extLst>
                    <a:ext uri="{FF2B5EF4-FFF2-40B4-BE49-F238E27FC236}">
                      <a16:creationId xmlns:a16="http://schemas.microsoft.com/office/drawing/2014/main" id="{57A40910-46AC-BA42-BD10-0BEBB3D046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5435" y="5161474"/>
                  <a:ext cx="5919" cy="7400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0 w 5"/>
                    <a:gd name="T5" fmla="*/ 2147483647 h 5"/>
                    <a:gd name="T6" fmla="*/ 0 w 5"/>
                    <a:gd name="T7" fmla="*/ 2147483647 h 5"/>
                    <a:gd name="T8" fmla="*/ 2147483647 w 5"/>
                    <a:gd name="T9" fmla="*/ 0 h 5"/>
                    <a:gd name="T10" fmla="*/ 2147483647 w 5"/>
                    <a:gd name="T11" fmla="*/ 0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"/>
                    <a:gd name="T25" fmla="*/ 0 h 5"/>
                    <a:gd name="T26" fmla="*/ 5 w 5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" h="5">
                      <a:moveTo>
                        <a:pt x="4" y="5"/>
                      </a:move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9" name="Freeform 214">
                  <a:extLst>
                    <a:ext uri="{FF2B5EF4-FFF2-40B4-BE49-F238E27FC236}">
                      <a16:creationId xmlns:a16="http://schemas.microsoft.com/office/drawing/2014/main" id="{0BB4D20F-30EF-AC4B-82D5-807A935F23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3192" y="5121522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0 w 5"/>
                    <a:gd name="T15" fmla="*/ 2147483647 h 6"/>
                    <a:gd name="T16" fmla="*/ 0 w 5"/>
                    <a:gd name="T17" fmla="*/ 2147483647 h 6"/>
                    <a:gd name="T18" fmla="*/ 0 w 5"/>
                    <a:gd name="T19" fmla="*/ 2147483647 h 6"/>
                    <a:gd name="T20" fmla="*/ 2147483647 w 5"/>
                    <a:gd name="T21" fmla="*/ 0 h 6"/>
                    <a:gd name="T22" fmla="*/ 2147483647 w 5"/>
                    <a:gd name="T23" fmla="*/ 0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6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0" name="Freeform 215">
                  <a:extLst>
                    <a:ext uri="{FF2B5EF4-FFF2-40B4-BE49-F238E27FC236}">
                      <a16:creationId xmlns:a16="http://schemas.microsoft.com/office/drawing/2014/main" id="{7845758A-AA71-A64A-A520-822749DEB1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3954" y="5159998"/>
                  <a:ext cx="5919" cy="7399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2147483647 h 5"/>
                    <a:gd name="T6" fmla="*/ 0 w 5"/>
                    <a:gd name="T7" fmla="*/ 2147483647 h 5"/>
                    <a:gd name="T8" fmla="*/ 0 w 5"/>
                    <a:gd name="T9" fmla="*/ 2147483647 h 5"/>
                    <a:gd name="T10" fmla="*/ 0 w 5"/>
                    <a:gd name="T11" fmla="*/ 2147483647 h 5"/>
                    <a:gd name="T12" fmla="*/ 2147483647 w 5"/>
                    <a:gd name="T13" fmla="*/ 0 h 5"/>
                    <a:gd name="T14" fmla="*/ 2147483647 w 5"/>
                    <a:gd name="T15" fmla="*/ 0 h 5"/>
                    <a:gd name="T16" fmla="*/ 2147483647 w 5"/>
                    <a:gd name="T17" fmla="*/ 0 h 5"/>
                    <a:gd name="T18" fmla="*/ 2147483647 w 5"/>
                    <a:gd name="T19" fmla="*/ 2147483647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"/>
                    <a:gd name="T37" fmla="*/ 0 h 5"/>
                    <a:gd name="T38" fmla="*/ 5 w 5"/>
                    <a:gd name="T39" fmla="*/ 5 h 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" h="5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1" name="Freeform 216">
                  <a:extLst>
                    <a:ext uri="{FF2B5EF4-FFF2-40B4-BE49-F238E27FC236}">
                      <a16:creationId xmlns:a16="http://schemas.microsoft.com/office/drawing/2014/main" id="{1578F6FF-7836-CE46-AC9A-DFD31CD5F2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80863" y="5179237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0 w 5"/>
                    <a:gd name="T9" fmla="*/ 2147483647 h 6"/>
                    <a:gd name="T10" fmla="*/ 0 w 5"/>
                    <a:gd name="T11" fmla="*/ 2147483647 h 6"/>
                    <a:gd name="T12" fmla="*/ 2147483647 w 5"/>
                    <a:gd name="T13" fmla="*/ 0 h 6"/>
                    <a:gd name="T14" fmla="*/ 2147483647 w 5"/>
                    <a:gd name="T15" fmla="*/ 0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2"/>
                      </a:moveTo>
                      <a:lnTo>
                        <a:pt x="5" y="5"/>
                      </a:lnTo>
                      <a:lnTo>
                        <a:pt x="3" y="6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2" name="Freeform 217">
                  <a:extLst>
                    <a:ext uri="{FF2B5EF4-FFF2-40B4-BE49-F238E27FC236}">
                      <a16:creationId xmlns:a16="http://schemas.microsoft.com/office/drawing/2014/main" id="{AF9C6EA5-5754-1E43-8A30-5180141890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67548" y="5225112"/>
                  <a:ext cx="739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0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0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7"/>
                    <a:gd name="T29" fmla="*/ 6 w 6"/>
                    <a:gd name="T30" fmla="*/ 7 h 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7">
                      <a:moveTo>
                        <a:pt x="6" y="5"/>
                      </a:move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3" name="Freeform 218">
                  <a:extLst>
                    <a:ext uri="{FF2B5EF4-FFF2-40B4-BE49-F238E27FC236}">
                      <a16:creationId xmlns:a16="http://schemas.microsoft.com/office/drawing/2014/main" id="{66CAACA5-7806-4449-A83C-93980CF09A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79387" y="5177757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0 w 5"/>
                    <a:gd name="T13" fmla="*/ 2147483647 h 6"/>
                    <a:gd name="T14" fmla="*/ 0 w 5"/>
                    <a:gd name="T15" fmla="*/ 2147483647 h 6"/>
                    <a:gd name="T16" fmla="*/ 0 w 5"/>
                    <a:gd name="T17" fmla="*/ 2147483647 h 6"/>
                    <a:gd name="T18" fmla="*/ 2147483647 w 5"/>
                    <a:gd name="T19" fmla="*/ 0 h 6"/>
                    <a:gd name="T20" fmla="*/ 2147483647 w 5"/>
                    <a:gd name="T21" fmla="*/ 0 h 6"/>
                    <a:gd name="T22" fmla="*/ 2147483647 w 5"/>
                    <a:gd name="T23" fmla="*/ 0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6"/>
                    <a:gd name="T47" fmla="*/ 5 w 5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2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4" name="Freeform 219">
                  <a:extLst>
                    <a:ext uri="{FF2B5EF4-FFF2-40B4-BE49-F238E27FC236}">
                      <a16:creationId xmlns:a16="http://schemas.microsoft.com/office/drawing/2014/main" id="{29FEDDB0-7809-E14C-84A0-E7CADA48EA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66067" y="5223629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0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7"/>
                    <a:gd name="T44" fmla="*/ 6 w 6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7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5" name="Freeform 220">
                  <a:extLst>
                    <a:ext uri="{FF2B5EF4-FFF2-40B4-BE49-F238E27FC236}">
                      <a16:creationId xmlns:a16="http://schemas.microsoft.com/office/drawing/2014/main" id="{4845264C-8D2A-4940-874C-9FE7D50C08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9656" y="5016447"/>
                  <a:ext cx="13319" cy="13319"/>
                </a:xfrm>
                <a:custGeom>
                  <a:avLst/>
                  <a:gdLst>
                    <a:gd name="T0" fmla="*/ 2147483647 w 10"/>
                    <a:gd name="T1" fmla="*/ 0 h 9"/>
                    <a:gd name="T2" fmla="*/ 2147483647 w 10"/>
                    <a:gd name="T3" fmla="*/ 0 h 9"/>
                    <a:gd name="T4" fmla="*/ 2147483647 w 10"/>
                    <a:gd name="T5" fmla="*/ 0 h 9"/>
                    <a:gd name="T6" fmla="*/ 2147483647 w 10"/>
                    <a:gd name="T7" fmla="*/ 2147483647 h 9"/>
                    <a:gd name="T8" fmla="*/ 2147483647 w 10"/>
                    <a:gd name="T9" fmla="*/ 2147483647 h 9"/>
                    <a:gd name="T10" fmla="*/ 2147483647 w 10"/>
                    <a:gd name="T11" fmla="*/ 2147483647 h 9"/>
                    <a:gd name="T12" fmla="*/ 2147483647 w 10"/>
                    <a:gd name="T13" fmla="*/ 2147483647 h 9"/>
                    <a:gd name="T14" fmla="*/ 0 w 10"/>
                    <a:gd name="T15" fmla="*/ 2147483647 h 9"/>
                    <a:gd name="T16" fmla="*/ 2147483647 w 10"/>
                    <a:gd name="T17" fmla="*/ 2147483647 h 9"/>
                    <a:gd name="T18" fmla="*/ 2147483647 w 10"/>
                    <a:gd name="T19" fmla="*/ 0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"/>
                    <a:gd name="T31" fmla="*/ 0 h 9"/>
                    <a:gd name="T32" fmla="*/ 10 w 10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" h="9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lnTo>
                        <a:pt x="10" y="4"/>
                      </a:lnTo>
                      <a:lnTo>
                        <a:pt x="7" y="7"/>
                      </a:lnTo>
                      <a:lnTo>
                        <a:pt x="4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6" name="Freeform 221">
                  <a:extLst>
                    <a:ext uri="{FF2B5EF4-FFF2-40B4-BE49-F238E27FC236}">
                      <a16:creationId xmlns:a16="http://schemas.microsoft.com/office/drawing/2014/main" id="{24C41B4D-B7F4-D349-9466-82FBEAC83C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1539" y="5000168"/>
                  <a:ext cx="22198" cy="22198"/>
                </a:xfrm>
                <a:custGeom>
                  <a:avLst/>
                  <a:gdLst>
                    <a:gd name="T0" fmla="*/ 2147483647 w 16"/>
                    <a:gd name="T1" fmla="*/ 2147483647 h 15"/>
                    <a:gd name="T2" fmla="*/ 2147483647 w 16"/>
                    <a:gd name="T3" fmla="*/ 2147483647 h 15"/>
                    <a:gd name="T4" fmla="*/ 2147483647 w 16"/>
                    <a:gd name="T5" fmla="*/ 2147483647 h 15"/>
                    <a:gd name="T6" fmla="*/ 2147483647 w 16"/>
                    <a:gd name="T7" fmla="*/ 2147483647 h 15"/>
                    <a:gd name="T8" fmla="*/ 2147483647 w 16"/>
                    <a:gd name="T9" fmla="*/ 2147483647 h 15"/>
                    <a:gd name="T10" fmla="*/ 2147483647 w 16"/>
                    <a:gd name="T11" fmla="*/ 2147483647 h 15"/>
                    <a:gd name="T12" fmla="*/ 2147483647 w 16"/>
                    <a:gd name="T13" fmla="*/ 2147483647 h 15"/>
                    <a:gd name="T14" fmla="*/ 0 w 16"/>
                    <a:gd name="T15" fmla="*/ 2147483647 h 15"/>
                    <a:gd name="T16" fmla="*/ 0 w 16"/>
                    <a:gd name="T17" fmla="*/ 2147483647 h 15"/>
                    <a:gd name="T18" fmla="*/ 2147483647 w 16"/>
                    <a:gd name="T19" fmla="*/ 2147483647 h 15"/>
                    <a:gd name="T20" fmla="*/ 2147483647 w 16"/>
                    <a:gd name="T21" fmla="*/ 2147483647 h 15"/>
                    <a:gd name="T22" fmla="*/ 2147483647 w 16"/>
                    <a:gd name="T23" fmla="*/ 0 h 15"/>
                    <a:gd name="T24" fmla="*/ 2147483647 w 16"/>
                    <a:gd name="T25" fmla="*/ 2147483647 h 15"/>
                    <a:gd name="T26" fmla="*/ 2147483647 w 16"/>
                    <a:gd name="T27" fmla="*/ 2147483647 h 15"/>
                    <a:gd name="T28" fmla="*/ 2147483647 w 16"/>
                    <a:gd name="T29" fmla="*/ 2147483647 h 15"/>
                    <a:gd name="T30" fmla="*/ 2147483647 w 16"/>
                    <a:gd name="T31" fmla="*/ 2147483647 h 1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"/>
                    <a:gd name="T49" fmla="*/ 0 h 15"/>
                    <a:gd name="T50" fmla="*/ 16 w 16"/>
                    <a:gd name="T51" fmla="*/ 15 h 1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" h="15">
                      <a:moveTo>
                        <a:pt x="14" y="10"/>
                      </a:moveTo>
                      <a:lnTo>
                        <a:pt x="16" y="12"/>
                      </a:lnTo>
                      <a:lnTo>
                        <a:pt x="16" y="13"/>
                      </a:lnTo>
                      <a:lnTo>
                        <a:pt x="14" y="14"/>
                      </a:lnTo>
                      <a:lnTo>
                        <a:pt x="12" y="15"/>
                      </a:lnTo>
                      <a:lnTo>
                        <a:pt x="8" y="14"/>
                      </a:lnTo>
                      <a:lnTo>
                        <a:pt x="4" y="13"/>
                      </a:lnTo>
                      <a:lnTo>
                        <a:pt x="0" y="10"/>
                      </a:lnTo>
                      <a:lnTo>
                        <a:pt x="0" y="7"/>
                      </a:lnTo>
                      <a:lnTo>
                        <a:pt x="2" y="4"/>
                      </a:lnTo>
                      <a:lnTo>
                        <a:pt x="3" y="1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4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7" name="Freeform 222">
                  <a:extLst>
                    <a:ext uri="{FF2B5EF4-FFF2-40B4-BE49-F238E27FC236}">
                      <a16:creationId xmlns:a16="http://schemas.microsoft.com/office/drawing/2014/main" id="{50AC8325-02BF-784F-9D18-85E0C82E2F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6697" y="5014971"/>
                  <a:ext cx="14799" cy="13319"/>
                </a:xfrm>
                <a:custGeom>
                  <a:avLst/>
                  <a:gdLst>
                    <a:gd name="T0" fmla="*/ 2147483647 w 11"/>
                    <a:gd name="T1" fmla="*/ 0 h 9"/>
                    <a:gd name="T2" fmla="*/ 2147483647 w 11"/>
                    <a:gd name="T3" fmla="*/ 0 h 9"/>
                    <a:gd name="T4" fmla="*/ 2147483647 w 11"/>
                    <a:gd name="T5" fmla="*/ 0 h 9"/>
                    <a:gd name="T6" fmla="*/ 2147483647 w 11"/>
                    <a:gd name="T7" fmla="*/ 0 h 9"/>
                    <a:gd name="T8" fmla="*/ 2147483647 w 11"/>
                    <a:gd name="T9" fmla="*/ 2147483647 h 9"/>
                    <a:gd name="T10" fmla="*/ 2147483647 w 11"/>
                    <a:gd name="T11" fmla="*/ 2147483647 h 9"/>
                    <a:gd name="T12" fmla="*/ 2147483647 w 11"/>
                    <a:gd name="T13" fmla="*/ 2147483647 h 9"/>
                    <a:gd name="T14" fmla="*/ 2147483647 w 11"/>
                    <a:gd name="T15" fmla="*/ 2147483647 h 9"/>
                    <a:gd name="T16" fmla="*/ 2147483647 w 11"/>
                    <a:gd name="T17" fmla="*/ 2147483647 h 9"/>
                    <a:gd name="T18" fmla="*/ 0 w 11"/>
                    <a:gd name="T19" fmla="*/ 2147483647 h 9"/>
                    <a:gd name="T20" fmla="*/ 0 w 11"/>
                    <a:gd name="T21" fmla="*/ 2147483647 h 9"/>
                    <a:gd name="T22" fmla="*/ 2147483647 w 11"/>
                    <a:gd name="T23" fmla="*/ 2147483647 h 9"/>
                    <a:gd name="T24" fmla="*/ 2147483647 w 11"/>
                    <a:gd name="T25" fmla="*/ 0 h 9"/>
                    <a:gd name="T26" fmla="*/ 2147483647 w 11"/>
                    <a:gd name="T27" fmla="*/ 0 h 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"/>
                    <a:gd name="T43" fmla="*/ 0 h 9"/>
                    <a:gd name="T44" fmla="*/ 11 w 11"/>
                    <a:gd name="T45" fmla="*/ 9 h 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" h="9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1" y="1"/>
                      </a:lnTo>
                      <a:lnTo>
                        <a:pt x="11" y="4"/>
                      </a:lnTo>
                      <a:lnTo>
                        <a:pt x="8" y="7"/>
                      </a:lnTo>
                      <a:lnTo>
                        <a:pt x="4" y="9"/>
                      </a:lnTo>
                      <a:lnTo>
                        <a:pt x="0" y="9"/>
                      </a:lnTo>
                      <a:lnTo>
                        <a:pt x="3" y="4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8" name="Freeform 223">
                  <a:extLst>
                    <a:ext uri="{FF2B5EF4-FFF2-40B4-BE49-F238E27FC236}">
                      <a16:creationId xmlns:a16="http://schemas.microsoft.com/office/drawing/2014/main" id="{73565B2B-7E7F-FA42-9323-56DC9DCF0B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40061" y="4998689"/>
                  <a:ext cx="20718" cy="22199"/>
                </a:xfrm>
                <a:custGeom>
                  <a:avLst/>
                  <a:gdLst>
                    <a:gd name="T0" fmla="*/ 2147483647 w 15"/>
                    <a:gd name="T1" fmla="*/ 2147483647 h 15"/>
                    <a:gd name="T2" fmla="*/ 2147483647 w 15"/>
                    <a:gd name="T3" fmla="*/ 2147483647 h 15"/>
                    <a:gd name="T4" fmla="*/ 2147483647 w 15"/>
                    <a:gd name="T5" fmla="*/ 2147483647 h 15"/>
                    <a:gd name="T6" fmla="*/ 2147483647 w 15"/>
                    <a:gd name="T7" fmla="*/ 2147483647 h 15"/>
                    <a:gd name="T8" fmla="*/ 2147483647 w 15"/>
                    <a:gd name="T9" fmla="*/ 2147483647 h 15"/>
                    <a:gd name="T10" fmla="*/ 2147483647 w 15"/>
                    <a:gd name="T11" fmla="*/ 2147483647 h 15"/>
                    <a:gd name="T12" fmla="*/ 2147483647 w 15"/>
                    <a:gd name="T13" fmla="*/ 2147483647 h 15"/>
                    <a:gd name="T14" fmla="*/ 2147483647 w 15"/>
                    <a:gd name="T15" fmla="*/ 2147483647 h 15"/>
                    <a:gd name="T16" fmla="*/ 2147483647 w 15"/>
                    <a:gd name="T17" fmla="*/ 2147483647 h 15"/>
                    <a:gd name="T18" fmla="*/ 0 w 15"/>
                    <a:gd name="T19" fmla="*/ 2147483647 h 15"/>
                    <a:gd name="T20" fmla="*/ 0 w 15"/>
                    <a:gd name="T21" fmla="*/ 2147483647 h 15"/>
                    <a:gd name="T22" fmla="*/ 0 w 15"/>
                    <a:gd name="T23" fmla="*/ 2147483647 h 15"/>
                    <a:gd name="T24" fmla="*/ 2147483647 w 15"/>
                    <a:gd name="T25" fmla="*/ 2147483647 h 15"/>
                    <a:gd name="T26" fmla="*/ 2147483647 w 15"/>
                    <a:gd name="T27" fmla="*/ 2147483647 h 15"/>
                    <a:gd name="T28" fmla="*/ 2147483647 w 15"/>
                    <a:gd name="T29" fmla="*/ 0 h 15"/>
                    <a:gd name="T30" fmla="*/ 2147483647 w 15"/>
                    <a:gd name="T31" fmla="*/ 2147483647 h 15"/>
                    <a:gd name="T32" fmla="*/ 2147483647 w 15"/>
                    <a:gd name="T33" fmla="*/ 2147483647 h 15"/>
                    <a:gd name="T34" fmla="*/ 2147483647 w 15"/>
                    <a:gd name="T35" fmla="*/ 2147483647 h 15"/>
                    <a:gd name="T36" fmla="*/ 2147483647 w 15"/>
                    <a:gd name="T37" fmla="*/ 2147483647 h 15"/>
                    <a:gd name="T38" fmla="*/ 2147483647 w 15"/>
                    <a:gd name="T39" fmla="*/ 2147483647 h 15"/>
                    <a:gd name="T40" fmla="*/ 2147483647 w 15"/>
                    <a:gd name="T41" fmla="*/ 2147483647 h 1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5"/>
                    <a:gd name="T64" fmla="*/ 0 h 15"/>
                    <a:gd name="T65" fmla="*/ 15 w 15"/>
                    <a:gd name="T66" fmla="*/ 15 h 1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5" h="15">
                      <a:moveTo>
                        <a:pt x="14" y="9"/>
                      </a:moveTo>
                      <a:lnTo>
                        <a:pt x="14" y="9"/>
                      </a:lnTo>
                      <a:lnTo>
                        <a:pt x="15" y="12"/>
                      </a:lnTo>
                      <a:lnTo>
                        <a:pt x="15" y="13"/>
                      </a:lnTo>
                      <a:lnTo>
                        <a:pt x="14" y="14"/>
                      </a:lnTo>
                      <a:lnTo>
                        <a:pt x="12" y="15"/>
                      </a:lnTo>
                      <a:lnTo>
                        <a:pt x="8" y="14"/>
                      </a:lnTo>
                      <a:lnTo>
                        <a:pt x="4" y="13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12" y="3"/>
                      </a:lnTo>
                      <a:lnTo>
                        <a:pt x="14" y="7"/>
                      </a:lnTo>
                      <a:lnTo>
                        <a:pt x="14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9" name="Freeform 224">
                  <a:extLst>
                    <a:ext uri="{FF2B5EF4-FFF2-40B4-BE49-F238E27FC236}">
                      <a16:creationId xmlns:a16="http://schemas.microsoft.com/office/drawing/2014/main" id="{B4EB5F1A-DEA6-D945-9DE0-42BE23D75D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9340" y="4989813"/>
                  <a:ext cx="19239" cy="20718"/>
                </a:xfrm>
                <a:custGeom>
                  <a:avLst/>
                  <a:gdLst>
                    <a:gd name="T0" fmla="*/ 2147483647 w 14"/>
                    <a:gd name="T1" fmla="*/ 2147483647 h 14"/>
                    <a:gd name="T2" fmla="*/ 2147483647 w 14"/>
                    <a:gd name="T3" fmla="*/ 2147483647 h 14"/>
                    <a:gd name="T4" fmla="*/ 2147483647 w 14"/>
                    <a:gd name="T5" fmla="*/ 2147483647 h 14"/>
                    <a:gd name="T6" fmla="*/ 2147483647 w 14"/>
                    <a:gd name="T7" fmla="*/ 2147483647 h 14"/>
                    <a:gd name="T8" fmla="*/ 2147483647 w 14"/>
                    <a:gd name="T9" fmla="*/ 2147483647 h 14"/>
                    <a:gd name="T10" fmla="*/ 2147483647 w 14"/>
                    <a:gd name="T11" fmla="*/ 2147483647 h 14"/>
                    <a:gd name="T12" fmla="*/ 2147483647 w 14"/>
                    <a:gd name="T13" fmla="*/ 2147483647 h 14"/>
                    <a:gd name="T14" fmla="*/ 2147483647 w 14"/>
                    <a:gd name="T15" fmla="*/ 2147483647 h 14"/>
                    <a:gd name="T16" fmla="*/ 0 w 14"/>
                    <a:gd name="T17" fmla="*/ 2147483647 h 14"/>
                    <a:gd name="T18" fmla="*/ 0 w 14"/>
                    <a:gd name="T19" fmla="*/ 2147483647 h 14"/>
                    <a:gd name="T20" fmla="*/ 0 w 14"/>
                    <a:gd name="T21" fmla="*/ 2147483647 h 14"/>
                    <a:gd name="T22" fmla="*/ 2147483647 w 14"/>
                    <a:gd name="T23" fmla="*/ 2147483647 h 14"/>
                    <a:gd name="T24" fmla="*/ 2147483647 w 14"/>
                    <a:gd name="T25" fmla="*/ 0 h 14"/>
                    <a:gd name="T26" fmla="*/ 2147483647 w 14"/>
                    <a:gd name="T27" fmla="*/ 0 h 14"/>
                    <a:gd name="T28" fmla="*/ 2147483647 w 14"/>
                    <a:gd name="T29" fmla="*/ 2147483647 h 14"/>
                    <a:gd name="T30" fmla="*/ 2147483647 w 14"/>
                    <a:gd name="T31" fmla="*/ 2147483647 h 14"/>
                    <a:gd name="T32" fmla="*/ 2147483647 w 14"/>
                    <a:gd name="T33" fmla="*/ 2147483647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4"/>
                    <a:gd name="T52" fmla="*/ 0 h 14"/>
                    <a:gd name="T53" fmla="*/ 14 w 14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4" h="14">
                      <a:moveTo>
                        <a:pt x="13" y="9"/>
                      </a:moveTo>
                      <a:lnTo>
                        <a:pt x="13" y="11"/>
                      </a:lnTo>
                      <a:lnTo>
                        <a:pt x="14" y="12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2" y="14"/>
                      </a:lnTo>
                      <a:lnTo>
                        <a:pt x="2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0" name="Freeform 225">
                  <a:extLst>
                    <a:ext uri="{FF2B5EF4-FFF2-40B4-BE49-F238E27FC236}">
                      <a16:creationId xmlns:a16="http://schemas.microsoft.com/office/drawing/2014/main" id="{96E3E74D-7EE2-0F4B-879B-E8F8CF88E0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37319" y="4924695"/>
                  <a:ext cx="7399" cy="7400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2147483647 h 5"/>
                    <a:gd name="T6" fmla="*/ 0 w 5"/>
                    <a:gd name="T7" fmla="*/ 2147483647 h 5"/>
                    <a:gd name="T8" fmla="*/ 0 w 5"/>
                    <a:gd name="T9" fmla="*/ 2147483647 h 5"/>
                    <a:gd name="T10" fmla="*/ 2147483647 w 5"/>
                    <a:gd name="T11" fmla="*/ 0 h 5"/>
                    <a:gd name="T12" fmla="*/ 2147483647 w 5"/>
                    <a:gd name="T13" fmla="*/ 0 h 5"/>
                    <a:gd name="T14" fmla="*/ 2147483647 w 5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"/>
                    <a:gd name="T25" fmla="*/ 0 h 5"/>
                    <a:gd name="T26" fmla="*/ 5 w 5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" h="5">
                      <a:moveTo>
                        <a:pt x="5" y="1"/>
                      </a:moveTo>
                      <a:lnTo>
                        <a:pt x="5" y="4"/>
                      </a:lnTo>
                      <a:lnTo>
                        <a:pt x="3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1" name="Freeform 226">
                  <a:extLst>
                    <a:ext uri="{FF2B5EF4-FFF2-40B4-BE49-F238E27FC236}">
                      <a16:creationId xmlns:a16="http://schemas.microsoft.com/office/drawing/2014/main" id="{A237E7B9-C1E0-AD49-AFBA-9FD8F386DB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7862" y="4988333"/>
                  <a:ext cx="19238" cy="20718"/>
                </a:xfrm>
                <a:custGeom>
                  <a:avLst/>
                  <a:gdLst>
                    <a:gd name="T0" fmla="*/ 2147483647 w 14"/>
                    <a:gd name="T1" fmla="*/ 2147483647 h 14"/>
                    <a:gd name="T2" fmla="*/ 2147483647 w 14"/>
                    <a:gd name="T3" fmla="*/ 2147483647 h 14"/>
                    <a:gd name="T4" fmla="*/ 2147483647 w 14"/>
                    <a:gd name="T5" fmla="*/ 2147483647 h 14"/>
                    <a:gd name="T6" fmla="*/ 2147483647 w 14"/>
                    <a:gd name="T7" fmla="*/ 2147483647 h 14"/>
                    <a:gd name="T8" fmla="*/ 2147483647 w 14"/>
                    <a:gd name="T9" fmla="*/ 2147483647 h 14"/>
                    <a:gd name="T10" fmla="*/ 2147483647 w 14"/>
                    <a:gd name="T11" fmla="*/ 2147483647 h 14"/>
                    <a:gd name="T12" fmla="*/ 2147483647 w 14"/>
                    <a:gd name="T13" fmla="*/ 2147483647 h 14"/>
                    <a:gd name="T14" fmla="*/ 2147483647 w 14"/>
                    <a:gd name="T15" fmla="*/ 2147483647 h 14"/>
                    <a:gd name="T16" fmla="*/ 2147483647 w 14"/>
                    <a:gd name="T17" fmla="*/ 2147483647 h 14"/>
                    <a:gd name="T18" fmla="*/ 2147483647 w 14"/>
                    <a:gd name="T19" fmla="*/ 2147483647 h 14"/>
                    <a:gd name="T20" fmla="*/ 2147483647 w 14"/>
                    <a:gd name="T21" fmla="*/ 2147483647 h 14"/>
                    <a:gd name="T22" fmla="*/ 2147483647 w 14"/>
                    <a:gd name="T23" fmla="*/ 2147483647 h 14"/>
                    <a:gd name="T24" fmla="*/ 0 w 14"/>
                    <a:gd name="T25" fmla="*/ 2147483647 h 14"/>
                    <a:gd name="T26" fmla="*/ 0 w 14"/>
                    <a:gd name="T27" fmla="*/ 2147483647 h 14"/>
                    <a:gd name="T28" fmla="*/ 0 w 14"/>
                    <a:gd name="T29" fmla="*/ 2147483647 h 14"/>
                    <a:gd name="T30" fmla="*/ 2147483647 w 14"/>
                    <a:gd name="T31" fmla="*/ 2147483647 h 14"/>
                    <a:gd name="T32" fmla="*/ 2147483647 w 14"/>
                    <a:gd name="T33" fmla="*/ 2147483647 h 14"/>
                    <a:gd name="T34" fmla="*/ 2147483647 w 14"/>
                    <a:gd name="T35" fmla="*/ 0 h 14"/>
                    <a:gd name="T36" fmla="*/ 2147483647 w 14"/>
                    <a:gd name="T37" fmla="*/ 0 h 14"/>
                    <a:gd name="T38" fmla="*/ 2147483647 w 14"/>
                    <a:gd name="T39" fmla="*/ 2147483647 h 14"/>
                    <a:gd name="T40" fmla="*/ 2147483647 w 14"/>
                    <a:gd name="T41" fmla="*/ 2147483647 h 14"/>
                    <a:gd name="T42" fmla="*/ 2147483647 w 14"/>
                    <a:gd name="T43" fmla="*/ 2147483647 h 14"/>
                    <a:gd name="T44" fmla="*/ 2147483647 w 14"/>
                    <a:gd name="T45" fmla="*/ 2147483647 h 1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4"/>
                    <a:gd name="T70" fmla="*/ 0 h 14"/>
                    <a:gd name="T71" fmla="*/ 14 w 14"/>
                    <a:gd name="T72" fmla="*/ 14 h 1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4" h="14">
                      <a:moveTo>
                        <a:pt x="12" y="9"/>
                      </a:moveTo>
                      <a:lnTo>
                        <a:pt x="12" y="9"/>
                      </a:lnTo>
                      <a:lnTo>
                        <a:pt x="12" y="10"/>
                      </a:lnTo>
                      <a:lnTo>
                        <a:pt x="14" y="12"/>
                      </a:lnTo>
                      <a:lnTo>
                        <a:pt x="10" y="13"/>
                      </a:lnTo>
                      <a:lnTo>
                        <a:pt x="7" y="13"/>
                      </a:lnTo>
                      <a:lnTo>
                        <a:pt x="3" y="14"/>
                      </a:lnTo>
                      <a:lnTo>
                        <a:pt x="2" y="14"/>
                      </a:lnTo>
                      <a:lnTo>
                        <a:pt x="2" y="13"/>
                      </a:lnTo>
                      <a:lnTo>
                        <a:pt x="0" y="10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4"/>
                      </a:lnTo>
                      <a:lnTo>
                        <a:pt x="12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2" name="Freeform 227">
                  <a:extLst>
                    <a:ext uri="{FF2B5EF4-FFF2-40B4-BE49-F238E27FC236}">
                      <a16:creationId xmlns:a16="http://schemas.microsoft.com/office/drawing/2014/main" id="{C18B38A6-0765-5E4C-9D26-39AC6F6E7F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34360" y="4923219"/>
                  <a:ext cx="7399" cy="7399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2147483647 h 5"/>
                    <a:gd name="T6" fmla="*/ 2147483647 w 5"/>
                    <a:gd name="T7" fmla="*/ 2147483647 h 5"/>
                    <a:gd name="T8" fmla="*/ 2147483647 w 5"/>
                    <a:gd name="T9" fmla="*/ 2147483647 h 5"/>
                    <a:gd name="T10" fmla="*/ 0 w 5"/>
                    <a:gd name="T11" fmla="*/ 2147483647 h 5"/>
                    <a:gd name="T12" fmla="*/ 0 w 5"/>
                    <a:gd name="T13" fmla="*/ 2147483647 h 5"/>
                    <a:gd name="T14" fmla="*/ 2147483647 w 5"/>
                    <a:gd name="T15" fmla="*/ 0 h 5"/>
                    <a:gd name="T16" fmla="*/ 2147483647 w 5"/>
                    <a:gd name="T17" fmla="*/ 0 h 5"/>
                    <a:gd name="T18" fmla="*/ 2147483647 w 5"/>
                    <a:gd name="T19" fmla="*/ 0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"/>
                    <a:gd name="T37" fmla="*/ 0 h 5"/>
                    <a:gd name="T38" fmla="*/ 5 w 5"/>
                    <a:gd name="T39" fmla="*/ 5 h 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" h="5">
                      <a:moveTo>
                        <a:pt x="5" y="1"/>
                      </a:move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3" name="Freeform 228">
                  <a:extLst>
                    <a:ext uri="{FF2B5EF4-FFF2-40B4-BE49-F238E27FC236}">
                      <a16:creationId xmlns:a16="http://schemas.microsoft.com/office/drawing/2014/main" id="{0FD04156-58C3-DD44-BDED-9ECF9A5FAB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9874" y="4992772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2147483647 h 6"/>
                    <a:gd name="T6" fmla="*/ 0 w 4"/>
                    <a:gd name="T7" fmla="*/ 2147483647 h 6"/>
                    <a:gd name="T8" fmla="*/ 0 w 4"/>
                    <a:gd name="T9" fmla="*/ 2147483647 h 6"/>
                    <a:gd name="T10" fmla="*/ 0 w 4"/>
                    <a:gd name="T11" fmla="*/ 0 h 6"/>
                    <a:gd name="T12" fmla="*/ 2147483647 w 4"/>
                    <a:gd name="T13" fmla="*/ 0 h 6"/>
                    <a:gd name="T14" fmla="*/ 2147483647 w 4"/>
                    <a:gd name="T15" fmla="*/ 0 h 6"/>
                    <a:gd name="T16" fmla="*/ 2147483647 w 4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6"/>
                    <a:gd name="T29" fmla="*/ 4 w 4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6">
                      <a:moveTo>
                        <a:pt x="4" y="4"/>
                      </a:move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4" name="Freeform 229">
                  <a:extLst>
                    <a:ext uri="{FF2B5EF4-FFF2-40B4-BE49-F238E27FC236}">
                      <a16:creationId xmlns:a16="http://schemas.microsoft.com/office/drawing/2014/main" id="{00CBAB16-6673-3340-91DA-FFE1AB6475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56340" y="4878819"/>
                  <a:ext cx="739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0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0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7"/>
                    <a:gd name="T35" fmla="*/ 6 w 6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7">
                      <a:moveTo>
                        <a:pt x="5" y="4"/>
                      </a:move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2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5" name="Freeform 230">
                  <a:extLst>
                    <a:ext uri="{FF2B5EF4-FFF2-40B4-BE49-F238E27FC236}">
                      <a16:creationId xmlns:a16="http://schemas.microsoft.com/office/drawing/2014/main" id="{AE8AF9D9-F3EB-4445-BF26-36986B61C3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68395" y="4991294"/>
                  <a:ext cx="4440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2147483647 h 6"/>
                    <a:gd name="T6" fmla="*/ 2147483647 w 4"/>
                    <a:gd name="T7" fmla="*/ 2147483647 h 6"/>
                    <a:gd name="T8" fmla="*/ 2147483647 w 4"/>
                    <a:gd name="T9" fmla="*/ 2147483647 h 6"/>
                    <a:gd name="T10" fmla="*/ 0 w 4"/>
                    <a:gd name="T11" fmla="*/ 2147483647 h 6"/>
                    <a:gd name="T12" fmla="*/ 0 w 4"/>
                    <a:gd name="T13" fmla="*/ 2147483647 h 6"/>
                    <a:gd name="T14" fmla="*/ 0 w 4"/>
                    <a:gd name="T15" fmla="*/ 0 h 6"/>
                    <a:gd name="T16" fmla="*/ 0 w 4"/>
                    <a:gd name="T17" fmla="*/ 0 h 6"/>
                    <a:gd name="T18" fmla="*/ 2147483647 w 4"/>
                    <a:gd name="T19" fmla="*/ 0 h 6"/>
                    <a:gd name="T20" fmla="*/ 2147483647 w 4"/>
                    <a:gd name="T21" fmla="*/ 0 h 6"/>
                    <a:gd name="T22" fmla="*/ 2147483647 w 4"/>
                    <a:gd name="T23" fmla="*/ 2147483647 h 6"/>
                    <a:gd name="T24" fmla="*/ 2147483647 w 4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"/>
                    <a:gd name="T40" fmla="*/ 0 h 6"/>
                    <a:gd name="T41" fmla="*/ 4 w 4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6" name="Freeform 231">
                  <a:extLst>
                    <a:ext uri="{FF2B5EF4-FFF2-40B4-BE49-F238E27FC236}">
                      <a16:creationId xmlns:a16="http://schemas.microsoft.com/office/drawing/2014/main" id="{7B147AC7-F52A-D34F-8870-A77F01E011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53377" y="4877341"/>
                  <a:ext cx="10359" cy="10360"/>
                </a:xfrm>
                <a:custGeom>
                  <a:avLst/>
                  <a:gdLst>
                    <a:gd name="T0" fmla="*/ 2147483647 w 7"/>
                    <a:gd name="T1" fmla="*/ 2147483647 h 7"/>
                    <a:gd name="T2" fmla="*/ 2147483647 w 7"/>
                    <a:gd name="T3" fmla="*/ 2147483647 h 7"/>
                    <a:gd name="T4" fmla="*/ 2147483647 w 7"/>
                    <a:gd name="T5" fmla="*/ 2147483647 h 7"/>
                    <a:gd name="T6" fmla="*/ 2147483647 w 7"/>
                    <a:gd name="T7" fmla="*/ 2147483647 h 7"/>
                    <a:gd name="T8" fmla="*/ 2147483647 w 7"/>
                    <a:gd name="T9" fmla="*/ 2147483647 h 7"/>
                    <a:gd name="T10" fmla="*/ 2147483647 w 7"/>
                    <a:gd name="T11" fmla="*/ 2147483647 h 7"/>
                    <a:gd name="T12" fmla="*/ 2147483647 w 7"/>
                    <a:gd name="T13" fmla="*/ 2147483647 h 7"/>
                    <a:gd name="T14" fmla="*/ 2147483647 w 7"/>
                    <a:gd name="T15" fmla="*/ 2147483647 h 7"/>
                    <a:gd name="T16" fmla="*/ 2147483647 w 7"/>
                    <a:gd name="T17" fmla="*/ 2147483647 h 7"/>
                    <a:gd name="T18" fmla="*/ 0 w 7"/>
                    <a:gd name="T19" fmla="*/ 2147483647 h 7"/>
                    <a:gd name="T20" fmla="*/ 2147483647 w 7"/>
                    <a:gd name="T21" fmla="*/ 2147483647 h 7"/>
                    <a:gd name="T22" fmla="*/ 2147483647 w 7"/>
                    <a:gd name="T23" fmla="*/ 2147483647 h 7"/>
                    <a:gd name="T24" fmla="*/ 2147483647 w 7"/>
                    <a:gd name="T25" fmla="*/ 0 h 7"/>
                    <a:gd name="T26" fmla="*/ 2147483647 w 7"/>
                    <a:gd name="T27" fmla="*/ 2147483647 h 7"/>
                    <a:gd name="T28" fmla="*/ 2147483647 w 7"/>
                    <a:gd name="T29" fmla="*/ 2147483647 h 7"/>
                    <a:gd name="T30" fmla="*/ 2147483647 w 7"/>
                    <a:gd name="T31" fmla="*/ 2147483647 h 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"/>
                    <a:gd name="T49" fmla="*/ 0 h 7"/>
                    <a:gd name="T50" fmla="*/ 7 w 7"/>
                    <a:gd name="T51" fmla="*/ 7 h 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" h="7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5" y="7"/>
                      </a:lnTo>
                      <a:lnTo>
                        <a:pt x="3" y="6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7" name="Freeform 232">
                  <a:extLst>
                    <a:ext uri="{FF2B5EF4-FFF2-40B4-BE49-F238E27FC236}">
                      <a16:creationId xmlns:a16="http://schemas.microsoft.com/office/drawing/2014/main" id="{7526E8DF-1D4E-4E45-A40E-44DB0CA1EA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178" y="4858105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5" y="5"/>
                      </a:move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8" name="Freeform 233">
                  <a:extLst>
                    <a:ext uri="{FF2B5EF4-FFF2-40B4-BE49-F238E27FC236}">
                      <a16:creationId xmlns:a16="http://schemas.microsoft.com/office/drawing/2014/main" id="{E541176C-5131-7144-A9C1-5431CC8695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63326" y="4797426"/>
                  <a:ext cx="7399" cy="5919"/>
                </a:xfrm>
                <a:custGeom>
                  <a:avLst/>
                  <a:gdLst>
                    <a:gd name="T0" fmla="*/ 2147483647 w 5"/>
                    <a:gd name="T1" fmla="*/ 2147483647 h 4"/>
                    <a:gd name="T2" fmla="*/ 2147483647 w 5"/>
                    <a:gd name="T3" fmla="*/ 2147483647 h 4"/>
                    <a:gd name="T4" fmla="*/ 2147483647 w 5"/>
                    <a:gd name="T5" fmla="*/ 2147483647 h 4"/>
                    <a:gd name="T6" fmla="*/ 0 w 5"/>
                    <a:gd name="T7" fmla="*/ 2147483647 h 4"/>
                    <a:gd name="T8" fmla="*/ 0 w 5"/>
                    <a:gd name="T9" fmla="*/ 2147483647 h 4"/>
                    <a:gd name="T10" fmla="*/ 2147483647 w 5"/>
                    <a:gd name="T11" fmla="*/ 0 h 4"/>
                    <a:gd name="T12" fmla="*/ 2147483647 w 5"/>
                    <a:gd name="T13" fmla="*/ 0 h 4"/>
                    <a:gd name="T14" fmla="*/ 2147483647 w 5"/>
                    <a:gd name="T15" fmla="*/ 2147483647 h 4"/>
                    <a:gd name="T16" fmla="*/ 2147483647 w 5"/>
                    <a:gd name="T17" fmla="*/ 2147483647 h 4"/>
                    <a:gd name="T18" fmla="*/ 2147483647 w 5"/>
                    <a:gd name="T19" fmla="*/ 2147483647 h 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4"/>
                    <a:gd name="T32" fmla="*/ 5 w 5"/>
                    <a:gd name="T33" fmla="*/ 4 h 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4">
                      <a:moveTo>
                        <a:pt x="4" y="3"/>
                      </a:move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9" name="Freeform 234">
                  <a:extLst>
                    <a:ext uri="{FF2B5EF4-FFF2-40B4-BE49-F238E27FC236}">
                      <a16:creationId xmlns:a16="http://schemas.microsoft.com/office/drawing/2014/main" id="{E68DD5A3-0F57-FD4F-9592-18DF9C2A43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29703" y="4856625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0 h 6"/>
                    <a:gd name="T16" fmla="*/ 2147483647 w 5"/>
                    <a:gd name="T17" fmla="*/ 0 h 6"/>
                    <a:gd name="T18" fmla="*/ 2147483647 w 5"/>
                    <a:gd name="T19" fmla="*/ 0 h 6"/>
                    <a:gd name="T20" fmla="*/ 2147483647 w 5"/>
                    <a:gd name="T21" fmla="*/ 0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0" name="Freeform 235">
                  <a:extLst>
                    <a:ext uri="{FF2B5EF4-FFF2-40B4-BE49-F238E27FC236}">
                      <a16:creationId xmlns:a16="http://schemas.microsoft.com/office/drawing/2014/main" id="{CF7619ED-060C-3C42-96C9-F75BA0620D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61842" y="4794466"/>
                  <a:ext cx="7400" cy="7400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2147483647 h 5"/>
                    <a:gd name="T6" fmla="*/ 2147483647 w 5"/>
                    <a:gd name="T7" fmla="*/ 2147483647 h 5"/>
                    <a:gd name="T8" fmla="*/ 0 w 5"/>
                    <a:gd name="T9" fmla="*/ 2147483647 h 5"/>
                    <a:gd name="T10" fmla="*/ 0 w 5"/>
                    <a:gd name="T11" fmla="*/ 2147483647 h 5"/>
                    <a:gd name="T12" fmla="*/ 0 w 5"/>
                    <a:gd name="T13" fmla="*/ 2147483647 h 5"/>
                    <a:gd name="T14" fmla="*/ 2147483647 w 5"/>
                    <a:gd name="T15" fmla="*/ 0 h 5"/>
                    <a:gd name="T16" fmla="*/ 2147483647 w 5"/>
                    <a:gd name="T17" fmla="*/ 0 h 5"/>
                    <a:gd name="T18" fmla="*/ 2147483647 w 5"/>
                    <a:gd name="T19" fmla="*/ 0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2147483647 w 5"/>
                    <a:gd name="T25" fmla="*/ 2147483647 h 5"/>
                    <a:gd name="T26" fmla="*/ 2147483647 w 5"/>
                    <a:gd name="T27" fmla="*/ 2147483647 h 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5"/>
                    <a:gd name="T44" fmla="*/ 5 w 5"/>
                    <a:gd name="T45" fmla="*/ 5 h 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5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3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1" name="Freeform 236">
                  <a:extLst>
                    <a:ext uri="{FF2B5EF4-FFF2-40B4-BE49-F238E27FC236}">
                      <a16:creationId xmlns:a16="http://schemas.microsoft.com/office/drawing/2014/main" id="{1E816258-B517-8A4C-B5ED-8E0F3B17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8124" y="4818148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0 w 7"/>
                    <a:gd name="T11" fmla="*/ 2147483647 h 6"/>
                    <a:gd name="T12" fmla="*/ 0 w 7"/>
                    <a:gd name="T13" fmla="*/ 2147483647 h 6"/>
                    <a:gd name="T14" fmla="*/ 2147483647 w 7"/>
                    <a:gd name="T15" fmla="*/ 0 h 6"/>
                    <a:gd name="T16" fmla="*/ 2147483647 w 7"/>
                    <a:gd name="T17" fmla="*/ 0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6"/>
                    <a:gd name="T35" fmla="*/ 7 w 7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6">
                      <a:moveTo>
                        <a:pt x="6" y="2"/>
                      </a:moveTo>
                      <a:lnTo>
                        <a:pt x="7" y="3"/>
                      </a:lnTo>
                      <a:lnTo>
                        <a:pt x="6" y="4"/>
                      </a:lnTo>
                      <a:lnTo>
                        <a:pt x="3" y="6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2" name="Freeform 237">
                  <a:extLst>
                    <a:ext uri="{FF2B5EF4-FFF2-40B4-BE49-F238E27FC236}">
                      <a16:creationId xmlns:a16="http://schemas.microsoft.com/office/drawing/2014/main" id="{141BF657-153F-7141-A7D5-D05A8ECDF0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5117" y="4821108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0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5" y="5"/>
                      </a:move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3" name="Freeform 238">
                  <a:extLst>
                    <a:ext uri="{FF2B5EF4-FFF2-40B4-BE49-F238E27FC236}">
                      <a16:creationId xmlns:a16="http://schemas.microsoft.com/office/drawing/2014/main" id="{D2FDEA2A-E02F-8D49-8138-2CB54D625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76643" y="4816668"/>
                  <a:ext cx="8879" cy="7399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2147483647 h 5"/>
                    <a:gd name="T4" fmla="*/ 2147483647 w 7"/>
                    <a:gd name="T5" fmla="*/ 2147483647 h 5"/>
                    <a:gd name="T6" fmla="*/ 2147483647 w 7"/>
                    <a:gd name="T7" fmla="*/ 2147483647 h 5"/>
                    <a:gd name="T8" fmla="*/ 2147483647 w 7"/>
                    <a:gd name="T9" fmla="*/ 2147483647 h 5"/>
                    <a:gd name="T10" fmla="*/ 2147483647 w 7"/>
                    <a:gd name="T11" fmla="*/ 2147483647 h 5"/>
                    <a:gd name="T12" fmla="*/ 2147483647 w 7"/>
                    <a:gd name="T13" fmla="*/ 2147483647 h 5"/>
                    <a:gd name="T14" fmla="*/ 0 w 7"/>
                    <a:gd name="T15" fmla="*/ 2147483647 h 5"/>
                    <a:gd name="T16" fmla="*/ 0 w 7"/>
                    <a:gd name="T17" fmla="*/ 2147483647 h 5"/>
                    <a:gd name="T18" fmla="*/ 0 w 7"/>
                    <a:gd name="T19" fmla="*/ 2147483647 h 5"/>
                    <a:gd name="T20" fmla="*/ 0 w 7"/>
                    <a:gd name="T21" fmla="*/ 2147483647 h 5"/>
                    <a:gd name="T22" fmla="*/ 2147483647 w 7"/>
                    <a:gd name="T23" fmla="*/ 0 h 5"/>
                    <a:gd name="T24" fmla="*/ 2147483647 w 7"/>
                    <a:gd name="T25" fmla="*/ 0 h 5"/>
                    <a:gd name="T26" fmla="*/ 2147483647 w 7"/>
                    <a:gd name="T27" fmla="*/ 0 h 5"/>
                    <a:gd name="T28" fmla="*/ 2147483647 w 7"/>
                    <a:gd name="T29" fmla="*/ 2147483647 h 5"/>
                    <a:gd name="T30" fmla="*/ 2147483647 w 7"/>
                    <a:gd name="T31" fmla="*/ 2147483647 h 5"/>
                    <a:gd name="T32" fmla="*/ 2147483647 w 7"/>
                    <a:gd name="T33" fmla="*/ 2147483647 h 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"/>
                    <a:gd name="T52" fmla="*/ 0 h 5"/>
                    <a:gd name="T53" fmla="*/ 7 w 7"/>
                    <a:gd name="T54" fmla="*/ 5 h 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" h="5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7" y="3"/>
                      </a:lnTo>
                      <a:lnTo>
                        <a:pt x="5" y="4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4" name="Freeform 239">
                  <a:extLst>
                    <a:ext uri="{FF2B5EF4-FFF2-40B4-BE49-F238E27FC236}">
                      <a16:creationId xmlns:a16="http://schemas.microsoft.com/office/drawing/2014/main" id="{81724F16-9F08-7647-AD7E-4671172763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3638" y="4819629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0 w 5"/>
                    <a:gd name="T13" fmla="*/ 2147483647 h 6"/>
                    <a:gd name="T14" fmla="*/ 0 w 5"/>
                    <a:gd name="T15" fmla="*/ 2147483647 h 6"/>
                    <a:gd name="T16" fmla="*/ 2147483647 w 5"/>
                    <a:gd name="T17" fmla="*/ 0 h 6"/>
                    <a:gd name="T18" fmla="*/ 2147483647 w 5"/>
                    <a:gd name="T19" fmla="*/ 0 h 6"/>
                    <a:gd name="T20" fmla="*/ 2147483647 w 5"/>
                    <a:gd name="T21" fmla="*/ 0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" name="Freeform 240">
                  <a:extLst>
                    <a:ext uri="{FF2B5EF4-FFF2-40B4-BE49-F238E27FC236}">
                      <a16:creationId xmlns:a16="http://schemas.microsoft.com/office/drawing/2014/main" id="{033F342D-91FF-524D-8827-E8C94E6753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5117" y="4840346"/>
                  <a:ext cx="5919" cy="7399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0 w 4"/>
                    <a:gd name="T7" fmla="*/ 2147483647 h 5"/>
                    <a:gd name="T8" fmla="*/ 0 w 4"/>
                    <a:gd name="T9" fmla="*/ 2147483647 h 5"/>
                    <a:gd name="T10" fmla="*/ 2147483647 w 4"/>
                    <a:gd name="T11" fmla="*/ 0 h 5"/>
                    <a:gd name="T12" fmla="*/ 2147483647 w 4"/>
                    <a:gd name="T13" fmla="*/ 2147483647 h 5"/>
                    <a:gd name="T14" fmla="*/ 2147483647 w 4"/>
                    <a:gd name="T15" fmla="*/ 2147483647 h 5"/>
                    <a:gd name="T16" fmla="*/ 2147483647 w 4"/>
                    <a:gd name="T17" fmla="*/ 2147483647 h 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5"/>
                    <a:gd name="T29" fmla="*/ 4 w 4"/>
                    <a:gd name="T30" fmla="*/ 5 h 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5">
                      <a:moveTo>
                        <a:pt x="4" y="4"/>
                      </a:moveTo>
                      <a:lnTo>
                        <a:pt x="3" y="5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4" y="3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6" name="Freeform 241">
                  <a:extLst>
                    <a:ext uri="{FF2B5EF4-FFF2-40B4-BE49-F238E27FC236}">
                      <a16:creationId xmlns:a16="http://schemas.microsoft.com/office/drawing/2014/main" id="{4CF9D558-5DD9-AC4A-A9DD-7CFD287A58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31397" y="4856620"/>
                  <a:ext cx="591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0 w 5"/>
                    <a:gd name="T7" fmla="*/ 2147483647 h 8"/>
                    <a:gd name="T8" fmla="*/ 0 w 5"/>
                    <a:gd name="T9" fmla="*/ 2147483647 h 8"/>
                    <a:gd name="T10" fmla="*/ 2147483647 w 5"/>
                    <a:gd name="T11" fmla="*/ 0 h 8"/>
                    <a:gd name="T12" fmla="*/ 2147483647 w 5"/>
                    <a:gd name="T13" fmla="*/ 0 h 8"/>
                    <a:gd name="T14" fmla="*/ 2147483647 w 5"/>
                    <a:gd name="T15" fmla="*/ 2147483647 h 8"/>
                    <a:gd name="T16" fmla="*/ 2147483647 w 5"/>
                    <a:gd name="T17" fmla="*/ 2147483647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8"/>
                    <a:gd name="T29" fmla="*/ 5 w 5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8">
                      <a:moveTo>
                        <a:pt x="5" y="6"/>
                      </a:moveTo>
                      <a:lnTo>
                        <a:pt x="3" y="7"/>
                      </a:lnTo>
                      <a:lnTo>
                        <a:pt x="2" y="8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7" name="Freeform 242">
                  <a:extLst>
                    <a:ext uri="{FF2B5EF4-FFF2-40B4-BE49-F238E27FC236}">
                      <a16:creationId xmlns:a16="http://schemas.microsoft.com/office/drawing/2014/main" id="{FF9F3CC6-0497-424B-AD6F-5BA729FB57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15119" y="4838862"/>
                  <a:ext cx="4440" cy="740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2147483647 w 4"/>
                    <a:gd name="T7" fmla="*/ 2147483647 h 5"/>
                    <a:gd name="T8" fmla="*/ 0 w 4"/>
                    <a:gd name="T9" fmla="*/ 2147483647 h 5"/>
                    <a:gd name="T10" fmla="*/ 0 w 4"/>
                    <a:gd name="T11" fmla="*/ 2147483647 h 5"/>
                    <a:gd name="T12" fmla="*/ 0 w 4"/>
                    <a:gd name="T13" fmla="*/ 2147483647 h 5"/>
                    <a:gd name="T14" fmla="*/ 2147483647 w 4"/>
                    <a:gd name="T15" fmla="*/ 0 h 5"/>
                    <a:gd name="T16" fmla="*/ 2147483647 w 4"/>
                    <a:gd name="T17" fmla="*/ 2147483647 h 5"/>
                    <a:gd name="T18" fmla="*/ 2147483647 w 4"/>
                    <a:gd name="T19" fmla="*/ 2147483647 h 5"/>
                    <a:gd name="T20" fmla="*/ 2147483647 w 4"/>
                    <a:gd name="T21" fmla="*/ 2147483647 h 5"/>
                    <a:gd name="T22" fmla="*/ 2147483647 w 4"/>
                    <a:gd name="T23" fmla="*/ 2147483647 h 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"/>
                    <a:gd name="T37" fmla="*/ 0 h 5"/>
                    <a:gd name="T38" fmla="*/ 4 w 4"/>
                    <a:gd name="T39" fmla="*/ 5 h 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" h="5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8" name="Freeform 243">
                  <a:extLst>
                    <a:ext uri="{FF2B5EF4-FFF2-40B4-BE49-F238E27FC236}">
                      <a16:creationId xmlns:a16="http://schemas.microsoft.com/office/drawing/2014/main" id="{BB67AAE7-79C9-5C4E-8CC0-D0B1C7DC18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28436" y="4855141"/>
                  <a:ext cx="591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2147483647 w 5"/>
                    <a:gd name="T9" fmla="*/ 2147483647 h 8"/>
                    <a:gd name="T10" fmla="*/ 0 w 5"/>
                    <a:gd name="T11" fmla="*/ 2147483647 h 8"/>
                    <a:gd name="T12" fmla="*/ 0 w 5"/>
                    <a:gd name="T13" fmla="*/ 2147483647 h 8"/>
                    <a:gd name="T14" fmla="*/ 2147483647 w 5"/>
                    <a:gd name="T15" fmla="*/ 0 h 8"/>
                    <a:gd name="T16" fmla="*/ 2147483647 w 5"/>
                    <a:gd name="T17" fmla="*/ 0 h 8"/>
                    <a:gd name="T18" fmla="*/ 2147483647 w 5"/>
                    <a:gd name="T19" fmla="*/ 0 h 8"/>
                    <a:gd name="T20" fmla="*/ 2147483647 w 5"/>
                    <a:gd name="T21" fmla="*/ 2147483647 h 8"/>
                    <a:gd name="T22" fmla="*/ 2147483647 w 5"/>
                    <a:gd name="T23" fmla="*/ 2147483647 h 8"/>
                    <a:gd name="T24" fmla="*/ 2147483647 w 5"/>
                    <a:gd name="T25" fmla="*/ 2147483647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"/>
                    <a:gd name="T40" fmla="*/ 0 h 8"/>
                    <a:gd name="T41" fmla="*/ 5 w 5"/>
                    <a:gd name="T42" fmla="*/ 8 h 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" h="8">
                      <a:moveTo>
                        <a:pt x="5" y="6"/>
                      </a:move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9" name="Freeform 244">
                  <a:extLst>
                    <a:ext uri="{FF2B5EF4-FFF2-40B4-BE49-F238E27FC236}">
                      <a16:creationId xmlns:a16="http://schemas.microsoft.com/office/drawing/2014/main" id="{A8EEED22-22E7-754C-8302-193CF80FAD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853" y="4695320"/>
                  <a:ext cx="47356" cy="57714"/>
                </a:xfrm>
                <a:custGeom>
                  <a:avLst/>
                  <a:gdLst>
                    <a:gd name="T0" fmla="*/ 2147483647 w 35"/>
                    <a:gd name="T1" fmla="*/ 2147483647 h 39"/>
                    <a:gd name="T2" fmla="*/ 2147483647 w 35"/>
                    <a:gd name="T3" fmla="*/ 2147483647 h 39"/>
                    <a:gd name="T4" fmla="*/ 2147483647 w 35"/>
                    <a:gd name="T5" fmla="*/ 2147483647 h 39"/>
                    <a:gd name="T6" fmla="*/ 2147483647 w 35"/>
                    <a:gd name="T7" fmla="*/ 2147483647 h 39"/>
                    <a:gd name="T8" fmla="*/ 2147483647 w 35"/>
                    <a:gd name="T9" fmla="*/ 2147483647 h 39"/>
                    <a:gd name="T10" fmla="*/ 2147483647 w 35"/>
                    <a:gd name="T11" fmla="*/ 2147483647 h 39"/>
                    <a:gd name="T12" fmla="*/ 2147483647 w 35"/>
                    <a:gd name="T13" fmla="*/ 2147483647 h 39"/>
                    <a:gd name="T14" fmla="*/ 2147483647 w 35"/>
                    <a:gd name="T15" fmla="*/ 2147483647 h 39"/>
                    <a:gd name="T16" fmla="*/ 2147483647 w 35"/>
                    <a:gd name="T17" fmla="*/ 2147483647 h 39"/>
                    <a:gd name="T18" fmla="*/ 2147483647 w 35"/>
                    <a:gd name="T19" fmla="*/ 2147483647 h 39"/>
                    <a:gd name="T20" fmla="*/ 2147483647 w 35"/>
                    <a:gd name="T21" fmla="*/ 2147483647 h 39"/>
                    <a:gd name="T22" fmla="*/ 2147483647 w 35"/>
                    <a:gd name="T23" fmla="*/ 0 h 39"/>
                    <a:gd name="T24" fmla="*/ 2147483647 w 35"/>
                    <a:gd name="T25" fmla="*/ 2147483647 h 39"/>
                    <a:gd name="T26" fmla="*/ 0 w 35"/>
                    <a:gd name="T27" fmla="*/ 2147483647 h 39"/>
                    <a:gd name="T28" fmla="*/ 2147483647 w 35"/>
                    <a:gd name="T29" fmla="*/ 2147483647 h 39"/>
                    <a:gd name="T30" fmla="*/ 2147483647 w 35"/>
                    <a:gd name="T31" fmla="*/ 2147483647 h 39"/>
                    <a:gd name="T32" fmla="*/ 2147483647 w 35"/>
                    <a:gd name="T33" fmla="*/ 2147483647 h 39"/>
                    <a:gd name="T34" fmla="*/ 2147483647 w 35"/>
                    <a:gd name="T35" fmla="*/ 2147483647 h 39"/>
                    <a:gd name="T36" fmla="*/ 2147483647 w 35"/>
                    <a:gd name="T37" fmla="*/ 2147483647 h 39"/>
                    <a:gd name="T38" fmla="*/ 2147483647 w 35"/>
                    <a:gd name="T39" fmla="*/ 2147483647 h 39"/>
                    <a:gd name="T40" fmla="*/ 2147483647 w 35"/>
                    <a:gd name="T41" fmla="*/ 2147483647 h 39"/>
                    <a:gd name="T42" fmla="*/ 2147483647 w 35"/>
                    <a:gd name="T43" fmla="*/ 2147483647 h 39"/>
                    <a:gd name="T44" fmla="*/ 2147483647 w 35"/>
                    <a:gd name="T45" fmla="*/ 2147483647 h 39"/>
                    <a:gd name="T46" fmla="*/ 2147483647 w 35"/>
                    <a:gd name="T47" fmla="*/ 2147483647 h 3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5"/>
                    <a:gd name="T73" fmla="*/ 0 h 39"/>
                    <a:gd name="T74" fmla="*/ 35 w 35"/>
                    <a:gd name="T75" fmla="*/ 39 h 39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5" h="39">
                      <a:moveTo>
                        <a:pt x="35" y="35"/>
                      </a:moveTo>
                      <a:lnTo>
                        <a:pt x="35" y="31"/>
                      </a:lnTo>
                      <a:lnTo>
                        <a:pt x="33" y="26"/>
                      </a:lnTo>
                      <a:lnTo>
                        <a:pt x="31" y="22"/>
                      </a:lnTo>
                      <a:lnTo>
                        <a:pt x="28" y="19"/>
                      </a:lnTo>
                      <a:lnTo>
                        <a:pt x="21" y="13"/>
                      </a:lnTo>
                      <a:lnTo>
                        <a:pt x="12" y="8"/>
                      </a:lnTo>
                      <a:lnTo>
                        <a:pt x="10" y="7"/>
                      </a:lnTo>
                      <a:lnTo>
                        <a:pt x="9" y="6"/>
                      </a:lnTo>
                      <a:lnTo>
                        <a:pt x="5" y="2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7"/>
                      </a:lnTo>
                      <a:lnTo>
                        <a:pt x="5" y="8"/>
                      </a:lnTo>
                      <a:lnTo>
                        <a:pt x="10" y="10"/>
                      </a:lnTo>
                      <a:lnTo>
                        <a:pt x="14" y="14"/>
                      </a:lnTo>
                      <a:lnTo>
                        <a:pt x="21" y="21"/>
                      </a:lnTo>
                      <a:lnTo>
                        <a:pt x="31" y="39"/>
                      </a:lnTo>
                      <a:lnTo>
                        <a:pt x="32" y="39"/>
                      </a:lnTo>
                      <a:lnTo>
                        <a:pt x="33" y="39"/>
                      </a:lnTo>
                      <a:lnTo>
                        <a:pt x="35" y="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0" name="Freeform 245">
                  <a:extLst>
                    <a:ext uri="{FF2B5EF4-FFF2-40B4-BE49-F238E27FC236}">
                      <a16:creationId xmlns:a16="http://schemas.microsoft.com/office/drawing/2014/main" id="{8852E460-9263-7841-95A8-CE64898141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52134" y="4886222"/>
                  <a:ext cx="7400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2147483647 w 6"/>
                    <a:gd name="T15" fmla="*/ 0 h 6"/>
                    <a:gd name="T16" fmla="*/ 2147483647 w 6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6"/>
                    <a:gd name="T29" fmla="*/ 6 w 6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6">
                      <a:moveTo>
                        <a:pt x="4" y="1"/>
                      </a:moveTo>
                      <a:lnTo>
                        <a:pt x="6" y="4"/>
                      </a:lnTo>
                      <a:lnTo>
                        <a:pt x="5" y="5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1" name="Freeform 246">
                  <a:extLst>
                    <a:ext uri="{FF2B5EF4-FFF2-40B4-BE49-F238E27FC236}">
                      <a16:creationId xmlns:a16="http://schemas.microsoft.com/office/drawing/2014/main" id="{99B0F48A-74E5-194E-94D6-BC4FD927CC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1374" y="4693837"/>
                  <a:ext cx="45876" cy="57715"/>
                </a:xfrm>
                <a:custGeom>
                  <a:avLst/>
                  <a:gdLst>
                    <a:gd name="T0" fmla="*/ 2147483647 w 34"/>
                    <a:gd name="T1" fmla="*/ 2147483647 h 39"/>
                    <a:gd name="T2" fmla="*/ 2147483647 w 34"/>
                    <a:gd name="T3" fmla="*/ 2147483647 h 39"/>
                    <a:gd name="T4" fmla="*/ 2147483647 w 34"/>
                    <a:gd name="T5" fmla="*/ 2147483647 h 39"/>
                    <a:gd name="T6" fmla="*/ 2147483647 w 34"/>
                    <a:gd name="T7" fmla="*/ 2147483647 h 39"/>
                    <a:gd name="T8" fmla="*/ 2147483647 w 34"/>
                    <a:gd name="T9" fmla="*/ 2147483647 h 39"/>
                    <a:gd name="T10" fmla="*/ 2147483647 w 34"/>
                    <a:gd name="T11" fmla="*/ 2147483647 h 39"/>
                    <a:gd name="T12" fmla="*/ 2147483647 w 34"/>
                    <a:gd name="T13" fmla="*/ 2147483647 h 39"/>
                    <a:gd name="T14" fmla="*/ 2147483647 w 34"/>
                    <a:gd name="T15" fmla="*/ 2147483647 h 39"/>
                    <a:gd name="T16" fmla="*/ 2147483647 w 34"/>
                    <a:gd name="T17" fmla="*/ 2147483647 h 39"/>
                    <a:gd name="T18" fmla="*/ 2147483647 w 34"/>
                    <a:gd name="T19" fmla="*/ 2147483647 h 39"/>
                    <a:gd name="T20" fmla="*/ 2147483647 w 34"/>
                    <a:gd name="T21" fmla="*/ 2147483647 h 39"/>
                    <a:gd name="T22" fmla="*/ 2147483647 w 34"/>
                    <a:gd name="T23" fmla="*/ 2147483647 h 39"/>
                    <a:gd name="T24" fmla="*/ 2147483647 w 34"/>
                    <a:gd name="T25" fmla="*/ 2147483647 h 39"/>
                    <a:gd name="T26" fmla="*/ 2147483647 w 34"/>
                    <a:gd name="T27" fmla="*/ 2147483647 h 39"/>
                    <a:gd name="T28" fmla="*/ 2147483647 w 34"/>
                    <a:gd name="T29" fmla="*/ 0 h 39"/>
                    <a:gd name="T30" fmla="*/ 2147483647 w 34"/>
                    <a:gd name="T31" fmla="*/ 2147483647 h 39"/>
                    <a:gd name="T32" fmla="*/ 2147483647 w 34"/>
                    <a:gd name="T33" fmla="*/ 2147483647 h 39"/>
                    <a:gd name="T34" fmla="*/ 0 w 34"/>
                    <a:gd name="T35" fmla="*/ 2147483647 h 39"/>
                    <a:gd name="T36" fmla="*/ 2147483647 w 34"/>
                    <a:gd name="T37" fmla="*/ 2147483647 h 39"/>
                    <a:gd name="T38" fmla="*/ 2147483647 w 34"/>
                    <a:gd name="T39" fmla="*/ 2147483647 h 39"/>
                    <a:gd name="T40" fmla="*/ 2147483647 w 34"/>
                    <a:gd name="T41" fmla="*/ 2147483647 h 39"/>
                    <a:gd name="T42" fmla="*/ 2147483647 w 34"/>
                    <a:gd name="T43" fmla="*/ 2147483647 h 39"/>
                    <a:gd name="T44" fmla="*/ 2147483647 w 34"/>
                    <a:gd name="T45" fmla="*/ 2147483647 h 39"/>
                    <a:gd name="T46" fmla="*/ 2147483647 w 34"/>
                    <a:gd name="T47" fmla="*/ 2147483647 h 39"/>
                    <a:gd name="T48" fmla="*/ 2147483647 w 34"/>
                    <a:gd name="T49" fmla="*/ 2147483647 h 39"/>
                    <a:gd name="T50" fmla="*/ 2147483647 w 34"/>
                    <a:gd name="T51" fmla="*/ 2147483647 h 39"/>
                    <a:gd name="T52" fmla="*/ 2147483647 w 34"/>
                    <a:gd name="T53" fmla="*/ 2147483647 h 39"/>
                    <a:gd name="T54" fmla="*/ 2147483647 w 34"/>
                    <a:gd name="T55" fmla="*/ 2147483647 h 39"/>
                    <a:gd name="T56" fmla="*/ 2147483647 w 34"/>
                    <a:gd name="T57" fmla="*/ 2147483647 h 39"/>
                    <a:gd name="T58" fmla="*/ 2147483647 w 34"/>
                    <a:gd name="T59" fmla="*/ 2147483647 h 39"/>
                    <a:gd name="T60" fmla="*/ 2147483647 w 34"/>
                    <a:gd name="T61" fmla="*/ 2147483647 h 3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4"/>
                    <a:gd name="T94" fmla="*/ 0 h 39"/>
                    <a:gd name="T95" fmla="*/ 34 w 34"/>
                    <a:gd name="T96" fmla="*/ 39 h 3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4" h="39">
                      <a:moveTo>
                        <a:pt x="34" y="35"/>
                      </a:moveTo>
                      <a:lnTo>
                        <a:pt x="34" y="35"/>
                      </a:lnTo>
                      <a:lnTo>
                        <a:pt x="34" y="30"/>
                      </a:lnTo>
                      <a:lnTo>
                        <a:pt x="33" y="26"/>
                      </a:lnTo>
                      <a:lnTo>
                        <a:pt x="30" y="22"/>
                      </a:lnTo>
                      <a:lnTo>
                        <a:pt x="28" y="19"/>
                      </a:lnTo>
                      <a:lnTo>
                        <a:pt x="20" y="13"/>
                      </a:lnTo>
                      <a:lnTo>
                        <a:pt x="11" y="8"/>
                      </a:lnTo>
                      <a:lnTo>
                        <a:pt x="10" y="7"/>
                      </a:lnTo>
                      <a:lnTo>
                        <a:pt x="9" y="5"/>
                      </a:lnTo>
                      <a:lnTo>
                        <a:pt x="5" y="2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7"/>
                      </a:lnTo>
                      <a:lnTo>
                        <a:pt x="5" y="8"/>
                      </a:lnTo>
                      <a:lnTo>
                        <a:pt x="10" y="10"/>
                      </a:lnTo>
                      <a:lnTo>
                        <a:pt x="14" y="14"/>
                      </a:lnTo>
                      <a:lnTo>
                        <a:pt x="20" y="21"/>
                      </a:lnTo>
                      <a:lnTo>
                        <a:pt x="30" y="39"/>
                      </a:lnTo>
                      <a:lnTo>
                        <a:pt x="32" y="39"/>
                      </a:lnTo>
                      <a:lnTo>
                        <a:pt x="33" y="39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2" name="Freeform 247">
                  <a:extLst>
                    <a:ext uri="{FF2B5EF4-FFF2-40B4-BE49-F238E27FC236}">
                      <a16:creationId xmlns:a16="http://schemas.microsoft.com/office/drawing/2014/main" id="{223860EB-9224-5C47-AA04-E8B26D964E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50659" y="4884742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0 w 6"/>
                    <a:gd name="T15" fmla="*/ 2147483647 h 6"/>
                    <a:gd name="T16" fmla="*/ 0 w 6"/>
                    <a:gd name="T17" fmla="*/ 2147483647 h 6"/>
                    <a:gd name="T18" fmla="*/ 0 w 6"/>
                    <a:gd name="T19" fmla="*/ 2147483647 h 6"/>
                    <a:gd name="T20" fmla="*/ 0 w 6"/>
                    <a:gd name="T21" fmla="*/ 2147483647 h 6"/>
                    <a:gd name="T22" fmla="*/ 2147483647 w 6"/>
                    <a:gd name="T23" fmla="*/ 0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6"/>
                    <a:gd name="T44" fmla="*/ 6 w 6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6">
                      <a:moveTo>
                        <a:pt x="4" y="1"/>
                      </a:move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5" y="5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3" name="Freeform 248">
                  <a:extLst>
                    <a:ext uri="{FF2B5EF4-FFF2-40B4-BE49-F238E27FC236}">
                      <a16:creationId xmlns:a16="http://schemas.microsoft.com/office/drawing/2014/main" id="{2FC55059-CE12-0345-9CE9-D63B4E4E14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62495" y="4892138"/>
                  <a:ext cx="16278" cy="14799"/>
                </a:xfrm>
                <a:custGeom>
                  <a:avLst/>
                  <a:gdLst>
                    <a:gd name="T0" fmla="*/ 2147483647 w 12"/>
                    <a:gd name="T1" fmla="*/ 2147483647 h 10"/>
                    <a:gd name="T2" fmla="*/ 2147483647 w 12"/>
                    <a:gd name="T3" fmla="*/ 2147483647 h 10"/>
                    <a:gd name="T4" fmla="*/ 2147483647 w 12"/>
                    <a:gd name="T5" fmla="*/ 2147483647 h 10"/>
                    <a:gd name="T6" fmla="*/ 2147483647 w 12"/>
                    <a:gd name="T7" fmla="*/ 2147483647 h 10"/>
                    <a:gd name="T8" fmla="*/ 2147483647 w 12"/>
                    <a:gd name="T9" fmla="*/ 2147483647 h 10"/>
                    <a:gd name="T10" fmla="*/ 2147483647 w 12"/>
                    <a:gd name="T11" fmla="*/ 2147483647 h 10"/>
                    <a:gd name="T12" fmla="*/ 0 w 12"/>
                    <a:gd name="T13" fmla="*/ 2147483647 h 10"/>
                    <a:gd name="T14" fmla="*/ 0 w 12"/>
                    <a:gd name="T15" fmla="*/ 2147483647 h 10"/>
                    <a:gd name="T16" fmla="*/ 0 w 12"/>
                    <a:gd name="T17" fmla="*/ 2147483647 h 10"/>
                    <a:gd name="T18" fmla="*/ 2147483647 w 12"/>
                    <a:gd name="T19" fmla="*/ 2147483647 h 10"/>
                    <a:gd name="T20" fmla="*/ 2147483647 w 12"/>
                    <a:gd name="T21" fmla="*/ 0 h 10"/>
                    <a:gd name="T22" fmla="*/ 2147483647 w 12"/>
                    <a:gd name="T23" fmla="*/ 0 h 10"/>
                    <a:gd name="T24" fmla="*/ 2147483647 w 12"/>
                    <a:gd name="T25" fmla="*/ 2147483647 h 10"/>
                    <a:gd name="T26" fmla="*/ 2147483647 w 12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"/>
                    <a:gd name="T43" fmla="*/ 0 h 10"/>
                    <a:gd name="T44" fmla="*/ 12 w 12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" h="10">
                      <a:moveTo>
                        <a:pt x="11" y="5"/>
                      </a:moveTo>
                      <a:lnTo>
                        <a:pt x="12" y="9"/>
                      </a:lnTo>
                      <a:lnTo>
                        <a:pt x="11" y="10"/>
                      </a:lnTo>
                      <a:lnTo>
                        <a:pt x="10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4" name="Freeform 249">
                  <a:extLst>
                    <a:ext uri="{FF2B5EF4-FFF2-40B4-BE49-F238E27FC236}">
                      <a16:creationId xmlns:a16="http://schemas.microsoft.com/office/drawing/2014/main" id="{C639B93E-C18A-E743-90BB-EE1214C03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11331" y="4896581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0 w 7"/>
                    <a:gd name="T9" fmla="*/ 2147483647 h 6"/>
                    <a:gd name="T10" fmla="*/ 0 w 7"/>
                    <a:gd name="T11" fmla="*/ 2147483647 h 6"/>
                    <a:gd name="T12" fmla="*/ 2147483647 w 7"/>
                    <a:gd name="T13" fmla="*/ 0 h 6"/>
                    <a:gd name="T14" fmla="*/ 2147483647 w 7"/>
                    <a:gd name="T15" fmla="*/ 0 h 6"/>
                    <a:gd name="T16" fmla="*/ 2147483647 w 7"/>
                    <a:gd name="T17" fmla="*/ 0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6"/>
                    <a:gd name="T35" fmla="*/ 7 w 7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6">
                      <a:moveTo>
                        <a:pt x="7" y="4"/>
                      </a:moveTo>
                      <a:lnTo>
                        <a:pt x="5" y="5"/>
                      </a:lnTo>
                      <a:lnTo>
                        <a:pt x="4" y="6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5" name="Freeform 250">
                  <a:extLst>
                    <a:ext uri="{FF2B5EF4-FFF2-40B4-BE49-F238E27FC236}">
                      <a16:creationId xmlns:a16="http://schemas.microsoft.com/office/drawing/2014/main" id="{15CDCF29-A43A-2949-BFFF-AF78D47464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59534" y="4889181"/>
                  <a:ext cx="17758" cy="16279"/>
                </a:xfrm>
                <a:custGeom>
                  <a:avLst/>
                  <a:gdLst>
                    <a:gd name="T0" fmla="*/ 2147483647 w 13"/>
                    <a:gd name="T1" fmla="*/ 2147483647 h 11"/>
                    <a:gd name="T2" fmla="*/ 2147483647 w 13"/>
                    <a:gd name="T3" fmla="*/ 2147483647 h 11"/>
                    <a:gd name="T4" fmla="*/ 2147483647 w 13"/>
                    <a:gd name="T5" fmla="*/ 2147483647 h 11"/>
                    <a:gd name="T6" fmla="*/ 2147483647 w 13"/>
                    <a:gd name="T7" fmla="*/ 2147483647 h 11"/>
                    <a:gd name="T8" fmla="*/ 2147483647 w 13"/>
                    <a:gd name="T9" fmla="*/ 2147483647 h 11"/>
                    <a:gd name="T10" fmla="*/ 2147483647 w 13"/>
                    <a:gd name="T11" fmla="*/ 2147483647 h 11"/>
                    <a:gd name="T12" fmla="*/ 2147483647 w 13"/>
                    <a:gd name="T13" fmla="*/ 2147483647 h 11"/>
                    <a:gd name="T14" fmla="*/ 2147483647 w 13"/>
                    <a:gd name="T15" fmla="*/ 2147483647 h 11"/>
                    <a:gd name="T16" fmla="*/ 0 w 13"/>
                    <a:gd name="T17" fmla="*/ 2147483647 h 11"/>
                    <a:gd name="T18" fmla="*/ 0 w 13"/>
                    <a:gd name="T19" fmla="*/ 2147483647 h 11"/>
                    <a:gd name="T20" fmla="*/ 0 w 13"/>
                    <a:gd name="T21" fmla="*/ 2147483647 h 11"/>
                    <a:gd name="T22" fmla="*/ 0 w 13"/>
                    <a:gd name="T23" fmla="*/ 2147483647 h 11"/>
                    <a:gd name="T24" fmla="*/ 2147483647 w 13"/>
                    <a:gd name="T25" fmla="*/ 2147483647 h 11"/>
                    <a:gd name="T26" fmla="*/ 2147483647 w 13"/>
                    <a:gd name="T27" fmla="*/ 0 h 11"/>
                    <a:gd name="T28" fmla="*/ 2147483647 w 13"/>
                    <a:gd name="T29" fmla="*/ 0 h 11"/>
                    <a:gd name="T30" fmla="*/ 2147483647 w 13"/>
                    <a:gd name="T31" fmla="*/ 0 h 11"/>
                    <a:gd name="T32" fmla="*/ 2147483647 w 13"/>
                    <a:gd name="T33" fmla="*/ 2147483647 h 11"/>
                    <a:gd name="T34" fmla="*/ 2147483647 w 13"/>
                    <a:gd name="T35" fmla="*/ 2147483647 h 11"/>
                    <a:gd name="T36" fmla="*/ 2147483647 w 13"/>
                    <a:gd name="T37" fmla="*/ 2147483647 h 11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"/>
                    <a:gd name="T58" fmla="*/ 0 h 11"/>
                    <a:gd name="T59" fmla="*/ 13 w 13"/>
                    <a:gd name="T60" fmla="*/ 11 h 11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" h="11">
                      <a:moveTo>
                        <a:pt x="12" y="6"/>
                      </a:moveTo>
                      <a:lnTo>
                        <a:pt x="12" y="6"/>
                      </a:lnTo>
                      <a:lnTo>
                        <a:pt x="13" y="10"/>
                      </a:lnTo>
                      <a:lnTo>
                        <a:pt x="12" y="11"/>
                      </a:lnTo>
                      <a:lnTo>
                        <a:pt x="11" y="11"/>
                      </a:lnTo>
                      <a:lnTo>
                        <a:pt x="5" y="11"/>
                      </a:lnTo>
                      <a:lnTo>
                        <a:pt x="3" y="10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2"/>
                      </a:lnTo>
                      <a:lnTo>
                        <a:pt x="12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6" name="Freeform 251">
                  <a:extLst>
                    <a:ext uri="{FF2B5EF4-FFF2-40B4-BE49-F238E27FC236}">
                      <a16:creationId xmlns:a16="http://schemas.microsoft.com/office/drawing/2014/main" id="{B0382996-5493-E945-A8E4-6F295820C3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09854" y="4895101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2147483647 w 6"/>
                    <a:gd name="T15" fmla="*/ 0 h 6"/>
                    <a:gd name="T16" fmla="*/ 2147483647 w 6"/>
                    <a:gd name="T17" fmla="*/ 0 h 6"/>
                    <a:gd name="T18" fmla="*/ 2147483647 w 6"/>
                    <a:gd name="T19" fmla="*/ 0 h 6"/>
                    <a:gd name="T20" fmla="*/ 2147483647 w 6"/>
                    <a:gd name="T21" fmla="*/ 0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6"/>
                    <a:gd name="T44" fmla="*/ 6 w 6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6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5" y="5"/>
                      </a:lnTo>
                      <a:lnTo>
                        <a:pt x="4" y="6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2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7" name="Freeform 252">
                  <a:extLst>
                    <a:ext uri="{FF2B5EF4-FFF2-40B4-BE49-F238E27FC236}">
                      <a16:creationId xmlns:a16="http://schemas.microsoft.com/office/drawing/2014/main" id="{1D33AB65-A79D-ED45-B2D9-3964D2901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1689" y="4949857"/>
                  <a:ext cx="11839" cy="8879"/>
                </a:xfrm>
                <a:custGeom>
                  <a:avLst/>
                  <a:gdLst>
                    <a:gd name="T0" fmla="*/ 2147483647 w 9"/>
                    <a:gd name="T1" fmla="*/ 2147483647 h 6"/>
                    <a:gd name="T2" fmla="*/ 2147483647 w 9"/>
                    <a:gd name="T3" fmla="*/ 2147483647 h 6"/>
                    <a:gd name="T4" fmla="*/ 2147483647 w 9"/>
                    <a:gd name="T5" fmla="*/ 2147483647 h 6"/>
                    <a:gd name="T6" fmla="*/ 2147483647 w 9"/>
                    <a:gd name="T7" fmla="*/ 2147483647 h 6"/>
                    <a:gd name="T8" fmla="*/ 2147483647 w 9"/>
                    <a:gd name="T9" fmla="*/ 2147483647 h 6"/>
                    <a:gd name="T10" fmla="*/ 0 w 9"/>
                    <a:gd name="T11" fmla="*/ 0 h 6"/>
                    <a:gd name="T12" fmla="*/ 2147483647 w 9"/>
                    <a:gd name="T13" fmla="*/ 0 h 6"/>
                    <a:gd name="T14" fmla="*/ 2147483647 w 9"/>
                    <a:gd name="T15" fmla="*/ 0 h 6"/>
                    <a:gd name="T16" fmla="*/ 2147483647 w 9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"/>
                    <a:gd name="T28" fmla="*/ 0 h 6"/>
                    <a:gd name="T29" fmla="*/ 9 w 9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" h="6">
                      <a:moveTo>
                        <a:pt x="9" y="3"/>
                      </a:moveTo>
                      <a:lnTo>
                        <a:pt x="9" y="4"/>
                      </a:lnTo>
                      <a:lnTo>
                        <a:pt x="7" y="6"/>
                      </a:ln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8" name="Freeform 253">
                  <a:extLst>
                    <a:ext uri="{FF2B5EF4-FFF2-40B4-BE49-F238E27FC236}">
                      <a16:creationId xmlns:a16="http://schemas.microsoft.com/office/drawing/2014/main" id="{A783BD6D-EC2B-8149-8BA5-0CBD6EA93A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07737" y="4736754"/>
                  <a:ext cx="88792" cy="63634"/>
                </a:xfrm>
                <a:custGeom>
                  <a:avLst/>
                  <a:gdLst>
                    <a:gd name="T0" fmla="*/ 2147483647 w 65"/>
                    <a:gd name="T1" fmla="*/ 2147483647 h 43"/>
                    <a:gd name="T2" fmla="*/ 2147483647 w 65"/>
                    <a:gd name="T3" fmla="*/ 2147483647 h 43"/>
                    <a:gd name="T4" fmla="*/ 2147483647 w 65"/>
                    <a:gd name="T5" fmla="*/ 2147483647 h 43"/>
                    <a:gd name="T6" fmla="*/ 2147483647 w 65"/>
                    <a:gd name="T7" fmla="*/ 2147483647 h 43"/>
                    <a:gd name="T8" fmla="*/ 2147483647 w 65"/>
                    <a:gd name="T9" fmla="*/ 2147483647 h 43"/>
                    <a:gd name="T10" fmla="*/ 2147483647 w 65"/>
                    <a:gd name="T11" fmla="*/ 2147483647 h 43"/>
                    <a:gd name="T12" fmla="*/ 2147483647 w 65"/>
                    <a:gd name="T13" fmla="*/ 2147483647 h 43"/>
                    <a:gd name="T14" fmla="*/ 2147483647 w 65"/>
                    <a:gd name="T15" fmla="*/ 2147483647 h 43"/>
                    <a:gd name="T16" fmla="*/ 2147483647 w 65"/>
                    <a:gd name="T17" fmla="*/ 2147483647 h 43"/>
                    <a:gd name="T18" fmla="*/ 0 w 65"/>
                    <a:gd name="T19" fmla="*/ 2147483647 h 43"/>
                    <a:gd name="T20" fmla="*/ 2147483647 w 65"/>
                    <a:gd name="T21" fmla="*/ 2147483647 h 43"/>
                    <a:gd name="T22" fmla="*/ 2147483647 w 65"/>
                    <a:gd name="T23" fmla="*/ 2147483647 h 43"/>
                    <a:gd name="T24" fmla="*/ 2147483647 w 65"/>
                    <a:gd name="T25" fmla="*/ 2147483647 h 43"/>
                    <a:gd name="T26" fmla="*/ 2147483647 w 65"/>
                    <a:gd name="T27" fmla="*/ 2147483647 h 43"/>
                    <a:gd name="T28" fmla="*/ 2147483647 w 65"/>
                    <a:gd name="T29" fmla="*/ 2147483647 h 43"/>
                    <a:gd name="T30" fmla="*/ 2147483647 w 65"/>
                    <a:gd name="T31" fmla="*/ 2147483647 h 43"/>
                    <a:gd name="T32" fmla="*/ 2147483647 w 65"/>
                    <a:gd name="T33" fmla="*/ 2147483647 h 43"/>
                    <a:gd name="T34" fmla="*/ 2147483647 w 65"/>
                    <a:gd name="T35" fmla="*/ 2147483647 h 43"/>
                    <a:gd name="T36" fmla="*/ 2147483647 w 65"/>
                    <a:gd name="T37" fmla="*/ 2147483647 h 43"/>
                    <a:gd name="T38" fmla="*/ 2147483647 w 65"/>
                    <a:gd name="T39" fmla="*/ 2147483647 h 43"/>
                    <a:gd name="T40" fmla="*/ 2147483647 w 65"/>
                    <a:gd name="T41" fmla="*/ 2147483647 h 43"/>
                    <a:gd name="T42" fmla="*/ 2147483647 w 65"/>
                    <a:gd name="T43" fmla="*/ 2147483647 h 43"/>
                    <a:gd name="T44" fmla="*/ 2147483647 w 65"/>
                    <a:gd name="T45" fmla="*/ 2147483647 h 43"/>
                    <a:gd name="T46" fmla="*/ 2147483647 w 65"/>
                    <a:gd name="T47" fmla="*/ 2147483647 h 43"/>
                    <a:gd name="T48" fmla="*/ 2147483647 w 65"/>
                    <a:gd name="T49" fmla="*/ 2147483647 h 43"/>
                    <a:gd name="T50" fmla="*/ 2147483647 w 65"/>
                    <a:gd name="T51" fmla="*/ 2147483647 h 43"/>
                    <a:gd name="T52" fmla="*/ 2147483647 w 65"/>
                    <a:gd name="T53" fmla="*/ 2147483647 h 43"/>
                    <a:gd name="T54" fmla="*/ 2147483647 w 65"/>
                    <a:gd name="T55" fmla="*/ 2147483647 h 43"/>
                    <a:gd name="T56" fmla="*/ 2147483647 w 65"/>
                    <a:gd name="T57" fmla="*/ 2147483647 h 43"/>
                    <a:gd name="T58" fmla="*/ 2147483647 w 65"/>
                    <a:gd name="T59" fmla="*/ 2147483647 h 43"/>
                    <a:gd name="T60" fmla="*/ 2147483647 w 65"/>
                    <a:gd name="T61" fmla="*/ 2147483647 h 43"/>
                    <a:gd name="T62" fmla="*/ 2147483647 w 65"/>
                    <a:gd name="T63" fmla="*/ 2147483647 h 43"/>
                    <a:gd name="T64" fmla="*/ 2147483647 w 65"/>
                    <a:gd name="T65" fmla="*/ 2147483647 h 43"/>
                    <a:gd name="T66" fmla="*/ 2147483647 w 65"/>
                    <a:gd name="T67" fmla="*/ 0 h 43"/>
                    <a:gd name="T68" fmla="*/ 2147483647 w 65"/>
                    <a:gd name="T69" fmla="*/ 2147483647 h 43"/>
                    <a:gd name="T70" fmla="*/ 2147483647 w 65"/>
                    <a:gd name="T71" fmla="*/ 2147483647 h 43"/>
                    <a:gd name="T72" fmla="*/ 2147483647 w 65"/>
                    <a:gd name="T73" fmla="*/ 2147483647 h 43"/>
                    <a:gd name="T74" fmla="*/ 2147483647 w 65"/>
                    <a:gd name="T75" fmla="*/ 2147483647 h 43"/>
                    <a:gd name="T76" fmla="*/ 2147483647 w 65"/>
                    <a:gd name="T77" fmla="*/ 2147483647 h 43"/>
                    <a:gd name="T78" fmla="*/ 2147483647 w 65"/>
                    <a:gd name="T79" fmla="*/ 2147483647 h 43"/>
                    <a:gd name="T80" fmla="*/ 2147483647 w 65"/>
                    <a:gd name="T81" fmla="*/ 2147483647 h 43"/>
                    <a:gd name="T82" fmla="*/ 2147483647 w 65"/>
                    <a:gd name="T83" fmla="*/ 2147483647 h 43"/>
                    <a:gd name="T84" fmla="*/ 2147483647 w 65"/>
                    <a:gd name="T85" fmla="*/ 2147483647 h 43"/>
                    <a:gd name="T86" fmla="*/ 2147483647 w 65"/>
                    <a:gd name="T87" fmla="*/ 2147483647 h 43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5"/>
                    <a:gd name="T133" fmla="*/ 0 h 43"/>
                    <a:gd name="T134" fmla="*/ 65 w 65"/>
                    <a:gd name="T135" fmla="*/ 43 h 43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5" h="43">
                      <a:moveTo>
                        <a:pt x="37" y="43"/>
                      </a:moveTo>
                      <a:lnTo>
                        <a:pt x="29" y="42"/>
                      </a:lnTo>
                      <a:lnTo>
                        <a:pt x="23" y="41"/>
                      </a:lnTo>
                      <a:lnTo>
                        <a:pt x="16" y="42"/>
                      </a:lnTo>
                      <a:lnTo>
                        <a:pt x="9" y="43"/>
                      </a:lnTo>
                      <a:lnTo>
                        <a:pt x="8" y="43"/>
                      </a:lnTo>
                      <a:lnTo>
                        <a:pt x="7" y="41"/>
                      </a:lnTo>
                      <a:lnTo>
                        <a:pt x="7" y="38"/>
                      </a:lnTo>
                      <a:lnTo>
                        <a:pt x="2" y="35"/>
                      </a:lnTo>
                      <a:lnTo>
                        <a:pt x="0" y="32"/>
                      </a:lnTo>
                      <a:lnTo>
                        <a:pt x="2" y="30"/>
                      </a:lnTo>
                      <a:lnTo>
                        <a:pt x="3" y="30"/>
                      </a:lnTo>
                      <a:lnTo>
                        <a:pt x="4" y="30"/>
                      </a:lnTo>
                      <a:lnTo>
                        <a:pt x="9" y="32"/>
                      </a:lnTo>
                      <a:lnTo>
                        <a:pt x="14" y="32"/>
                      </a:lnTo>
                      <a:lnTo>
                        <a:pt x="21" y="30"/>
                      </a:lnTo>
                      <a:lnTo>
                        <a:pt x="24" y="27"/>
                      </a:lnTo>
                      <a:lnTo>
                        <a:pt x="28" y="23"/>
                      </a:lnTo>
                      <a:lnTo>
                        <a:pt x="29" y="22"/>
                      </a:lnTo>
                      <a:lnTo>
                        <a:pt x="31" y="22"/>
                      </a:lnTo>
                      <a:lnTo>
                        <a:pt x="37" y="27"/>
                      </a:lnTo>
                      <a:lnTo>
                        <a:pt x="40" y="29"/>
                      </a:lnTo>
                      <a:lnTo>
                        <a:pt x="41" y="29"/>
                      </a:lnTo>
                      <a:lnTo>
                        <a:pt x="42" y="29"/>
                      </a:lnTo>
                      <a:lnTo>
                        <a:pt x="45" y="26"/>
                      </a:lnTo>
                      <a:lnTo>
                        <a:pt x="45" y="24"/>
                      </a:lnTo>
                      <a:lnTo>
                        <a:pt x="46" y="22"/>
                      </a:lnTo>
                      <a:lnTo>
                        <a:pt x="50" y="17"/>
                      </a:lnTo>
                      <a:lnTo>
                        <a:pt x="54" y="13"/>
                      </a:lnTo>
                      <a:lnTo>
                        <a:pt x="55" y="8"/>
                      </a:lnTo>
                      <a:lnTo>
                        <a:pt x="55" y="5"/>
                      </a:lnTo>
                      <a:lnTo>
                        <a:pt x="54" y="3"/>
                      </a:lnTo>
                      <a:lnTo>
                        <a:pt x="55" y="1"/>
                      </a:lnTo>
                      <a:lnTo>
                        <a:pt x="57" y="0"/>
                      </a:lnTo>
                      <a:lnTo>
                        <a:pt x="59" y="1"/>
                      </a:lnTo>
                      <a:lnTo>
                        <a:pt x="61" y="4"/>
                      </a:lnTo>
                      <a:lnTo>
                        <a:pt x="64" y="10"/>
                      </a:lnTo>
                      <a:lnTo>
                        <a:pt x="65" y="14"/>
                      </a:lnTo>
                      <a:lnTo>
                        <a:pt x="65" y="19"/>
                      </a:lnTo>
                      <a:lnTo>
                        <a:pt x="62" y="24"/>
                      </a:lnTo>
                      <a:lnTo>
                        <a:pt x="51" y="35"/>
                      </a:lnTo>
                      <a:lnTo>
                        <a:pt x="49" y="37"/>
                      </a:lnTo>
                      <a:lnTo>
                        <a:pt x="45" y="38"/>
                      </a:lnTo>
                      <a:lnTo>
                        <a:pt x="37" y="4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9" name="Freeform 254">
                  <a:extLst>
                    <a:ext uri="{FF2B5EF4-FFF2-40B4-BE49-F238E27FC236}">
                      <a16:creationId xmlns:a16="http://schemas.microsoft.com/office/drawing/2014/main" id="{D1469C02-1D09-7B4B-9BD5-313EE12516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20212" y="4946897"/>
                  <a:ext cx="10360" cy="8879"/>
                </a:xfrm>
                <a:custGeom>
                  <a:avLst/>
                  <a:gdLst>
                    <a:gd name="T0" fmla="*/ 2147483647 w 8"/>
                    <a:gd name="T1" fmla="*/ 2147483647 h 6"/>
                    <a:gd name="T2" fmla="*/ 2147483647 w 8"/>
                    <a:gd name="T3" fmla="*/ 2147483647 h 6"/>
                    <a:gd name="T4" fmla="*/ 2147483647 w 8"/>
                    <a:gd name="T5" fmla="*/ 2147483647 h 6"/>
                    <a:gd name="T6" fmla="*/ 2147483647 w 8"/>
                    <a:gd name="T7" fmla="*/ 2147483647 h 6"/>
                    <a:gd name="T8" fmla="*/ 2147483647 w 8"/>
                    <a:gd name="T9" fmla="*/ 2147483647 h 6"/>
                    <a:gd name="T10" fmla="*/ 2147483647 w 8"/>
                    <a:gd name="T11" fmla="*/ 2147483647 h 6"/>
                    <a:gd name="T12" fmla="*/ 2147483647 w 8"/>
                    <a:gd name="T13" fmla="*/ 2147483647 h 6"/>
                    <a:gd name="T14" fmla="*/ 0 w 8"/>
                    <a:gd name="T15" fmla="*/ 0 h 6"/>
                    <a:gd name="T16" fmla="*/ 0 w 8"/>
                    <a:gd name="T17" fmla="*/ 0 h 6"/>
                    <a:gd name="T18" fmla="*/ 2147483647 w 8"/>
                    <a:gd name="T19" fmla="*/ 0 h 6"/>
                    <a:gd name="T20" fmla="*/ 2147483647 w 8"/>
                    <a:gd name="T21" fmla="*/ 0 h 6"/>
                    <a:gd name="T22" fmla="*/ 2147483647 w 8"/>
                    <a:gd name="T23" fmla="*/ 2147483647 h 6"/>
                    <a:gd name="T24" fmla="*/ 2147483647 w 8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6"/>
                    <a:gd name="T41" fmla="*/ 8 w 8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6">
                      <a:moveTo>
                        <a:pt x="8" y="4"/>
                      </a:moveTo>
                      <a:lnTo>
                        <a:pt x="8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5" y="5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0" name="Freeform 255">
                  <a:extLst>
                    <a:ext uri="{FF2B5EF4-FFF2-40B4-BE49-F238E27FC236}">
                      <a16:creationId xmlns:a16="http://schemas.microsoft.com/office/drawing/2014/main" id="{4AD620F2-2A0F-F241-ADB1-9F474F2584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06259" y="4735271"/>
                  <a:ext cx="88792" cy="63635"/>
                </a:xfrm>
                <a:custGeom>
                  <a:avLst/>
                  <a:gdLst>
                    <a:gd name="T0" fmla="*/ 2147483647 w 65"/>
                    <a:gd name="T1" fmla="*/ 2147483647 h 43"/>
                    <a:gd name="T2" fmla="*/ 2147483647 w 65"/>
                    <a:gd name="T3" fmla="*/ 2147483647 h 43"/>
                    <a:gd name="T4" fmla="*/ 2147483647 w 65"/>
                    <a:gd name="T5" fmla="*/ 2147483647 h 43"/>
                    <a:gd name="T6" fmla="*/ 2147483647 w 65"/>
                    <a:gd name="T7" fmla="*/ 2147483647 h 43"/>
                    <a:gd name="T8" fmla="*/ 2147483647 w 65"/>
                    <a:gd name="T9" fmla="*/ 2147483647 h 43"/>
                    <a:gd name="T10" fmla="*/ 2147483647 w 65"/>
                    <a:gd name="T11" fmla="*/ 2147483647 h 43"/>
                    <a:gd name="T12" fmla="*/ 2147483647 w 65"/>
                    <a:gd name="T13" fmla="*/ 2147483647 h 43"/>
                    <a:gd name="T14" fmla="*/ 2147483647 w 65"/>
                    <a:gd name="T15" fmla="*/ 2147483647 h 43"/>
                    <a:gd name="T16" fmla="*/ 2147483647 w 65"/>
                    <a:gd name="T17" fmla="*/ 2147483647 h 43"/>
                    <a:gd name="T18" fmla="*/ 2147483647 w 65"/>
                    <a:gd name="T19" fmla="*/ 2147483647 h 43"/>
                    <a:gd name="T20" fmla="*/ 2147483647 w 65"/>
                    <a:gd name="T21" fmla="*/ 2147483647 h 43"/>
                    <a:gd name="T22" fmla="*/ 2147483647 w 65"/>
                    <a:gd name="T23" fmla="*/ 2147483647 h 43"/>
                    <a:gd name="T24" fmla="*/ 2147483647 w 65"/>
                    <a:gd name="T25" fmla="*/ 2147483647 h 43"/>
                    <a:gd name="T26" fmla="*/ 0 w 65"/>
                    <a:gd name="T27" fmla="*/ 2147483647 h 43"/>
                    <a:gd name="T28" fmla="*/ 2147483647 w 65"/>
                    <a:gd name="T29" fmla="*/ 2147483647 h 43"/>
                    <a:gd name="T30" fmla="*/ 2147483647 w 65"/>
                    <a:gd name="T31" fmla="*/ 2147483647 h 43"/>
                    <a:gd name="T32" fmla="*/ 2147483647 w 65"/>
                    <a:gd name="T33" fmla="*/ 2147483647 h 43"/>
                    <a:gd name="T34" fmla="*/ 2147483647 w 65"/>
                    <a:gd name="T35" fmla="*/ 2147483647 h 43"/>
                    <a:gd name="T36" fmla="*/ 2147483647 w 65"/>
                    <a:gd name="T37" fmla="*/ 2147483647 h 43"/>
                    <a:gd name="T38" fmla="*/ 2147483647 w 65"/>
                    <a:gd name="T39" fmla="*/ 2147483647 h 43"/>
                    <a:gd name="T40" fmla="*/ 2147483647 w 65"/>
                    <a:gd name="T41" fmla="*/ 2147483647 h 43"/>
                    <a:gd name="T42" fmla="*/ 2147483647 w 65"/>
                    <a:gd name="T43" fmla="*/ 2147483647 h 43"/>
                    <a:gd name="T44" fmla="*/ 2147483647 w 65"/>
                    <a:gd name="T45" fmla="*/ 2147483647 h 43"/>
                    <a:gd name="T46" fmla="*/ 2147483647 w 65"/>
                    <a:gd name="T47" fmla="*/ 2147483647 h 43"/>
                    <a:gd name="T48" fmla="*/ 2147483647 w 65"/>
                    <a:gd name="T49" fmla="*/ 2147483647 h 43"/>
                    <a:gd name="T50" fmla="*/ 2147483647 w 65"/>
                    <a:gd name="T51" fmla="*/ 2147483647 h 43"/>
                    <a:gd name="T52" fmla="*/ 2147483647 w 65"/>
                    <a:gd name="T53" fmla="*/ 2147483647 h 43"/>
                    <a:gd name="T54" fmla="*/ 2147483647 w 65"/>
                    <a:gd name="T55" fmla="*/ 2147483647 h 43"/>
                    <a:gd name="T56" fmla="*/ 2147483647 w 65"/>
                    <a:gd name="T57" fmla="*/ 2147483647 h 43"/>
                    <a:gd name="T58" fmla="*/ 2147483647 w 65"/>
                    <a:gd name="T59" fmla="*/ 2147483647 h 43"/>
                    <a:gd name="T60" fmla="*/ 2147483647 w 65"/>
                    <a:gd name="T61" fmla="*/ 2147483647 h 43"/>
                    <a:gd name="T62" fmla="*/ 2147483647 w 65"/>
                    <a:gd name="T63" fmla="*/ 2147483647 h 43"/>
                    <a:gd name="T64" fmla="*/ 2147483647 w 65"/>
                    <a:gd name="T65" fmla="*/ 2147483647 h 43"/>
                    <a:gd name="T66" fmla="*/ 2147483647 w 65"/>
                    <a:gd name="T67" fmla="*/ 2147483647 h 43"/>
                    <a:gd name="T68" fmla="*/ 2147483647 w 65"/>
                    <a:gd name="T69" fmla="*/ 2147483647 h 43"/>
                    <a:gd name="T70" fmla="*/ 2147483647 w 65"/>
                    <a:gd name="T71" fmla="*/ 2147483647 h 43"/>
                    <a:gd name="T72" fmla="*/ 2147483647 w 65"/>
                    <a:gd name="T73" fmla="*/ 2147483647 h 43"/>
                    <a:gd name="T74" fmla="*/ 2147483647 w 65"/>
                    <a:gd name="T75" fmla="*/ 2147483647 h 43"/>
                    <a:gd name="T76" fmla="*/ 2147483647 w 65"/>
                    <a:gd name="T77" fmla="*/ 2147483647 h 43"/>
                    <a:gd name="T78" fmla="*/ 2147483647 w 65"/>
                    <a:gd name="T79" fmla="*/ 2147483647 h 43"/>
                    <a:gd name="T80" fmla="*/ 2147483647 w 65"/>
                    <a:gd name="T81" fmla="*/ 2147483647 h 43"/>
                    <a:gd name="T82" fmla="*/ 2147483647 w 65"/>
                    <a:gd name="T83" fmla="*/ 2147483647 h 43"/>
                    <a:gd name="T84" fmla="*/ 2147483647 w 65"/>
                    <a:gd name="T85" fmla="*/ 2147483647 h 43"/>
                    <a:gd name="T86" fmla="*/ 2147483647 w 65"/>
                    <a:gd name="T87" fmla="*/ 2147483647 h 43"/>
                    <a:gd name="T88" fmla="*/ 2147483647 w 65"/>
                    <a:gd name="T89" fmla="*/ 2147483647 h 43"/>
                    <a:gd name="T90" fmla="*/ 2147483647 w 65"/>
                    <a:gd name="T91" fmla="*/ 0 h 43"/>
                    <a:gd name="T92" fmla="*/ 2147483647 w 65"/>
                    <a:gd name="T93" fmla="*/ 2147483647 h 43"/>
                    <a:gd name="T94" fmla="*/ 2147483647 w 65"/>
                    <a:gd name="T95" fmla="*/ 2147483647 h 43"/>
                    <a:gd name="T96" fmla="*/ 2147483647 w 65"/>
                    <a:gd name="T97" fmla="*/ 2147483647 h 43"/>
                    <a:gd name="T98" fmla="*/ 2147483647 w 65"/>
                    <a:gd name="T99" fmla="*/ 2147483647 h 43"/>
                    <a:gd name="T100" fmla="*/ 2147483647 w 65"/>
                    <a:gd name="T101" fmla="*/ 2147483647 h 43"/>
                    <a:gd name="T102" fmla="*/ 2147483647 w 65"/>
                    <a:gd name="T103" fmla="*/ 2147483647 h 43"/>
                    <a:gd name="T104" fmla="*/ 2147483647 w 65"/>
                    <a:gd name="T105" fmla="*/ 2147483647 h 43"/>
                    <a:gd name="T106" fmla="*/ 2147483647 w 65"/>
                    <a:gd name="T107" fmla="*/ 2147483647 h 43"/>
                    <a:gd name="T108" fmla="*/ 2147483647 w 65"/>
                    <a:gd name="T109" fmla="*/ 2147483647 h 43"/>
                    <a:gd name="T110" fmla="*/ 2147483647 w 65"/>
                    <a:gd name="T111" fmla="*/ 2147483647 h 43"/>
                    <a:gd name="T112" fmla="*/ 2147483647 w 65"/>
                    <a:gd name="T113" fmla="*/ 2147483647 h 43"/>
                    <a:gd name="T114" fmla="*/ 2147483647 w 65"/>
                    <a:gd name="T115" fmla="*/ 2147483647 h 43"/>
                    <a:gd name="T116" fmla="*/ 2147483647 w 65"/>
                    <a:gd name="T117" fmla="*/ 2147483647 h 43"/>
                    <a:gd name="T118" fmla="*/ 2147483647 w 65"/>
                    <a:gd name="T119" fmla="*/ 2147483647 h 4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65"/>
                    <a:gd name="T181" fmla="*/ 0 h 43"/>
                    <a:gd name="T182" fmla="*/ 65 w 65"/>
                    <a:gd name="T183" fmla="*/ 43 h 4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65" h="43">
                      <a:moveTo>
                        <a:pt x="37" y="43"/>
                      </a:moveTo>
                      <a:lnTo>
                        <a:pt x="37" y="43"/>
                      </a:lnTo>
                      <a:lnTo>
                        <a:pt x="29" y="42"/>
                      </a:lnTo>
                      <a:lnTo>
                        <a:pt x="23" y="40"/>
                      </a:lnTo>
                      <a:lnTo>
                        <a:pt x="15" y="42"/>
                      </a:lnTo>
                      <a:lnTo>
                        <a:pt x="9" y="43"/>
                      </a:lnTo>
                      <a:lnTo>
                        <a:pt x="8" y="43"/>
                      </a:lnTo>
                      <a:lnTo>
                        <a:pt x="6" y="40"/>
                      </a:lnTo>
                      <a:lnTo>
                        <a:pt x="6" y="38"/>
                      </a:lnTo>
                      <a:lnTo>
                        <a:pt x="1" y="34"/>
                      </a:lnTo>
                      <a:lnTo>
                        <a:pt x="0" y="32"/>
                      </a:lnTo>
                      <a:lnTo>
                        <a:pt x="1" y="30"/>
                      </a:lnTo>
                      <a:lnTo>
                        <a:pt x="3" y="30"/>
                      </a:lnTo>
                      <a:lnTo>
                        <a:pt x="4" y="30"/>
                      </a:lnTo>
                      <a:lnTo>
                        <a:pt x="9" y="32"/>
                      </a:lnTo>
                      <a:lnTo>
                        <a:pt x="14" y="32"/>
                      </a:lnTo>
                      <a:lnTo>
                        <a:pt x="20" y="30"/>
                      </a:lnTo>
                      <a:lnTo>
                        <a:pt x="24" y="27"/>
                      </a:lnTo>
                      <a:lnTo>
                        <a:pt x="28" y="23"/>
                      </a:lnTo>
                      <a:lnTo>
                        <a:pt x="29" y="21"/>
                      </a:lnTo>
                      <a:lnTo>
                        <a:pt x="30" y="21"/>
                      </a:lnTo>
                      <a:lnTo>
                        <a:pt x="37" y="27"/>
                      </a:lnTo>
                      <a:lnTo>
                        <a:pt x="39" y="28"/>
                      </a:lnTo>
                      <a:lnTo>
                        <a:pt x="41" y="28"/>
                      </a:lnTo>
                      <a:lnTo>
                        <a:pt x="42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6" y="21"/>
                      </a:lnTo>
                      <a:lnTo>
                        <a:pt x="50" y="17"/>
                      </a:lnTo>
                      <a:lnTo>
                        <a:pt x="53" y="13"/>
                      </a:lnTo>
                      <a:lnTo>
                        <a:pt x="55" y="8"/>
                      </a:lnTo>
                      <a:lnTo>
                        <a:pt x="55" y="5"/>
                      </a:lnTo>
                      <a:lnTo>
                        <a:pt x="53" y="2"/>
                      </a:lnTo>
                      <a:lnTo>
                        <a:pt x="55" y="1"/>
                      </a:lnTo>
                      <a:lnTo>
                        <a:pt x="57" y="0"/>
                      </a:lnTo>
                      <a:lnTo>
                        <a:pt x="58" y="1"/>
                      </a:lnTo>
                      <a:lnTo>
                        <a:pt x="61" y="4"/>
                      </a:lnTo>
                      <a:lnTo>
                        <a:pt x="63" y="9"/>
                      </a:lnTo>
                      <a:lnTo>
                        <a:pt x="65" y="14"/>
                      </a:lnTo>
                      <a:lnTo>
                        <a:pt x="65" y="19"/>
                      </a:lnTo>
                      <a:lnTo>
                        <a:pt x="62" y="24"/>
                      </a:lnTo>
                      <a:lnTo>
                        <a:pt x="51" y="34"/>
                      </a:lnTo>
                      <a:lnTo>
                        <a:pt x="48" y="37"/>
                      </a:lnTo>
                      <a:lnTo>
                        <a:pt x="44" y="38"/>
                      </a:lnTo>
                      <a:lnTo>
                        <a:pt x="37" y="4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1" name="Freeform 256">
                  <a:extLst>
                    <a:ext uri="{FF2B5EF4-FFF2-40B4-BE49-F238E27FC236}">
                      <a16:creationId xmlns:a16="http://schemas.microsoft.com/office/drawing/2014/main" id="{A844FE31-2164-D54A-A537-A3F85573ED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8675" y="4687915"/>
                  <a:ext cx="235299" cy="233821"/>
                </a:xfrm>
                <a:custGeom>
                  <a:avLst/>
                  <a:gdLst>
                    <a:gd name="T0" fmla="*/ 2147483647 w 172"/>
                    <a:gd name="T1" fmla="*/ 2147483647 h 158"/>
                    <a:gd name="T2" fmla="*/ 2147483647 w 172"/>
                    <a:gd name="T3" fmla="*/ 2147483647 h 158"/>
                    <a:gd name="T4" fmla="*/ 2147483647 w 172"/>
                    <a:gd name="T5" fmla="*/ 2147483647 h 158"/>
                    <a:gd name="T6" fmla="*/ 2147483647 w 172"/>
                    <a:gd name="T7" fmla="*/ 2147483647 h 158"/>
                    <a:gd name="T8" fmla="*/ 2147483647 w 172"/>
                    <a:gd name="T9" fmla="*/ 2147483647 h 158"/>
                    <a:gd name="T10" fmla="*/ 2147483647 w 172"/>
                    <a:gd name="T11" fmla="*/ 2147483647 h 158"/>
                    <a:gd name="T12" fmla="*/ 2147483647 w 172"/>
                    <a:gd name="T13" fmla="*/ 2147483647 h 158"/>
                    <a:gd name="T14" fmla="*/ 2147483647 w 172"/>
                    <a:gd name="T15" fmla="*/ 2147483647 h 158"/>
                    <a:gd name="T16" fmla="*/ 2147483647 w 172"/>
                    <a:gd name="T17" fmla="*/ 2147483647 h 158"/>
                    <a:gd name="T18" fmla="*/ 2147483647 w 172"/>
                    <a:gd name="T19" fmla="*/ 2147483647 h 158"/>
                    <a:gd name="T20" fmla="*/ 2147483647 w 172"/>
                    <a:gd name="T21" fmla="*/ 2147483647 h 158"/>
                    <a:gd name="T22" fmla="*/ 2147483647 w 172"/>
                    <a:gd name="T23" fmla="*/ 2147483647 h 158"/>
                    <a:gd name="T24" fmla="*/ 2147483647 w 172"/>
                    <a:gd name="T25" fmla="*/ 2147483647 h 158"/>
                    <a:gd name="T26" fmla="*/ 2147483647 w 172"/>
                    <a:gd name="T27" fmla="*/ 2147483647 h 158"/>
                    <a:gd name="T28" fmla="*/ 2147483647 w 172"/>
                    <a:gd name="T29" fmla="*/ 2147483647 h 158"/>
                    <a:gd name="T30" fmla="*/ 2147483647 w 172"/>
                    <a:gd name="T31" fmla="*/ 2147483647 h 158"/>
                    <a:gd name="T32" fmla="*/ 2147483647 w 172"/>
                    <a:gd name="T33" fmla="*/ 2147483647 h 158"/>
                    <a:gd name="T34" fmla="*/ 2147483647 w 172"/>
                    <a:gd name="T35" fmla="*/ 2147483647 h 158"/>
                    <a:gd name="T36" fmla="*/ 2147483647 w 172"/>
                    <a:gd name="T37" fmla="*/ 2147483647 h 158"/>
                    <a:gd name="T38" fmla="*/ 2147483647 w 172"/>
                    <a:gd name="T39" fmla="*/ 2147483647 h 158"/>
                    <a:gd name="T40" fmla="*/ 2147483647 w 172"/>
                    <a:gd name="T41" fmla="*/ 2147483647 h 158"/>
                    <a:gd name="T42" fmla="*/ 2147483647 w 172"/>
                    <a:gd name="T43" fmla="*/ 2147483647 h 158"/>
                    <a:gd name="T44" fmla="*/ 2147483647 w 172"/>
                    <a:gd name="T45" fmla="*/ 2147483647 h 158"/>
                    <a:gd name="T46" fmla="*/ 2147483647 w 172"/>
                    <a:gd name="T47" fmla="*/ 2147483647 h 158"/>
                    <a:gd name="T48" fmla="*/ 2147483647 w 172"/>
                    <a:gd name="T49" fmla="*/ 2147483647 h 158"/>
                    <a:gd name="T50" fmla="*/ 2147483647 w 172"/>
                    <a:gd name="T51" fmla="*/ 2147483647 h 158"/>
                    <a:gd name="T52" fmla="*/ 2147483647 w 172"/>
                    <a:gd name="T53" fmla="*/ 2147483647 h 158"/>
                    <a:gd name="T54" fmla="*/ 2147483647 w 172"/>
                    <a:gd name="T55" fmla="*/ 2147483647 h 158"/>
                    <a:gd name="T56" fmla="*/ 2147483647 w 172"/>
                    <a:gd name="T57" fmla="*/ 2147483647 h 158"/>
                    <a:gd name="T58" fmla="*/ 2147483647 w 172"/>
                    <a:gd name="T59" fmla="*/ 2147483647 h 158"/>
                    <a:gd name="T60" fmla="*/ 2147483647 w 172"/>
                    <a:gd name="T61" fmla="*/ 2147483647 h 158"/>
                    <a:gd name="T62" fmla="*/ 2147483647 w 172"/>
                    <a:gd name="T63" fmla="*/ 2147483647 h 158"/>
                    <a:gd name="T64" fmla="*/ 2147483647 w 172"/>
                    <a:gd name="T65" fmla="*/ 2147483647 h 158"/>
                    <a:gd name="T66" fmla="*/ 2147483647 w 172"/>
                    <a:gd name="T67" fmla="*/ 2147483647 h 158"/>
                    <a:gd name="T68" fmla="*/ 2147483647 w 172"/>
                    <a:gd name="T69" fmla="*/ 2147483647 h 158"/>
                    <a:gd name="T70" fmla="*/ 2147483647 w 172"/>
                    <a:gd name="T71" fmla="*/ 2147483647 h 158"/>
                    <a:gd name="T72" fmla="*/ 2147483647 w 172"/>
                    <a:gd name="T73" fmla="*/ 2147483647 h 158"/>
                    <a:gd name="T74" fmla="*/ 2147483647 w 172"/>
                    <a:gd name="T75" fmla="*/ 2147483647 h 158"/>
                    <a:gd name="T76" fmla="*/ 2147483647 w 172"/>
                    <a:gd name="T77" fmla="*/ 2147483647 h 158"/>
                    <a:gd name="T78" fmla="*/ 2147483647 w 172"/>
                    <a:gd name="T79" fmla="*/ 2147483647 h 158"/>
                    <a:gd name="T80" fmla="*/ 2147483647 w 172"/>
                    <a:gd name="T81" fmla="*/ 2147483647 h 158"/>
                    <a:gd name="T82" fmla="*/ 2147483647 w 172"/>
                    <a:gd name="T83" fmla="*/ 2147483647 h 158"/>
                    <a:gd name="T84" fmla="*/ 2147483647 w 172"/>
                    <a:gd name="T85" fmla="*/ 2147483647 h 158"/>
                    <a:gd name="T86" fmla="*/ 2147483647 w 172"/>
                    <a:gd name="T87" fmla="*/ 2147483647 h 158"/>
                    <a:gd name="T88" fmla="*/ 2147483647 w 172"/>
                    <a:gd name="T89" fmla="*/ 2147483647 h 158"/>
                    <a:gd name="T90" fmla="*/ 2147483647 w 172"/>
                    <a:gd name="T91" fmla="*/ 2147483647 h 158"/>
                    <a:gd name="T92" fmla="*/ 2147483647 w 172"/>
                    <a:gd name="T93" fmla="*/ 2147483647 h 158"/>
                    <a:gd name="T94" fmla="*/ 2147483647 w 172"/>
                    <a:gd name="T95" fmla="*/ 2147483647 h 158"/>
                    <a:gd name="T96" fmla="*/ 2147483647 w 172"/>
                    <a:gd name="T97" fmla="*/ 2147483647 h 158"/>
                    <a:gd name="T98" fmla="*/ 2147483647 w 172"/>
                    <a:gd name="T99" fmla="*/ 2147483647 h 158"/>
                    <a:gd name="T100" fmla="*/ 2147483647 w 172"/>
                    <a:gd name="T101" fmla="*/ 2147483647 h 158"/>
                    <a:gd name="T102" fmla="*/ 2147483647 w 172"/>
                    <a:gd name="T103" fmla="*/ 2147483647 h 158"/>
                    <a:gd name="T104" fmla="*/ 2147483647 w 172"/>
                    <a:gd name="T105" fmla="*/ 2147483647 h 158"/>
                    <a:gd name="T106" fmla="*/ 0 w 172"/>
                    <a:gd name="T107" fmla="*/ 0 h 158"/>
                    <a:gd name="T108" fmla="*/ 0 w 172"/>
                    <a:gd name="T109" fmla="*/ 2147483647 h 158"/>
                    <a:gd name="T110" fmla="*/ 2147483647 w 172"/>
                    <a:gd name="T111" fmla="*/ 2147483647 h 158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72"/>
                    <a:gd name="T169" fmla="*/ 0 h 158"/>
                    <a:gd name="T170" fmla="*/ 172 w 172"/>
                    <a:gd name="T171" fmla="*/ 158 h 158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72" h="158">
                      <a:moveTo>
                        <a:pt x="3" y="129"/>
                      </a:moveTo>
                      <a:lnTo>
                        <a:pt x="14" y="133"/>
                      </a:lnTo>
                      <a:lnTo>
                        <a:pt x="21" y="134"/>
                      </a:lnTo>
                      <a:lnTo>
                        <a:pt x="27" y="134"/>
                      </a:lnTo>
                      <a:lnTo>
                        <a:pt x="31" y="134"/>
                      </a:lnTo>
                      <a:lnTo>
                        <a:pt x="33" y="135"/>
                      </a:lnTo>
                      <a:lnTo>
                        <a:pt x="36" y="134"/>
                      </a:lnTo>
                      <a:lnTo>
                        <a:pt x="39" y="132"/>
                      </a:lnTo>
                      <a:lnTo>
                        <a:pt x="39" y="129"/>
                      </a:lnTo>
                      <a:lnTo>
                        <a:pt x="33" y="126"/>
                      </a:lnTo>
                      <a:lnTo>
                        <a:pt x="30" y="122"/>
                      </a:lnTo>
                      <a:lnTo>
                        <a:pt x="31" y="121"/>
                      </a:lnTo>
                      <a:lnTo>
                        <a:pt x="32" y="121"/>
                      </a:lnTo>
                      <a:lnTo>
                        <a:pt x="33" y="121"/>
                      </a:lnTo>
                      <a:lnTo>
                        <a:pt x="36" y="121"/>
                      </a:lnTo>
                      <a:lnTo>
                        <a:pt x="37" y="120"/>
                      </a:lnTo>
                      <a:lnTo>
                        <a:pt x="37" y="117"/>
                      </a:lnTo>
                      <a:lnTo>
                        <a:pt x="37" y="113"/>
                      </a:lnTo>
                      <a:lnTo>
                        <a:pt x="37" y="110"/>
                      </a:lnTo>
                      <a:lnTo>
                        <a:pt x="40" y="109"/>
                      </a:lnTo>
                      <a:lnTo>
                        <a:pt x="46" y="107"/>
                      </a:lnTo>
                      <a:lnTo>
                        <a:pt x="49" y="106"/>
                      </a:lnTo>
                      <a:lnTo>
                        <a:pt x="51" y="102"/>
                      </a:lnTo>
                      <a:lnTo>
                        <a:pt x="54" y="101"/>
                      </a:lnTo>
                      <a:lnTo>
                        <a:pt x="55" y="100"/>
                      </a:lnTo>
                      <a:lnTo>
                        <a:pt x="58" y="103"/>
                      </a:lnTo>
                      <a:lnTo>
                        <a:pt x="60" y="106"/>
                      </a:lnTo>
                      <a:lnTo>
                        <a:pt x="61" y="106"/>
                      </a:lnTo>
                      <a:lnTo>
                        <a:pt x="67" y="106"/>
                      </a:lnTo>
                      <a:lnTo>
                        <a:pt x="75" y="106"/>
                      </a:lnTo>
                      <a:lnTo>
                        <a:pt x="78" y="107"/>
                      </a:lnTo>
                      <a:lnTo>
                        <a:pt x="80" y="108"/>
                      </a:lnTo>
                      <a:lnTo>
                        <a:pt x="87" y="111"/>
                      </a:lnTo>
                      <a:lnTo>
                        <a:pt x="92" y="117"/>
                      </a:lnTo>
                      <a:lnTo>
                        <a:pt x="98" y="126"/>
                      </a:lnTo>
                      <a:lnTo>
                        <a:pt x="110" y="140"/>
                      </a:lnTo>
                      <a:lnTo>
                        <a:pt x="116" y="148"/>
                      </a:lnTo>
                      <a:lnTo>
                        <a:pt x="117" y="149"/>
                      </a:lnTo>
                      <a:lnTo>
                        <a:pt x="119" y="149"/>
                      </a:lnTo>
                      <a:lnTo>
                        <a:pt x="124" y="148"/>
                      </a:lnTo>
                      <a:lnTo>
                        <a:pt x="127" y="148"/>
                      </a:lnTo>
                      <a:lnTo>
                        <a:pt x="131" y="149"/>
                      </a:lnTo>
                      <a:lnTo>
                        <a:pt x="135" y="152"/>
                      </a:lnTo>
                      <a:lnTo>
                        <a:pt x="143" y="155"/>
                      </a:lnTo>
                      <a:lnTo>
                        <a:pt x="147" y="156"/>
                      </a:lnTo>
                      <a:lnTo>
                        <a:pt x="150" y="158"/>
                      </a:lnTo>
                      <a:lnTo>
                        <a:pt x="155" y="158"/>
                      </a:lnTo>
                      <a:lnTo>
                        <a:pt x="162" y="158"/>
                      </a:lnTo>
                      <a:lnTo>
                        <a:pt x="167" y="156"/>
                      </a:lnTo>
                      <a:lnTo>
                        <a:pt x="172" y="154"/>
                      </a:lnTo>
                      <a:lnTo>
                        <a:pt x="167" y="151"/>
                      </a:lnTo>
                      <a:lnTo>
                        <a:pt x="163" y="149"/>
                      </a:lnTo>
                      <a:lnTo>
                        <a:pt x="158" y="147"/>
                      </a:lnTo>
                      <a:lnTo>
                        <a:pt x="157" y="145"/>
                      </a:lnTo>
                      <a:lnTo>
                        <a:pt x="154" y="142"/>
                      </a:lnTo>
                      <a:lnTo>
                        <a:pt x="153" y="141"/>
                      </a:lnTo>
                      <a:lnTo>
                        <a:pt x="150" y="140"/>
                      </a:lnTo>
                      <a:lnTo>
                        <a:pt x="148" y="138"/>
                      </a:lnTo>
                      <a:lnTo>
                        <a:pt x="147" y="135"/>
                      </a:lnTo>
                      <a:lnTo>
                        <a:pt x="147" y="133"/>
                      </a:lnTo>
                      <a:lnTo>
                        <a:pt x="147" y="132"/>
                      </a:lnTo>
                      <a:lnTo>
                        <a:pt x="148" y="130"/>
                      </a:lnTo>
                      <a:lnTo>
                        <a:pt x="148" y="129"/>
                      </a:lnTo>
                      <a:lnTo>
                        <a:pt x="145" y="128"/>
                      </a:lnTo>
                      <a:lnTo>
                        <a:pt x="144" y="127"/>
                      </a:lnTo>
                      <a:lnTo>
                        <a:pt x="141" y="127"/>
                      </a:lnTo>
                      <a:lnTo>
                        <a:pt x="139" y="126"/>
                      </a:lnTo>
                      <a:lnTo>
                        <a:pt x="133" y="119"/>
                      </a:lnTo>
                      <a:lnTo>
                        <a:pt x="129" y="116"/>
                      </a:lnTo>
                      <a:lnTo>
                        <a:pt x="124" y="114"/>
                      </a:lnTo>
                      <a:lnTo>
                        <a:pt x="122" y="114"/>
                      </a:lnTo>
                      <a:lnTo>
                        <a:pt x="121" y="111"/>
                      </a:lnTo>
                      <a:lnTo>
                        <a:pt x="121" y="108"/>
                      </a:lnTo>
                      <a:lnTo>
                        <a:pt x="120" y="107"/>
                      </a:lnTo>
                      <a:lnTo>
                        <a:pt x="120" y="106"/>
                      </a:lnTo>
                      <a:lnTo>
                        <a:pt x="115" y="103"/>
                      </a:lnTo>
                      <a:lnTo>
                        <a:pt x="111" y="100"/>
                      </a:lnTo>
                      <a:lnTo>
                        <a:pt x="110" y="95"/>
                      </a:lnTo>
                      <a:lnTo>
                        <a:pt x="108" y="90"/>
                      </a:lnTo>
                      <a:lnTo>
                        <a:pt x="110" y="87"/>
                      </a:lnTo>
                      <a:lnTo>
                        <a:pt x="112" y="82"/>
                      </a:lnTo>
                      <a:lnTo>
                        <a:pt x="113" y="77"/>
                      </a:lnTo>
                      <a:lnTo>
                        <a:pt x="113" y="75"/>
                      </a:lnTo>
                      <a:lnTo>
                        <a:pt x="111" y="72"/>
                      </a:lnTo>
                      <a:lnTo>
                        <a:pt x="106" y="71"/>
                      </a:lnTo>
                      <a:lnTo>
                        <a:pt x="101" y="69"/>
                      </a:lnTo>
                      <a:lnTo>
                        <a:pt x="97" y="66"/>
                      </a:lnTo>
                      <a:lnTo>
                        <a:pt x="93" y="63"/>
                      </a:lnTo>
                      <a:lnTo>
                        <a:pt x="87" y="55"/>
                      </a:lnTo>
                      <a:lnTo>
                        <a:pt x="82" y="46"/>
                      </a:lnTo>
                      <a:lnTo>
                        <a:pt x="80" y="45"/>
                      </a:lnTo>
                      <a:lnTo>
                        <a:pt x="78" y="45"/>
                      </a:lnTo>
                      <a:lnTo>
                        <a:pt x="74" y="45"/>
                      </a:lnTo>
                      <a:lnTo>
                        <a:pt x="72" y="44"/>
                      </a:lnTo>
                      <a:lnTo>
                        <a:pt x="70" y="43"/>
                      </a:lnTo>
                      <a:lnTo>
                        <a:pt x="70" y="39"/>
                      </a:lnTo>
                      <a:lnTo>
                        <a:pt x="70" y="36"/>
                      </a:lnTo>
                      <a:lnTo>
                        <a:pt x="70" y="33"/>
                      </a:lnTo>
                      <a:lnTo>
                        <a:pt x="61" y="28"/>
                      </a:lnTo>
                      <a:lnTo>
                        <a:pt x="53" y="24"/>
                      </a:lnTo>
                      <a:lnTo>
                        <a:pt x="44" y="19"/>
                      </a:lnTo>
                      <a:lnTo>
                        <a:pt x="35" y="13"/>
                      </a:lnTo>
                      <a:lnTo>
                        <a:pt x="32" y="12"/>
                      </a:lnTo>
                      <a:lnTo>
                        <a:pt x="28" y="12"/>
                      </a:lnTo>
                      <a:lnTo>
                        <a:pt x="26" y="12"/>
                      </a:lnTo>
                      <a:lnTo>
                        <a:pt x="22" y="11"/>
                      </a:lnTo>
                      <a:lnTo>
                        <a:pt x="12" y="5"/>
                      </a:lnTo>
                      <a:lnTo>
                        <a:pt x="0" y="0"/>
                      </a:lnTo>
                      <a:lnTo>
                        <a:pt x="2" y="74"/>
                      </a:lnTo>
                      <a:lnTo>
                        <a:pt x="0" y="88"/>
                      </a:lnTo>
                      <a:lnTo>
                        <a:pt x="0" y="102"/>
                      </a:lnTo>
                      <a:lnTo>
                        <a:pt x="3" y="12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2" name="Freeform 257">
                  <a:extLst>
                    <a:ext uri="{FF2B5EF4-FFF2-40B4-BE49-F238E27FC236}">
                      <a16:creationId xmlns:a16="http://schemas.microsoft.com/office/drawing/2014/main" id="{12B28BF8-E5B8-4B43-A7F2-6515FB7A64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5642" y="6308379"/>
                  <a:ext cx="10360" cy="20718"/>
                </a:xfrm>
                <a:custGeom>
                  <a:avLst/>
                  <a:gdLst>
                    <a:gd name="T0" fmla="*/ 2147483647 w 7"/>
                    <a:gd name="T1" fmla="*/ 2147483647 h 14"/>
                    <a:gd name="T2" fmla="*/ 2147483647 w 7"/>
                    <a:gd name="T3" fmla="*/ 2147483647 h 14"/>
                    <a:gd name="T4" fmla="*/ 2147483647 w 7"/>
                    <a:gd name="T5" fmla="*/ 2147483647 h 14"/>
                    <a:gd name="T6" fmla="*/ 2147483647 w 7"/>
                    <a:gd name="T7" fmla="*/ 2147483647 h 14"/>
                    <a:gd name="T8" fmla="*/ 2147483647 w 7"/>
                    <a:gd name="T9" fmla="*/ 2147483647 h 14"/>
                    <a:gd name="T10" fmla="*/ 0 w 7"/>
                    <a:gd name="T11" fmla="*/ 2147483647 h 14"/>
                    <a:gd name="T12" fmla="*/ 2147483647 w 7"/>
                    <a:gd name="T13" fmla="*/ 2147483647 h 14"/>
                    <a:gd name="T14" fmla="*/ 2147483647 w 7"/>
                    <a:gd name="T15" fmla="*/ 0 h 14"/>
                    <a:gd name="T16" fmla="*/ 2147483647 w 7"/>
                    <a:gd name="T17" fmla="*/ 0 h 14"/>
                    <a:gd name="T18" fmla="*/ 2147483647 w 7"/>
                    <a:gd name="T19" fmla="*/ 2147483647 h 14"/>
                    <a:gd name="T20" fmla="*/ 2147483647 w 7"/>
                    <a:gd name="T21" fmla="*/ 2147483647 h 14"/>
                    <a:gd name="T22" fmla="*/ 2147483647 w 7"/>
                    <a:gd name="T23" fmla="*/ 2147483647 h 1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"/>
                    <a:gd name="T37" fmla="*/ 0 h 14"/>
                    <a:gd name="T38" fmla="*/ 7 w 7"/>
                    <a:gd name="T39" fmla="*/ 14 h 1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" h="14">
                      <a:moveTo>
                        <a:pt x="7" y="8"/>
                      </a:moveTo>
                      <a:lnTo>
                        <a:pt x="6" y="11"/>
                      </a:lnTo>
                      <a:lnTo>
                        <a:pt x="5" y="12"/>
                      </a:lnTo>
                      <a:lnTo>
                        <a:pt x="3" y="14"/>
                      </a:lnTo>
                      <a:lnTo>
                        <a:pt x="1" y="12"/>
                      </a:lnTo>
                      <a:lnTo>
                        <a:pt x="0" y="9"/>
                      </a:lnTo>
                      <a:lnTo>
                        <a:pt x="1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3" name="Freeform 258">
                  <a:extLst>
                    <a:ext uri="{FF2B5EF4-FFF2-40B4-BE49-F238E27FC236}">
                      <a16:creationId xmlns:a16="http://schemas.microsoft.com/office/drawing/2014/main" id="{D5F611B4-72C3-E24D-904A-4B92AEFD4A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7194" y="4686439"/>
                  <a:ext cx="235300" cy="232339"/>
                </a:xfrm>
                <a:custGeom>
                  <a:avLst/>
                  <a:gdLst>
                    <a:gd name="T0" fmla="*/ 2147483647 w 172"/>
                    <a:gd name="T1" fmla="*/ 2147483647 h 157"/>
                    <a:gd name="T2" fmla="*/ 2147483647 w 172"/>
                    <a:gd name="T3" fmla="*/ 2147483647 h 157"/>
                    <a:gd name="T4" fmla="*/ 2147483647 w 172"/>
                    <a:gd name="T5" fmla="*/ 2147483647 h 157"/>
                    <a:gd name="T6" fmla="*/ 2147483647 w 172"/>
                    <a:gd name="T7" fmla="*/ 2147483647 h 157"/>
                    <a:gd name="T8" fmla="*/ 2147483647 w 172"/>
                    <a:gd name="T9" fmla="*/ 2147483647 h 157"/>
                    <a:gd name="T10" fmla="*/ 2147483647 w 172"/>
                    <a:gd name="T11" fmla="*/ 2147483647 h 157"/>
                    <a:gd name="T12" fmla="*/ 2147483647 w 172"/>
                    <a:gd name="T13" fmla="*/ 2147483647 h 157"/>
                    <a:gd name="T14" fmla="*/ 2147483647 w 172"/>
                    <a:gd name="T15" fmla="*/ 2147483647 h 157"/>
                    <a:gd name="T16" fmla="*/ 2147483647 w 172"/>
                    <a:gd name="T17" fmla="*/ 2147483647 h 157"/>
                    <a:gd name="T18" fmla="*/ 2147483647 w 172"/>
                    <a:gd name="T19" fmla="*/ 2147483647 h 157"/>
                    <a:gd name="T20" fmla="*/ 2147483647 w 172"/>
                    <a:gd name="T21" fmla="*/ 2147483647 h 157"/>
                    <a:gd name="T22" fmla="*/ 2147483647 w 172"/>
                    <a:gd name="T23" fmla="*/ 2147483647 h 157"/>
                    <a:gd name="T24" fmla="*/ 2147483647 w 172"/>
                    <a:gd name="T25" fmla="*/ 2147483647 h 157"/>
                    <a:gd name="T26" fmla="*/ 2147483647 w 172"/>
                    <a:gd name="T27" fmla="*/ 2147483647 h 157"/>
                    <a:gd name="T28" fmla="*/ 2147483647 w 172"/>
                    <a:gd name="T29" fmla="*/ 2147483647 h 157"/>
                    <a:gd name="T30" fmla="*/ 2147483647 w 172"/>
                    <a:gd name="T31" fmla="*/ 2147483647 h 157"/>
                    <a:gd name="T32" fmla="*/ 2147483647 w 172"/>
                    <a:gd name="T33" fmla="*/ 2147483647 h 157"/>
                    <a:gd name="T34" fmla="*/ 2147483647 w 172"/>
                    <a:gd name="T35" fmla="*/ 2147483647 h 157"/>
                    <a:gd name="T36" fmla="*/ 2147483647 w 172"/>
                    <a:gd name="T37" fmla="*/ 2147483647 h 157"/>
                    <a:gd name="T38" fmla="*/ 2147483647 w 172"/>
                    <a:gd name="T39" fmla="*/ 2147483647 h 157"/>
                    <a:gd name="T40" fmla="*/ 2147483647 w 172"/>
                    <a:gd name="T41" fmla="*/ 2147483647 h 157"/>
                    <a:gd name="T42" fmla="*/ 2147483647 w 172"/>
                    <a:gd name="T43" fmla="*/ 2147483647 h 157"/>
                    <a:gd name="T44" fmla="*/ 2147483647 w 172"/>
                    <a:gd name="T45" fmla="*/ 2147483647 h 157"/>
                    <a:gd name="T46" fmla="*/ 2147483647 w 172"/>
                    <a:gd name="T47" fmla="*/ 2147483647 h 157"/>
                    <a:gd name="T48" fmla="*/ 2147483647 w 172"/>
                    <a:gd name="T49" fmla="*/ 2147483647 h 157"/>
                    <a:gd name="T50" fmla="*/ 2147483647 w 172"/>
                    <a:gd name="T51" fmla="*/ 2147483647 h 157"/>
                    <a:gd name="T52" fmla="*/ 2147483647 w 172"/>
                    <a:gd name="T53" fmla="*/ 2147483647 h 157"/>
                    <a:gd name="T54" fmla="*/ 2147483647 w 172"/>
                    <a:gd name="T55" fmla="*/ 2147483647 h 157"/>
                    <a:gd name="T56" fmla="*/ 2147483647 w 172"/>
                    <a:gd name="T57" fmla="*/ 2147483647 h 157"/>
                    <a:gd name="T58" fmla="*/ 2147483647 w 172"/>
                    <a:gd name="T59" fmla="*/ 2147483647 h 157"/>
                    <a:gd name="T60" fmla="*/ 2147483647 w 172"/>
                    <a:gd name="T61" fmla="*/ 2147483647 h 157"/>
                    <a:gd name="T62" fmla="*/ 2147483647 w 172"/>
                    <a:gd name="T63" fmla="*/ 2147483647 h 157"/>
                    <a:gd name="T64" fmla="*/ 2147483647 w 172"/>
                    <a:gd name="T65" fmla="*/ 2147483647 h 157"/>
                    <a:gd name="T66" fmla="*/ 2147483647 w 172"/>
                    <a:gd name="T67" fmla="*/ 2147483647 h 157"/>
                    <a:gd name="T68" fmla="*/ 2147483647 w 172"/>
                    <a:gd name="T69" fmla="*/ 2147483647 h 157"/>
                    <a:gd name="T70" fmla="*/ 2147483647 w 172"/>
                    <a:gd name="T71" fmla="*/ 2147483647 h 157"/>
                    <a:gd name="T72" fmla="*/ 2147483647 w 172"/>
                    <a:gd name="T73" fmla="*/ 2147483647 h 157"/>
                    <a:gd name="T74" fmla="*/ 2147483647 w 172"/>
                    <a:gd name="T75" fmla="*/ 2147483647 h 157"/>
                    <a:gd name="T76" fmla="*/ 2147483647 w 172"/>
                    <a:gd name="T77" fmla="*/ 2147483647 h 157"/>
                    <a:gd name="T78" fmla="*/ 2147483647 w 172"/>
                    <a:gd name="T79" fmla="*/ 2147483647 h 157"/>
                    <a:gd name="T80" fmla="*/ 2147483647 w 172"/>
                    <a:gd name="T81" fmla="*/ 2147483647 h 157"/>
                    <a:gd name="T82" fmla="*/ 2147483647 w 172"/>
                    <a:gd name="T83" fmla="*/ 2147483647 h 157"/>
                    <a:gd name="T84" fmla="*/ 2147483647 w 172"/>
                    <a:gd name="T85" fmla="*/ 2147483647 h 157"/>
                    <a:gd name="T86" fmla="*/ 2147483647 w 172"/>
                    <a:gd name="T87" fmla="*/ 2147483647 h 157"/>
                    <a:gd name="T88" fmla="*/ 2147483647 w 172"/>
                    <a:gd name="T89" fmla="*/ 2147483647 h 157"/>
                    <a:gd name="T90" fmla="*/ 2147483647 w 172"/>
                    <a:gd name="T91" fmla="*/ 2147483647 h 157"/>
                    <a:gd name="T92" fmla="*/ 2147483647 w 172"/>
                    <a:gd name="T93" fmla="*/ 2147483647 h 157"/>
                    <a:gd name="T94" fmla="*/ 2147483647 w 172"/>
                    <a:gd name="T95" fmla="*/ 2147483647 h 157"/>
                    <a:gd name="T96" fmla="*/ 0 w 172"/>
                    <a:gd name="T97" fmla="*/ 2147483647 h 157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72"/>
                    <a:gd name="T148" fmla="*/ 0 h 157"/>
                    <a:gd name="T149" fmla="*/ 172 w 172"/>
                    <a:gd name="T150" fmla="*/ 157 h 157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72" h="157">
                      <a:moveTo>
                        <a:pt x="3" y="129"/>
                      </a:moveTo>
                      <a:lnTo>
                        <a:pt x="3" y="129"/>
                      </a:lnTo>
                      <a:lnTo>
                        <a:pt x="14" y="133"/>
                      </a:lnTo>
                      <a:lnTo>
                        <a:pt x="21" y="134"/>
                      </a:lnTo>
                      <a:lnTo>
                        <a:pt x="27" y="134"/>
                      </a:lnTo>
                      <a:lnTo>
                        <a:pt x="31" y="134"/>
                      </a:lnTo>
                      <a:lnTo>
                        <a:pt x="33" y="135"/>
                      </a:lnTo>
                      <a:lnTo>
                        <a:pt x="36" y="134"/>
                      </a:lnTo>
                      <a:lnTo>
                        <a:pt x="38" y="131"/>
                      </a:lnTo>
                      <a:lnTo>
                        <a:pt x="38" y="129"/>
                      </a:lnTo>
                      <a:lnTo>
                        <a:pt x="33" y="125"/>
                      </a:lnTo>
                      <a:lnTo>
                        <a:pt x="29" y="122"/>
                      </a:lnTo>
                      <a:lnTo>
                        <a:pt x="31" y="121"/>
                      </a:lnTo>
                      <a:lnTo>
                        <a:pt x="32" y="121"/>
                      </a:lnTo>
                      <a:lnTo>
                        <a:pt x="33" y="121"/>
                      </a:lnTo>
                      <a:lnTo>
                        <a:pt x="36" y="121"/>
                      </a:lnTo>
                      <a:lnTo>
                        <a:pt x="37" y="120"/>
                      </a:lnTo>
                      <a:lnTo>
                        <a:pt x="37" y="117"/>
                      </a:lnTo>
                      <a:lnTo>
                        <a:pt x="37" y="112"/>
                      </a:lnTo>
                      <a:lnTo>
                        <a:pt x="37" y="110"/>
                      </a:lnTo>
                      <a:lnTo>
                        <a:pt x="40" y="109"/>
                      </a:lnTo>
                      <a:lnTo>
                        <a:pt x="46" y="107"/>
                      </a:lnTo>
                      <a:lnTo>
                        <a:pt x="48" y="105"/>
                      </a:lnTo>
                      <a:lnTo>
                        <a:pt x="51" y="102"/>
                      </a:lnTo>
                      <a:lnTo>
                        <a:pt x="54" y="101"/>
                      </a:lnTo>
                      <a:lnTo>
                        <a:pt x="55" y="99"/>
                      </a:lnTo>
                      <a:lnTo>
                        <a:pt x="57" y="103"/>
                      </a:lnTo>
                      <a:lnTo>
                        <a:pt x="60" y="105"/>
                      </a:lnTo>
                      <a:lnTo>
                        <a:pt x="61" y="105"/>
                      </a:lnTo>
                      <a:lnTo>
                        <a:pt x="66" y="105"/>
                      </a:lnTo>
                      <a:lnTo>
                        <a:pt x="75" y="105"/>
                      </a:lnTo>
                      <a:lnTo>
                        <a:pt x="78" y="107"/>
                      </a:lnTo>
                      <a:lnTo>
                        <a:pt x="80" y="108"/>
                      </a:lnTo>
                      <a:lnTo>
                        <a:pt x="87" y="111"/>
                      </a:lnTo>
                      <a:lnTo>
                        <a:pt x="92" y="117"/>
                      </a:lnTo>
                      <a:lnTo>
                        <a:pt x="98" y="125"/>
                      </a:lnTo>
                      <a:lnTo>
                        <a:pt x="109" y="140"/>
                      </a:lnTo>
                      <a:lnTo>
                        <a:pt x="116" y="148"/>
                      </a:lnTo>
                      <a:lnTo>
                        <a:pt x="117" y="149"/>
                      </a:lnTo>
                      <a:lnTo>
                        <a:pt x="118" y="149"/>
                      </a:lnTo>
                      <a:lnTo>
                        <a:pt x="123" y="148"/>
                      </a:lnTo>
                      <a:lnTo>
                        <a:pt x="127" y="148"/>
                      </a:lnTo>
                      <a:lnTo>
                        <a:pt x="131" y="149"/>
                      </a:lnTo>
                      <a:lnTo>
                        <a:pt x="135" y="152"/>
                      </a:lnTo>
                      <a:lnTo>
                        <a:pt x="142" y="155"/>
                      </a:lnTo>
                      <a:lnTo>
                        <a:pt x="146" y="156"/>
                      </a:lnTo>
                      <a:lnTo>
                        <a:pt x="150" y="157"/>
                      </a:lnTo>
                      <a:lnTo>
                        <a:pt x="155" y="157"/>
                      </a:lnTo>
                      <a:lnTo>
                        <a:pt x="161" y="157"/>
                      </a:lnTo>
                      <a:lnTo>
                        <a:pt x="167" y="156"/>
                      </a:lnTo>
                      <a:lnTo>
                        <a:pt x="172" y="154"/>
                      </a:lnTo>
                      <a:lnTo>
                        <a:pt x="167" y="150"/>
                      </a:lnTo>
                      <a:lnTo>
                        <a:pt x="163" y="149"/>
                      </a:lnTo>
                      <a:lnTo>
                        <a:pt x="158" y="147"/>
                      </a:lnTo>
                      <a:lnTo>
                        <a:pt x="156" y="144"/>
                      </a:lnTo>
                      <a:lnTo>
                        <a:pt x="154" y="142"/>
                      </a:lnTo>
                      <a:lnTo>
                        <a:pt x="153" y="141"/>
                      </a:lnTo>
                      <a:lnTo>
                        <a:pt x="150" y="140"/>
                      </a:lnTo>
                      <a:lnTo>
                        <a:pt x="148" y="137"/>
                      </a:lnTo>
                      <a:lnTo>
                        <a:pt x="146" y="135"/>
                      </a:lnTo>
                      <a:lnTo>
                        <a:pt x="146" y="133"/>
                      </a:lnTo>
                      <a:lnTo>
                        <a:pt x="146" y="131"/>
                      </a:lnTo>
                      <a:lnTo>
                        <a:pt x="148" y="130"/>
                      </a:lnTo>
                      <a:lnTo>
                        <a:pt x="148" y="129"/>
                      </a:lnTo>
                      <a:lnTo>
                        <a:pt x="145" y="128"/>
                      </a:lnTo>
                      <a:lnTo>
                        <a:pt x="144" y="127"/>
                      </a:lnTo>
                      <a:lnTo>
                        <a:pt x="141" y="127"/>
                      </a:lnTo>
                      <a:lnTo>
                        <a:pt x="139" y="125"/>
                      </a:lnTo>
                      <a:lnTo>
                        <a:pt x="132" y="118"/>
                      </a:lnTo>
                      <a:lnTo>
                        <a:pt x="128" y="116"/>
                      </a:lnTo>
                      <a:lnTo>
                        <a:pt x="123" y="114"/>
                      </a:lnTo>
                      <a:lnTo>
                        <a:pt x="122" y="114"/>
                      </a:lnTo>
                      <a:lnTo>
                        <a:pt x="121" y="111"/>
                      </a:lnTo>
                      <a:lnTo>
                        <a:pt x="121" y="108"/>
                      </a:lnTo>
                      <a:lnTo>
                        <a:pt x="120" y="107"/>
                      </a:lnTo>
                      <a:lnTo>
                        <a:pt x="120" y="105"/>
                      </a:lnTo>
                      <a:lnTo>
                        <a:pt x="114" y="103"/>
                      </a:lnTo>
                      <a:lnTo>
                        <a:pt x="111" y="99"/>
                      </a:lnTo>
                      <a:lnTo>
                        <a:pt x="109" y="95"/>
                      </a:lnTo>
                      <a:lnTo>
                        <a:pt x="108" y="90"/>
                      </a:lnTo>
                      <a:lnTo>
                        <a:pt x="109" y="86"/>
                      </a:lnTo>
                      <a:lnTo>
                        <a:pt x="112" y="82"/>
                      </a:lnTo>
                      <a:lnTo>
                        <a:pt x="113" y="77"/>
                      </a:lnTo>
                      <a:lnTo>
                        <a:pt x="113" y="75"/>
                      </a:lnTo>
                      <a:lnTo>
                        <a:pt x="111" y="72"/>
                      </a:lnTo>
                      <a:lnTo>
                        <a:pt x="106" y="71"/>
                      </a:lnTo>
                      <a:lnTo>
                        <a:pt x="101" y="69"/>
                      </a:lnTo>
                      <a:lnTo>
                        <a:pt x="97" y="66"/>
                      </a:lnTo>
                      <a:lnTo>
                        <a:pt x="93" y="63"/>
                      </a:lnTo>
                      <a:lnTo>
                        <a:pt x="87" y="54"/>
                      </a:lnTo>
                      <a:lnTo>
                        <a:pt x="81" y="46"/>
                      </a:lnTo>
                      <a:lnTo>
                        <a:pt x="80" y="45"/>
                      </a:lnTo>
                      <a:lnTo>
                        <a:pt x="78" y="45"/>
                      </a:lnTo>
                      <a:lnTo>
                        <a:pt x="74" y="45"/>
                      </a:lnTo>
                      <a:lnTo>
                        <a:pt x="71" y="44"/>
                      </a:lnTo>
                      <a:lnTo>
                        <a:pt x="70" y="42"/>
                      </a:lnTo>
                      <a:lnTo>
                        <a:pt x="70" y="39"/>
                      </a:lnTo>
                      <a:lnTo>
                        <a:pt x="70" y="35"/>
                      </a:lnTo>
                      <a:lnTo>
                        <a:pt x="70" y="33"/>
                      </a:lnTo>
                      <a:lnTo>
                        <a:pt x="61" y="28"/>
                      </a:lnTo>
                      <a:lnTo>
                        <a:pt x="52" y="24"/>
                      </a:lnTo>
                      <a:lnTo>
                        <a:pt x="43" y="19"/>
                      </a:lnTo>
                      <a:lnTo>
                        <a:pt x="34" y="13"/>
                      </a:lnTo>
                      <a:lnTo>
                        <a:pt x="32" y="12"/>
                      </a:lnTo>
                      <a:lnTo>
                        <a:pt x="28" y="12"/>
                      </a:lnTo>
                      <a:lnTo>
                        <a:pt x="26" y="12"/>
                      </a:lnTo>
                      <a:lnTo>
                        <a:pt x="22" y="10"/>
                      </a:lnTo>
                      <a:lnTo>
                        <a:pt x="12" y="5"/>
                      </a:lnTo>
                      <a:lnTo>
                        <a:pt x="0" y="0"/>
                      </a:lnTo>
                      <a:lnTo>
                        <a:pt x="1" y="73"/>
                      </a:lnTo>
                      <a:lnTo>
                        <a:pt x="0" y="88"/>
                      </a:lnTo>
                      <a:lnTo>
                        <a:pt x="0" y="102"/>
                      </a:lnTo>
                      <a:lnTo>
                        <a:pt x="3" y="12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4" name="Freeform 259">
                  <a:extLst>
                    <a:ext uri="{FF2B5EF4-FFF2-40B4-BE49-F238E27FC236}">
                      <a16:creationId xmlns:a16="http://schemas.microsoft.com/office/drawing/2014/main" id="{69C1C2F7-53BE-B14A-8A74-047938198F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159" y="6306895"/>
                  <a:ext cx="10359" cy="19239"/>
                </a:xfrm>
                <a:custGeom>
                  <a:avLst/>
                  <a:gdLst>
                    <a:gd name="T0" fmla="*/ 2147483647 w 8"/>
                    <a:gd name="T1" fmla="*/ 2147483647 h 13"/>
                    <a:gd name="T2" fmla="*/ 2147483647 w 8"/>
                    <a:gd name="T3" fmla="*/ 2147483647 h 13"/>
                    <a:gd name="T4" fmla="*/ 2147483647 w 8"/>
                    <a:gd name="T5" fmla="*/ 2147483647 h 13"/>
                    <a:gd name="T6" fmla="*/ 2147483647 w 8"/>
                    <a:gd name="T7" fmla="*/ 2147483647 h 13"/>
                    <a:gd name="T8" fmla="*/ 2147483647 w 8"/>
                    <a:gd name="T9" fmla="*/ 2147483647 h 13"/>
                    <a:gd name="T10" fmla="*/ 2147483647 w 8"/>
                    <a:gd name="T11" fmla="*/ 2147483647 h 13"/>
                    <a:gd name="T12" fmla="*/ 2147483647 w 8"/>
                    <a:gd name="T13" fmla="*/ 2147483647 h 13"/>
                    <a:gd name="T14" fmla="*/ 0 w 8"/>
                    <a:gd name="T15" fmla="*/ 2147483647 h 13"/>
                    <a:gd name="T16" fmla="*/ 2147483647 w 8"/>
                    <a:gd name="T17" fmla="*/ 2147483647 h 13"/>
                    <a:gd name="T18" fmla="*/ 2147483647 w 8"/>
                    <a:gd name="T19" fmla="*/ 2147483647 h 13"/>
                    <a:gd name="T20" fmla="*/ 2147483647 w 8"/>
                    <a:gd name="T21" fmla="*/ 0 h 13"/>
                    <a:gd name="T22" fmla="*/ 2147483647 w 8"/>
                    <a:gd name="T23" fmla="*/ 0 h 13"/>
                    <a:gd name="T24" fmla="*/ 2147483647 w 8"/>
                    <a:gd name="T25" fmla="*/ 0 h 13"/>
                    <a:gd name="T26" fmla="*/ 2147483647 w 8"/>
                    <a:gd name="T27" fmla="*/ 2147483647 h 13"/>
                    <a:gd name="T28" fmla="*/ 2147483647 w 8"/>
                    <a:gd name="T29" fmla="*/ 2147483647 h 13"/>
                    <a:gd name="T30" fmla="*/ 2147483647 w 8"/>
                    <a:gd name="T31" fmla="*/ 2147483647 h 13"/>
                    <a:gd name="T32" fmla="*/ 2147483647 w 8"/>
                    <a:gd name="T33" fmla="*/ 2147483647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13"/>
                    <a:gd name="T53" fmla="*/ 8 w 8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13">
                      <a:moveTo>
                        <a:pt x="8" y="7"/>
                      </a:moveTo>
                      <a:lnTo>
                        <a:pt x="8" y="7"/>
                      </a:lnTo>
                      <a:lnTo>
                        <a:pt x="7" y="11"/>
                      </a:lnTo>
                      <a:lnTo>
                        <a:pt x="5" y="12"/>
                      </a:lnTo>
                      <a:lnTo>
                        <a:pt x="4" y="13"/>
                      </a:lnTo>
                      <a:lnTo>
                        <a:pt x="2" y="12"/>
                      </a:lnTo>
                      <a:lnTo>
                        <a:pt x="0" y="9"/>
                      </a:lnTo>
                      <a:lnTo>
                        <a:pt x="2" y="3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8" y="3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5" name="Freeform 272">
                  <a:extLst>
                    <a:ext uri="{FF2B5EF4-FFF2-40B4-BE49-F238E27FC236}">
                      <a16:creationId xmlns:a16="http://schemas.microsoft.com/office/drawing/2014/main" id="{02B7C30D-1C5F-2B4D-9DEA-4CD5ECF062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4673" y="5535886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5" y="3"/>
                      </a:move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6" name="Freeform 273">
                  <a:extLst>
                    <a:ext uri="{FF2B5EF4-FFF2-40B4-BE49-F238E27FC236}">
                      <a16:creationId xmlns:a16="http://schemas.microsoft.com/office/drawing/2014/main" id="{ABD95FBA-4287-2341-A301-8650A869F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9113" y="5498886"/>
                  <a:ext cx="887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0 w 6"/>
                    <a:gd name="T9" fmla="*/ 2147483647 h 8"/>
                    <a:gd name="T10" fmla="*/ 0 w 6"/>
                    <a:gd name="T11" fmla="*/ 2147483647 h 8"/>
                    <a:gd name="T12" fmla="*/ 2147483647 w 6"/>
                    <a:gd name="T13" fmla="*/ 0 h 8"/>
                    <a:gd name="T14" fmla="*/ 2147483647 w 6"/>
                    <a:gd name="T15" fmla="*/ 2147483647 h 8"/>
                    <a:gd name="T16" fmla="*/ 2147483647 w 6"/>
                    <a:gd name="T17" fmla="*/ 2147483647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8"/>
                    <a:gd name="T29" fmla="*/ 6 w 6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8">
                      <a:moveTo>
                        <a:pt x="6" y="6"/>
                      </a:moveTo>
                      <a:lnTo>
                        <a:pt x="6" y="8"/>
                      </a:lnTo>
                      <a:lnTo>
                        <a:pt x="5" y="8"/>
                      </a:lnTo>
                      <a:lnTo>
                        <a:pt x="2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2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7" name="Freeform 274">
                  <a:extLst>
                    <a:ext uri="{FF2B5EF4-FFF2-40B4-BE49-F238E27FC236}">
                      <a16:creationId xmlns:a16="http://schemas.microsoft.com/office/drawing/2014/main" id="{1B16026F-9927-9C47-96B4-907FF2E429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3192" y="5532926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0 h 6"/>
                    <a:gd name="T16" fmla="*/ 2147483647 w 5"/>
                    <a:gd name="T17" fmla="*/ 0 h 6"/>
                    <a:gd name="T18" fmla="*/ 2147483647 w 5"/>
                    <a:gd name="T19" fmla="*/ 0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8" name="Freeform 275">
                  <a:extLst>
                    <a:ext uri="{FF2B5EF4-FFF2-40B4-BE49-F238E27FC236}">
                      <a16:creationId xmlns:a16="http://schemas.microsoft.com/office/drawing/2014/main" id="{AA4E64E9-D123-0D42-A5E9-892FF5F8FB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6155" y="5497405"/>
                  <a:ext cx="10360" cy="11839"/>
                </a:xfrm>
                <a:custGeom>
                  <a:avLst/>
                  <a:gdLst>
                    <a:gd name="T0" fmla="*/ 2147483647 w 7"/>
                    <a:gd name="T1" fmla="*/ 2147483647 h 8"/>
                    <a:gd name="T2" fmla="*/ 2147483647 w 7"/>
                    <a:gd name="T3" fmla="*/ 2147483647 h 8"/>
                    <a:gd name="T4" fmla="*/ 2147483647 w 7"/>
                    <a:gd name="T5" fmla="*/ 2147483647 h 8"/>
                    <a:gd name="T6" fmla="*/ 2147483647 w 7"/>
                    <a:gd name="T7" fmla="*/ 2147483647 h 8"/>
                    <a:gd name="T8" fmla="*/ 2147483647 w 7"/>
                    <a:gd name="T9" fmla="*/ 2147483647 h 8"/>
                    <a:gd name="T10" fmla="*/ 2147483647 w 7"/>
                    <a:gd name="T11" fmla="*/ 2147483647 h 8"/>
                    <a:gd name="T12" fmla="*/ 2147483647 w 7"/>
                    <a:gd name="T13" fmla="*/ 2147483647 h 8"/>
                    <a:gd name="T14" fmla="*/ 0 w 7"/>
                    <a:gd name="T15" fmla="*/ 2147483647 h 8"/>
                    <a:gd name="T16" fmla="*/ 0 w 7"/>
                    <a:gd name="T17" fmla="*/ 2147483647 h 8"/>
                    <a:gd name="T18" fmla="*/ 2147483647 w 7"/>
                    <a:gd name="T19" fmla="*/ 0 h 8"/>
                    <a:gd name="T20" fmla="*/ 2147483647 w 7"/>
                    <a:gd name="T21" fmla="*/ 0 h 8"/>
                    <a:gd name="T22" fmla="*/ 2147483647 w 7"/>
                    <a:gd name="T23" fmla="*/ 2147483647 h 8"/>
                    <a:gd name="T24" fmla="*/ 2147483647 w 7"/>
                    <a:gd name="T25" fmla="*/ 2147483647 h 8"/>
                    <a:gd name="T26" fmla="*/ 2147483647 w 7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"/>
                    <a:gd name="T43" fmla="*/ 0 h 8"/>
                    <a:gd name="T44" fmla="*/ 7 w 7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" h="8">
                      <a:moveTo>
                        <a:pt x="7" y="5"/>
                      </a:moveTo>
                      <a:lnTo>
                        <a:pt x="7" y="5"/>
                      </a:lnTo>
                      <a:lnTo>
                        <a:pt x="7" y="8"/>
                      </a:lnTo>
                      <a:lnTo>
                        <a:pt x="6" y="8"/>
                      </a:lnTo>
                      <a:lnTo>
                        <a:pt x="3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2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9" name="Freeform 276">
                  <a:extLst>
                    <a:ext uri="{FF2B5EF4-FFF2-40B4-BE49-F238E27FC236}">
                      <a16:creationId xmlns:a16="http://schemas.microsoft.com/office/drawing/2014/main" id="{74445A46-5C1C-E646-B234-2607F15D75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90853" y="3949463"/>
                  <a:ext cx="10360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0 h 6"/>
                    <a:gd name="T4" fmla="*/ 2147483647 w 7"/>
                    <a:gd name="T5" fmla="*/ 0 h 6"/>
                    <a:gd name="T6" fmla="*/ 2147483647 w 7"/>
                    <a:gd name="T7" fmla="*/ 0 h 6"/>
                    <a:gd name="T8" fmla="*/ 0 w 7"/>
                    <a:gd name="T9" fmla="*/ 2147483647 h 6"/>
                    <a:gd name="T10" fmla="*/ 0 w 7"/>
                    <a:gd name="T11" fmla="*/ 2147483647 h 6"/>
                    <a:gd name="T12" fmla="*/ 2147483647 w 7"/>
                    <a:gd name="T13" fmla="*/ 2147483647 h 6"/>
                    <a:gd name="T14" fmla="*/ 2147483647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6"/>
                    <a:gd name="T35" fmla="*/ 7 w 7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6">
                      <a:moveTo>
                        <a:pt x="7" y="2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7" y="3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0" name="Freeform 277">
                  <a:extLst>
                    <a:ext uri="{FF2B5EF4-FFF2-40B4-BE49-F238E27FC236}">
                      <a16:creationId xmlns:a16="http://schemas.microsoft.com/office/drawing/2014/main" id="{C57C4BDE-A1E1-9340-B890-1C47271952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3373" y="4297233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2147483647 h 6"/>
                    <a:gd name="T6" fmla="*/ 0 w 4"/>
                    <a:gd name="T7" fmla="*/ 2147483647 h 6"/>
                    <a:gd name="T8" fmla="*/ 0 w 4"/>
                    <a:gd name="T9" fmla="*/ 2147483647 h 6"/>
                    <a:gd name="T10" fmla="*/ 2147483647 w 4"/>
                    <a:gd name="T11" fmla="*/ 0 h 6"/>
                    <a:gd name="T12" fmla="*/ 2147483647 w 4"/>
                    <a:gd name="T13" fmla="*/ 2147483647 h 6"/>
                    <a:gd name="T14" fmla="*/ 2147483647 w 4"/>
                    <a:gd name="T15" fmla="*/ 2147483647 h 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"/>
                    <a:gd name="T25" fmla="*/ 0 h 6"/>
                    <a:gd name="T26" fmla="*/ 4 w 4"/>
                    <a:gd name="T27" fmla="*/ 6 h 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" h="6">
                      <a:moveTo>
                        <a:pt x="4" y="3"/>
                      </a:move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1" name="Freeform 278">
                  <a:extLst>
                    <a:ext uri="{FF2B5EF4-FFF2-40B4-BE49-F238E27FC236}">
                      <a16:creationId xmlns:a16="http://schemas.microsoft.com/office/drawing/2014/main" id="{6EF344E2-77BF-A74F-898E-E5D0D7DA1F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89370" y="3947983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0 h 6"/>
                    <a:gd name="T6" fmla="*/ 2147483647 w 6"/>
                    <a:gd name="T7" fmla="*/ 0 h 6"/>
                    <a:gd name="T8" fmla="*/ 2147483647 w 6"/>
                    <a:gd name="T9" fmla="*/ 0 h 6"/>
                    <a:gd name="T10" fmla="*/ 2147483647 w 6"/>
                    <a:gd name="T11" fmla="*/ 0 h 6"/>
                    <a:gd name="T12" fmla="*/ 0 w 6"/>
                    <a:gd name="T13" fmla="*/ 2147483647 h 6"/>
                    <a:gd name="T14" fmla="*/ 0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2147483647 w 6"/>
                    <a:gd name="T29" fmla="*/ 2147483647 h 6"/>
                    <a:gd name="T30" fmla="*/ 2147483647 w 6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6"/>
                    <a:gd name="T50" fmla="*/ 6 w 6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6"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2" name="Freeform 279">
                  <a:extLst>
                    <a:ext uri="{FF2B5EF4-FFF2-40B4-BE49-F238E27FC236}">
                      <a16:creationId xmlns:a16="http://schemas.microsoft.com/office/drawing/2014/main" id="{CB3531AE-C97C-3648-BBE9-D754E7D027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31893" y="4294273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2147483647 h 6"/>
                    <a:gd name="T6" fmla="*/ 2147483647 w 4"/>
                    <a:gd name="T7" fmla="*/ 2147483647 h 6"/>
                    <a:gd name="T8" fmla="*/ 2147483647 w 4"/>
                    <a:gd name="T9" fmla="*/ 2147483647 h 6"/>
                    <a:gd name="T10" fmla="*/ 2147483647 w 4"/>
                    <a:gd name="T11" fmla="*/ 2147483647 h 6"/>
                    <a:gd name="T12" fmla="*/ 0 w 4"/>
                    <a:gd name="T13" fmla="*/ 2147483647 h 6"/>
                    <a:gd name="T14" fmla="*/ 0 w 4"/>
                    <a:gd name="T15" fmla="*/ 2147483647 h 6"/>
                    <a:gd name="T16" fmla="*/ 0 w 4"/>
                    <a:gd name="T17" fmla="*/ 2147483647 h 6"/>
                    <a:gd name="T18" fmla="*/ 2147483647 w 4"/>
                    <a:gd name="T19" fmla="*/ 0 h 6"/>
                    <a:gd name="T20" fmla="*/ 2147483647 w 4"/>
                    <a:gd name="T21" fmla="*/ 2147483647 h 6"/>
                    <a:gd name="T22" fmla="*/ 2147483647 w 4"/>
                    <a:gd name="T23" fmla="*/ 2147483647 h 6"/>
                    <a:gd name="T24" fmla="*/ 2147483647 w 4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"/>
                    <a:gd name="T40" fmla="*/ 0 h 6"/>
                    <a:gd name="T41" fmla="*/ 4 w 4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2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3" name="Freeform 280">
                  <a:extLst>
                    <a:ext uri="{FF2B5EF4-FFF2-40B4-BE49-F238E27FC236}">
                      <a16:creationId xmlns:a16="http://schemas.microsoft.com/office/drawing/2014/main" id="{CB8294EA-2317-CE49-AFF0-99BE4B8487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93198" y="4341625"/>
                  <a:ext cx="59195" cy="112470"/>
                </a:xfrm>
                <a:custGeom>
                  <a:avLst/>
                  <a:gdLst>
                    <a:gd name="T0" fmla="*/ 2147483647 w 43"/>
                    <a:gd name="T1" fmla="*/ 2147483647 h 76"/>
                    <a:gd name="T2" fmla="*/ 2147483647 w 43"/>
                    <a:gd name="T3" fmla="*/ 2147483647 h 76"/>
                    <a:gd name="T4" fmla="*/ 2147483647 w 43"/>
                    <a:gd name="T5" fmla="*/ 2147483647 h 76"/>
                    <a:gd name="T6" fmla="*/ 2147483647 w 43"/>
                    <a:gd name="T7" fmla="*/ 2147483647 h 76"/>
                    <a:gd name="T8" fmla="*/ 2147483647 w 43"/>
                    <a:gd name="T9" fmla="*/ 2147483647 h 76"/>
                    <a:gd name="T10" fmla="*/ 2147483647 w 43"/>
                    <a:gd name="T11" fmla="*/ 2147483647 h 76"/>
                    <a:gd name="T12" fmla="*/ 2147483647 w 43"/>
                    <a:gd name="T13" fmla="*/ 2147483647 h 76"/>
                    <a:gd name="T14" fmla="*/ 2147483647 w 43"/>
                    <a:gd name="T15" fmla="*/ 2147483647 h 76"/>
                    <a:gd name="T16" fmla="*/ 2147483647 w 43"/>
                    <a:gd name="T17" fmla="*/ 2147483647 h 76"/>
                    <a:gd name="T18" fmla="*/ 2147483647 w 43"/>
                    <a:gd name="T19" fmla="*/ 2147483647 h 76"/>
                    <a:gd name="T20" fmla="*/ 2147483647 w 43"/>
                    <a:gd name="T21" fmla="*/ 2147483647 h 76"/>
                    <a:gd name="T22" fmla="*/ 2147483647 w 43"/>
                    <a:gd name="T23" fmla="*/ 0 h 76"/>
                    <a:gd name="T24" fmla="*/ 2147483647 w 43"/>
                    <a:gd name="T25" fmla="*/ 2147483647 h 76"/>
                    <a:gd name="T26" fmla="*/ 2147483647 w 43"/>
                    <a:gd name="T27" fmla="*/ 2147483647 h 76"/>
                    <a:gd name="T28" fmla="*/ 2147483647 w 43"/>
                    <a:gd name="T29" fmla="*/ 2147483647 h 76"/>
                    <a:gd name="T30" fmla="*/ 2147483647 w 43"/>
                    <a:gd name="T31" fmla="*/ 2147483647 h 76"/>
                    <a:gd name="T32" fmla="*/ 2147483647 w 43"/>
                    <a:gd name="T33" fmla="*/ 2147483647 h 76"/>
                    <a:gd name="T34" fmla="*/ 2147483647 w 43"/>
                    <a:gd name="T35" fmla="*/ 2147483647 h 76"/>
                    <a:gd name="T36" fmla="*/ 2147483647 w 43"/>
                    <a:gd name="T37" fmla="*/ 2147483647 h 76"/>
                    <a:gd name="T38" fmla="*/ 2147483647 w 43"/>
                    <a:gd name="T39" fmla="*/ 2147483647 h 76"/>
                    <a:gd name="T40" fmla="*/ 2147483647 w 43"/>
                    <a:gd name="T41" fmla="*/ 2147483647 h 76"/>
                    <a:gd name="T42" fmla="*/ 2147483647 w 43"/>
                    <a:gd name="T43" fmla="*/ 2147483647 h 76"/>
                    <a:gd name="T44" fmla="*/ 0 w 43"/>
                    <a:gd name="T45" fmla="*/ 2147483647 h 76"/>
                    <a:gd name="T46" fmla="*/ 0 w 43"/>
                    <a:gd name="T47" fmla="*/ 2147483647 h 76"/>
                    <a:gd name="T48" fmla="*/ 2147483647 w 43"/>
                    <a:gd name="T49" fmla="*/ 2147483647 h 76"/>
                    <a:gd name="T50" fmla="*/ 2147483647 w 43"/>
                    <a:gd name="T51" fmla="*/ 2147483647 h 76"/>
                    <a:gd name="T52" fmla="*/ 2147483647 w 43"/>
                    <a:gd name="T53" fmla="*/ 2147483647 h 76"/>
                    <a:gd name="T54" fmla="*/ 2147483647 w 43"/>
                    <a:gd name="T55" fmla="*/ 2147483647 h 76"/>
                    <a:gd name="T56" fmla="*/ 2147483647 w 43"/>
                    <a:gd name="T57" fmla="*/ 2147483647 h 76"/>
                    <a:gd name="T58" fmla="*/ 2147483647 w 43"/>
                    <a:gd name="T59" fmla="*/ 2147483647 h 76"/>
                    <a:gd name="T60" fmla="*/ 2147483647 w 43"/>
                    <a:gd name="T61" fmla="*/ 2147483647 h 76"/>
                    <a:gd name="T62" fmla="*/ 2147483647 w 43"/>
                    <a:gd name="T63" fmla="*/ 2147483647 h 76"/>
                    <a:gd name="T64" fmla="*/ 2147483647 w 43"/>
                    <a:gd name="T65" fmla="*/ 2147483647 h 76"/>
                    <a:gd name="T66" fmla="*/ 2147483647 w 43"/>
                    <a:gd name="T67" fmla="*/ 2147483647 h 76"/>
                    <a:gd name="T68" fmla="*/ 2147483647 w 43"/>
                    <a:gd name="T69" fmla="*/ 2147483647 h 76"/>
                    <a:gd name="T70" fmla="*/ 2147483647 w 43"/>
                    <a:gd name="T71" fmla="*/ 2147483647 h 76"/>
                    <a:gd name="T72" fmla="*/ 2147483647 w 43"/>
                    <a:gd name="T73" fmla="*/ 2147483647 h 76"/>
                    <a:gd name="T74" fmla="*/ 2147483647 w 43"/>
                    <a:gd name="T75" fmla="*/ 2147483647 h 76"/>
                    <a:gd name="T76" fmla="*/ 2147483647 w 43"/>
                    <a:gd name="T77" fmla="*/ 2147483647 h 76"/>
                    <a:gd name="T78" fmla="*/ 2147483647 w 43"/>
                    <a:gd name="T79" fmla="*/ 2147483647 h 76"/>
                    <a:gd name="T80" fmla="*/ 2147483647 w 43"/>
                    <a:gd name="T81" fmla="*/ 2147483647 h 76"/>
                    <a:gd name="T82" fmla="*/ 2147483647 w 43"/>
                    <a:gd name="T83" fmla="*/ 2147483647 h 76"/>
                    <a:gd name="T84" fmla="*/ 2147483647 w 43"/>
                    <a:gd name="T85" fmla="*/ 2147483647 h 76"/>
                    <a:gd name="T86" fmla="*/ 2147483647 w 43"/>
                    <a:gd name="T87" fmla="*/ 2147483647 h 7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43"/>
                    <a:gd name="T133" fmla="*/ 0 h 76"/>
                    <a:gd name="T134" fmla="*/ 43 w 43"/>
                    <a:gd name="T135" fmla="*/ 76 h 7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43" h="76">
                      <a:moveTo>
                        <a:pt x="42" y="47"/>
                      </a:moveTo>
                      <a:lnTo>
                        <a:pt x="37" y="41"/>
                      </a:lnTo>
                      <a:lnTo>
                        <a:pt x="33" y="34"/>
                      </a:lnTo>
                      <a:lnTo>
                        <a:pt x="27" y="21"/>
                      </a:lnTo>
                      <a:lnTo>
                        <a:pt x="25" y="18"/>
                      </a:lnTo>
                      <a:lnTo>
                        <a:pt x="23" y="17"/>
                      </a:lnTo>
                      <a:lnTo>
                        <a:pt x="19" y="13"/>
                      </a:lnTo>
                      <a:lnTo>
                        <a:pt x="18" y="12"/>
                      </a:lnTo>
                      <a:lnTo>
                        <a:pt x="18" y="10"/>
                      </a:lnTo>
                      <a:lnTo>
                        <a:pt x="17" y="5"/>
                      </a:lnTo>
                      <a:lnTo>
                        <a:pt x="13" y="2"/>
                      </a:lnTo>
                      <a:lnTo>
                        <a:pt x="10" y="0"/>
                      </a:lnTo>
                      <a:lnTo>
                        <a:pt x="9" y="2"/>
                      </a:lnTo>
                      <a:lnTo>
                        <a:pt x="9" y="4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0" y="10"/>
                      </a:lnTo>
                      <a:lnTo>
                        <a:pt x="6" y="13"/>
                      </a:lnTo>
                      <a:lnTo>
                        <a:pt x="5" y="18"/>
                      </a:lnTo>
                      <a:lnTo>
                        <a:pt x="4" y="19"/>
                      </a:lnTo>
                      <a:lnTo>
                        <a:pt x="3" y="21"/>
                      </a:lnTo>
                      <a:lnTo>
                        <a:pt x="1" y="22"/>
                      </a:lnTo>
                      <a:lnTo>
                        <a:pt x="0" y="24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1" y="42"/>
                      </a:lnTo>
                      <a:lnTo>
                        <a:pt x="1" y="48"/>
                      </a:lnTo>
                      <a:lnTo>
                        <a:pt x="1" y="53"/>
                      </a:lnTo>
                      <a:lnTo>
                        <a:pt x="1" y="59"/>
                      </a:lnTo>
                      <a:lnTo>
                        <a:pt x="3" y="63"/>
                      </a:lnTo>
                      <a:lnTo>
                        <a:pt x="5" y="69"/>
                      </a:lnTo>
                      <a:lnTo>
                        <a:pt x="8" y="73"/>
                      </a:lnTo>
                      <a:lnTo>
                        <a:pt x="11" y="76"/>
                      </a:lnTo>
                      <a:lnTo>
                        <a:pt x="15" y="76"/>
                      </a:lnTo>
                      <a:lnTo>
                        <a:pt x="22" y="75"/>
                      </a:lnTo>
                      <a:lnTo>
                        <a:pt x="25" y="73"/>
                      </a:lnTo>
                      <a:lnTo>
                        <a:pt x="29" y="69"/>
                      </a:lnTo>
                      <a:lnTo>
                        <a:pt x="32" y="66"/>
                      </a:lnTo>
                      <a:lnTo>
                        <a:pt x="37" y="62"/>
                      </a:lnTo>
                      <a:lnTo>
                        <a:pt x="39" y="59"/>
                      </a:lnTo>
                      <a:lnTo>
                        <a:pt x="42" y="54"/>
                      </a:lnTo>
                      <a:lnTo>
                        <a:pt x="43" y="50"/>
                      </a:lnTo>
                      <a:lnTo>
                        <a:pt x="42" y="48"/>
                      </a:lnTo>
                      <a:lnTo>
                        <a:pt x="42" y="4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4" name="Freeform 282">
                  <a:extLst>
                    <a:ext uri="{FF2B5EF4-FFF2-40B4-BE49-F238E27FC236}">
                      <a16:creationId xmlns:a16="http://schemas.microsoft.com/office/drawing/2014/main" id="{0E5E7603-12F0-CD4E-9949-DB0DE4B40B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91718" y="4340146"/>
                  <a:ext cx="59195" cy="112470"/>
                </a:xfrm>
                <a:custGeom>
                  <a:avLst/>
                  <a:gdLst>
                    <a:gd name="T0" fmla="*/ 2147483647 w 43"/>
                    <a:gd name="T1" fmla="*/ 2147483647 h 76"/>
                    <a:gd name="T2" fmla="*/ 2147483647 w 43"/>
                    <a:gd name="T3" fmla="*/ 2147483647 h 76"/>
                    <a:gd name="T4" fmla="*/ 2147483647 w 43"/>
                    <a:gd name="T5" fmla="*/ 2147483647 h 76"/>
                    <a:gd name="T6" fmla="*/ 2147483647 w 43"/>
                    <a:gd name="T7" fmla="*/ 2147483647 h 76"/>
                    <a:gd name="T8" fmla="*/ 2147483647 w 43"/>
                    <a:gd name="T9" fmla="*/ 2147483647 h 76"/>
                    <a:gd name="T10" fmla="*/ 2147483647 w 43"/>
                    <a:gd name="T11" fmla="*/ 2147483647 h 76"/>
                    <a:gd name="T12" fmla="*/ 2147483647 w 43"/>
                    <a:gd name="T13" fmla="*/ 2147483647 h 76"/>
                    <a:gd name="T14" fmla="*/ 2147483647 w 43"/>
                    <a:gd name="T15" fmla="*/ 2147483647 h 76"/>
                    <a:gd name="T16" fmla="*/ 2147483647 w 43"/>
                    <a:gd name="T17" fmla="*/ 2147483647 h 76"/>
                    <a:gd name="T18" fmla="*/ 2147483647 w 43"/>
                    <a:gd name="T19" fmla="*/ 2147483647 h 76"/>
                    <a:gd name="T20" fmla="*/ 2147483647 w 43"/>
                    <a:gd name="T21" fmla="*/ 2147483647 h 76"/>
                    <a:gd name="T22" fmla="*/ 2147483647 w 43"/>
                    <a:gd name="T23" fmla="*/ 2147483647 h 76"/>
                    <a:gd name="T24" fmla="*/ 2147483647 w 43"/>
                    <a:gd name="T25" fmla="*/ 2147483647 h 76"/>
                    <a:gd name="T26" fmla="*/ 2147483647 w 43"/>
                    <a:gd name="T27" fmla="*/ 2147483647 h 76"/>
                    <a:gd name="T28" fmla="*/ 2147483647 w 43"/>
                    <a:gd name="T29" fmla="*/ 2147483647 h 76"/>
                    <a:gd name="T30" fmla="*/ 2147483647 w 43"/>
                    <a:gd name="T31" fmla="*/ 0 h 76"/>
                    <a:gd name="T32" fmla="*/ 2147483647 w 43"/>
                    <a:gd name="T33" fmla="*/ 2147483647 h 76"/>
                    <a:gd name="T34" fmla="*/ 2147483647 w 43"/>
                    <a:gd name="T35" fmla="*/ 2147483647 h 76"/>
                    <a:gd name="T36" fmla="*/ 2147483647 w 43"/>
                    <a:gd name="T37" fmla="*/ 2147483647 h 76"/>
                    <a:gd name="T38" fmla="*/ 2147483647 w 43"/>
                    <a:gd name="T39" fmla="*/ 2147483647 h 76"/>
                    <a:gd name="T40" fmla="*/ 2147483647 w 43"/>
                    <a:gd name="T41" fmla="*/ 2147483647 h 76"/>
                    <a:gd name="T42" fmla="*/ 2147483647 w 43"/>
                    <a:gd name="T43" fmla="*/ 2147483647 h 76"/>
                    <a:gd name="T44" fmla="*/ 2147483647 w 43"/>
                    <a:gd name="T45" fmla="*/ 2147483647 h 76"/>
                    <a:gd name="T46" fmla="*/ 2147483647 w 43"/>
                    <a:gd name="T47" fmla="*/ 2147483647 h 76"/>
                    <a:gd name="T48" fmla="*/ 2147483647 w 43"/>
                    <a:gd name="T49" fmla="*/ 2147483647 h 76"/>
                    <a:gd name="T50" fmla="*/ 2147483647 w 43"/>
                    <a:gd name="T51" fmla="*/ 2147483647 h 76"/>
                    <a:gd name="T52" fmla="*/ 2147483647 w 43"/>
                    <a:gd name="T53" fmla="*/ 2147483647 h 76"/>
                    <a:gd name="T54" fmla="*/ 2147483647 w 43"/>
                    <a:gd name="T55" fmla="*/ 2147483647 h 76"/>
                    <a:gd name="T56" fmla="*/ 2147483647 w 43"/>
                    <a:gd name="T57" fmla="*/ 2147483647 h 76"/>
                    <a:gd name="T58" fmla="*/ 0 w 43"/>
                    <a:gd name="T59" fmla="*/ 2147483647 h 76"/>
                    <a:gd name="T60" fmla="*/ 0 w 43"/>
                    <a:gd name="T61" fmla="*/ 2147483647 h 76"/>
                    <a:gd name="T62" fmla="*/ 0 w 43"/>
                    <a:gd name="T63" fmla="*/ 2147483647 h 76"/>
                    <a:gd name="T64" fmla="*/ 2147483647 w 43"/>
                    <a:gd name="T65" fmla="*/ 2147483647 h 76"/>
                    <a:gd name="T66" fmla="*/ 2147483647 w 43"/>
                    <a:gd name="T67" fmla="*/ 2147483647 h 76"/>
                    <a:gd name="T68" fmla="*/ 2147483647 w 43"/>
                    <a:gd name="T69" fmla="*/ 2147483647 h 76"/>
                    <a:gd name="T70" fmla="*/ 2147483647 w 43"/>
                    <a:gd name="T71" fmla="*/ 2147483647 h 76"/>
                    <a:gd name="T72" fmla="*/ 2147483647 w 43"/>
                    <a:gd name="T73" fmla="*/ 2147483647 h 76"/>
                    <a:gd name="T74" fmla="*/ 2147483647 w 43"/>
                    <a:gd name="T75" fmla="*/ 2147483647 h 76"/>
                    <a:gd name="T76" fmla="*/ 2147483647 w 43"/>
                    <a:gd name="T77" fmla="*/ 2147483647 h 76"/>
                    <a:gd name="T78" fmla="*/ 2147483647 w 43"/>
                    <a:gd name="T79" fmla="*/ 2147483647 h 76"/>
                    <a:gd name="T80" fmla="*/ 2147483647 w 43"/>
                    <a:gd name="T81" fmla="*/ 2147483647 h 76"/>
                    <a:gd name="T82" fmla="*/ 2147483647 w 43"/>
                    <a:gd name="T83" fmla="*/ 2147483647 h 76"/>
                    <a:gd name="T84" fmla="*/ 2147483647 w 43"/>
                    <a:gd name="T85" fmla="*/ 2147483647 h 76"/>
                    <a:gd name="T86" fmla="*/ 2147483647 w 43"/>
                    <a:gd name="T87" fmla="*/ 2147483647 h 76"/>
                    <a:gd name="T88" fmla="*/ 2147483647 w 43"/>
                    <a:gd name="T89" fmla="*/ 2147483647 h 76"/>
                    <a:gd name="T90" fmla="*/ 2147483647 w 43"/>
                    <a:gd name="T91" fmla="*/ 2147483647 h 76"/>
                    <a:gd name="T92" fmla="*/ 2147483647 w 43"/>
                    <a:gd name="T93" fmla="*/ 2147483647 h 76"/>
                    <a:gd name="T94" fmla="*/ 2147483647 w 43"/>
                    <a:gd name="T95" fmla="*/ 2147483647 h 76"/>
                    <a:gd name="T96" fmla="*/ 2147483647 w 43"/>
                    <a:gd name="T97" fmla="*/ 2147483647 h 76"/>
                    <a:gd name="T98" fmla="*/ 2147483647 w 43"/>
                    <a:gd name="T99" fmla="*/ 2147483647 h 76"/>
                    <a:gd name="T100" fmla="*/ 2147483647 w 43"/>
                    <a:gd name="T101" fmla="*/ 2147483647 h 76"/>
                    <a:gd name="T102" fmla="*/ 2147483647 w 43"/>
                    <a:gd name="T103" fmla="*/ 2147483647 h 76"/>
                    <a:gd name="T104" fmla="*/ 2147483647 w 43"/>
                    <a:gd name="T105" fmla="*/ 2147483647 h 76"/>
                    <a:gd name="T106" fmla="*/ 2147483647 w 43"/>
                    <a:gd name="T107" fmla="*/ 2147483647 h 76"/>
                    <a:gd name="T108" fmla="*/ 2147483647 w 43"/>
                    <a:gd name="T109" fmla="*/ 2147483647 h 76"/>
                    <a:gd name="T110" fmla="*/ 2147483647 w 43"/>
                    <a:gd name="T111" fmla="*/ 2147483647 h 7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3"/>
                    <a:gd name="T169" fmla="*/ 0 h 76"/>
                    <a:gd name="T170" fmla="*/ 43 w 43"/>
                    <a:gd name="T171" fmla="*/ 76 h 7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3" h="76">
                      <a:moveTo>
                        <a:pt x="42" y="46"/>
                      </a:moveTo>
                      <a:lnTo>
                        <a:pt x="42" y="46"/>
                      </a:lnTo>
                      <a:lnTo>
                        <a:pt x="37" y="41"/>
                      </a:lnTo>
                      <a:lnTo>
                        <a:pt x="33" y="33"/>
                      </a:lnTo>
                      <a:lnTo>
                        <a:pt x="26" y="20"/>
                      </a:lnTo>
                      <a:lnTo>
                        <a:pt x="25" y="18"/>
                      </a:lnTo>
                      <a:lnTo>
                        <a:pt x="23" y="17"/>
                      </a:lnTo>
                      <a:lnTo>
                        <a:pt x="19" y="13"/>
                      </a:lnTo>
                      <a:lnTo>
                        <a:pt x="18" y="12"/>
                      </a:lnTo>
                      <a:lnTo>
                        <a:pt x="18" y="10"/>
                      </a:lnTo>
                      <a:lnTo>
                        <a:pt x="16" y="5"/>
                      </a:lnTo>
                      <a:lnTo>
                        <a:pt x="12" y="1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9" y="4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0" y="10"/>
                      </a:lnTo>
                      <a:lnTo>
                        <a:pt x="6" y="13"/>
                      </a:lnTo>
                      <a:lnTo>
                        <a:pt x="5" y="18"/>
                      </a:lnTo>
                      <a:lnTo>
                        <a:pt x="4" y="19"/>
                      </a:lnTo>
                      <a:lnTo>
                        <a:pt x="2" y="20"/>
                      </a:lnTo>
                      <a:lnTo>
                        <a:pt x="1" y="22"/>
                      </a:lnTo>
                      <a:lnTo>
                        <a:pt x="0" y="24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1" y="42"/>
                      </a:lnTo>
                      <a:lnTo>
                        <a:pt x="1" y="48"/>
                      </a:lnTo>
                      <a:lnTo>
                        <a:pt x="1" y="52"/>
                      </a:lnTo>
                      <a:lnTo>
                        <a:pt x="1" y="58"/>
                      </a:lnTo>
                      <a:lnTo>
                        <a:pt x="2" y="63"/>
                      </a:lnTo>
                      <a:lnTo>
                        <a:pt x="5" y="69"/>
                      </a:lnTo>
                      <a:lnTo>
                        <a:pt x="7" y="73"/>
                      </a:lnTo>
                      <a:lnTo>
                        <a:pt x="11" y="76"/>
                      </a:lnTo>
                      <a:lnTo>
                        <a:pt x="15" y="76"/>
                      </a:lnTo>
                      <a:lnTo>
                        <a:pt x="21" y="75"/>
                      </a:lnTo>
                      <a:lnTo>
                        <a:pt x="25" y="73"/>
                      </a:lnTo>
                      <a:lnTo>
                        <a:pt x="29" y="69"/>
                      </a:lnTo>
                      <a:lnTo>
                        <a:pt x="32" y="65"/>
                      </a:lnTo>
                      <a:lnTo>
                        <a:pt x="37" y="62"/>
                      </a:lnTo>
                      <a:lnTo>
                        <a:pt x="39" y="58"/>
                      </a:lnTo>
                      <a:lnTo>
                        <a:pt x="42" y="54"/>
                      </a:lnTo>
                      <a:lnTo>
                        <a:pt x="43" y="50"/>
                      </a:lnTo>
                      <a:lnTo>
                        <a:pt x="42" y="48"/>
                      </a:lnTo>
                      <a:lnTo>
                        <a:pt x="42" y="4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5" name="Freeform 293">
                  <a:extLst>
                    <a:ext uri="{FF2B5EF4-FFF2-40B4-BE49-F238E27FC236}">
                      <a16:creationId xmlns:a16="http://schemas.microsoft.com/office/drawing/2014/main" id="{FBACBE99-0817-994C-9668-A5F05E4451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49197" y="4431898"/>
                  <a:ext cx="19238" cy="16278"/>
                </a:xfrm>
                <a:custGeom>
                  <a:avLst/>
                  <a:gdLst>
                    <a:gd name="T0" fmla="*/ 2147483647 w 14"/>
                    <a:gd name="T1" fmla="*/ 2147483647 h 11"/>
                    <a:gd name="T2" fmla="*/ 2147483647 w 14"/>
                    <a:gd name="T3" fmla="*/ 2147483647 h 11"/>
                    <a:gd name="T4" fmla="*/ 2147483647 w 14"/>
                    <a:gd name="T5" fmla="*/ 2147483647 h 11"/>
                    <a:gd name="T6" fmla="*/ 0 w 14"/>
                    <a:gd name="T7" fmla="*/ 2147483647 h 11"/>
                    <a:gd name="T8" fmla="*/ 2147483647 w 14"/>
                    <a:gd name="T9" fmla="*/ 2147483647 h 11"/>
                    <a:gd name="T10" fmla="*/ 2147483647 w 14"/>
                    <a:gd name="T11" fmla="*/ 2147483647 h 11"/>
                    <a:gd name="T12" fmla="*/ 2147483647 w 14"/>
                    <a:gd name="T13" fmla="*/ 0 h 11"/>
                    <a:gd name="T14" fmla="*/ 2147483647 w 14"/>
                    <a:gd name="T15" fmla="*/ 0 h 11"/>
                    <a:gd name="T16" fmla="*/ 2147483647 w 14"/>
                    <a:gd name="T17" fmla="*/ 2147483647 h 11"/>
                    <a:gd name="T18" fmla="*/ 2147483647 w 14"/>
                    <a:gd name="T19" fmla="*/ 2147483647 h 11"/>
                    <a:gd name="T20" fmla="*/ 2147483647 w 14"/>
                    <a:gd name="T21" fmla="*/ 2147483647 h 11"/>
                    <a:gd name="T22" fmla="*/ 2147483647 w 14"/>
                    <a:gd name="T23" fmla="*/ 2147483647 h 11"/>
                    <a:gd name="T24" fmla="*/ 2147483647 w 14"/>
                    <a:gd name="T25" fmla="*/ 2147483647 h 11"/>
                    <a:gd name="T26" fmla="*/ 2147483647 w 14"/>
                    <a:gd name="T27" fmla="*/ 2147483647 h 11"/>
                    <a:gd name="T28" fmla="*/ 2147483647 w 14"/>
                    <a:gd name="T29" fmla="*/ 2147483647 h 11"/>
                    <a:gd name="T30" fmla="*/ 2147483647 w 14"/>
                    <a:gd name="T31" fmla="*/ 2147483647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"/>
                    <a:gd name="T49" fmla="*/ 0 h 11"/>
                    <a:gd name="T50" fmla="*/ 14 w 14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" h="11">
                      <a:moveTo>
                        <a:pt x="5" y="8"/>
                      </a:moveTo>
                      <a:lnTo>
                        <a:pt x="2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4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2" y="2"/>
                      </a:lnTo>
                      <a:lnTo>
                        <a:pt x="14" y="5"/>
                      </a:lnTo>
                      <a:lnTo>
                        <a:pt x="14" y="6"/>
                      </a:lnTo>
                      <a:lnTo>
                        <a:pt x="14" y="9"/>
                      </a:lnTo>
                      <a:lnTo>
                        <a:pt x="12" y="11"/>
                      </a:lnTo>
                      <a:lnTo>
                        <a:pt x="10" y="11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6" name="Freeform 295">
                  <a:extLst>
                    <a:ext uri="{FF2B5EF4-FFF2-40B4-BE49-F238E27FC236}">
                      <a16:creationId xmlns:a16="http://schemas.microsoft.com/office/drawing/2014/main" id="{84DCF6D6-A1F9-5241-9B77-357A1FCF09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47715" y="4430419"/>
                  <a:ext cx="17758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2147483647 h 10"/>
                    <a:gd name="T6" fmla="*/ 2147483647 w 14"/>
                    <a:gd name="T7" fmla="*/ 2147483647 h 10"/>
                    <a:gd name="T8" fmla="*/ 0 w 14"/>
                    <a:gd name="T9" fmla="*/ 2147483647 h 10"/>
                    <a:gd name="T10" fmla="*/ 2147483647 w 14"/>
                    <a:gd name="T11" fmla="*/ 2147483647 h 10"/>
                    <a:gd name="T12" fmla="*/ 2147483647 w 14"/>
                    <a:gd name="T13" fmla="*/ 2147483647 h 10"/>
                    <a:gd name="T14" fmla="*/ 2147483647 w 14"/>
                    <a:gd name="T15" fmla="*/ 2147483647 h 10"/>
                    <a:gd name="T16" fmla="*/ 2147483647 w 14"/>
                    <a:gd name="T17" fmla="*/ 0 h 10"/>
                    <a:gd name="T18" fmla="*/ 2147483647 w 14"/>
                    <a:gd name="T19" fmla="*/ 0 h 10"/>
                    <a:gd name="T20" fmla="*/ 2147483647 w 14"/>
                    <a:gd name="T21" fmla="*/ 2147483647 h 10"/>
                    <a:gd name="T22" fmla="*/ 2147483647 w 14"/>
                    <a:gd name="T23" fmla="*/ 2147483647 h 10"/>
                    <a:gd name="T24" fmla="*/ 2147483647 w 14"/>
                    <a:gd name="T25" fmla="*/ 2147483647 h 10"/>
                    <a:gd name="T26" fmla="*/ 2147483647 w 14"/>
                    <a:gd name="T27" fmla="*/ 2147483647 h 10"/>
                    <a:gd name="T28" fmla="*/ 2147483647 w 14"/>
                    <a:gd name="T29" fmla="*/ 2147483647 h 10"/>
                    <a:gd name="T30" fmla="*/ 2147483647 w 14"/>
                    <a:gd name="T31" fmla="*/ 2147483647 h 10"/>
                    <a:gd name="T32" fmla="*/ 2147483647 w 14"/>
                    <a:gd name="T33" fmla="*/ 2147483647 h 10"/>
                    <a:gd name="T34" fmla="*/ 2147483647 w 14"/>
                    <a:gd name="T35" fmla="*/ 2147483647 h 10"/>
                    <a:gd name="T36" fmla="*/ 2147483647 w 14"/>
                    <a:gd name="T37" fmla="*/ 2147483647 h 10"/>
                    <a:gd name="T38" fmla="*/ 2147483647 w 14"/>
                    <a:gd name="T39" fmla="*/ 2147483647 h 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"/>
                    <a:gd name="T61" fmla="*/ 0 h 10"/>
                    <a:gd name="T62" fmla="*/ 14 w 14"/>
                    <a:gd name="T63" fmla="*/ 10 h 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" h="10">
                      <a:moveTo>
                        <a:pt x="6" y="8"/>
                      </a:move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2" y="7"/>
                      </a:lnTo>
                      <a:lnTo>
                        <a:pt x="0" y="4"/>
                      </a:lnTo>
                      <a:lnTo>
                        <a:pt x="2" y="3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4" y="4"/>
                      </a:lnTo>
                      <a:lnTo>
                        <a:pt x="14" y="6"/>
                      </a:lnTo>
                      <a:lnTo>
                        <a:pt x="14" y="9"/>
                      </a:lnTo>
                      <a:lnTo>
                        <a:pt x="13" y="10"/>
                      </a:lnTo>
                      <a:lnTo>
                        <a:pt x="11" y="10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7" name="Freeform 296">
                  <a:extLst>
                    <a:ext uri="{FF2B5EF4-FFF2-40B4-BE49-F238E27FC236}">
                      <a16:creationId xmlns:a16="http://schemas.microsoft.com/office/drawing/2014/main" id="{EB6F3078-9E4A-CE4B-90ED-41621084EF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1757" y="4417103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0 w 6"/>
                    <a:gd name="T9" fmla="*/ 2147483647 h 6"/>
                    <a:gd name="T10" fmla="*/ 0 w 6"/>
                    <a:gd name="T11" fmla="*/ 2147483647 h 6"/>
                    <a:gd name="T12" fmla="*/ 0 w 6"/>
                    <a:gd name="T13" fmla="*/ 2147483647 h 6"/>
                    <a:gd name="T14" fmla="*/ 2147483647 w 6"/>
                    <a:gd name="T15" fmla="*/ 0 h 6"/>
                    <a:gd name="T16" fmla="*/ 2147483647 w 6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"/>
                    <a:gd name="T28" fmla="*/ 0 h 6"/>
                    <a:gd name="T29" fmla="*/ 6 w 6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" h="6">
                      <a:moveTo>
                        <a:pt x="5" y="3"/>
                      </a:moveTo>
                      <a:lnTo>
                        <a:pt x="6" y="4"/>
                      </a:lnTo>
                      <a:lnTo>
                        <a:pt x="5" y="5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8" name="Freeform 297">
                  <a:extLst>
                    <a:ext uri="{FF2B5EF4-FFF2-40B4-BE49-F238E27FC236}">
                      <a16:creationId xmlns:a16="http://schemas.microsoft.com/office/drawing/2014/main" id="{1BBBF018-B06A-A64D-8943-974F1F44FE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6867" y="4294269"/>
                  <a:ext cx="17758" cy="26638"/>
                </a:xfrm>
                <a:custGeom>
                  <a:avLst/>
                  <a:gdLst>
                    <a:gd name="T0" fmla="*/ 2147483647 w 13"/>
                    <a:gd name="T1" fmla="*/ 2147483647 h 18"/>
                    <a:gd name="T2" fmla="*/ 2147483647 w 13"/>
                    <a:gd name="T3" fmla="*/ 2147483647 h 18"/>
                    <a:gd name="T4" fmla="*/ 2147483647 w 13"/>
                    <a:gd name="T5" fmla="*/ 2147483647 h 18"/>
                    <a:gd name="T6" fmla="*/ 2147483647 w 13"/>
                    <a:gd name="T7" fmla="*/ 2147483647 h 18"/>
                    <a:gd name="T8" fmla="*/ 2147483647 w 13"/>
                    <a:gd name="T9" fmla="*/ 2147483647 h 18"/>
                    <a:gd name="T10" fmla="*/ 2147483647 w 13"/>
                    <a:gd name="T11" fmla="*/ 2147483647 h 18"/>
                    <a:gd name="T12" fmla="*/ 2147483647 w 13"/>
                    <a:gd name="T13" fmla="*/ 2147483647 h 18"/>
                    <a:gd name="T14" fmla="*/ 2147483647 w 13"/>
                    <a:gd name="T15" fmla="*/ 2147483647 h 18"/>
                    <a:gd name="T16" fmla="*/ 0 w 13"/>
                    <a:gd name="T17" fmla="*/ 2147483647 h 18"/>
                    <a:gd name="T18" fmla="*/ 2147483647 w 13"/>
                    <a:gd name="T19" fmla="*/ 2147483647 h 18"/>
                    <a:gd name="T20" fmla="*/ 2147483647 w 13"/>
                    <a:gd name="T21" fmla="*/ 2147483647 h 18"/>
                    <a:gd name="T22" fmla="*/ 2147483647 w 13"/>
                    <a:gd name="T23" fmla="*/ 0 h 18"/>
                    <a:gd name="T24" fmla="*/ 2147483647 w 13"/>
                    <a:gd name="T25" fmla="*/ 2147483647 h 18"/>
                    <a:gd name="T26" fmla="*/ 2147483647 w 13"/>
                    <a:gd name="T27" fmla="*/ 2147483647 h 1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18"/>
                    <a:gd name="T44" fmla="*/ 13 w 13"/>
                    <a:gd name="T45" fmla="*/ 18 h 1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18">
                      <a:moveTo>
                        <a:pt x="13" y="8"/>
                      </a:move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0" y="16"/>
                      </a:lnTo>
                      <a:lnTo>
                        <a:pt x="6" y="18"/>
                      </a:lnTo>
                      <a:lnTo>
                        <a:pt x="4" y="18"/>
                      </a:lnTo>
                      <a:lnTo>
                        <a:pt x="2" y="17"/>
                      </a:lnTo>
                      <a:lnTo>
                        <a:pt x="1" y="13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9" y="2"/>
                      </a:lnTo>
                      <a:lnTo>
                        <a:pt x="13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9" name="Freeform 298">
                  <a:extLst>
                    <a:ext uri="{FF2B5EF4-FFF2-40B4-BE49-F238E27FC236}">
                      <a16:creationId xmlns:a16="http://schemas.microsoft.com/office/drawing/2014/main" id="{5CD27F23-4B0F-A246-A18E-38462B186B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8794" y="4415622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2147483647 w 7"/>
                    <a:gd name="T11" fmla="*/ 2147483647 h 6"/>
                    <a:gd name="T12" fmla="*/ 0 w 7"/>
                    <a:gd name="T13" fmla="*/ 2147483647 h 6"/>
                    <a:gd name="T14" fmla="*/ 0 w 7"/>
                    <a:gd name="T15" fmla="*/ 2147483647 h 6"/>
                    <a:gd name="T16" fmla="*/ 0 w 7"/>
                    <a:gd name="T17" fmla="*/ 2147483647 h 6"/>
                    <a:gd name="T18" fmla="*/ 0 w 7"/>
                    <a:gd name="T19" fmla="*/ 2147483647 h 6"/>
                    <a:gd name="T20" fmla="*/ 2147483647 w 7"/>
                    <a:gd name="T21" fmla="*/ 0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"/>
                    <a:gd name="T40" fmla="*/ 0 h 6"/>
                    <a:gd name="T41" fmla="*/ 7 w 7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" h="6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2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0" name="Freeform 299">
                  <a:extLst>
                    <a:ext uri="{FF2B5EF4-FFF2-40B4-BE49-F238E27FC236}">
                      <a16:creationId xmlns:a16="http://schemas.microsoft.com/office/drawing/2014/main" id="{21CC8262-8B5E-A64C-BAF7-4756A68F16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5390" y="4292793"/>
                  <a:ext cx="16279" cy="26638"/>
                </a:xfrm>
                <a:custGeom>
                  <a:avLst/>
                  <a:gdLst>
                    <a:gd name="T0" fmla="*/ 2147483647 w 12"/>
                    <a:gd name="T1" fmla="*/ 2147483647 h 18"/>
                    <a:gd name="T2" fmla="*/ 2147483647 w 12"/>
                    <a:gd name="T3" fmla="*/ 2147483647 h 18"/>
                    <a:gd name="T4" fmla="*/ 2147483647 w 12"/>
                    <a:gd name="T5" fmla="*/ 2147483647 h 18"/>
                    <a:gd name="T6" fmla="*/ 2147483647 w 12"/>
                    <a:gd name="T7" fmla="*/ 2147483647 h 18"/>
                    <a:gd name="T8" fmla="*/ 2147483647 w 12"/>
                    <a:gd name="T9" fmla="*/ 2147483647 h 18"/>
                    <a:gd name="T10" fmla="*/ 2147483647 w 12"/>
                    <a:gd name="T11" fmla="*/ 2147483647 h 18"/>
                    <a:gd name="T12" fmla="*/ 2147483647 w 12"/>
                    <a:gd name="T13" fmla="*/ 2147483647 h 18"/>
                    <a:gd name="T14" fmla="*/ 2147483647 w 12"/>
                    <a:gd name="T15" fmla="*/ 2147483647 h 18"/>
                    <a:gd name="T16" fmla="*/ 2147483647 w 12"/>
                    <a:gd name="T17" fmla="*/ 2147483647 h 18"/>
                    <a:gd name="T18" fmla="*/ 2147483647 w 12"/>
                    <a:gd name="T19" fmla="*/ 2147483647 h 18"/>
                    <a:gd name="T20" fmla="*/ 0 w 12"/>
                    <a:gd name="T21" fmla="*/ 2147483647 h 18"/>
                    <a:gd name="T22" fmla="*/ 2147483647 w 12"/>
                    <a:gd name="T23" fmla="*/ 2147483647 h 18"/>
                    <a:gd name="T24" fmla="*/ 2147483647 w 12"/>
                    <a:gd name="T25" fmla="*/ 2147483647 h 18"/>
                    <a:gd name="T26" fmla="*/ 2147483647 w 12"/>
                    <a:gd name="T27" fmla="*/ 2147483647 h 18"/>
                    <a:gd name="T28" fmla="*/ 2147483647 w 12"/>
                    <a:gd name="T29" fmla="*/ 0 h 18"/>
                    <a:gd name="T30" fmla="*/ 2147483647 w 12"/>
                    <a:gd name="T31" fmla="*/ 2147483647 h 18"/>
                    <a:gd name="T32" fmla="*/ 2147483647 w 12"/>
                    <a:gd name="T33" fmla="*/ 2147483647 h 18"/>
                    <a:gd name="T34" fmla="*/ 2147483647 w 12"/>
                    <a:gd name="T35" fmla="*/ 2147483647 h 1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2"/>
                    <a:gd name="T55" fmla="*/ 0 h 18"/>
                    <a:gd name="T56" fmla="*/ 12 w 12"/>
                    <a:gd name="T57" fmla="*/ 18 h 1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2" h="18">
                      <a:moveTo>
                        <a:pt x="12" y="7"/>
                      </a:moveTo>
                      <a:lnTo>
                        <a:pt x="12" y="7"/>
                      </a:lnTo>
                      <a:lnTo>
                        <a:pt x="12" y="10"/>
                      </a:lnTo>
                      <a:lnTo>
                        <a:pt x="12" y="12"/>
                      </a:lnTo>
                      <a:lnTo>
                        <a:pt x="10" y="16"/>
                      </a:lnTo>
                      <a:lnTo>
                        <a:pt x="6" y="18"/>
                      </a:lnTo>
                      <a:lnTo>
                        <a:pt x="3" y="18"/>
                      </a:lnTo>
                      <a:lnTo>
                        <a:pt x="2" y="17"/>
                      </a:lnTo>
                      <a:lnTo>
                        <a:pt x="1" y="13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12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1" name="Freeform 300">
                  <a:extLst>
                    <a:ext uri="{FF2B5EF4-FFF2-40B4-BE49-F238E27FC236}">
                      <a16:creationId xmlns:a16="http://schemas.microsoft.com/office/drawing/2014/main" id="{8977B631-F207-2A4F-82E4-ACB4A9D66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29109" y="4317951"/>
                  <a:ext cx="17758" cy="16279"/>
                </a:xfrm>
                <a:custGeom>
                  <a:avLst/>
                  <a:gdLst>
                    <a:gd name="T0" fmla="*/ 2147483647 w 13"/>
                    <a:gd name="T1" fmla="*/ 2147483647 h 11"/>
                    <a:gd name="T2" fmla="*/ 2147483647 w 13"/>
                    <a:gd name="T3" fmla="*/ 2147483647 h 11"/>
                    <a:gd name="T4" fmla="*/ 2147483647 w 13"/>
                    <a:gd name="T5" fmla="*/ 2147483647 h 11"/>
                    <a:gd name="T6" fmla="*/ 2147483647 w 13"/>
                    <a:gd name="T7" fmla="*/ 2147483647 h 11"/>
                    <a:gd name="T8" fmla="*/ 2147483647 w 13"/>
                    <a:gd name="T9" fmla="*/ 2147483647 h 11"/>
                    <a:gd name="T10" fmla="*/ 2147483647 w 13"/>
                    <a:gd name="T11" fmla="*/ 2147483647 h 11"/>
                    <a:gd name="T12" fmla="*/ 2147483647 w 13"/>
                    <a:gd name="T13" fmla="*/ 2147483647 h 11"/>
                    <a:gd name="T14" fmla="*/ 2147483647 w 13"/>
                    <a:gd name="T15" fmla="*/ 2147483647 h 11"/>
                    <a:gd name="T16" fmla="*/ 2147483647 w 13"/>
                    <a:gd name="T17" fmla="*/ 2147483647 h 11"/>
                    <a:gd name="T18" fmla="*/ 0 w 13"/>
                    <a:gd name="T19" fmla="*/ 2147483647 h 11"/>
                    <a:gd name="T20" fmla="*/ 2147483647 w 13"/>
                    <a:gd name="T21" fmla="*/ 2147483647 h 11"/>
                    <a:gd name="T22" fmla="*/ 2147483647 w 13"/>
                    <a:gd name="T23" fmla="*/ 0 h 11"/>
                    <a:gd name="T24" fmla="*/ 2147483647 w 13"/>
                    <a:gd name="T25" fmla="*/ 0 h 11"/>
                    <a:gd name="T26" fmla="*/ 2147483647 w 13"/>
                    <a:gd name="T27" fmla="*/ 2147483647 h 11"/>
                    <a:gd name="T28" fmla="*/ 2147483647 w 13"/>
                    <a:gd name="T29" fmla="*/ 2147483647 h 1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"/>
                    <a:gd name="T46" fmla="*/ 0 h 11"/>
                    <a:gd name="T47" fmla="*/ 13 w 13"/>
                    <a:gd name="T48" fmla="*/ 11 h 1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" h="11">
                      <a:moveTo>
                        <a:pt x="9" y="2"/>
                      </a:moveTo>
                      <a:lnTo>
                        <a:pt x="12" y="3"/>
                      </a:lnTo>
                      <a:lnTo>
                        <a:pt x="13" y="6"/>
                      </a:lnTo>
                      <a:lnTo>
                        <a:pt x="13" y="7"/>
                      </a:lnTo>
                      <a:lnTo>
                        <a:pt x="12" y="9"/>
                      </a:lnTo>
                      <a:lnTo>
                        <a:pt x="10" y="11"/>
                      </a:lnTo>
                      <a:lnTo>
                        <a:pt x="8" y="11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2" name="Freeform 301">
                  <a:extLst>
                    <a:ext uri="{FF2B5EF4-FFF2-40B4-BE49-F238E27FC236}">
                      <a16:creationId xmlns:a16="http://schemas.microsoft.com/office/drawing/2014/main" id="{22725270-CE93-7B45-9359-7233F6A70D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6511" y="4275032"/>
                  <a:ext cx="10360" cy="19238"/>
                </a:xfrm>
                <a:custGeom>
                  <a:avLst/>
                  <a:gdLst>
                    <a:gd name="T0" fmla="*/ 0 w 7"/>
                    <a:gd name="T1" fmla="*/ 2147483647 h 13"/>
                    <a:gd name="T2" fmla="*/ 0 w 7"/>
                    <a:gd name="T3" fmla="*/ 2147483647 h 13"/>
                    <a:gd name="T4" fmla="*/ 2147483647 w 7"/>
                    <a:gd name="T5" fmla="*/ 0 h 13"/>
                    <a:gd name="T6" fmla="*/ 2147483647 w 7"/>
                    <a:gd name="T7" fmla="*/ 0 h 13"/>
                    <a:gd name="T8" fmla="*/ 2147483647 w 7"/>
                    <a:gd name="T9" fmla="*/ 2147483647 h 13"/>
                    <a:gd name="T10" fmla="*/ 2147483647 w 7"/>
                    <a:gd name="T11" fmla="*/ 2147483647 h 13"/>
                    <a:gd name="T12" fmla="*/ 2147483647 w 7"/>
                    <a:gd name="T13" fmla="*/ 2147483647 h 13"/>
                    <a:gd name="T14" fmla="*/ 2147483647 w 7"/>
                    <a:gd name="T15" fmla="*/ 2147483647 h 13"/>
                    <a:gd name="T16" fmla="*/ 2147483647 w 7"/>
                    <a:gd name="T17" fmla="*/ 2147483647 h 13"/>
                    <a:gd name="T18" fmla="*/ 2147483647 w 7"/>
                    <a:gd name="T19" fmla="*/ 2147483647 h 13"/>
                    <a:gd name="T20" fmla="*/ 0 w 7"/>
                    <a:gd name="T21" fmla="*/ 2147483647 h 1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13"/>
                    <a:gd name="T35" fmla="*/ 7 w 7"/>
                    <a:gd name="T36" fmla="*/ 13 h 1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13">
                      <a:moveTo>
                        <a:pt x="0" y="9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6" y="4"/>
                      </a:lnTo>
                      <a:lnTo>
                        <a:pt x="7" y="8"/>
                      </a:lnTo>
                      <a:lnTo>
                        <a:pt x="7" y="11"/>
                      </a:lnTo>
                      <a:lnTo>
                        <a:pt x="6" y="13"/>
                      </a:lnTo>
                      <a:lnTo>
                        <a:pt x="4" y="13"/>
                      </a:lnTo>
                      <a:lnTo>
                        <a:pt x="2" y="12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3" name="Freeform 302">
                  <a:extLst>
                    <a:ext uri="{FF2B5EF4-FFF2-40B4-BE49-F238E27FC236}">
                      <a16:creationId xmlns:a16="http://schemas.microsoft.com/office/drawing/2014/main" id="{7F631139-23D4-BF48-92D3-5253D91B58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27628" y="4316469"/>
                  <a:ext cx="17758" cy="14799"/>
                </a:xfrm>
                <a:custGeom>
                  <a:avLst/>
                  <a:gdLst>
                    <a:gd name="T0" fmla="*/ 2147483647 w 13"/>
                    <a:gd name="T1" fmla="*/ 2147483647 h 10"/>
                    <a:gd name="T2" fmla="*/ 2147483647 w 13"/>
                    <a:gd name="T3" fmla="*/ 2147483647 h 10"/>
                    <a:gd name="T4" fmla="*/ 2147483647 w 13"/>
                    <a:gd name="T5" fmla="*/ 2147483647 h 10"/>
                    <a:gd name="T6" fmla="*/ 2147483647 w 13"/>
                    <a:gd name="T7" fmla="*/ 2147483647 h 10"/>
                    <a:gd name="T8" fmla="*/ 2147483647 w 13"/>
                    <a:gd name="T9" fmla="*/ 2147483647 h 10"/>
                    <a:gd name="T10" fmla="*/ 2147483647 w 13"/>
                    <a:gd name="T11" fmla="*/ 2147483647 h 10"/>
                    <a:gd name="T12" fmla="*/ 2147483647 w 13"/>
                    <a:gd name="T13" fmla="*/ 2147483647 h 10"/>
                    <a:gd name="T14" fmla="*/ 2147483647 w 13"/>
                    <a:gd name="T15" fmla="*/ 2147483647 h 10"/>
                    <a:gd name="T16" fmla="*/ 2147483647 w 13"/>
                    <a:gd name="T17" fmla="*/ 2147483647 h 10"/>
                    <a:gd name="T18" fmla="*/ 2147483647 w 13"/>
                    <a:gd name="T19" fmla="*/ 2147483647 h 10"/>
                    <a:gd name="T20" fmla="*/ 2147483647 w 13"/>
                    <a:gd name="T21" fmla="*/ 2147483647 h 10"/>
                    <a:gd name="T22" fmla="*/ 2147483647 w 13"/>
                    <a:gd name="T23" fmla="*/ 2147483647 h 10"/>
                    <a:gd name="T24" fmla="*/ 0 w 13"/>
                    <a:gd name="T25" fmla="*/ 2147483647 h 10"/>
                    <a:gd name="T26" fmla="*/ 2147483647 w 13"/>
                    <a:gd name="T27" fmla="*/ 2147483647 h 10"/>
                    <a:gd name="T28" fmla="*/ 2147483647 w 13"/>
                    <a:gd name="T29" fmla="*/ 0 h 10"/>
                    <a:gd name="T30" fmla="*/ 2147483647 w 13"/>
                    <a:gd name="T31" fmla="*/ 0 h 10"/>
                    <a:gd name="T32" fmla="*/ 2147483647 w 13"/>
                    <a:gd name="T33" fmla="*/ 0 h 10"/>
                    <a:gd name="T34" fmla="*/ 2147483647 w 13"/>
                    <a:gd name="T35" fmla="*/ 2147483647 h 10"/>
                    <a:gd name="T36" fmla="*/ 2147483647 w 13"/>
                    <a:gd name="T37" fmla="*/ 2147483647 h 10"/>
                    <a:gd name="T38" fmla="*/ 2147483647 w 13"/>
                    <a:gd name="T39" fmla="*/ 2147483647 h 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3"/>
                    <a:gd name="T61" fmla="*/ 0 h 10"/>
                    <a:gd name="T62" fmla="*/ 13 w 13"/>
                    <a:gd name="T63" fmla="*/ 10 h 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3" h="10">
                      <a:moveTo>
                        <a:pt x="9" y="2"/>
                      </a:moveTo>
                      <a:lnTo>
                        <a:pt x="9" y="2"/>
                      </a:lnTo>
                      <a:lnTo>
                        <a:pt x="11" y="3"/>
                      </a:lnTo>
                      <a:lnTo>
                        <a:pt x="13" y="6"/>
                      </a:lnTo>
                      <a:lnTo>
                        <a:pt x="13" y="7"/>
                      </a:lnTo>
                      <a:lnTo>
                        <a:pt x="11" y="9"/>
                      </a:lnTo>
                      <a:lnTo>
                        <a:pt x="10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4" name="Freeform 303">
                  <a:extLst>
                    <a:ext uri="{FF2B5EF4-FFF2-40B4-BE49-F238E27FC236}">
                      <a16:creationId xmlns:a16="http://schemas.microsoft.com/office/drawing/2014/main" id="{64B2D0A5-F4AF-5545-82C6-9E955D5B41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6510" y="4273553"/>
                  <a:ext cx="8879" cy="19239"/>
                </a:xfrm>
                <a:custGeom>
                  <a:avLst/>
                  <a:gdLst>
                    <a:gd name="T0" fmla="*/ 0 w 7"/>
                    <a:gd name="T1" fmla="*/ 2147483647 h 13"/>
                    <a:gd name="T2" fmla="*/ 0 w 7"/>
                    <a:gd name="T3" fmla="*/ 2147483647 h 13"/>
                    <a:gd name="T4" fmla="*/ 0 w 7"/>
                    <a:gd name="T5" fmla="*/ 2147483647 h 13"/>
                    <a:gd name="T6" fmla="*/ 2147483647 w 7"/>
                    <a:gd name="T7" fmla="*/ 0 h 13"/>
                    <a:gd name="T8" fmla="*/ 2147483647 w 7"/>
                    <a:gd name="T9" fmla="*/ 0 h 13"/>
                    <a:gd name="T10" fmla="*/ 2147483647 w 7"/>
                    <a:gd name="T11" fmla="*/ 0 h 13"/>
                    <a:gd name="T12" fmla="*/ 2147483647 w 7"/>
                    <a:gd name="T13" fmla="*/ 0 h 13"/>
                    <a:gd name="T14" fmla="*/ 2147483647 w 7"/>
                    <a:gd name="T15" fmla="*/ 2147483647 h 13"/>
                    <a:gd name="T16" fmla="*/ 2147483647 w 7"/>
                    <a:gd name="T17" fmla="*/ 2147483647 h 13"/>
                    <a:gd name="T18" fmla="*/ 2147483647 w 7"/>
                    <a:gd name="T19" fmla="*/ 2147483647 h 13"/>
                    <a:gd name="T20" fmla="*/ 2147483647 w 7"/>
                    <a:gd name="T21" fmla="*/ 2147483647 h 13"/>
                    <a:gd name="T22" fmla="*/ 2147483647 w 7"/>
                    <a:gd name="T23" fmla="*/ 2147483647 h 13"/>
                    <a:gd name="T24" fmla="*/ 2147483647 w 7"/>
                    <a:gd name="T25" fmla="*/ 2147483647 h 13"/>
                    <a:gd name="T26" fmla="*/ 2147483647 w 7"/>
                    <a:gd name="T27" fmla="*/ 2147483647 h 13"/>
                    <a:gd name="T28" fmla="*/ 0 w 7"/>
                    <a:gd name="T29" fmla="*/ 2147483647 h 13"/>
                    <a:gd name="T30" fmla="*/ 0 w 7"/>
                    <a:gd name="T31" fmla="*/ 2147483647 h 1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"/>
                    <a:gd name="T49" fmla="*/ 0 h 13"/>
                    <a:gd name="T50" fmla="*/ 7 w 7"/>
                    <a:gd name="T51" fmla="*/ 13 h 1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" h="13">
                      <a:moveTo>
                        <a:pt x="0" y="9"/>
                      </a:moveTo>
                      <a:lnTo>
                        <a:pt x="0" y="9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4"/>
                      </a:lnTo>
                      <a:lnTo>
                        <a:pt x="7" y="7"/>
                      </a:lnTo>
                      <a:lnTo>
                        <a:pt x="7" y="11"/>
                      </a:lnTo>
                      <a:lnTo>
                        <a:pt x="5" y="13"/>
                      </a:lnTo>
                      <a:lnTo>
                        <a:pt x="4" y="13"/>
                      </a:lnTo>
                      <a:lnTo>
                        <a:pt x="1" y="12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5" name="Freeform 304">
                  <a:extLst>
                    <a:ext uri="{FF2B5EF4-FFF2-40B4-BE49-F238E27FC236}">
                      <a16:creationId xmlns:a16="http://schemas.microsoft.com/office/drawing/2014/main" id="{F47CABB9-3C09-E34B-B54C-6C6E788A51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72243" y="4280951"/>
                  <a:ext cx="56235" cy="87312"/>
                </a:xfrm>
                <a:custGeom>
                  <a:avLst/>
                  <a:gdLst>
                    <a:gd name="T0" fmla="*/ 2147483647 w 41"/>
                    <a:gd name="T1" fmla="*/ 2147483647 h 59"/>
                    <a:gd name="T2" fmla="*/ 2147483647 w 41"/>
                    <a:gd name="T3" fmla="*/ 2147483647 h 59"/>
                    <a:gd name="T4" fmla="*/ 2147483647 w 41"/>
                    <a:gd name="T5" fmla="*/ 0 h 59"/>
                    <a:gd name="T6" fmla="*/ 2147483647 w 41"/>
                    <a:gd name="T7" fmla="*/ 2147483647 h 59"/>
                    <a:gd name="T8" fmla="*/ 2147483647 w 41"/>
                    <a:gd name="T9" fmla="*/ 2147483647 h 59"/>
                    <a:gd name="T10" fmla="*/ 2147483647 w 41"/>
                    <a:gd name="T11" fmla="*/ 2147483647 h 59"/>
                    <a:gd name="T12" fmla="*/ 2147483647 w 41"/>
                    <a:gd name="T13" fmla="*/ 2147483647 h 59"/>
                    <a:gd name="T14" fmla="*/ 2147483647 w 41"/>
                    <a:gd name="T15" fmla="*/ 2147483647 h 59"/>
                    <a:gd name="T16" fmla="*/ 2147483647 w 41"/>
                    <a:gd name="T17" fmla="*/ 2147483647 h 59"/>
                    <a:gd name="T18" fmla="*/ 2147483647 w 41"/>
                    <a:gd name="T19" fmla="*/ 2147483647 h 59"/>
                    <a:gd name="T20" fmla="*/ 2147483647 w 41"/>
                    <a:gd name="T21" fmla="*/ 2147483647 h 59"/>
                    <a:gd name="T22" fmla="*/ 2147483647 w 41"/>
                    <a:gd name="T23" fmla="*/ 2147483647 h 59"/>
                    <a:gd name="T24" fmla="*/ 2147483647 w 41"/>
                    <a:gd name="T25" fmla="*/ 2147483647 h 59"/>
                    <a:gd name="T26" fmla="*/ 0 w 41"/>
                    <a:gd name="T27" fmla="*/ 2147483647 h 59"/>
                    <a:gd name="T28" fmla="*/ 0 w 41"/>
                    <a:gd name="T29" fmla="*/ 2147483647 h 59"/>
                    <a:gd name="T30" fmla="*/ 2147483647 w 41"/>
                    <a:gd name="T31" fmla="*/ 2147483647 h 59"/>
                    <a:gd name="T32" fmla="*/ 2147483647 w 41"/>
                    <a:gd name="T33" fmla="*/ 2147483647 h 59"/>
                    <a:gd name="T34" fmla="*/ 2147483647 w 41"/>
                    <a:gd name="T35" fmla="*/ 2147483647 h 59"/>
                    <a:gd name="T36" fmla="*/ 2147483647 w 41"/>
                    <a:gd name="T37" fmla="*/ 2147483647 h 59"/>
                    <a:gd name="T38" fmla="*/ 2147483647 w 41"/>
                    <a:gd name="T39" fmla="*/ 2147483647 h 59"/>
                    <a:gd name="T40" fmla="*/ 2147483647 w 41"/>
                    <a:gd name="T41" fmla="*/ 2147483647 h 59"/>
                    <a:gd name="T42" fmla="*/ 2147483647 w 41"/>
                    <a:gd name="T43" fmla="*/ 2147483647 h 59"/>
                    <a:gd name="T44" fmla="*/ 2147483647 w 41"/>
                    <a:gd name="T45" fmla="*/ 2147483647 h 59"/>
                    <a:gd name="T46" fmla="*/ 2147483647 w 41"/>
                    <a:gd name="T47" fmla="*/ 2147483647 h 59"/>
                    <a:gd name="T48" fmla="*/ 2147483647 w 41"/>
                    <a:gd name="T49" fmla="*/ 2147483647 h 59"/>
                    <a:gd name="T50" fmla="*/ 2147483647 w 41"/>
                    <a:gd name="T51" fmla="*/ 2147483647 h 5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41"/>
                    <a:gd name="T79" fmla="*/ 0 h 59"/>
                    <a:gd name="T80" fmla="*/ 41 w 41"/>
                    <a:gd name="T81" fmla="*/ 59 h 59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41" h="59">
                      <a:moveTo>
                        <a:pt x="40" y="5"/>
                      </a:moveTo>
                      <a:lnTo>
                        <a:pt x="39" y="2"/>
                      </a:lnTo>
                      <a:lnTo>
                        <a:pt x="38" y="0"/>
                      </a:lnTo>
                      <a:lnTo>
                        <a:pt x="34" y="5"/>
                      </a:lnTo>
                      <a:lnTo>
                        <a:pt x="31" y="8"/>
                      </a:lnTo>
                      <a:lnTo>
                        <a:pt x="30" y="11"/>
                      </a:lnTo>
                      <a:lnTo>
                        <a:pt x="29" y="18"/>
                      </a:lnTo>
                      <a:lnTo>
                        <a:pt x="28" y="20"/>
                      </a:lnTo>
                      <a:lnTo>
                        <a:pt x="25" y="22"/>
                      </a:lnTo>
                      <a:lnTo>
                        <a:pt x="24" y="27"/>
                      </a:lnTo>
                      <a:lnTo>
                        <a:pt x="17" y="34"/>
                      </a:lnTo>
                      <a:lnTo>
                        <a:pt x="11" y="41"/>
                      </a:lnTo>
                      <a:lnTo>
                        <a:pt x="1" y="53"/>
                      </a:lnTo>
                      <a:lnTo>
                        <a:pt x="0" y="57"/>
                      </a:lnTo>
                      <a:lnTo>
                        <a:pt x="0" y="58"/>
                      </a:lnTo>
                      <a:lnTo>
                        <a:pt x="1" y="59"/>
                      </a:lnTo>
                      <a:lnTo>
                        <a:pt x="6" y="58"/>
                      </a:lnTo>
                      <a:lnTo>
                        <a:pt x="11" y="57"/>
                      </a:lnTo>
                      <a:lnTo>
                        <a:pt x="15" y="53"/>
                      </a:lnTo>
                      <a:lnTo>
                        <a:pt x="17" y="50"/>
                      </a:lnTo>
                      <a:lnTo>
                        <a:pt x="29" y="32"/>
                      </a:lnTo>
                      <a:lnTo>
                        <a:pt x="34" y="25"/>
                      </a:lnTo>
                      <a:lnTo>
                        <a:pt x="38" y="18"/>
                      </a:lnTo>
                      <a:lnTo>
                        <a:pt x="40" y="12"/>
                      </a:lnTo>
                      <a:lnTo>
                        <a:pt x="41" y="8"/>
                      </a:lnTo>
                      <a:lnTo>
                        <a:pt x="40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6" name="Freeform 305">
                  <a:extLst>
                    <a:ext uri="{FF2B5EF4-FFF2-40B4-BE49-F238E27FC236}">
                      <a16:creationId xmlns:a16="http://schemas.microsoft.com/office/drawing/2014/main" id="{FF37F10A-8C4E-FF41-9864-BF3EC334DA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8794" y="4337186"/>
                  <a:ext cx="115430" cy="116909"/>
                </a:xfrm>
                <a:custGeom>
                  <a:avLst/>
                  <a:gdLst>
                    <a:gd name="T0" fmla="*/ 2147483647 w 85"/>
                    <a:gd name="T1" fmla="*/ 2147483647 h 79"/>
                    <a:gd name="T2" fmla="*/ 2147483647 w 85"/>
                    <a:gd name="T3" fmla="*/ 2147483647 h 79"/>
                    <a:gd name="T4" fmla="*/ 2147483647 w 85"/>
                    <a:gd name="T5" fmla="*/ 2147483647 h 79"/>
                    <a:gd name="T6" fmla="*/ 2147483647 w 85"/>
                    <a:gd name="T7" fmla="*/ 2147483647 h 79"/>
                    <a:gd name="T8" fmla="*/ 2147483647 w 85"/>
                    <a:gd name="T9" fmla="*/ 2147483647 h 79"/>
                    <a:gd name="T10" fmla="*/ 2147483647 w 85"/>
                    <a:gd name="T11" fmla="*/ 2147483647 h 79"/>
                    <a:gd name="T12" fmla="*/ 2147483647 w 85"/>
                    <a:gd name="T13" fmla="*/ 2147483647 h 79"/>
                    <a:gd name="T14" fmla="*/ 2147483647 w 85"/>
                    <a:gd name="T15" fmla="*/ 2147483647 h 79"/>
                    <a:gd name="T16" fmla="*/ 2147483647 w 85"/>
                    <a:gd name="T17" fmla="*/ 2147483647 h 79"/>
                    <a:gd name="T18" fmla="*/ 2147483647 w 85"/>
                    <a:gd name="T19" fmla="*/ 2147483647 h 79"/>
                    <a:gd name="T20" fmla="*/ 2147483647 w 85"/>
                    <a:gd name="T21" fmla="*/ 2147483647 h 79"/>
                    <a:gd name="T22" fmla="*/ 2147483647 w 85"/>
                    <a:gd name="T23" fmla="*/ 2147483647 h 79"/>
                    <a:gd name="T24" fmla="*/ 2147483647 w 85"/>
                    <a:gd name="T25" fmla="*/ 2147483647 h 79"/>
                    <a:gd name="T26" fmla="*/ 2147483647 w 85"/>
                    <a:gd name="T27" fmla="*/ 2147483647 h 79"/>
                    <a:gd name="T28" fmla="*/ 2147483647 w 85"/>
                    <a:gd name="T29" fmla="*/ 2147483647 h 79"/>
                    <a:gd name="T30" fmla="*/ 2147483647 w 85"/>
                    <a:gd name="T31" fmla="*/ 2147483647 h 79"/>
                    <a:gd name="T32" fmla="*/ 2147483647 w 85"/>
                    <a:gd name="T33" fmla="*/ 2147483647 h 79"/>
                    <a:gd name="T34" fmla="*/ 2147483647 w 85"/>
                    <a:gd name="T35" fmla="*/ 2147483647 h 79"/>
                    <a:gd name="T36" fmla="*/ 2147483647 w 85"/>
                    <a:gd name="T37" fmla="*/ 2147483647 h 79"/>
                    <a:gd name="T38" fmla="*/ 2147483647 w 85"/>
                    <a:gd name="T39" fmla="*/ 2147483647 h 79"/>
                    <a:gd name="T40" fmla="*/ 2147483647 w 85"/>
                    <a:gd name="T41" fmla="*/ 2147483647 h 79"/>
                    <a:gd name="T42" fmla="*/ 2147483647 w 85"/>
                    <a:gd name="T43" fmla="*/ 2147483647 h 79"/>
                    <a:gd name="T44" fmla="*/ 2147483647 w 85"/>
                    <a:gd name="T45" fmla="*/ 2147483647 h 79"/>
                    <a:gd name="T46" fmla="*/ 2147483647 w 85"/>
                    <a:gd name="T47" fmla="*/ 2147483647 h 79"/>
                    <a:gd name="T48" fmla="*/ 2147483647 w 85"/>
                    <a:gd name="T49" fmla="*/ 2147483647 h 79"/>
                    <a:gd name="T50" fmla="*/ 2147483647 w 85"/>
                    <a:gd name="T51" fmla="*/ 2147483647 h 79"/>
                    <a:gd name="T52" fmla="*/ 2147483647 w 85"/>
                    <a:gd name="T53" fmla="*/ 2147483647 h 79"/>
                    <a:gd name="T54" fmla="*/ 2147483647 w 85"/>
                    <a:gd name="T55" fmla="*/ 2147483647 h 79"/>
                    <a:gd name="T56" fmla="*/ 0 w 85"/>
                    <a:gd name="T57" fmla="*/ 2147483647 h 79"/>
                    <a:gd name="T58" fmla="*/ 2147483647 w 85"/>
                    <a:gd name="T59" fmla="*/ 2147483647 h 79"/>
                    <a:gd name="T60" fmla="*/ 2147483647 w 85"/>
                    <a:gd name="T61" fmla="*/ 2147483647 h 79"/>
                    <a:gd name="T62" fmla="*/ 2147483647 w 85"/>
                    <a:gd name="T63" fmla="*/ 2147483647 h 79"/>
                    <a:gd name="T64" fmla="*/ 2147483647 w 85"/>
                    <a:gd name="T65" fmla="*/ 2147483647 h 79"/>
                    <a:gd name="T66" fmla="*/ 2147483647 w 85"/>
                    <a:gd name="T67" fmla="*/ 2147483647 h 79"/>
                    <a:gd name="T68" fmla="*/ 2147483647 w 85"/>
                    <a:gd name="T69" fmla="*/ 2147483647 h 79"/>
                    <a:gd name="T70" fmla="*/ 2147483647 w 85"/>
                    <a:gd name="T71" fmla="*/ 2147483647 h 79"/>
                    <a:gd name="T72" fmla="*/ 2147483647 w 85"/>
                    <a:gd name="T73" fmla="*/ 2147483647 h 79"/>
                    <a:gd name="T74" fmla="*/ 2147483647 w 85"/>
                    <a:gd name="T75" fmla="*/ 2147483647 h 79"/>
                    <a:gd name="T76" fmla="*/ 2147483647 w 85"/>
                    <a:gd name="T77" fmla="*/ 2147483647 h 79"/>
                    <a:gd name="T78" fmla="*/ 2147483647 w 85"/>
                    <a:gd name="T79" fmla="*/ 2147483647 h 79"/>
                    <a:gd name="T80" fmla="*/ 2147483647 w 85"/>
                    <a:gd name="T81" fmla="*/ 2147483647 h 79"/>
                    <a:gd name="T82" fmla="*/ 2147483647 w 85"/>
                    <a:gd name="T83" fmla="*/ 2147483647 h 79"/>
                    <a:gd name="T84" fmla="*/ 2147483647 w 85"/>
                    <a:gd name="T85" fmla="*/ 2147483647 h 79"/>
                    <a:gd name="T86" fmla="*/ 2147483647 w 85"/>
                    <a:gd name="T87" fmla="*/ 0 h 79"/>
                    <a:gd name="T88" fmla="*/ 2147483647 w 85"/>
                    <a:gd name="T89" fmla="*/ 0 h 79"/>
                    <a:gd name="T90" fmla="*/ 2147483647 w 85"/>
                    <a:gd name="T91" fmla="*/ 2147483647 h 79"/>
                    <a:gd name="T92" fmla="*/ 2147483647 w 85"/>
                    <a:gd name="T93" fmla="*/ 2147483647 h 79"/>
                    <a:gd name="T94" fmla="*/ 2147483647 w 85"/>
                    <a:gd name="T95" fmla="*/ 2147483647 h 79"/>
                    <a:gd name="T96" fmla="*/ 2147483647 w 85"/>
                    <a:gd name="T97" fmla="*/ 2147483647 h 79"/>
                    <a:gd name="T98" fmla="*/ 2147483647 w 85"/>
                    <a:gd name="T99" fmla="*/ 2147483647 h 79"/>
                    <a:gd name="T100" fmla="*/ 2147483647 w 85"/>
                    <a:gd name="T101" fmla="*/ 2147483647 h 79"/>
                    <a:gd name="T102" fmla="*/ 2147483647 w 85"/>
                    <a:gd name="T103" fmla="*/ 2147483647 h 79"/>
                    <a:gd name="T104" fmla="*/ 2147483647 w 85"/>
                    <a:gd name="T105" fmla="*/ 2147483647 h 79"/>
                    <a:gd name="T106" fmla="*/ 2147483647 w 85"/>
                    <a:gd name="T107" fmla="*/ 2147483647 h 79"/>
                    <a:gd name="T108" fmla="*/ 2147483647 w 85"/>
                    <a:gd name="T109" fmla="*/ 2147483647 h 79"/>
                    <a:gd name="T110" fmla="*/ 2147483647 w 85"/>
                    <a:gd name="T111" fmla="*/ 2147483647 h 79"/>
                    <a:gd name="T112" fmla="*/ 2147483647 w 85"/>
                    <a:gd name="T113" fmla="*/ 2147483647 h 79"/>
                    <a:gd name="T114" fmla="*/ 2147483647 w 85"/>
                    <a:gd name="T115" fmla="*/ 2147483647 h 79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5"/>
                    <a:gd name="T175" fmla="*/ 0 h 79"/>
                    <a:gd name="T176" fmla="*/ 85 w 85"/>
                    <a:gd name="T177" fmla="*/ 79 h 79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5" h="79">
                      <a:moveTo>
                        <a:pt x="70" y="54"/>
                      </a:moveTo>
                      <a:lnTo>
                        <a:pt x="69" y="53"/>
                      </a:lnTo>
                      <a:lnTo>
                        <a:pt x="69" y="50"/>
                      </a:lnTo>
                      <a:lnTo>
                        <a:pt x="68" y="48"/>
                      </a:lnTo>
                      <a:lnTo>
                        <a:pt x="66" y="47"/>
                      </a:lnTo>
                      <a:lnTo>
                        <a:pt x="64" y="50"/>
                      </a:lnTo>
                      <a:lnTo>
                        <a:pt x="63" y="53"/>
                      </a:lnTo>
                      <a:lnTo>
                        <a:pt x="61" y="56"/>
                      </a:lnTo>
                      <a:lnTo>
                        <a:pt x="63" y="59"/>
                      </a:lnTo>
                      <a:lnTo>
                        <a:pt x="65" y="66"/>
                      </a:lnTo>
                      <a:lnTo>
                        <a:pt x="68" y="72"/>
                      </a:lnTo>
                      <a:lnTo>
                        <a:pt x="68" y="75"/>
                      </a:lnTo>
                      <a:lnTo>
                        <a:pt x="68" y="76"/>
                      </a:lnTo>
                      <a:lnTo>
                        <a:pt x="64" y="79"/>
                      </a:lnTo>
                      <a:lnTo>
                        <a:pt x="61" y="79"/>
                      </a:lnTo>
                      <a:lnTo>
                        <a:pt x="60" y="78"/>
                      </a:lnTo>
                      <a:lnTo>
                        <a:pt x="59" y="77"/>
                      </a:lnTo>
                      <a:lnTo>
                        <a:pt x="60" y="75"/>
                      </a:lnTo>
                      <a:lnTo>
                        <a:pt x="61" y="71"/>
                      </a:lnTo>
                      <a:lnTo>
                        <a:pt x="61" y="70"/>
                      </a:lnTo>
                      <a:lnTo>
                        <a:pt x="60" y="67"/>
                      </a:lnTo>
                      <a:lnTo>
                        <a:pt x="59" y="66"/>
                      </a:lnTo>
                      <a:lnTo>
                        <a:pt x="57" y="66"/>
                      </a:lnTo>
                      <a:lnTo>
                        <a:pt x="51" y="67"/>
                      </a:lnTo>
                      <a:lnTo>
                        <a:pt x="47" y="67"/>
                      </a:lnTo>
                      <a:lnTo>
                        <a:pt x="45" y="66"/>
                      </a:lnTo>
                      <a:lnTo>
                        <a:pt x="40" y="62"/>
                      </a:lnTo>
                      <a:lnTo>
                        <a:pt x="36" y="54"/>
                      </a:lnTo>
                      <a:lnTo>
                        <a:pt x="36" y="51"/>
                      </a:lnTo>
                      <a:lnTo>
                        <a:pt x="36" y="46"/>
                      </a:lnTo>
                      <a:lnTo>
                        <a:pt x="37" y="43"/>
                      </a:lnTo>
                      <a:lnTo>
                        <a:pt x="40" y="39"/>
                      </a:lnTo>
                      <a:lnTo>
                        <a:pt x="40" y="37"/>
                      </a:lnTo>
                      <a:lnTo>
                        <a:pt x="38" y="34"/>
                      </a:lnTo>
                      <a:lnTo>
                        <a:pt x="37" y="33"/>
                      </a:lnTo>
                      <a:lnTo>
                        <a:pt x="35" y="33"/>
                      </a:lnTo>
                      <a:lnTo>
                        <a:pt x="32" y="34"/>
                      </a:lnTo>
                      <a:lnTo>
                        <a:pt x="32" y="37"/>
                      </a:lnTo>
                      <a:lnTo>
                        <a:pt x="32" y="39"/>
                      </a:lnTo>
                      <a:lnTo>
                        <a:pt x="31" y="40"/>
                      </a:lnTo>
                      <a:lnTo>
                        <a:pt x="27" y="43"/>
                      </a:lnTo>
                      <a:lnTo>
                        <a:pt x="26" y="43"/>
                      </a:lnTo>
                      <a:lnTo>
                        <a:pt x="24" y="43"/>
                      </a:lnTo>
                      <a:lnTo>
                        <a:pt x="22" y="39"/>
                      </a:lnTo>
                      <a:lnTo>
                        <a:pt x="21" y="35"/>
                      </a:lnTo>
                      <a:lnTo>
                        <a:pt x="19" y="32"/>
                      </a:lnTo>
                      <a:lnTo>
                        <a:pt x="18" y="32"/>
                      </a:lnTo>
                      <a:lnTo>
                        <a:pt x="16" y="32"/>
                      </a:lnTo>
                      <a:lnTo>
                        <a:pt x="13" y="33"/>
                      </a:lnTo>
                      <a:lnTo>
                        <a:pt x="12" y="34"/>
                      </a:lnTo>
                      <a:lnTo>
                        <a:pt x="10" y="38"/>
                      </a:lnTo>
                      <a:lnTo>
                        <a:pt x="9" y="43"/>
                      </a:lnTo>
                      <a:lnTo>
                        <a:pt x="8" y="46"/>
                      </a:lnTo>
                      <a:lnTo>
                        <a:pt x="7" y="47"/>
                      </a:lnTo>
                      <a:lnTo>
                        <a:pt x="4" y="50"/>
                      </a:lnTo>
                      <a:lnTo>
                        <a:pt x="2" y="50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39"/>
                      </a:lnTo>
                      <a:lnTo>
                        <a:pt x="5" y="30"/>
                      </a:lnTo>
                      <a:lnTo>
                        <a:pt x="7" y="27"/>
                      </a:lnTo>
                      <a:lnTo>
                        <a:pt x="8" y="26"/>
                      </a:lnTo>
                      <a:lnTo>
                        <a:pt x="13" y="26"/>
                      </a:lnTo>
                      <a:lnTo>
                        <a:pt x="18" y="26"/>
                      </a:lnTo>
                      <a:lnTo>
                        <a:pt x="21" y="25"/>
                      </a:lnTo>
                      <a:lnTo>
                        <a:pt x="23" y="24"/>
                      </a:lnTo>
                      <a:lnTo>
                        <a:pt x="23" y="21"/>
                      </a:lnTo>
                      <a:lnTo>
                        <a:pt x="23" y="20"/>
                      </a:lnTo>
                      <a:lnTo>
                        <a:pt x="24" y="19"/>
                      </a:lnTo>
                      <a:lnTo>
                        <a:pt x="32" y="18"/>
                      </a:lnTo>
                      <a:lnTo>
                        <a:pt x="35" y="16"/>
                      </a:lnTo>
                      <a:lnTo>
                        <a:pt x="36" y="19"/>
                      </a:lnTo>
                      <a:lnTo>
                        <a:pt x="38" y="24"/>
                      </a:lnTo>
                      <a:lnTo>
                        <a:pt x="40" y="26"/>
                      </a:lnTo>
                      <a:lnTo>
                        <a:pt x="41" y="26"/>
                      </a:lnTo>
                      <a:lnTo>
                        <a:pt x="43" y="25"/>
                      </a:lnTo>
                      <a:lnTo>
                        <a:pt x="45" y="22"/>
                      </a:lnTo>
                      <a:lnTo>
                        <a:pt x="46" y="19"/>
                      </a:lnTo>
                      <a:lnTo>
                        <a:pt x="49" y="15"/>
                      </a:lnTo>
                      <a:lnTo>
                        <a:pt x="50" y="15"/>
                      </a:lnTo>
                      <a:lnTo>
                        <a:pt x="52" y="16"/>
                      </a:lnTo>
                      <a:lnTo>
                        <a:pt x="55" y="16"/>
                      </a:lnTo>
                      <a:lnTo>
                        <a:pt x="57" y="12"/>
                      </a:lnTo>
                      <a:lnTo>
                        <a:pt x="60" y="11"/>
                      </a:lnTo>
                      <a:lnTo>
                        <a:pt x="63" y="11"/>
                      </a:lnTo>
                      <a:lnTo>
                        <a:pt x="64" y="5"/>
                      </a:lnTo>
                      <a:lnTo>
                        <a:pt x="65" y="2"/>
                      </a:lnTo>
                      <a:lnTo>
                        <a:pt x="66" y="0"/>
                      </a:lnTo>
                      <a:lnTo>
                        <a:pt x="68" y="0"/>
                      </a:lnTo>
                      <a:lnTo>
                        <a:pt x="69" y="0"/>
                      </a:lnTo>
                      <a:lnTo>
                        <a:pt x="70" y="3"/>
                      </a:lnTo>
                      <a:lnTo>
                        <a:pt x="71" y="5"/>
                      </a:lnTo>
                      <a:lnTo>
                        <a:pt x="73" y="6"/>
                      </a:lnTo>
                      <a:lnTo>
                        <a:pt x="78" y="8"/>
                      </a:lnTo>
                      <a:lnTo>
                        <a:pt x="77" y="12"/>
                      </a:lnTo>
                      <a:lnTo>
                        <a:pt x="77" y="14"/>
                      </a:lnTo>
                      <a:lnTo>
                        <a:pt x="79" y="19"/>
                      </a:lnTo>
                      <a:lnTo>
                        <a:pt x="79" y="21"/>
                      </a:lnTo>
                      <a:lnTo>
                        <a:pt x="78" y="22"/>
                      </a:lnTo>
                      <a:lnTo>
                        <a:pt x="74" y="25"/>
                      </a:lnTo>
                      <a:lnTo>
                        <a:pt x="73" y="27"/>
                      </a:lnTo>
                      <a:lnTo>
                        <a:pt x="75" y="27"/>
                      </a:lnTo>
                      <a:lnTo>
                        <a:pt x="79" y="28"/>
                      </a:lnTo>
                      <a:lnTo>
                        <a:pt x="80" y="28"/>
                      </a:lnTo>
                      <a:lnTo>
                        <a:pt x="82" y="30"/>
                      </a:lnTo>
                      <a:lnTo>
                        <a:pt x="80" y="33"/>
                      </a:lnTo>
                      <a:lnTo>
                        <a:pt x="82" y="37"/>
                      </a:lnTo>
                      <a:lnTo>
                        <a:pt x="85" y="43"/>
                      </a:lnTo>
                      <a:lnTo>
                        <a:pt x="85" y="47"/>
                      </a:lnTo>
                      <a:lnTo>
                        <a:pt x="85" y="52"/>
                      </a:lnTo>
                      <a:lnTo>
                        <a:pt x="83" y="57"/>
                      </a:lnTo>
                      <a:lnTo>
                        <a:pt x="79" y="60"/>
                      </a:lnTo>
                      <a:lnTo>
                        <a:pt x="78" y="62"/>
                      </a:lnTo>
                      <a:lnTo>
                        <a:pt x="77" y="62"/>
                      </a:lnTo>
                      <a:lnTo>
                        <a:pt x="74" y="59"/>
                      </a:lnTo>
                      <a:lnTo>
                        <a:pt x="73" y="57"/>
                      </a:lnTo>
                      <a:lnTo>
                        <a:pt x="70" y="5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7" name="Freeform 306">
                  <a:extLst>
                    <a:ext uri="{FF2B5EF4-FFF2-40B4-BE49-F238E27FC236}">
                      <a16:creationId xmlns:a16="http://schemas.microsoft.com/office/drawing/2014/main" id="{557CA4DE-9670-C141-BCA2-CA99FA27F4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9283" y="4279470"/>
                  <a:ext cx="57715" cy="87313"/>
                </a:xfrm>
                <a:custGeom>
                  <a:avLst/>
                  <a:gdLst>
                    <a:gd name="T0" fmla="*/ 2147483647 w 42"/>
                    <a:gd name="T1" fmla="*/ 2147483647 h 59"/>
                    <a:gd name="T2" fmla="*/ 2147483647 w 42"/>
                    <a:gd name="T3" fmla="*/ 2147483647 h 59"/>
                    <a:gd name="T4" fmla="*/ 2147483647 w 42"/>
                    <a:gd name="T5" fmla="*/ 2147483647 h 59"/>
                    <a:gd name="T6" fmla="*/ 2147483647 w 42"/>
                    <a:gd name="T7" fmla="*/ 0 h 59"/>
                    <a:gd name="T8" fmla="*/ 2147483647 w 42"/>
                    <a:gd name="T9" fmla="*/ 0 h 59"/>
                    <a:gd name="T10" fmla="*/ 2147483647 w 42"/>
                    <a:gd name="T11" fmla="*/ 2147483647 h 59"/>
                    <a:gd name="T12" fmla="*/ 2147483647 w 42"/>
                    <a:gd name="T13" fmla="*/ 2147483647 h 59"/>
                    <a:gd name="T14" fmla="*/ 2147483647 w 42"/>
                    <a:gd name="T15" fmla="*/ 2147483647 h 59"/>
                    <a:gd name="T16" fmla="*/ 2147483647 w 42"/>
                    <a:gd name="T17" fmla="*/ 2147483647 h 59"/>
                    <a:gd name="T18" fmla="*/ 2147483647 w 42"/>
                    <a:gd name="T19" fmla="*/ 2147483647 h 59"/>
                    <a:gd name="T20" fmla="*/ 2147483647 w 42"/>
                    <a:gd name="T21" fmla="*/ 2147483647 h 59"/>
                    <a:gd name="T22" fmla="*/ 2147483647 w 42"/>
                    <a:gd name="T23" fmla="*/ 2147483647 h 59"/>
                    <a:gd name="T24" fmla="*/ 2147483647 w 42"/>
                    <a:gd name="T25" fmla="*/ 2147483647 h 59"/>
                    <a:gd name="T26" fmla="*/ 2147483647 w 42"/>
                    <a:gd name="T27" fmla="*/ 2147483647 h 59"/>
                    <a:gd name="T28" fmla="*/ 2147483647 w 42"/>
                    <a:gd name="T29" fmla="*/ 2147483647 h 59"/>
                    <a:gd name="T30" fmla="*/ 2147483647 w 42"/>
                    <a:gd name="T31" fmla="*/ 2147483647 h 59"/>
                    <a:gd name="T32" fmla="*/ 2147483647 w 42"/>
                    <a:gd name="T33" fmla="*/ 2147483647 h 59"/>
                    <a:gd name="T34" fmla="*/ 2147483647 w 42"/>
                    <a:gd name="T35" fmla="*/ 2147483647 h 59"/>
                    <a:gd name="T36" fmla="*/ 2147483647 w 42"/>
                    <a:gd name="T37" fmla="*/ 2147483647 h 59"/>
                    <a:gd name="T38" fmla="*/ 2147483647 w 42"/>
                    <a:gd name="T39" fmla="*/ 2147483647 h 59"/>
                    <a:gd name="T40" fmla="*/ 2147483647 w 42"/>
                    <a:gd name="T41" fmla="*/ 2147483647 h 59"/>
                    <a:gd name="T42" fmla="*/ 0 w 42"/>
                    <a:gd name="T43" fmla="*/ 2147483647 h 59"/>
                    <a:gd name="T44" fmla="*/ 0 w 42"/>
                    <a:gd name="T45" fmla="*/ 2147483647 h 59"/>
                    <a:gd name="T46" fmla="*/ 2147483647 w 42"/>
                    <a:gd name="T47" fmla="*/ 2147483647 h 59"/>
                    <a:gd name="T48" fmla="*/ 2147483647 w 42"/>
                    <a:gd name="T49" fmla="*/ 2147483647 h 59"/>
                    <a:gd name="T50" fmla="*/ 2147483647 w 42"/>
                    <a:gd name="T51" fmla="*/ 2147483647 h 59"/>
                    <a:gd name="T52" fmla="*/ 2147483647 w 42"/>
                    <a:gd name="T53" fmla="*/ 2147483647 h 59"/>
                    <a:gd name="T54" fmla="*/ 2147483647 w 42"/>
                    <a:gd name="T55" fmla="*/ 2147483647 h 59"/>
                    <a:gd name="T56" fmla="*/ 2147483647 w 42"/>
                    <a:gd name="T57" fmla="*/ 2147483647 h 59"/>
                    <a:gd name="T58" fmla="*/ 2147483647 w 42"/>
                    <a:gd name="T59" fmla="*/ 2147483647 h 59"/>
                    <a:gd name="T60" fmla="*/ 2147483647 w 42"/>
                    <a:gd name="T61" fmla="*/ 2147483647 h 59"/>
                    <a:gd name="T62" fmla="*/ 2147483647 w 42"/>
                    <a:gd name="T63" fmla="*/ 2147483647 h 59"/>
                    <a:gd name="T64" fmla="*/ 2147483647 w 42"/>
                    <a:gd name="T65" fmla="*/ 2147483647 h 59"/>
                    <a:gd name="T66" fmla="*/ 2147483647 w 42"/>
                    <a:gd name="T67" fmla="*/ 2147483647 h 59"/>
                    <a:gd name="T68" fmla="*/ 2147483647 w 42"/>
                    <a:gd name="T69" fmla="*/ 2147483647 h 59"/>
                    <a:gd name="T70" fmla="*/ 2147483647 w 42"/>
                    <a:gd name="T71" fmla="*/ 2147483647 h 59"/>
                    <a:gd name="T72" fmla="*/ 2147483647 w 42"/>
                    <a:gd name="T73" fmla="*/ 2147483647 h 59"/>
                    <a:gd name="T74" fmla="*/ 2147483647 w 42"/>
                    <a:gd name="T75" fmla="*/ 2147483647 h 59"/>
                    <a:gd name="T76" fmla="*/ 2147483647 w 42"/>
                    <a:gd name="T77" fmla="*/ 2147483647 h 5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42"/>
                    <a:gd name="T118" fmla="*/ 0 h 59"/>
                    <a:gd name="T119" fmla="*/ 42 w 42"/>
                    <a:gd name="T120" fmla="*/ 59 h 5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42" h="59">
                      <a:moveTo>
                        <a:pt x="41" y="5"/>
                      </a:moveTo>
                      <a:lnTo>
                        <a:pt x="41" y="5"/>
                      </a:lnTo>
                      <a:lnTo>
                        <a:pt x="40" y="2"/>
                      </a:lnTo>
                      <a:lnTo>
                        <a:pt x="38" y="0"/>
                      </a:lnTo>
                      <a:lnTo>
                        <a:pt x="35" y="5"/>
                      </a:lnTo>
                      <a:lnTo>
                        <a:pt x="32" y="8"/>
                      </a:lnTo>
                      <a:lnTo>
                        <a:pt x="31" y="10"/>
                      </a:lnTo>
                      <a:lnTo>
                        <a:pt x="30" y="18"/>
                      </a:lnTo>
                      <a:lnTo>
                        <a:pt x="28" y="20"/>
                      </a:lnTo>
                      <a:lnTo>
                        <a:pt x="26" y="22"/>
                      </a:lnTo>
                      <a:lnTo>
                        <a:pt x="24" y="27"/>
                      </a:lnTo>
                      <a:lnTo>
                        <a:pt x="18" y="34"/>
                      </a:lnTo>
                      <a:lnTo>
                        <a:pt x="12" y="41"/>
                      </a:lnTo>
                      <a:lnTo>
                        <a:pt x="2" y="53"/>
                      </a:lnTo>
                      <a:lnTo>
                        <a:pt x="0" y="57"/>
                      </a:lnTo>
                      <a:lnTo>
                        <a:pt x="0" y="58"/>
                      </a:lnTo>
                      <a:lnTo>
                        <a:pt x="2" y="59"/>
                      </a:lnTo>
                      <a:lnTo>
                        <a:pt x="7" y="58"/>
                      </a:lnTo>
                      <a:lnTo>
                        <a:pt x="12" y="57"/>
                      </a:lnTo>
                      <a:lnTo>
                        <a:pt x="16" y="53"/>
                      </a:lnTo>
                      <a:lnTo>
                        <a:pt x="18" y="50"/>
                      </a:lnTo>
                      <a:lnTo>
                        <a:pt x="30" y="32"/>
                      </a:lnTo>
                      <a:lnTo>
                        <a:pt x="35" y="25"/>
                      </a:lnTo>
                      <a:lnTo>
                        <a:pt x="38" y="18"/>
                      </a:lnTo>
                      <a:lnTo>
                        <a:pt x="41" y="12"/>
                      </a:lnTo>
                      <a:lnTo>
                        <a:pt x="42" y="8"/>
                      </a:lnTo>
                      <a:lnTo>
                        <a:pt x="4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8" name="Freeform 307">
                  <a:extLst>
                    <a:ext uri="{FF2B5EF4-FFF2-40B4-BE49-F238E27FC236}">
                      <a16:creationId xmlns:a16="http://schemas.microsoft.com/office/drawing/2014/main" id="{497BC102-DE9B-E741-8FFF-668D2D84FF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7314" y="4335708"/>
                  <a:ext cx="115430" cy="116910"/>
                </a:xfrm>
                <a:custGeom>
                  <a:avLst/>
                  <a:gdLst>
                    <a:gd name="T0" fmla="*/ 2147483647 w 85"/>
                    <a:gd name="T1" fmla="*/ 2147483647 h 79"/>
                    <a:gd name="T2" fmla="*/ 2147483647 w 85"/>
                    <a:gd name="T3" fmla="*/ 2147483647 h 79"/>
                    <a:gd name="T4" fmla="*/ 2147483647 w 85"/>
                    <a:gd name="T5" fmla="*/ 2147483647 h 79"/>
                    <a:gd name="T6" fmla="*/ 2147483647 w 85"/>
                    <a:gd name="T7" fmla="*/ 2147483647 h 79"/>
                    <a:gd name="T8" fmla="*/ 2147483647 w 85"/>
                    <a:gd name="T9" fmla="*/ 2147483647 h 79"/>
                    <a:gd name="T10" fmla="*/ 2147483647 w 85"/>
                    <a:gd name="T11" fmla="*/ 2147483647 h 79"/>
                    <a:gd name="T12" fmla="*/ 2147483647 w 85"/>
                    <a:gd name="T13" fmla="*/ 2147483647 h 79"/>
                    <a:gd name="T14" fmla="*/ 2147483647 w 85"/>
                    <a:gd name="T15" fmla="*/ 2147483647 h 79"/>
                    <a:gd name="T16" fmla="*/ 2147483647 w 85"/>
                    <a:gd name="T17" fmla="*/ 2147483647 h 79"/>
                    <a:gd name="T18" fmla="*/ 2147483647 w 85"/>
                    <a:gd name="T19" fmla="*/ 2147483647 h 79"/>
                    <a:gd name="T20" fmla="*/ 2147483647 w 85"/>
                    <a:gd name="T21" fmla="*/ 2147483647 h 79"/>
                    <a:gd name="T22" fmla="*/ 2147483647 w 85"/>
                    <a:gd name="T23" fmla="*/ 2147483647 h 79"/>
                    <a:gd name="T24" fmla="*/ 2147483647 w 85"/>
                    <a:gd name="T25" fmla="*/ 2147483647 h 79"/>
                    <a:gd name="T26" fmla="*/ 2147483647 w 85"/>
                    <a:gd name="T27" fmla="*/ 2147483647 h 79"/>
                    <a:gd name="T28" fmla="*/ 2147483647 w 85"/>
                    <a:gd name="T29" fmla="*/ 2147483647 h 79"/>
                    <a:gd name="T30" fmla="*/ 2147483647 w 85"/>
                    <a:gd name="T31" fmla="*/ 2147483647 h 79"/>
                    <a:gd name="T32" fmla="*/ 2147483647 w 85"/>
                    <a:gd name="T33" fmla="*/ 2147483647 h 79"/>
                    <a:gd name="T34" fmla="*/ 2147483647 w 85"/>
                    <a:gd name="T35" fmla="*/ 2147483647 h 79"/>
                    <a:gd name="T36" fmla="*/ 2147483647 w 85"/>
                    <a:gd name="T37" fmla="*/ 2147483647 h 79"/>
                    <a:gd name="T38" fmla="*/ 2147483647 w 85"/>
                    <a:gd name="T39" fmla="*/ 2147483647 h 79"/>
                    <a:gd name="T40" fmla="*/ 2147483647 w 85"/>
                    <a:gd name="T41" fmla="*/ 2147483647 h 79"/>
                    <a:gd name="T42" fmla="*/ 2147483647 w 85"/>
                    <a:gd name="T43" fmla="*/ 2147483647 h 79"/>
                    <a:gd name="T44" fmla="*/ 2147483647 w 85"/>
                    <a:gd name="T45" fmla="*/ 2147483647 h 79"/>
                    <a:gd name="T46" fmla="*/ 0 w 85"/>
                    <a:gd name="T47" fmla="*/ 2147483647 h 79"/>
                    <a:gd name="T48" fmla="*/ 2147483647 w 85"/>
                    <a:gd name="T49" fmla="*/ 2147483647 h 79"/>
                    <a:gd name="T50" fmla="*/ 2147483647 w 85"/>
                    <a:gd name="T51" fmla="*/ 2147483647 h 79"/>
                    <a:gd name="T52" fmla="*/ 2147483647 w 85"/>
                    <a:gd name="T53" fmla="*/ 2147483647 h 79"/>
                    <a:gd name="T54" fmla="*/ 2147483647 w 85"/>
                    <a:gd name="T55" fmla="*/ 2147483647 h 79"/>
                    <a:gd name="T56" fmla="*/ 2147483647 w 85"/>
                    <a:gd name="T57" fmla="*/ 2147483647 h 79"/>
                    <a:gd name="T58" fmla="*/ 2147483647 w 85"/>
                    <a:gd name="T59" fmla="*/ 2147483647 h 79"/>
                    <a:gd name="T60" fmla="*/ 2147483647 w 85"/>
                    <a:gd name="T61" fmla="*/ 2147483647 h 79"/>
                    <a:gd name="T62" fmla="*/ 2147483647 w 85"/>
                    <a:gd name="T63" fmla="*/ 2147483647 h 79"/>
                    <a:gd name="T64" fmla="*/ 2147483647 w 85"/>
                    <a:gd name="T65" fmla="*/ 2147483647 h 79"/>
                    <a:gd name="T66" fmla="*/ 2147483647 w 85"/>
                    <a:gd name="T67" fmla="*/ 2147483647 h 79"/>
                    <a:gd name="T68" fmla="*/ 2147483647 w 85"/>
                    <a:gd name="T69" fmla="*/ 2147483647 h 79"/>
                    <a:gd name="T70" fmla="*/ 2147483647 w 85"/>
                    <a:gd name="T71" fmla="*/ 2147483647 h 79"/>
                    <a:gd name="T72" fmla="*/ 2147483647 w 85"/>
                    <a:gd name="T73" fmla="*/ 2147483647 h 79"/>
                    <a:gd name="T74" fmla="*/ 2147483647 w 85"/>
                    <a:gd name="T75" fmla="*/ 0 h 79"/>
                    <a:gd name="T76" fmla="*/ 2147483647 w 85"/>
                    <a:gd name="T77" fmla="*/ 2147483647 h 79"/>
                    <a:gd name="T78" fmla="*/ 2147483647 w 85"/>
                    <a:gd name="T79" fmla="*/ 2147483647 h 79"/>
                    <a:gd name="T80" fmla="*/ 2147483647 w 85"/>
                    <a:gd name="T81" fmla="*/ 2147483647 h 79"/>
                    <a:gd name="T82" fmla="*/ 2147483647 w 85"/>
                    <a:gd name="T83" fmla="*/ 2147483647 h 79"/>
                    <a:gd name="T84" fmla="*/ 2147483647 w 85"/>
                    <a:gd name="T85" fmla="*/ 2147483647 h 79"/>
                    <a:gd name="T86" fmla="*/ 2147483647 w 85"/>
                    <a:gd name="T87" fmla="*/ 2147483647 h 79"/>
                    <a:gd name="T88" fmla="*/ 2147483647 w 85"/>
                    <a:gd name="T89" fmla="*/ 2147483647 h 79"/>
                    <a:gd name="T90" fmla="*/ 2147483647 w 85"/>
                    <a:gd name="T91" fmla="*/ 2147483647 h 79"/>
                    <a:gd name="T92" fmla="*/ 2147483647 w 85"/>
                    <a:gd name="T93" fmla="*/ 2147483647 h 79"/>
                    <a:gd name="T94" fmla="*/ 2147483647 w 85"/>
                    <a:gd name="T95" fmla="*/ 2147483647 h 79"/>
                    <a:gd name="T96" fmla="*/ 2147483647 w 85"/>
                    <a:gd name="T97" fmla="*/ 2147483647 h 79"/>
                    <a:gd name="T98" fmla="*/ 2147483647 w 85"/>
                    <a:gd name="T99" fmla="*/ 2147483647 h 79"/>
                    <a:gd name="T100" fmla="*/ 2147483647 w 85"/>
                    <a:gd name="T101" fmla="*/ 2147483647 h 7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85"/>
                    <a:gd name="T154" fmla="*/ 0 h 79"/>
                    <a:gd name="T155" fmla="*/ 85 w 85"/>
                    <a:gd name="T156" fmla="*/ 79 h 79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85" h="79">
                      <a:moveTo>
                        <a:pt x="70" y="54"/>
                      </a:moveTo>
                      <a:lnTo>
                        <a:pt x="70" y="54"/>
                      </a:lnTo>
                      <a:lnTo>
                        <a:pt x="69" y="53"/>
                      </a:lnTo>
                      <a:lnTo>
                        <a:pt x="69" y="49"/>
                      </a:lnTo>
                      <a:lnTo>
                        <a:pt x="67" y="48"/>
                      </a:lnTo>
                      <a:lnTo>
                        <a:pt x="66" y="47"/>
                      </a:lnTo>
                      <a:lnTo>
                        <a:pt x="64" y="49"/>
                      </a:lnTo>
                      <a:lnTo>
                        <a:pt x="62" y="53"/>
                      </a:lnTo>
                      <a:lnTo>
                        <a:pt x="61" y="55"/>
                      </a:lnTo>
                      <a:lnTo>
                        <a:pt x="62" y="59"/>
                      </a:lnTo>
                      <a:lnTo>
                        <a:pt x="65" y="66"/>
                      </a:lnTo>
                      <a:lnTo>
                        <a:pt x="67" y="72"/>
                      </a:lnTo>
                      <a:lnTo>
                        <a:pt x="67" y="74"/>
                      </a:lnTo>
                      <a:lnTo>
                        <a:pt x="67" y="76"/>
                      </a:lnTo>
                      <a:lnTo>
                        <a:pt x="64" y="79"/>
                      </a:lnTo>
                      <a:lnTo>
                        <a:pt x="61" y="79"/>
                      </a:lnTo>
                      <a:lnTo>
                        <a:pt x="60" y="78"/>
                      </a:lnTo>
                      <a:lnTo>
                        <a:pt x="58" y="77"/>
                      </a:lnTo>
                      <a:lnTo>
                        <a:pt x="60" y="74"/>
                      </a:lnTo>
                      <a:lnTo>
                        <a:pt x="61" y="71"/>
                      </a:lnTo>
                      <a:lnTo>
                        <a:pt x="61" y="70"/>
                      </a:lnTo>
                      <a:lnTo>
                        <a:pt x="60" y="67"/>
                      </a:lnTo>
                      <a:lnTo>
                        <a:pt x="58" y="66"/>
                      </a:lnTo>
                      <a:lnTo>
                        <a:pt x="57" y="66"/>
                      </a:lnTo>
                      <a:lnTo>
                        <a:pt x="51" y="67"/>
                      </a:lnTo>
                      <a:lnTo>
                        <a:pt x="47" y="67"/>
                      </a:lnTo>
                      <a:lnTo>
                        <a:pt x="44" y="66"/>
                      </a:lnTo>
                      <a:lnTo>
                        <a:pt x="39" y="61"/>
                      </a:lnTo>
                      <a:lnTo>
                        <a:pt x="36" y="54"/>
                      </a:lnTo>
                      <a:lnTo>
                        <a:pt x="36" y="51"/>
                      </a:lnTo>
                      <a:lnTo>
                        <a:pt x="36" y="46"/>
                      </a:lnTo>
                      <a:lnTo>
                        <a:pt x="37" y="42"/>
                      </a:lnTo>
                      <a:lnTo>
                        <a:pt x="39" y="39"/>
                      </a:lnTo>
                      <a:lnTo>
                        <a:pt x="39" y="36"/>
                      </a:lnTo>
                      <a:lnTo>
                        <a:pt x="38" y="34"/>
                      </a:lnTo>
                      <a:lnTo>
                        <a:pt x="37" y="33"/>
                      </a:lnTo>
                      <a:lnTo>
                        <a:pt x="34" y="33"/>
                      </a:lnTo>
                      <a:lnTo>
                        <a:pt x="32" y="34"/>
                      </a:lnTo>
                      <a:lnTo>
                        <a:pt x="32" y="36"/>
                      </a:lnTo>
                      <a:lnTo>
                        <a:pt x="32" y="39"/>
                      </a:lnTo>
                      <a:lnTo>
                        <a:pt x="31" y="40"/>
                      </a:lnTo>
                      <a:lnTo>
                        <a:pt x="27" y="42"/>
                      </a:lnTo>
                      <a:lnTo>
                        <a:pt x="25" y="42"/>
                      </a:lnTo>
                      <a:lnTo>
                        <a:pt x="24" y="42"/>
                      </a:lnTo>
                      <a:lnTo>
                        <a:pt x="22" y="39"/>
                      </a:lnTo>
                      <a:lnTo>
                        <a:pt x="20" y="35"/>
                      </a:lnTo>
                      <a:lnTo>
                        <a:pt x="19" y="32"/>
                      </a:lnTo>
                      <a:lnTo>
                        <a:pt x="18" y="32"/>
                      </a:lnTo>
                      <a:lnTo>
                        <a:pt x="15" y="32"/>
                      </a:lnTo>
                      <a:lnTo>
                        <a:pt x="13" y="33"/>
                      </a:lnTo>
                      <a:lnTo>
                        <a:pt x="11" y="34"/>
                      </a:lnTo>
                      <a:lnTo>
                        <a:pt x="10" y="38"/>
                      </a:lnTo>
                      <a:lnTo>
                        <a:pt x="9" y="42"/>
                      </a:lnTo>
                      <a:lnTo>
                        <a:pt x="8" y="46"/>
                      </a:lnTo>
                      <a:lnTo>
                        <a:pt x="6" y="47"/>
                      </a:lnTo>
                      <a:lnTo>
                        <a:pt x="4" y="49"/>
                      </a:lnTo>
                      <a:lnTo>
                        <a:pt x="1" y="49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39"/>
                      </a:lnTo>
                      <a:lnTo>
                        <a:pt x="5" y="29"/>
                      </a:lnTo>
                      <a:lnTo>
                        <a:pt x="6" y="27"/>
                      </a:lnTo>
                      <a:lnTo>
                        <a:pt x="8" y="26"/>
                      </a:lnTo>
                      <a:lnTo>
                        <a:pt x="13" y="26"/>
                      </a:lnTo>
                      <a:lnTo>
                        <a:pt x="18" y="26"/>
                      </a:lnTo>
                      <a:lnTo>
                        <a:pt x="20" y="25"/>
                      </a:lnTo>
                      <a:lnTo>
                        <a:pt x="23" y="23"/>
                      </a:lnTo>
                      <a:lnTo>
                        <a:pt x="23" y="21"/>
                      </a:lnTo>
                      <a:lnTo>
                        <a:pt x="23" y="20"/>
                      </a:lnTo>
                      <a:lnTo>
                        <a:pt x="24" y="19"/>
                      </a:lnTo>
                      <a:lnTo>
                        <a:pt x="32" y="17"/>
                      </a:lnTo>
                      <a:lnTo>
                        <a:pt x="34" y="16"/>
                      </a:lnTo>
                      <a:lnTo>
                        <a:pt x="36" y="19"/>
                      </a:lnTo>
                      <a:lnTo>
                        <a:pt x="38" y="23"/>
                      </a:lnTo>
                      <a:lnTo>
                        <a:pt x="39" y="26"/>
                      </a:lnTo>
                      <a:lnTo>
                        <a:pt x="41" y="26"/>
                      </a:lnTo>
                      <a:lnTo>
                        <a:pt x="43" y="25"/>
                      </a:lnTo>
                      <a:lnTo>
                        <a:pt x="44" y="22"/>
                      </a:lnTo>
                      <a:lnTo>
                        <a:pt x="46" y="19"/>
                      </a:lnTo>
                      <a:lnTo>
                        <a:pt x="48" y="15"/>
                      </a:lnTo>
                      <a:lnTo>
                        <a:pt x="50" y="15"/>
                      </a:lnTo>
                      <a:lnTo>
                        <a:pt x="52" y="16"/>
                      </a:lnTo>
                      <a:lnTo>
                        <a:pt x="55" y="16"/>
                      </a:lnTo>
                      <a:lnTo>
                        <a:pt x="57" y="12"/>
                      </a:lnTo>
                      <a:lnTo>
                        <a:pt x="60" y="10"/>
                      </a:lnTo>
                      <a:lnTo>
                        <a:pt x="62" y="10"/>
                      </a:lnTo>
                      <a:lnTo>
                        <a:pt x="64" y="4"/>
                      </a:lnTo>
                      <a:lnTo>
                        <a:pt x="65" y="2"/>
                      </a:lnTo>
                      <a:lnTo>
                        <a:pt x="66" y="0"/>
                      </a:lnTo>
                      <a:lnTo>
                        <a:pt x="67" y="0"/>
                      </a:lnTo>
                      <a:lnTo>
                        <a:pt x="69" y="0"/>
                      </a:lnTo>
                      <a:lnTo>
                        <a:pt x="70" y="3"/>
                      </a:lnTo>
                      <a:lnTo>
                        <a:pt x="71" y="4"/>
                      </a:lnTo>
                      <a:lnTo>
                        <a:pt x="72" y="6"/>
                      </a:lnTo>
                      <a:lnTo>
                        <a:pt x="78" y="8"/>
                      </a:lnTo>
                      <a:lnTo>
                        <a:pt x="76" y="12"/>
                      </a:lnTo>
                      <a:lnTo>
                        <a:pt x="76" y="14"/>
                      </a:lnTo>
                      <a:lnTo>
                        <a:pt x="79" y="19"/>
                      </a:lnTo>
                      <a:lnTo>
                        <a:pt x="79" y="21"/>
                      </a:lnTo>
                      <a:lnTo>
                        <a:pt x="78" y="22"/>
                      </a:lnTo>
                      <a:lnTo>
                        <a:pt x="74" y="25"/>
                      </a:lnTo>
                      <a:lnTo>
                        <a:pt x="72" y="27"/>
                      </a:lnTo>
                      <a:lnTo>
                        <a:pt x="75" y="27"/>
                      </a:lnTo>
                      <a:lnTo>
                        <a:pt x="79" y="28"/>
                      </a:lnTo>
                      <a:lnTo>
                        <a:pt x="80" y="28"/>
                      </a:lnTo>
                      <a:lnTo>
                        <a:pt x="81" y="29"/>
                      </a:lnTo>
                      <a:lnTo>
                        <a:pt x="80" y="33"/>
                      </a:lnTo>
                      <a:lnTo>
                        <a:pt x="81" y="36"/>
                      </a:lnTo>
                      <a:lnTo>
                        <a:pt x="85" y="42"/>
                      </a:lnTo>
                      <a:lnTo>
                        <a:pt x="85" y="47"/>
                      </a:lnTo>
                      <a:lnTo>
                        <a:pt x="85" y="52"/>
                      </a:lnTo>
                      <a:lnTo>
                        <a:pt x="83" y="57"/>
                      </a:lnTo>
                      <a:lnTo>
                        <a:pt x="79" y="60"/>
                      </a:lnTo>
                      <a:lnTo>
                        <a:pt x="78" y="61"/>
                      </a:lnTo>
                      <a:lnTo>
                        <a:pt x="76" y="61"/>
                      </a:lnTo>
                      <a:lnTo>
                        <a:pt x="74" y="59"/>
                      </a:lnTo>
                      <a:lnTo>
                        <a:pt x="72" y="57"/>
                      </a:lnTo>
                      <a:lnTo>
                        <a:pt x="70" y="5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9" name="Freeform 308">
                  <a:extLst>
                    <a:ext uri="{FF2B5EF4-FFF2-40B4-BE49-F238E27FC236}">
                      <a16:creationId xmlns:a16="http://schemas.microsoft.com/office/drawing/2014/main" id="{D7759512-E9B6-C741-A9EE-AEB3324D2A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5391" y="4249873"/>
                  <a:ext cx="34038" cy="47356"/>
                </a:xfrm>
                <a:custGeom>
                  <a:avLst/>
                  <a:gdLst>
                    <a:gd name="T0" fmla="*/ 2147483647 w 25"/>
                    <a:gd name="T1" fmla="*/ 2147483647 h 32"/>
                    <a:gd name="T2" fmla="*/ 2147483647 w 25"/>
                    <a:gd name="T3" fmla="*/ 2147483647 h 32"/>
                    <a:gd name="T4" fmla="*/ 2147483647 w 25"/>
                    <a:gd name="T5" fmla="*/ 2147483647 h 32"/>
                    <a:gd name="T6" fmla="*/ 2147483647 w 25"/>
                    <a:gd name="T7" fmla="*/ 2147483647 h 32"/>
                    <a:gd name="T8" fmla="*/ 2147483647 w 25"/>
                    <a:gd name="T9" fmla="*/ 2147483647 h 32"/>
                    <a:gd name="T10" fmla="*/ 2147483647 w 25"/>
                    <a:gd name="T11" fmla="*/ 2147483647 h 32"/>
                    <a:gd name="T12" fmla="*/ 0 w 25"/>
                    <a:gd name="T13" fmla="*/ 2147483647 h 32"/>
                    <a:gd name="T14" fmla="*/ 2147483647 w 25"/>
                    <a:gd name="T15" fmla="*/ 2147483647 h 32"/>
                    <a:gd name="T16" fmla="*/ 2147483647 w 25"/>
                    <a:gd name="T17" fmla="*/ 2147483647 h 32"/>
                    <a:gd name="T18" fmla="*/ 2147483647 w 25"/>
                    <a:gd name="T19" fmla="*/ 0 h 32"/>
                    <a:gd name="T20" fmla="*/ 2147483647 w 25"/>
                    <a:gd name="T21" fmla="*/ 0 h 32"/>
                    <a:gd name="T22" fmla="*/ 2147483647 w 25"/>
                    <a:gd name="T23" fmla="*/ 0 h 32"/>
                    <a:gd name="T24" fmla="*/ 2147483647 w 25"/>
                    <a:gd name="T25" fmla="*/ 2147483647 h 32"/>
                    <a:gd name="T26" fmla="*/ 2147483647 w 25"/>
                    <a:gd name="T27" fmla="*/ 2147483647 h 32"/>
                    <a:gd name="T28" fmla="*/ 2147483647 w 25"/>
                    <a:gd name="T29" fmla="*/ 2147483647 h 32"/>
                    <a:gd name="T30" fmla="*/ 2147483647 w 25"/>
                    <a:gd name="T31" fmla="*/ 2147483647 h 32"/>
                    <a:gd name="T32" fmla="*/ 2147483647 w 25"/>
                    <a:gd name="T33" fmla="*/ 2147483647 h 32"/>
                    <a:gd name="T34" fmla="*/ 2147483647 w 25"/>
                    <a:gd name="T35" fmla="*/ 2147483647 h 32"/>
                    <a:gd name="T36" fmla="*/ 2147483647 w 25"/>
                    <a:gd name="T37" fmla="*/ 2147483647 h 32"/>
                    <a:gd name="T38" fmla="*/ 2147483647 w 25"/>
                    <a:gd name="T39" fmla="*/ 2147483647 h 32"/>
                    <a:gd name="T40" fmla="*/ 2147483647 w 25"/>
                    <a:gd name="T41" fmla="*/ 2147483647 h 32"/>
                    <a:gd name="T42" fmla="*/ 2147483647 w 25"/>
                    <a:gd name="T43" fmla="*/ 2147483647 h 3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5"/>
                    <a:gd name="T67" fmla="*/ 0 h 32"/>
                    <a:gd name="T68" fmla="*/ 25 w 25"/>
                    <a:gd name="T69" fmla="*/ 32 h 3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5" h="32">
                      <a:moveTo>
                        <a:pt x="22" y="30"/>
                      </a:moveTo>
                      <a:lnTo>
                        <a:pt x="19" y="30"/>
                      </a:lnTo>
                      <a:lnTo>
                        <a:pt x="16" y="29"/>
                      </a:lnTo>
                      <a:lnTo>
                        <a:pt x="11" y="26"/>
                      </a:lnTo>
                      <a:lnTo>
                        <a:pt x="5" y="17"/>
                      </a:lnTo>
                      <a:lnTo>
                        <a:pt x="1" y="9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2" y="1"/>
                      </a:lnTo>
                      <a:lnTo>
                        <a:pt x="16" y="1"/>
                      </a:lnTo>
                      <a:lnTo>
                        <a:pt x="19" y="11"/>
                      </a:lnTo>
                      <a:lnTo>
                        <a:pt x="20" y="17"/>
                      </a:lnTo>
                      <a:lnTo>
                        <a:pt x="22" y="22"/>
                      </a:lnTo>
                      <a:lnTo>
                        <a:pt x="25" y="27"/>
                      </a:lnTo>
                      <a:lnTo>
                        <a:pt x="25" y="29"/>
                      </a:lnTo>
                      <a:lnTo>
                        <a:pt x="25" y="30"/>
                      </a:lnTo>
                      <a:lnTo>
                        <a:pt x="24" y="32"/>
                      </a:lnTo>
                      <a:lnTo>
                        <a:pt x="22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0" name="Freeform 309">
                  <a:extLst>
                    <a:ext uri="{FF2B5EF4-FFF2-40B4-BE49-F238E27FC236}">
                      <a16:creationId xmlns:a16="http://schemas.microsoft.com/office/drawing/2014/main" id="{2E24C98B-29DB-EF47-A227-26626D879B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9152" y="4289834"/>
                  <a:ext cx="31078" cy="57714"/>
                </a:xfrm>
                <a:custGeom>
                  <a:avLst/>
                  <a:gdLst>
                    <a:gd name="T0" fmla="*/ 2147483647 w 23"/>
                    <a:gd name="T1" fmla="*/ 2147483647 h 39"/>
                    <a:gd name="T2" fmla="*/ 2147483647 w 23"/>
                    <a:gd name="T3" fmla="*/ 2147483647 h 39"/>
                    <a:gd name="T4" fmla="*/ 2147483647 w 23"/>
                    <a:gd name="T5" fmla="*/ 2147483647 h 39"/>
                    <a:gd name="T6" fmla="*/ 2147483647 w 23"/>
                    <a:gd name="T7" fmla="*/ 2147483647 h 39"/>
                    <a:gd name="T8" fmla="*/ 2147483647 w 23"/>
                    <a:gd name="T9" fmla="*/ 2147483647 h 39"/>
                    <a:gd name="T10" fmla="*/ 2147483647 w 23"/>
                    <a:gd name="T11" fmla="*/ 2147483647 h 39"/>
                    <a:gd name="T12" fmla="*/ 2147483647 w 23"/>
                    <a:gd name="T13" fmla="*/ 2147483647 h 39"/>
                    <a:gd name="T14" fmla="*/ 2147483647 w 23"/>
                    <a:gd name="T15" fmla="*/ 0 h 39"/>
                    <a:gd name="T16" fmla="*/ 2147483647 w 23"/>
                    <a:gd name="T17" fmla="*/ 2147483647 h 39"/>
                    <a:gd name="T18" fmla="*/ 2147483647 w 23"/>
                    <a:gd name="T19" fmla="*/ 2147483647 h 39"/>
                    <a:gd name="T20" fmla="*/ 2147483647 w 23"/>
                    <a:gd name="T21" fmla="*/ 2147483647 h 39"/>
                    <a:gd name="T22" fmla="*/ 2147483647 w 23"/>
                    <a:gd name="T23" fmla="*/ 2147483647 h 39"/>
                    <a:gd name="T24" fmla="*/ 2147483647 w 23"/>
                    <a:gd name="T25" fmla="*/ 2147483647 h 39"/>
                    <a:gd name="T26" fmla="*/ 2147483647 w 23"/>
                    <a:gd name="T27" fmla="*/ 2147483647 h 39"/>
                    <a:gd name="T28" fmla="*/ 0 w 23"/>
                    <a:gd name="T29" fmla="*/ 2147483647 h 39"/>
                    <a:gd name="T30" fmla="*/ 0 w 23"/>
                    <a:gd name="T31" fmla="*/ 2147483647 h 39"/>
                    <a:gd name="T32" fmla="*/ 2147483647 w 23"/>
                    <a:gd name="T33" fmla="*/ 2147483647 h 39"/>
                    <a:gd name="T34" fmla="*/ 2147483647 w 23"/>
                    <a:gd name="T35" fmla="*/ 2147483647 h 39"/>
                    <a:gd name="T36" fmla="*/ 2147483647 w 23"/>
                    <a:gd name="T37" fmla="*/ 2147483647 h 39"/>
                    <a:gd name="T38" fmla="*/ 2147483647 w 23"/>
                    <a:gd name="T39" fmla="*/ 2147483647 h 39"/>
                    <a:gd name="T40" fmla="*/ 2147483647 w 23"/>
                    <a:gd name="T41" fmla="*/ 2147483647 h 39"/>
                    <a:gd name="T42" fmla="*/ 2147483647 w 23"/>
                    <a:gd name="T43" fmla="*/ 2147483647 h 39"/>
                    <a:gd name="T44" fmla="*/ 2147483647 w 23"/>
                    <a:gd name="T45" fmla="*/ 2147483647 h 39"/>
                    <a:gd name="T46" fmla="*/ 2147483647 w 23"/>
                    <a:gd name="T47" fmla="*/ 2147483647 h 39"/>
                    <a:gd name="T48" fmla="*/ 2147483647 w 23"/>
                    <a:gd name="T49" fmla="*/ 2147483647 h 39"/>
                    <a:gd name="T50" fmla="*/ 2147483647 w 23"/>
                    <a:gd name="T51" fmla="*/ 2147483647 h 3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3"/>
                    <a:gd name="T79" fmla="*/ 0 h 39"/>
                    <a:gd name="T80" fmla="*/ 23 w 23"/>
                    <a:gd name="T81" fmla="*/ 39 h 39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3" h="39">
                      <a:moveTo>
                        <a:pt x="20" y="32"/>
                      </a:moveTo>
                      <a:lnTo>
                        <a:pt x="18" y="28"/>
                      </a:lnTo>
                      <a:lnTo>
                        <a:pt x="18" y="25"/>
                      </a:lnTo>
                      <a:lnTo>
                        <a:pt x="18" y="18"/>
                      </a:lnTo>
                      <a:lnTo>
                        <a:pt x="23" y="5"/>
                      </a:lnTo>
                      <a:lnTo>
                        <a:pt x="23" y="2"/>
                      </a:lnTo>
                      <a:lnTo>
                        <a:pt x="22" y="1"/>
                      </a:lnTo>
                      <a:lnTo>
                        <a:pt x="20" y="0"/>
                      </a:lnTo>
                      <a:lnTo>
                        <a:pt x="19" y="1"/>
                      </a:lnTo>
                      <a:lnTo>
                        <a:pt x="15" y="7"/>
                      </a:lnTo>
                      <a:lnTo>
                        <a:pt x="13" y="14"/>
                      </a:lnTo>
                      <a:lnTo>
                        <a:pt x="10" y="18"/>
                      </a:lnTo>
                      <a:lnTo>
                        <a:pt x="8" y="20"/>
                      </a:lnTo>
                      <a:lnTo>
                        <a:pt x="5" y="21"/>
                      </a:lnTo>
                      <a:lnTo>
                        <a:pt x="0" y="21"/>
                      </a:lnTo>
                      <a:lnTo>
                        <a:pt x="0" y="25"/>
                      </a:lnTo>
                      <a:lnTo>
                        <a:pt x="1" y="27"/>
                      </a:lnTo>
                      <a:lnTo>
                        <a:pt x="2" y="31"/>
                      </a:lnTo>
                      <a:lnTo>
                        <a:pt x="5" y="33"/>
                      </a:lnTo>
                      <a:lnTo>
                        <a:pt x="11" y="38"/>
                      </a:lnTo>
                      <a:lnTo>
                        <a:pt x="15" y="39"/>
                      </a:lnTo>
                      <a:lnTo>
                        <a:pt x="19" y="39"/>
                      </a:lnTo>
                      <a:lnTo>
                        <a:pt x="20" y="39"/>
                      </a:lnTo>
                      <a:lnTo>
                        <a:pt x="20" y="37"/>
                      </a:lnTo>
                      <a:lnTo>
                        <a:pt x="20" y="34"/>
                      </a:lnTo>
                      <a:lnTo>
                        <a:pt x="20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1" name="Freeform 310">
                  <a:extLst>
                    <a:ext uri="{FF2B5EF4-FFF2-40B4-BE49-F238E27FC236}">
                      <a16:creationId xmlns:a16="http://schemas.microsoft.com/office/drawing/2014/main" id="{3DF15E2A-FCC5-BA49-BAAF-6ACD9BFB78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2428" y="4246917"/>
                  <a:ext cx="35517" cy="47356"/>
                </a:xfrm>
                <a:custGeom>
                  <a:avLst/>
                  <a:gdLst>
                    <a:gd name="T0" fmla="*/ 2147483647 w 26"/>
                    <a:gd name="T1" fmla="*/ 2147483647 h 32"/>
                    <a:gd name="T2" fmla="*/ 2147483647 w 26"/>
                    <a:gd name="T3" fmla="*/ 2147483647 h 32"/>
                    <a:gd name="T4" fmla="*/ 2147483647 w 26"/>
                    <a:gd name="T5" fmla="*/ 2147483647 h 32"/>
                    <a:gd name="T6" fmla="*/ 2147483647 w 26"/>
                    <a:gd name="T7" fmla="*/ 2147483647 h 32"/>
                    <a:gd name="T8" fmla="*/ 2147483647 w 26"/>
                    <a:gd name="T9" fmla="*/ 2147483647 h 32"/>
                    <a:gd name="T10" fmla="*/ 2147483647 w 26"/>
                    <a:gd name="T11" fmla="*/ 2147483647 h 32"/>
                    <a:gd name="T12" fmla="*/ 2147483647 w 26"/>
                    <a:gd name="T13" fmla="*/ 2147483647 h 32"/>
                    <a:gd name="T14" fmla="*/ 2147483647 w 26"/>
                    <a:gd name="T15" fmla="*/ 2147483647 h 32"/>
                    <a:gd name="T16" fmla="*/ 2147483647 w 26"/>
                    <a:gd name="T17" fmla="*/ 2147483647 h 32"/>
                    <a:gd name="T18" fmla="*/ 0 w 26"/>
                    <a:gd name="T19" fmla="*/ 2147483647 h 32"/>
                    <a:gd name="T20" fmla="*/ 2147483647 w 26"/>
                    <a:gd name="T21" fmla="*/ 2147483647 h 32"/>
                    <a:gd name="T22" fmla="*/ 2147483647 w 26"/>
                    <a:gd name="T23" fmla="*/ 2147483647 h 32"/>
                    <a:gd name="T24" fmla="*/ 2147483647 w 26"/>
                    <a:gd name="T25" fmla="*/ 2147483647 h 32"/>
                    <a:gd name="T26" fmla="*/ 2147483647 w 26"/>
                    <a:gd name="T27" fmla="*/ 0 h 32"/>
                    <a:gd name="T28" fmla="*/ 2147483647 w 26"/>
                    <a:gd name="T29" fmla="*/ 0 h 32"/>
                    <a:gd name="T30" fmla="*/ 2147483647 w 26"/>
                    <a:gd name="T31" fmla="*/ 0 h 32"/>
                    <a:gd name="T32" fmla="*/ 2147483647 w 26"/>
                    <a:gd name="T33" fmla="*/ 2147483647 h 32"/>
                    <a:gd name="T34" fmla="*/ 2147483647 w 26"/>
                    <a:gd name="T35" fmla="*/ 2147483647 h 32"/>
                    <a:gd name="T36" fmla="*/ 2147483647 w 26"/>
                    <a:gd name="T37" fmla="*/ 2147483647 h 32"/>
                    <a:gd name="T38" fmla="*/ 2147483647 w 26"/>
                    <a:gd name="T39" fmla="*/ 2147483647 h 32"/>
                    <a:gd name="T40" fmla="*/ 2147483647 w 26"/>
                    <a:gd name="T41" fmla="*/ 2147483647 h 32"/>
                    <a:gd name="T42" fmla="*/ 2147483647 w 26"/>
                    <a:gd name="T43" fmla="*/ 2147483647 h 32"/>
                    <a:gd name="T44" fmla="*/ 2147483647 w 26"/>
                    <a:gd name="T45" fmla="*/ 2147483647 h 32"/>
                    <a:gd name="T46" fmla="*/ 2147483647 w 26"/>
                    <a:gd name="T47" fmla="*/ 2147483647 h 32"/>
                    <a:gd name="T48" fmla="*/ 2147483647 w 26"/>
                    <a:gd name="T49" fmla="*/ 2147483647 h 32"/>
                    <a:gd name="T50" fmla="*/ 2147483647 w 26"/>
                    <a:gd name="T51" fmla="*/ 2147483647 h 32"/>
                    <a:gd name="T52" fmla="*/ 2147483647 w 26"/>
                    <a:gd name="T53" fmla="*/ 2147483647 h 32"/>
                    <a:gd name="T54" fmla="*/ 2147483647 w 26"/>
                    <a:gd name="T55" fmla="*/ 2147483647 h 32"/>
                    <a:gd name="T56" fmla="*/ 2147483647 w 26"/>
                    <a:gd name="T57" fmla="*/ 2147483647 h 32"/>
                    <a:gd name="T58" fmla="*/ 2147483647 w 26"/>
                    <a:gd name="T59" fmla="*/ 2147483647 h 3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6"/>
                    <a:gd name="T91" fmla="*/ 0 h 32"/>
                    <a:gd name="T92" fmla="*/ 26 w 26"/>
                    <a:gd name="T93" fmla="*/ 32 h 3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6" h="32">
                      <a:moveTo>
                        <a:pt x="23" y="31"/>
                      </a:moveTo>
                      <a:lnTo>
                        <a:pt x="23" y="31"/>
                      </a:lnTo>
                      <a:lnTo>
                        <a:pt x="19" y="31"/>
                      </a:lnTo>
                      <a:lnTo>
                        <a:pt x="17" y="30"/>
                      </a:lnTo>
                      <a:lnTo>
                        <a:pt x="12" y="27"/>
                      </a:lnTo>
                      <a:lnTo>
                        <a:pt x="5" y="18"/>
                      </a:lnTo>
                      <a:lnTo>
                        <a:pt x="2" y="10"/>
                      </a:lnTo>
                      <a:lnTo>
                        <a:pt x="0" y="5"/>
                      </a:lnTo>
                      <a:lnTo>
                        <a:pt x="2" y="3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9" y="0"/>
                      </a:lnTo>
                      <a:lnTo>
                        <a:pt x="13" y="2"/>
                      </a:lnTo>
                      <a:lnTo>
                        <a:pt x="17" y="2"/>
                      </a:lnTo>
                      <a:lnTo>
                        <a:pt x="19" y="12"/>
                      </a:lnTo>
                      <a:lnTo>
                        <a:pt x="21" y="18"/>
                      </a:lnTo>
                      <a:lnTo>
                        <a:pt x="23" y="23"/>
                      </a:lnTo>
                      <a:lnTo>
                        <a:pt x="26" y="28"/>
                      </a:lnTo>
                      <a:lnTo>
                        <a:pt x="26" y="30"/>
                      </a:lnTo>
                      <a:lnTo>
                        <a:pt x="26" y="31"/>
                      </a:lnTo>
                      <a:lnTo>
                        <a:pt x="24" y="32"/>
                      </a:lnTo>
                      <a:lnTo>
                        <a:pt x="23" y="3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2" name="Freeform 311">
                  <a:extLst>
                    <a:ext uri="{FF2B5EF4-FFF2-40B4-BE49-F238E27FC236}">
                      <a16:creationId xmlns:a16="http://schemas.microsoft.com/office/drawing/2014/main" id="{E962222F-289F-2E4D-85A6-FF211E2F94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7676" y="4288353"/>
                  <a:ext cx="31077" cy="57715"/>
                </a:xfrm>
                <a:custGeom>
                  <a:avLst/>
                  <a:gdLst>
                    <a:gd name="T0" fmla="*/ 2147483647 w 23"/>
                    <a:gd name="T1" fmla="*/ 2147483647 h 39"/>
                    <a:gd name="T2" fmla="*/ 2147483647 w 23"/>
                    <a:gd name="T3" fmla="*/ 2147483647 h 39"/>
                    <a:gd name="T4" fmla="*/ 2147483647 w 23"/>
                    <a:gd name="T5" fmla="*/ 2147483647 h 39"/>
                    <a:gd name="T6" fmla="*/ 2147483647 w 23"/>
                    <a:gd name="T7" fmla="*/ 2147483647 h 39"/>
                    <a:gd name="T8" fmla="*/ 2147483647 w 23"/>
                    <a:gd name="T9" fmla="*/ 2147483647 h 39"/>
                    <a:gd name="T10" fmla="*/ 2147483647 w 23"/>
                    <a:gd name="T11" fmla="*/ 2147483647 h 39"/>
                    <a:gd name="T12" fmla="*/ 2147483647 w 23"/>
                    <a:gd name="T13" fmla="*/ 2147483647 h 39"/>
                    <a:gd name="T14" fmla="*/ 2147483647 w 23"/>
                    <a:gd name="T15" fmla="*/ 2147483647 h 39"/>
                    <a:gd name="T16" fmla="*/ 2147483647 w 23"/>
                    <a:gd name="T17" fmla="*/ 2147483647 h 39"/>
                    <a:gd name="T18" fmla="*/ 2147483647 w 23"/>
                    <a:gd name="T19" fmla="*/ 0 h 39"/>
                    <a:gd name="T20" fmla="*/ 2147483647 w 23"/>
                    <a:gd name="T21" fmla="*/ 2147483647 h 39"/>
                    <a:gd name="T22" fmla="*/ 2147483647 w 23"/>
                    <a:gd name="T23" fmla="*/ 2147483647 h 39"/>
                    <a:gd name="T24" fmla="*/ 2147483647 w 23"/>
                    <a:gd name="T25" fmla="*/ 2147483647 h 39"/>
                    <a:gd name="T26" fmla="*/ 2147483647 w 23"/>
                    <a:gd name="T27" fmla="*/ 2147483647 h 39"/>
                    <a:gd name="T28" fmla="*/ 2147483647 w 23"/>
                    <a:gd name="T29" fmla="*/ 2147483647 h 39"/>
                    <a:gd name="T30" fmla="*/ 2147483647 w 23"/>
                    <a:gd name="T31" fmla="*/ 2147483647 h 39"/>
                    <a:gd name="T32" fmla="*/ 2147483647 w 23"/>
                    <a:gd name="T33" fmla="*/ 2147483647 h 39"/>
                    <a:gd name="T34" fmla="*/ 0 w 23"/>
                    <a:gd name="T35" fmla="*/ 2147483647 h 39"/>
                    <a:gd name="T36" fmla="*/ 0 w 23"/>
                    <a:gd name="T37" fmla="*/ 2147483647 h 39"/>
                    <a:gd name="T38" fmla="*/ 0 w 23"/>
                    <a:gd name="T39" fmla="*/ 2147483647 h 39"/>
                    <a:gd name="T40" fmla="*/ 2147483647 w 23"/>
                    <a:gd name="T41" fmla="*/ 2147483647 h 39"/>
                    <a:gd name="T42" fmla="*/ 2147483647 w 23"/>
                    <a:gd name="T43" fmla="*/ 2147483647 h 39"/>
                    <a:gd name="T44" fmla="*/ 2147483647 w 23"/>
                    <a:gd name="T45" fmla="*/ 2147483647 h 39"/>
                    <a:gd name="T46" fmla="*/ 2147483647 w 23"/>
                    <a:gd name="T47" fmla="*/ 2147483647 h 39"/>
                    <a:gd name="T48" fmla="*/ 2147483647 w 23"/>
                    <a:gd name="T49" fmla="*/ 2147483647 h 39"/>
                    <a:gd name="T50" fmla="*/ 2147483647 w 23"/>
                    <a:gd name="T51" fmla="*/ 2147483647 h 39"/>
                    <a:gd name="T52" fmla="*/ 2147483647 w 23"/>
                    <a:gd name="T53" fmla="*/ 2147483647 h 39"/>
                    <a:gd name="T54" fmla="*/ 2147483647 w 23"/>
                    <a:gd name="T55" fmla="*/ 2147483647 h 39"/>
                    <a:gd name="T56" fmla="*/ 2147483647 w 23"/>
                    <a:gd name="T57" fmla="*/ 2147483647 h 39"/>
                    <a:gd name="T58" fmla="*/ 2147483647 w 23"/>
                    <a:gd name="T59" fmla="*/ 2147483647 h 39"/>
                    <a:gd name="T60" fmla="*/ 2147483647 w 23"/>
                    <a:gd name="T61" fmla="*/ 2147483647 h 39"/>
                    <a:gd name="T62" fmla="*/ 2147483647 w 23"/>
                    <a:gd name="T63" fmla="*/ 2147483647 h 3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3"/>
                    <a:gd name="T97" fmla="*/ 0 h 39"/>
                    <a:gd name="T98" fmla="*/ 23 w 23"/>
                    <a:gd name="T99" fmla="*/ 39 h 39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3" h="39">
                      <a:moveTo>
                        <a:pt x="20" y="32"/>
                      </a:moveTo>
                      <a:lnTo>
                        <a:pt x="20" y="32"/>
                      </a:lnTo>
                      <a:lnTo>
                        <a:pt x="17" y="28"/>
                      </a:lnTo>
                      <a:lnTo>
                        <a:pt x="17" y="25"/>
                      </a:lnTo>
                      <a:lnTo>
                        <a:pt x="17" y="17"/>
                      </a:lnTo>
                      <a:lnTo>
                        <a:pt x="23" y="4"/>
                      </a:lnTo>
                      <a:lnTo>
                        <a:pt x="23" y="2"/>
                      </a:lnTo>
                      <a:lnTo>
                        <a:pt x="21" y="1"/>
                      </a:lnTo>
                      <a:lnTo>
                        <a:pt x="20" y="0"/>
                      </a:lnTo>
                      <a:lnTo>
                        <a:pt x="19" y="1"/>
                      </a:lnTo>
                      <a:lnTo>
                        <a:pt x="15" y="7"/>
                      </a:lnTo>
                      <a:lnTo>
                        <a:pt x="12" y="14"/>
                      </a:lnTo>
                      <a:lnTo>
                        <a:pt x="10" y="17"/>
                      </a:lnTo>
                      <a:lnTo>
                        <a:pt x="7" y="20"/>
                      </a:lnTo>
                      <a:lnTo>
                        <a:pt x="5" y="21"/>
                      </a:lnTo>
                      <a:lnTo>
                        <a:pt x="0" y="21"/>
                      </a:lnTo>
                      <a:lnTo>
                        <a:pt x="0" y="25"/>
                      </a:lnTo>
                      <a:lnTo>
                        <a:pt x="1" y="27"/>
                      </a:lnTo>
                      <a:lnTo>
                        <a:pt x="2" y="31"/>
                      </a:lnTo>
                      <a:lnTo>
                        <a:pt x="5" y="33"/>
                      </a:lnTo>
                      <a:lnTo>
                        <a:pt x="11" y="38"/>
                      </a:lnTo>
                      <a:lnTo>
                        <a:pt x="15" y="39"/>
                      </a:lnTo>
                      <a:lnTo>
                        <a:pt x="19" y="39"/>
                      </a:lnTo>
                      <a:lnTo>
                        <a:pt x="20" y="39"/>
                      </a:lnTo>
                      <a:lnTo>
                        <a:pt x="20" y="36"/>
                      </a:lnTo>
                      <a:lnTo>
                        <a:pt x="20" y="34"/>
                      </a:lnTo>
                      <a:lnTo>
                        <a:pt x="20" y="3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3" name="Freeform 312">
                  <a:extLst>
                    <a:ext uri="{FF2B5EF4-FFF2-40B4-BE49-F238E27FC236}">
                      <a16:creationId xmlns:a16="http://schemas.microsoft.com/office/drawing/2014/main" id="{09D2AB31-D264-9B4F-A615-49A98F15A6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8749" y="4294269"/>
                  <a:ext cx="11839" cy="26638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2147483647 h 18"/>
                    <a:gd name="T4" fmla="*/ 2147483647 w 8"/>
                    <a:gd name="T5" fmla="*/ 2147483647 h 18"/>
                    <a:gd name="T6" fmla="*/ 2147483647 w 8"/>
                    <a:gd name="T7" fmla="*/ 0 h 18"/>
                    <a:gd name="T8" fmla="*/ 2147483647 w 8"/>
                    <a:gd name="T9" fmla="*/ 2147483647 h 18"/>
                    <a:gd name="T10" fmla="*/ 2147483647 w 8"/>
                    <a:gd name="T11" fmla="*/ 2147483647 h 18"/>
                    <a:gd name="T12" fmla="*/ 2147483647 w 8"/>
                    <a:gd name="T13" fmla="*/ 2147483647 h 18"/>
                    <a:gd name="T14" fmla="*/ 2147483647 w 8"/>
                    <a:gd name="T15" fmla="*/ 2147483647 h 18"/>
                    <a:gd name="T16" fmla="*/ 0 w 8"/>
                    <a:gd name="T17" fmla="*/ 2147483647 h 18"/>
                    <a:gd name="T18" fmla="*/ 2147483647 w 8"/>
                    <a:gd name="T19" fmla="*/ 2147483647 h 18"/>
                    <a:gd name="T20" fmla="*/ 2147483647 w 8"/>
                    <a:gd name="T21" fmla="*/ 2147483647 h 18"/>
                    <a:gd name="T22" fmla="*/ 2147483647 w 8"/>
                    <a:gd name="T23" fmla="*/ 2147483647 h 18"/>
                    <a:gd name="T24" fmla="*/ 2147483647 w 8"/>
                    <a:gd name="T25" fmla="*/ 2147483647 h 18"/>
                    <a:gd name="T26" fmla="*/ 2147483647 w 8"/>
                    <a:gd name="T27" fmla="*/ 2147483647 h 1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"/>
                    <a:gd name="T43" fmla="*/ 0 h 18"/>
                    <a:gd name="T44" fmla="*/ 8 w 8"/>
                    <a:gd name="T45" fmla="*/ 18 h 1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" h="18">
                      <a:moveTo>
                        <a:pt x="6" y="11"/>
                      </a:moveTo>
                      <a:lnTo>
                        <a:pt x="8" y="3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3" y="6"/>
                      </a:lnTo>
                      <a:lnTo>
                        <a:pt x="1" y="11"/>
                      </a:lnTo>
                      <a:lnTo>
                        <a:pt x="0" y="16"/>
                      </a:lnTo>
                      <a:lnTo>
                        <a:pt x="1" y="18"/>
                      </a:lnTo>
                      <a:lnTo>
                        <a:pt x="3" y="18"/>
                      </a:lnTo>
                      <a:lnTo>
                        <a:pt x="5" y="17"/>
                      </a:lnTo>
                      <a:lnTo>
                        <a:pt x="5" y="15"/>
                      </a:ln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4" name="Freeform 313">
                  <a:extLst>
                    <a:ext uri="{FF2B5EF4-FFF2-40B4-BE49-F238E27FC236}">
                      <a16:creationId xmlns:a16="http://schemas.microsoft.com/office/drawing/2014/main" id="{993D99FB-7963-6B43-B8B9-BA371C439C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40317" y="4223236"/>
                  <a:ext cx="34037" cy="41436"/>
                </a:xfrm>
                <a:custGeom>
                  <a:avLst/>
                  <a:gdLst>
                    <a:gd name="T0" fmla="*/ 2147483647 w 25"/>
                    <a:gd name="T1" fmla="*/ 2147483647 h 28"/>
                    <a:gd name="T2" fmla="*/ 2147483647 w 25"/>
                    <a:gd name="T3" fmla="*/ 2147483647 h 28"/>
                    <a:gd name="T4" fmla="*/ 2147483647 w 25"/>
                    <a:gd name="T5" fmla="*/ 2147483647 h 28"/>
                    <a:gd name="T6" fmla="*/ 2147483647 w 25"/>
                    <a:gd name="T7" fmla="*/ 2147483647 h 28"/>
                    <a:gd name="T8" fmla="*/ 0 w 25"/>
                    <a:gd name="T9" fmla="*/ 2147483647 h 28"/>
                    <a:gd name="T10" fmla="*/ 0 w 25"/>
                    <a:gd name="T11" fmla="*/ 2147483647 h 28"/>
                    <a:gd name="T12" fmla="*/ 2147483647 w 25"/>
                    <a:gd name="T13" fmla="*/ 0 h 28"/>
                    <a:gd name="T14" fmla="*/ 2147483647 w 25"/>
                    <a:gd name="T15" fmla="*/ 0 h 28"/>
                    <a:gd name="T16" fmla="*/ 2147483647 w 25"/>
                    <a:gd name="T17" fmla="*/ 2147483647 h 28"/>
                    <a:gd name="T18" fmla="*/ 2147483647 w 25"/>
                    <a:gd name="T19" fmla="*/ 2147483647 h 28"/>
                    <a:gd name="T20" fmla="*/ 2147483647 w 25"/>
                    <a:gd name="T21" fmla="*/ 2147483647 h 28"/>
                    <a:gd name="T22" fmla="*/ 2147483647 w 25"/>
                    <a:gd name="T23" fmla="*/ 2147483647 h 28"/>
                    <a:gd name="T24" fmla="*/ 2147483647 w 25"/>
                    <a:gd name="T25" fmla="*/ 2147483647 h 28"/>
                    <a:gd name="T26" fmla="*/ 2147483647 w 25"/>
                    <a:gd name="T27" fmla="*/ 2147483647 h 28"/>
                    <a:gd name="T28" fmla="*/ 2147483647 w 25"/>
                    <a:gd name="T29" fmla="*/ 2147483647 h 28"/>
                    <a:gd name="T30" fmla="*/ 2147483647 w 25"/>
                    <a:gd name="T31" fmla="*/ 2147483647 h 28"/>
                    <a:gd name="T32" fmla="*/ 2147483647 w 25"/>
                    <a:gd name="T33" fmla="*/ 2147483647 h 28"/>
                    <a:gd name="T34" fmla="*/ 2147483647 w 25"/>
                    <a:gd name="T35" fmla="*/ 2147483647 h 28"/>
                    <a:gd name="T36" fmla="*/ 2147483647 w 25"/>
                    <a:gd name="T37" fmla="*/ 2147483647 h 28"/>
                    <a:gd name="T38" fmla="*/ 2147483647 w 25"/>
                    <a:gd name="T39" fmla="*/ 2147483647 h 2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5"/>
                    <a:gd name="T61" fmla="*/ 0 h 28"/>
                    <a:gd name="T62" fmla="*/ 25 w 25"/>
                    <a:gd name="T63" fmla="*/ 28 h 28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5" h="28">
                      <a:moveTo>
                        <a:pt x="9" y="15"/>
                      </a:moveTo>
                      <a:lnTo>
                        <a:pt x="8" y="13"/>
                      </a:lnTo>
                      <a:lnTo>
                        <a:pt x="5" y="10"/>
                      </a:lnTo>
                      <a:lnTo>
                        <a:pt x="2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9" y="0"/>
                      </a:lnTo>
                      <a:lnTo>
                        <a:pt x="16" y="2"/>
                      </a:lnTo>
                      <a:lnTo>
                        <a:pt x="21" y="7"/>
                      </a:lnTo>
                      <a:lnTo>
                        <a:pt x="25" y="13"/>
                      </a:lnTo>
                      <a:lnTo>
                        <a:pt x="25" y="18"/>
                      </a:lnTo>
                      <a:lnTo>
                        <a:pt x="23" y="21"/>
                      </a:lnTo>
                      <a:lnTo>
                        <a:pt x="22" y="26"/>
                      </a:lnTo>
                      <a:lnTo>
                        <a:pt x="18" y="28"/>
                      </a:lnTo>
                      <a:lnTo>
                        <a:pt x="16" y="28"/>
                      </a:lnTo>
                      <a:lnTo>
                        <a:pt x="13" y="28"/>
                      </a:lnTo>
                      <a:lnTo>
                        <a:pt x="12" y="27"/>
                      </a:lnTo>
                      <a:lnTo>
                        <a:pt x="11" y="25"/>
                      </a:lnTo>
                      <a:lnTo>
                        <a:pt x="9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5" name="Freeform 314">
                  <a:extLst>
                    <a:ext uri="{FF2B5EF4-FFF2-40B4-BE49-F238E27FC236}">
                      <a16:creationId xmlns:a16="http://schemas.microsoft.com/office/drawing/2014/main" id="{05475261-293B-A249-B977-CDA445524B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7271" y="4292793"/>
                  <a:ext cx="11839" cy="26638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2147483647 h 18"/>
                    <a:gd name="T4" fmla="*/ 2147483647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2147483647 h 18"/>
                    <a:gd name="T10" fmla="*/ 2147483647 w 9"/>
                    <a:gd name="T11" fmla="*/ 0 h 18"/>
                    <a:gd name="T12" fmla="*/ 2147483647 w 9"/>
                    <a:gd name="T13" fmla="*/ 2147483647 h 18"/>
                    <a:gd name="T14" fmla="*/ 2147483647 w 9"/>
                    <a:gd name="T15" fmla="*/ 2147483647 h 18"/>
                    <a:gd name="T16" fmla="*/ 2147483647 w 9"/>
                    <a:gd name="T17" fmla="*/ 2147483647 h 18"/>
                    <a:gd name="T18" fmla="*/ 2147483647 w 9"/>
                    <a:gd name="T19" fmla="*/ 2147483647 h 18"/>
                    <a:gd name="T20" fmla="*/ 2147483647 w 9"/>
                    <a:gd name="T21" fmla="*/ 2147483647 h 18"/>
                    <a:gd name="T22" fmla="*/ 2147483647 w 9"/>
                    <a:gd name="T23" fmla="*/ 2147483647 h 18"/>
                    <a:gd name="T24" fmla="*/ 0 w 9"/>
                    <a:gd name="T25" fmla="*/ 2147483647 h 18"/>
                    <a:gd name="T26" fmla="*/ 2147483647 w 9"/>
                    <a:gd name="T27" fmla="*/ 2147483647 h 18"/>
                    <a:gd name="T28" fmla="*/ 2147483647 w 9"/>
                    <a:gd name="T29" fmla="*/ 2147483647 h 18"/>
                    <a:gd name="T30" fmla="*/ 2147483647 w 9"/>
                    <a:gd name="T31" fmla="*/ 2147483647 h 18"/>
                    <a:gd name="T32" fmla="*/ 2147483647 w 9"/>
                    <a:gd name="T33" fmla="*/ 2147483647 h 18"/>
                    <a:gd name="T34" fmla="*/ 2147483647 w 9"/>
                    <a:gd name="T35" fmla="*/ 2147483647 h 18"/>
                    <a:gd name="T36" fmla="*/ 2147483647 w 9"/>
                    <a:gd name="T37" fmla="*/ 2147483647 h 18"/>
                    <a:gd name="T38" fmla="*/ 2147483647 w 9"/>
                    <a:gd name="T39" fmla="*/ 2147483647 h 1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"/>
                    <a:gd name="T61" fmla="*/ 0 h 18"/>
                    <a:gd name="T62" fmla="*/ 9 w 9"/>
                    <a:gd name="T63" fmla="*/ 18 h 18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" h="18">
                      <a:moveTo>
                        <a:pt x="7" y="11"/>
                      </a:moveTo>
                      <a:lnTo>
                        <a:pt x="7" y="11"/>
                      </a:ln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4" y="6"/>
                      </a:lnTo>
                      <a:lnTo>
                        <a:pt x="2" y="11"/>
                      </a:lnTo>
                      <a:lnTo>
                        <a:pt x="0" y="16"/>
                      </a:lnTo>
                      <a:lnTo>
                        <a:pt x="2" y="18"/>
                      </a:lnTo>
                      <a:lnTo>
                        <a:pt x="4" y="18"/>
                      </a:lnTo>
                      <a:lnTo>
                        <a:pt x="5" y="17"/>
                      </a:lnTo>
                      <a:lnTo>
                        <a:pt x="5" y="14"/>
                      </a:lnTo>
                      <a:lnTo>
                        <a:pt x="7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6" name="Freeform 315">
                  <a:extLst>
                    <a:ext uri="{FF2B5EF4-FFF2-40B4-BE49-F238E27FC236}">
                      <a16:creationId xmlns:a16="http://schemas.microsoft.com/office/drawing/2014/main" id="{67506998-D802-AF4B-9B79-FB5B219119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8838" y="4221756"/>
                  <a:ext cx="32557" cy="41436"/>
                </a:xfrm>
                <a:custGeom>
                  <a:avLst/>
                  <a:gdLst>
                    <a:gd name="T0" fmla="*/ 2147483647 w 24"/>
                    <a:gd name="T1" fmla="*/ 2147483647 h 28"/>
                    <a:gd name="T2" fmla="*/ 2147483647 w 24"/>
                    <a:gd name="T3" fmla="*/ 2147483647 h 28"/>
                    <a:gd name="T4" fmla="*/ 2147483647 w 24"/>
                    <a:gd name="T5" fmla="*/ 2147483647 h 28"/>
                    <a:gd name="T6" fmla="*/ 2147483647 w 24"/>
                    <a:gd name="T7" fmla="*/ 2147483647 h 28"/>
                    <a:gd name="T8" fmla="*/ 2147483647 w 24"/>
                    <a:gd name="T9" fmla="*/ 2147483647 h 28"/>
                    <a:gd name="T10" fmla="*/ 2147483647 w 24"/>
                    <a:gd name="T11" fmla="*/ 2147483647 h 28"/>
                    <a:gd name="T12" fmla="*/ 0 w 24"/>
                    <a:gd name="T13" fmla="*/ 2147483647 h 28"/>
                    <a:gd name="T14" fmla="*/ 0 w 24"/>
                    <a:gd name="T15" fmla="*/ 2147483647 h 28"/>
                    <a:gd name="T16" fmla="*/ 2147483647 w 24"/>
                    <a:gd name="T17" fmla="*/ 0 h 28"/>
                    <a:gd name="T18" fmla="*/ 2147483647 w 24"/>
                    <a:gd name="T19" fmla="*/ 0 h 28"/>
                    <a:gd name="T20" fmla="*/ 2147483647 w 24"/>
                    <a:gd name="T21" fmla="*/ 0 h 28"/>
                    <a:gd name="T22" fmla="*/ 2147483647 w 24"/>
                    <a:gd name="T23" fmla="*/ 2147483647 h 28"/>
                    <a:gd name="T24" fmla="*/ 2147483647 w 24"/>
                    <a:gd name="T25" fmla="*/ 2147483647 h 28"/>
                    <a:gd name="T26" fmla="*/ 2147483647 w 24"/>
                    <a:gd name="T27" fmla="*/ 2147483647 h 28"/>
                    <a:gd name="T28" fmla="*/ 2147483647 w 24"/>
                    <a:gd name="T29" fmla="*/ 2147483647 h 28"/>
                    <a:gd name="T30" fmla="*/ 2147483647 w 24"/>
                    <a:gd name="T31" fmla="*/ 2147483647 h 28"/>
                    <a:gd name="T32" fmla="*/ 2147483647 w 24"/>
                    <a:gd name="T33" fmla="*/ 2147483647 h 28"/>
                    <a:gd name="T34" fmla="*/ 2147483647 w 24"/>
                    <a:gd name="T35" fmla="*/ 2147483647 h 28"/>
                    <a:gd name="T36" fmla="*/ 2147483647 w 24"/>
                    <a:gd name="T37" fmla="*/ 2147483647 h 28"/>
                    <a:gd name="T38" fmla="*/ 2147483647 w 24"/>
                    <a:gd name="T39" fmla="*/ 2147483647 h 28"/>
                    <a:gd name="T40" fmla="*/ 2147483647 w 24"/>
                    <a:gd name="T41" fmla="*/ 2147483647 h 28"/>
                    <a:gd name="T42" fmla="*/ 2147483647 w 24"/>
                    <a:gd name="T43" fmla="*/ 2147483647 h 28"/>
                    <a:gd name="T44" fmla="*/ 2147483647 w 24"/>
                    <a:gd name="T45" fmla="*/ 2147483647 h 28"/>
                    <a:gd name="T46" fmla="*/ 2147483647 w 24"/>
                    <a:gd name="T47" fmla="*/ 2147483647 h 28"/>
                    <a:gd name="T48" fmla="*/ 2147483647 w 24"/>
                    <a:gd name="T49" fmla="*/ 2147483647 h 28"/>
                    <a:gd name="T50" fmla="*/ 2147483647 w 24"/>
                    <a:gd name="T51" fmla="*/ 2147483647 h 28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4"/>
                    <a:gd name="T79" fmla="*/ 0 h 28"/>
                    <a:gd name="T80" fmla="*/ 24 w 24"/>
                    <a:gd name="T81" fmla="*/ 28 h 28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4" h="28">
                      <a:moveTo>
                        <a:pt x="9" y="15"/>
                      </a:moveTo>
                      <a:lnTo>
                        <a:pt x="9" y="15"/>
                      </a:lnTo>
                      <a:lnTo>
                        <a:pt x="8" y="13"/>
                      </a:lnTo>
                      <a:lnTo>
                        <a:pt x="5" y="10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9" y="0"/>
                      </a:lnTo>
                      <a:lnTo>
                        <a:pt x="15" y="2"/>
                      </a:lnTo>
                      <a:lnTo>
                        <a:pt x="20" y="7"/>
                      </a:lnTo>
                      <a:lnTo>
                        <a:pt x="24" y="13"/>
                      </a:lnTo>
                      <a:lnTo>
                        <a:pt x="24" y="17"/>
                      </a:lnTo>
                      <a:lnTo>
                        <a:pt x="23" y="21"/>
                      </a:lnTo>
                      <a:lnTo>
                        <a:pt x="22" y="26"/>
                      </a:lnTo>
                      <a:lnTo>
                        <a:pt x="18" y="28"/>
                      </a:lnTo>
                      <a:lnTo>
                        <a:pt x="15" y="28"/>
                      </a:lnTo>
                      <a:lnTo>
                        <a:pt x="13" y="28"/>
                      </a:lnTo>
                      <a:lnTo>
                        <a:pt x="12" y="27"/>
                      </a:lnTo>
                      <a:lnTo>
                        <a:pt x="10" y="25"/>
                      </a:lnTo>
                      <a:lnTo>
                        <a:pt x="9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7" name="Freeform 316">
                  <a:extLst>
                    <a:ext uri="{FF2B5EF4-FFF2-40B4-BE49-F238E27FC236}">
                      <a16:creationId xmlns:a16="http://schemas.microsoft.com/office/drawing/2014/main" id="{FFE4FE78-55F5-0846-BCD7-6A3346EB46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5837" y="4266153"/>
                  <a:ext cx="38477" cy="39956"/>
                </a:xfrm>
                <a:custGeom>
                  <a:avLst/>
                  <a:gdLst>
                    <a:gd name="T0" fmla="*/ 2147483647 w 28"/>
                    <a:gd name="T1" fmla="*/ 2147483647 h 27"/>
                    <a:gd name="T2" fmla="*/ 0 w 28"/>
                    <a:gd name="T3" fmla="*/ 2147483647 h 27"/>
                    <a:gd name="T4" fmla="*/ 0 w 28"/>
                    <a:gd name="T5" fmla="*/ 2147483647 h 27"/>
                    <a:gd name="T6" fmla="*/ 2147483647 w 28"/>
                    <a:gd name="T7" fmla="*/ 2147483647 h 27"/>
                    <a:gd name="T8" fmla="*/ 2147483647 w 28"/>
                    <a:gd name="T9" fmla="*/ 0 h 27"/>
                    <a:gd name="T10" fmla="*/ 2147483647 w 28"/>
                    <a:gd name="T11" fmla="*/ 0 h 27"/>
                    <a:gd name="T12" fmla="*/ 2147483647 w 28"/>
                    <a:gd name="T13" fmla="*/ 2147483647 h 27"/>
                    <a:gd name="T14" fmla="*/ 2147483647 w 28"/>
                    <a:gd name="T15" fmla="*/ 2147483647 h 27"/>
                    <a:gd name="T16" fmla="*/ 2147483647 w 28"/>
                    <a:gd name="T17" fmla="*/ 2147483647 h 27"/>
                    <a:gd name="T18" fmla="*/ 2147483647 w 28"/>
                    <a:gd name="T19" fmla="*/ 2147483647 h 27"/>
                    <a:gd name="T20" fmla="*/ 2147483647 w 28"/>
                    <a:gd name="T21" fmla="*/ 2147483647 h 27"/>
                    <a:gd name="T22" fmla="*/ 2147483647 w 28"/>
                    <a:gd name="T23" fmla="*/ 2147483647 h 27"/>
                    <a:gd name="T24" fmla="*/ 2147483647 w 28"/>
                    <a:gd name="T25" fmla="*/ 2147483647 h 27"/>
                    <a:gd name="T26" fmla="*/ 2147483647 w 28"/>
                    <a:gd name="T27" fmla="*/ 2147483647 h 27"/>
                    <a:gd name="T28" fmla="*/ 2147483647 w 28"/>
                    <a:gd name="T29" fmla="*/ 2147483647 h 27"/>
                    <a:gd name="T30" fmla="*/ 2147483647 w 28"/>
                    <a:gd name="T31" fmla="*/ 2147483647 h 27"/>
                    <a:gd name="T32" fmla="*/ 2147483647 w 28"/>
                    <a:gd name="T33" fmla="*/ 2147483647 h 27"/>
                    <a:gd name="T34" fmla="*/ 2147483647 w 28"/>
                    <a:gd name="T35" fmla="*/ 2147483647 h 27"/>
                    <a:gd name="T36" fmla="*/ 2147483647 w 28"/>
                    <a:gd name="T37" fmla="*/ 2147483647 h 27"/>
                    <a:gd name="T38" fmla="*/ 2147483647 w 28"/>
                    <a:gd name="T39" fmla="*/ 2147483647 h 27"/>
                    <a:gd name="T40" fmla="*/ 2147483647 w 28"/>
                    <a:gd name="T41" fmla="*/ 2147483647 h 27"/>
                    <a:gd name="T42" fmla="*/ 2147483647 w 28"/>
                    <a:gd name="T43" fmla="*/ 2147483647 h 27"/>
                    <a:gd name="T44" fmla="*/ 2147483647 w 28"/>
                    <a:gd name="T45" fmla="*/ 2147483647 h 2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8"/>
                    <a:gd name="T70" fmla="*/ 0 h 27"/>
                    <a:gd name="T71" fmla="*/ 28 w 28"/>
                    <a:gd name="T72" fmla="*/ 27 h 2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8" h="27">
                      <a:moveTo>
                        <a:pt x="4" y="12"/>
                      </a:move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9" y="2"/>
                      </a:lnTo>
                      <a:lnTo>
                        <a:pt x="23" y="3"/>
                      </a:lnTo>
                      <a:lnTo>
                        <a:pt x="25" y="4"/>
                      </a:lnTo>
                      <a:lnTo>
                        <a:pt x="28" y="6"/>
                      </a:lnTo>
                      <a:lnTo>
                        <a:pt x="26" y="9"/>
                      </a:lnTo>
                      <a:lnTo>
                        <a:pt x="25" y="11"/>
                      </a:lnTo>
                      <a:lnTo>
                        <a:pt x="23" y="12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24"/>
                      </a:lnTo>
                      <a:lnTo>
                        <a:pt x="6" y="25"/>
                      </a:lnTo>
                      <a:lnTo>
                        <a:pt x="5" y="27"/>
                      </a:lnTo>
                      <a:lnTo>
                        <a:pt x="4" y="24"/>
                      </a:lnTo>
                      <a:lnTo>
                        <a:pt x="2" y="22"/>
                      </a:lnTo>
                      <a:lnTo>
                        <a:pt x="2" y="18"/>
                      </a:lnTo>
                      <a:lnTo>
                        <a:pt x="4" y="16"/>
                      </a:lnTo>
                      <a:lnTo>
                        <a:pt x="4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8" name="Freeform 317">
                  <a:extLst>
                    <a:ext uri="{FF2B5EF4-FFF2-40B4-BE49-F238E27FC236}">
                      <a16:creationId xmlns:a16="http://schemas.microsoft.com/office/drawing/2014/main" id="{8E3DE8F3-C892-2742-BD35-DB36C159D0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9871" y="4246913"/>
                  <a:ext cx="23678" cy="23678"/>
                </a:xfrm>
                <a:custGeom>
                  <a:avLst/>
                  <a:gdLst>
                    <a:gd name="T0" fmla="*/ 2147483647 w 17"/>
                    <a:gd name="T1" fmla="*/ 2147483647 h 16"/>
                    <a:gd name="T2" fmla="*/ 2147483647 w 17"/>
                    <a:gd name="T3" fmla="*/ 2147483647 h 16"/>
                    <a:gd name="T4" fmla="*/ 0 w 17"/>
                    <a:gd name="T5" fmla="*/ 2147483647 h 16"/>
                    <a:gd name="T6" fmla="*/ 0 w 17"/>
                    <a:gd name="T7" fmla="*/ 2147483647 h 16"/>
                    <a:gd name="T8" fmla="*/ 2147483647 w 17"/>
                    <a:gd name="T9" fmla="*/ 2147483647 h 16"/>
                    <a:gd name="T10" fmla="*/ 2147483647 w 17"/>
                    <a:gd name="T11" fmla="*/ 2147483647 h 16"/>
                    <a:gd name="T12" fmla="*/ 2147483647 w 17"/>
                    <a:gd name="T13" fmla="*/ 0 h 16"/>
                    <a:gd name="T14" fmla="*/ 2147483647 w 17"/>
                    <a:gd name="T15" fmla="*/ 0 h 16"/>
                    <a:gd name="T16" fmla="*/ 2147483647 w 17"/>
                    <a:gd name="T17" fmla="*/ 2147483647 h 16"/>
                    <a:gd name="T18" fmla="*/ 2147483647 w 17"/>
                    <a:gd name="T19" fmla="*/ 2147483647 h 16"/>
                    <a:gd name="T20" fmla="*/ 2147483647 w 17"/>
                    <a:gd name="T21" fmla="*/ 2147483647 h 16"/>
                    <a:gd name="T22" fmla="*/ 2147483647 w 17"/>
                    <a:gd name="T23" fmla="*/ 2147483647 h 16"/>
                    <a:gd name="T24" fmla="*/ 2147483647 w 17"/>
                    <a:gd name="T25" fmla="*/ 2147483647 h 16"/>
                    <a:gd name="T26" fmla="*/ 2147483647 w 17"/>
                    <a:gd name="T27" fmla="*/ 2147483647 h 16"/>
                    <a:gd name="T28" fmla="*/ 2147483647 w 17"/>
                    <a:gd name="T29" fmla="*/ 2147483647 h 16"/>
                    <a:gd name="T30" fmla="*/ 2147483647 w 17"/>
                    <a:gd name="T31" fmla="*/ 2147483647 h 1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7"/>
                    <a:gd name="T49" fmla="*/ 0 h 16"/>
                    <a:gd name="T50" fmla="*/ 17 w 17"/>
                    <a:gd name="T51" fmla="*/ 16 h 1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7" h="16">
                      <a:moveTo>
                        <a:pt x="5" y="12"/>
                      </a:moveTo>
                      <a:lnTo>
                        <a:pt x="3" y="11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9" y="0"/>
                      </a:lnTo>
                      <a:lnTo>
                        <a:pt x="13" y="3"/>
                      </a:lnTo>
                      <a:lnTo>
                        <a:pt x="15" y="6"/>
                      </a:lnTo>
                      <a:lnTo>
                        <a:pt x="17" y="11"/>
                      </a:lnTo>
                      <a:lnTo>
                        <a:pt x="15" y="13"/>
                      </a:lnTo>
                      <a:lnTo>
                        <a:pt x="14" y="15"/>
                      </a:lnTo>
                      <a:lnTo>
                        <a:pt x="12" y="16"/>
                      </a:lnTo>
                      <a:lnTo>
                        <a:pt x="10" y="15"/>
                      </a:lnTo>
                      <a:lnTo>
                        <a:pt x="5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9" name="Freeform 318">
                  <a:extLst>
                    <a:ext uri="{FF2B5EF4-FFF2-40B4-BE49-F238E27FC236}">
                      <a16:creationId xmlns:a16="http://schemas.microsoft.com/office/drawing/2014/main" id="{451D255D-51B1-C84E-A5C7-3FE7E06C96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74353" y="4264675"/>
                  <a:ext cx="36997" cy="38477"/>
                </a:xfrm>
                <a:custGeom>
                  <a:avLst/>
                  <a:gdLst>
                    <a:gd name="T0" fmla="*/ 2147483647 w 27"/>
                    <a:gd name="T1" fmla="*/ 2147483647 h 26"/>
                    <a:gd name="T2" fmla="*/ 2147483647 w 27"/>
                    <a:gd name="T3" fmla="*/ 2147483647 h 26"/>
                    <a:gd name="T4" fmla="*/ 0 w 27"/>
                    <a:gd name="T5" fmla="*/ 2147483647 h 26"/>
                    <a:gd name="T6" fmla="*/ 0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2147483647 h 26"/>
                    <a:gd name="T12" fmla="*/ 2147483647 w 27"/>
                    <a:gd name="T13" fmla="*/ 0 h 26"/>
                    <a:gd name="T14" fmla="*/ 2147483647 w 27"/>
                    <a:gd name="T15" fmla="*/ 0 h 26"/>
                    <a:gd name="T16" fmla="*/ 2147483647 w 27"/>
                    <a:gd name="T17" fmla="*/ 2147483647 h 26"/>
                    <a:gd name="T18" fmla="*/ 2147483647 w 27"/>
                    <a:gd name="T19" fmla="*/ 2147483647 h 26"/>
                    <a:gd name="T20" fmla="*/ 2147483647 w 27"/>
                    <a:gd name="T21" fmla="*/ 2147483647 h 26"/>
                    <a:gd name="T22" fmla="*/ 2147483647 w 27"/>
                    <a:gd name="T23" fmla="*/ 2147483647 h 26"/>
                    <a:gd name="T24" fmla="*/ 2147483647 w 27"/>
                    <a:gd name="T25" fmla="*/ 2147483647 h 26"/>
                    <a:gd name="T26" fmla="*/ 2147483647 w 27"/>
                    <a:gd name="T27" fmla="*/ 2147483647 h 26"/>
                    <a:gd name="T28" fmla="*/ 2147483647 w 27"/>
                    <a:gd name="T29" fmla="*/ 2147483647 h 26"/>
                    <a:gd name="T30" fmla="*/ 2147483647 w 27"/>
                    <a:gd name="T31" fmla="*/ 2147483647 h 26"/>
                    <a:gd name="T32" fmla="*/ 2147483647 w 27"/>
                    <a:gd name="T33" fmla="*/ 2147483647 h 26"/>
                    <a:gd name="T34" fmla="*/ 2147483647 w 27"/>
                    <a:gd name="T35" fmla="*/ 2147483647 h 26"/>
                    <a:gd name="T36" fmla="*/ 2147483647 w 27"/>
                    <a:gd name="T37" fmla="*/ 2147483647 h 26"/>
                    <a:gd name="T38" fmla="*/ 2147483647 w 27"/>
                    <a:gd name="T39" fmla="*/ 2147483647 h 26"/>
                    <a:gd name="T40" fmla="*/ 2147483647 w 27"/>
                    <a:gd name="T41" fmla="*/ 2147483647 h 26"/>
                    <a:gd name="T42" fmla="*/ 2147483647 w 27"/>
                    <a:gd name="T43" fmla="*/ 2147483647 h 26"/>
                    <a:gd name="T44" fmla="*/ 2147483647 w 27"/>
                    <a:gd name="T45" fmla="*/ 2147483647 h 26"/>
                    <a:gd name="T46" fmla="*/ 2147483647 w 27"/>
                    <a:gd name="T47" fmla="*/ 2147483647 h 26"/>
                    <a:gd name="T48" fmla="*/ 2147483647 w 27"/>
                    <a:gd name="T49" fmla="*/ 2147483647 h 26"/>
                    <a:gd name="T50" fmla="*/ 2147483647 w 27"/>
                    <a:gd name="T51" fmla="*/ 2147483647 h 26"/>
                    <a:gd name="T52" fmla="*/ 2147483647 w 27"/>
                    <a:gd name="T53" fmla="*/ 2147483647 h 26"/>
                    <a:gd name="T54" fmla="*/ 2147483647 w 27"/>
                    <a:gd name="T55" fmla="*/ 2147483647 h 26"/>
                    <a:gd name="T56" fmla="*/ 2147483647 w 27"/>
                    <a:gd name="T57" fmla="*/ 2147483647 h 26"/>
                    <a:gd name="T58" fmla="*/ 2147483647 w 27"/>
                    <a:gd name="T59" fmla="*/ 2147483647 h 2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7"/>
                    <a:gd name="T91" fmla="*/ 0 h 26"/>
                    <a:gd name="T92" fmla="*/ 27 w 27"/>
                    <a:gd name="T93" fmla="*/ 26 h 2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7" h="26">
                      <a:moveTo>
                        <a:pt x="3" y="12"/>
                      </a:moveTo>
                      <a:lnTo>
                        <a:pt x="3" y="12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1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9" y="1"/>
                      </a:lnTo>
                      <a:lnTo>
                        <a:pt x="22" y="3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6" y="9"/>
                      </a:lnTo>
                      <a:lnTo>
                        <a:pt x="25" y="11"/>
                      </a:lnTo>
                      <a:lnTo>
                        <a:pt x="22" y="12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8" y="24"/>
                      </a:lnTo>
                      <a:lnTo>
                        <a:pt x="6" y="25"/>
                      </a:lnTo>
                      <a:lnTo>
                        <a:pt x="5" y="26"/>
                      </a:lnTo>
                      <a:lnTo>
                        <a:pt x="3" y="24"/>
                      </a:lnTo>
                      <a:lnTo>
                        <a:pt x="2" y="22"/>
                      </a:lnTo>
                      <a:lnTo>
                        <a:pt x="2" y="18"/>
                      </a:lnTo>
                      <a:lnTo>
                        <a:pt x="3" y="16"/>
                      </a:lnTo>
                      <a:lnTo>
                        <a:pt x="3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0" name="Freeform 319">
                  <a:extLst>
                    <a:ext uri="{FF2B5EF4-FFF2-40B4-BE49-F238E27FC236}">
                      <a16:creationId xmlns:a16="http://schemas.microsoft.com/office/drawing/2014/main" id="{F11FEB94-52E1-0A43-8073-5BD9DDB3C0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8392" y="4245434"/>
                  <a:ext cx="22198" cy="23678"/>
                </a:xfrm>
                <a:custGeom>
                  <a:avLst/>
                  <a:gdLst>
                    <a:gd name="T0" fmla="*/ 2147483647 w 16"/>
                    <a:gd name="T1" fmla="*/ 2147483647 h 16"/>
                    <a:gd name="T2" fmla="*/ 2147483647 w 16"/>
                    <a:gd name="T3" fmla="*/ 2147483647 h 16"/>
                    <a:gd name="T4" fmla="*/ 2147483647 w 16"/>
                    <a:gd name="T5" fmla="*/ 2147483647 h 16"/>
                    <a:gd name="T6" fmla="*/ 0 w 16"/>
                    <a:gd name="T7" fmla="*/ 2147483647 h 16"/>
                    <a:gd name="T8" fmla="*/ 0 w 16"/>
                    <a:gd name="T9" fmla="*/ 2147483647 h 16"/>
                    <a:gd name="T10" fmla="*/ 0 w 16"/>
                    <a:gd name="T11" fmla="*/ 2147483647 h 16"/>
                    <a:gd name="T12" fmla="*/ 2147483647 w 16"/>
                    <a:gd name="T13" fmla="*/ 2147483647 h 16"/>
                    <a:gd name="T14" fmla="*/ 2147483647 w 16"/>
                    <a:gd name="T15" fmla="*/ 2147483647 h 16"/>
                    <a:gd name="T16" fmla="*/ 2147483647 w 16"/>
                    <a:gd name="T17" fmla="*/ 0 h 16"/>
                    <a:gd name="T18" fmla="*/ 2147483647 w 16"/>
                    <a:gd name="T19" fmla="*/ 0 h 16"/>
                    <a:gd name="T20" fmla="*/ 2147483647 w 16"/>
                    <a:gd name="T21" fmla="*/ 0 h 16"/>
                    <a:gd name="T22" fmla="*/ 2147483647 w 16"/>
                    <a:gd name="T23" fmla="*/ 2147483647 h 16"/>
                    <a:gd name="T24" fmla="*/ 2147483647 w 16"/>
                    <a:gd name="T25" fmla="*/ 2147483647 h 16"/>
                    <a:gd name="T26" fmla="*/ 2147483647 w 16"/>
                    <a:gd name="T27" fmla="*/ 2147483647 h 16"/>
                    <a:gd name="T28" fmla="*/ 2147483647 w 16"/>
                    <a:gd name="T29" fmla="*/ 2147483647 h 16"/>
                    <a:gd name="T30" fmla="*/ 2147483647 w 16"/>
                    <a:gd name="T31" fmla="*/ 2147483647 h 16"/>
                    <a:gd name="T32" fmla="*/ 2147483647 w 16"/>
                    <a:gd name="T33" fmla="*/ 2147483647 h 16"/>
                    <a:gd name="T34" fmla="*/ 2147483647 w 16"/>
                    <a:gd name="T35" fmla="*/ 2147483647 h 16"/>
                    <a:gd name="T36" fmla="*/ 2147483647 w 16"/>
                    <a:gd name="T37" fmla="*/ 2147483647 h 16"/>
                    <a:gd name="T38" fmla="*/ 2147483647 w 16"/>
                    <a:gd name="T39" fmla="*/ 2147483647 h 16"/>
                    <a:gd name="T40" fmla="*/ 2147483647 w 16"/>
                    <a:gd name="T41" fmla="*/ 2147483647 h 1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6"/>
                    <a:gd name="T64" fmla="*/ 0 h 16"/>
                    <a:gd name="T65" fmla="*/ 16 w 16"/>
                    <a:gd name="T66" fmla="*/ 16 h 1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6" h="16">
                      <a:moveTo>
                        <a:pt x="5" y="12"/>
                      </a:moveTo>
                      <a:lnTo>
                        <a:pt x="5" y="12"/>
                      </a:lnTo>
                      <a:lnTo>
                        <a:pt x="2" y="11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5"/>
                      </a:lnTo>
                      <a:lnTo>
                        <a:pt x="2" y="3"/>
                      </a:lnTo>
                      <a:lnTo>
                        <a:pt x="5" y="0"/>
                      </a:lnTo>
                      <a:lnTo>
                        <a:pt x="9" y="0"/>
                      </a:lnTo>
                      <a:lnTo>
                        <a:pt x="13" y="3"/>
                      </a:lnTo>
                      <a:lnTo>
                        <a:pt x="15" y="6"/>
                      </a:lnTo>
                      <a:lnTo>
                        <a:pt x="16" y="11"/>
                      </a:lnTo>
                      <a:lnTo>
                        <a:pt x="15" y="13"/>
                      </a:lnTo>
                      <a:lnTo>
                        <a:pt x="14" y="14"/>
                      </a:lnTo>
                      <a:lnTo>
                        <a:pt x="11" y="16"/>
                      </a:lnTo>
                      <a:lnTo>
                        <a:pt x="10" y="14"/>
                      </a:lnTo>
                      <a:lnTo>
                        <a:pt x="5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1" name="Freeform 320">
                  <a:extLst>
                    <a:ext uri="{FF2B5EF4-FFF2-40B4-BE49-F238E27FC236}">
                      <a16:creationId xmlns:a16="http://schemas.microsoft.com/office/drawing/2014/main" id="{D62E75F7-A2BD-AE4A-B8FA-29CDDFD74B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4266" y="4187719"/>
                  <a:ext cx="17758" cy="29598"/>
                </a:xfrm>
                <a:custGeom>
                  <a:avLst/>
                  <a:gdLst>
                    <a:gd name="T0" fmla="*/ 2147483647 w 13"/>
                    <a:gd name="T1" fmla="*/ 2147483647 h 20"/>
                    <a:gd name="T2" fmla="*/ 0 w 13"/>
                    <a:gd name="T3" fmla="*/ 2147483647 h 20"/>
                    <a:gd name="T4" fmla="*/ 0 w 13"/>
                    <a:gd name="T5" fmla="*/ 2147483647 h 20"/>
                    <a:gd name="T6" fmla="*/ 2147483647 w 13"/>
                    <a:gd name="T7" fmla="*/ 0 h 20"/>
                    <a:gd name="T8" fmla="*/ 2147483647 w 13"/>
                    <a:gd name="T9" fmla="*/ 0 h 20"/>
                    <a:gd name="T10" fmla="*/ 2147483647 w 13"/>
                    <a:gd name="T11" fmla="*/ 2147483647 h 20"/>
                    <a:gd name="T12" fmla="*/ 2147483647 w 13"/>
                    <a:gd name="T13" fmla="*/ 2147483647 h 20"/>
                    <a:gd name="T14" fmla="*/ 2147483647 w 13"/>
                    <a:gd name="T15" fmla="*/ 2147483647 h 20"/>
                    <a:gd name="T16" fmla="*/ 2147483647 w 13"/>
                    <a:gd name="T17" fmla="*/ 2147483647 h 20"/>
                    <a:gd name="T18" fmla="*/ 2147483647 w 13"/>
                    <a:gd name="T19" fmla="*/ 2147483647 h 20"/>
                    <a:gd name="T20" fmla="*/ 2147483647 w 13"/>
                    <a:gd name="T21" fmla="*/ 2147483647 h 20"/>
                    <a:gd name="T22" fmla="*/ 2147483647 w 13"/>
                    <a:gd name="T23" fmla="*/ 2147483647 h 20"/>
                    <a:gd name="T24" fmla="*/ 2147483647 w 13"/>
                    <a:gd name="T25" fmla="*/ 2147483647 h 20"/>
                    <a:gd name="T26" fmla="*/ 0 w 13"/>
                    <a:gd name="T27" fmla="*/ 2147483647 h 20"/>
                    <a:gd name="T28" fmla="*/ 0 w 13"/>
                    <a:gd name="T29" fmla="*/ 2147483647 h 20"/>
                    <a:gd name="T30" fmla="*/ 2147483647 w 13"/>
                    <a:gd name="T31" fmla="*/ 2147483647 h 2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"/>
                    <a:gd name="T49" fmla="*/ 0 h 20"/>
                    <a:gd name="T50" fmla="*/ 13 w 13"/>
                    <a:gd name="T51" fmla="*/ 20 h 2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" h="20">
                      <a:moveTo>
                        <a:pt x="1" y="11"/>
                      </a:move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11" y="5"/>
                      </a:lnTo>
                      <a:lnTo>
                        <a:pt x="13" y="10"/>
                      </a:lnTo>
                      <a:lnTo>
                        <a:pt x="11" y="13"/>
                      </a:lnTo>
                      <a:lnTo>
                        <a:pt x="10" y="17"/>
                      </a:lnTo>
                      <a:lnTo>
                        <a:pt x="6" y="20"/>
                      </a:lnTo>
                      <a:lnTo>
                        <a:pt x="4" y="20"/>
                      </a:lnTo>
                      <a:lnTo>
                        <a:pt x="1" y="20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2" name="Freeform 321">
                  <a:extLst>
                    <a:ext uri="{FF2B5EF4-FFF2-40B4-BE49-F238E27FC236}">
                      <a16:creationId xmlns:a16="http://schemas.microsoft.com/office/drawing/2014/main" id="{25DB3469-873F-654D-B4F1-5EDEAC6545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6998" y="4067849"/>
                  <a:ext cx="115430" cy="177585"/>
                </a:xfrm>
                <a:custGeom>
                  <a:avLst/>
                  <a:gdLst>
                    <a:gd name="T0" fmla="*/ 2147483647 w 85"/>
                    <a:gd name="T1" fmla="*/ 2147483647 h 120"/>
                    <a:gd name="T2" fmla="*/ 2147483647 w 85"/>
                    <a:gd name="T3" fmla="*/ 2147483647 h 120"/>
                    <a:gd name="T4" fmla="*/ 2147483647 w 85"/>
                    <a:gd name="T5" fmla="*/ 2147483647 h 120"/>
                    <a:gd name="T6" fmla="*/ 2147483647 w 85"/>
                    <a:gd name="T7" fmla="*/ 2147483647 h 120"/>
                    <a:gd name="T8" fmla="*/ 2147483647 w 85"/>
                    <a:gd name="T9" fmla="*/ 2147483647 h 120"/>
                    <a:gd name="T10" fmla="*/ 2147483647 w 85"/>
                    <a:gd name="T11" fmla="*/ 2147483647 h 120"/>
                    <a:gd name="T12" fmla="*/ 2147483647 w 85"/>
                    <a:gd name="T13" fmla="*/ 2147483647 h 120"/>
                    <a:gd name="T14" fmla="*/ 2147483647 w 85"/>
                    <a:gd name="T15" fmla="*/ 2147483647 h 120"/>
                    <a:gd name="T16" fmla="*/ 2147483647 w 85"/>
                    <a:gd name="T17" fmla="*/ 2147483647 h 120"/>
                    <a:gd name="T18" fmla="*/ 2147483647 w 85"/>
                    <a:gd name="T19" fmla="*/ 2147483647 h 120"/>
                    <a:gd name="T20" fmla="*/ 2147483647 w 85"/>
                    <a:gd name="T21" fmla="*/ 2147483647 h 120"/>
                    <a:gd name="T22" fmla="*/ 2147483647 w 85"/>
                    <a:gd name="T23" fmla="*/ 2147483647 h 120"/>
                    <a:gd name="T24" fmla="*/ 2147483647 w 85"/>
                    <a:gd name="T25" fmla="*/ 2147483647 h 120"/>
                    <a:gd name="T26" fmla="*/ 2147483647 w 85"/>
                    <a:gd name="T27" fmla="*/ 2147483647 h 120"/>
                    <a:gd name="T28" fmla="*/ 2147483647 w 85"/>
                    <a:gd name="T29" fmla="*/ 2147483647 h 120"/>
                    <a:gd name="T30" fmla="*/ 2147483647 w 85"/>
                    <a:gd name="T31" fmla="*/ 2147483647 h 120"/>
                    <a:gd name="T32" fmla="*/ 2147483647 w 85"/>
                    <a:gd name="T33" fmla="*/ 2147483647 h 120"/>
                    <a:gd name="T34" fmla="*/ 2147483647 w 85"/>
                    <a:gd name="T35" fmla="*/ 2147483647 h 120"/>
                    <a:gd name="T36" fmla="*/ 2147483647 w 85"/>
                    <a:gd name="T37" fmla="*/ 2147483647 h 120"/>
                    <a:gd name="T38" fmla="*/ 2147483647 w 85"/>
                    <a:gd name="T39" fmla="*/ 2147483647 h 120"/>
                    <a:gd name="T40" fmla="*/ 2147483647 w 85"/>
                    <a:gd name="T41" fmla="*/ 2147483647 h 120"/>
                    <a:gd name="T42" fmla="*/ 2147483647 w 85"/>
                    <a:gd name="T43" fmla="*/ 2147483647 h 120"/>
                    <a:gd name="T44" fmla="*/ 2147483647 w 85"/>
                    <a:gd name="T45" fmla="*/ 2147483647 h 120"/>
                    <a:gd name="T46" fmla="*/ 2147483647 w 85"/>
                    <a:gd name="T47" fmla="*/ 2147483647 h 120"/>
                    <a:gd name="T48" fmla="*/ 2147483647 w 85"/>
                    <a:gd name="T49" fmla="*/ 2147483647 h 120"/>
                    <a:gd name="T50" fmla="*/ 2147483647 w 85"/>
                    <a:gd name="T51" fmla="*/ 2147483647 h 120"/>
                    <a:gd name="T52" fmla="*/ 2147483647 w 85"/>
                    <a:gd name="T53" fmla="*/ 2147483647 h 120"/>
                    <a:gd name="T54" fmla="*/ 2147483647 w 85"/>
                    <a:gd name="T55" fmla="*/ 2147483647 h 120"/>
                    <a:gd name="T56" fmla="*/ 2147483647 w 85"/>
                    <a:gd name="T57" fmla="*/ 2147483647 h 120"/>
                    <a:gd name="T58" fmla="*/ 2147483647 w 85"/>
                    <a:gd name="T59" fmla="*/ 2147483647 h 120"/>
                    <a:gd name="T60" fmla="*/ 2147483647 w 85"/>
                    <a:gd name="T61" fmla="*/ 2147483647 h 120"/>
                    <a:gd name="T62" fmla="*/ 2147483647 w 85"/>
                    <a:gd name="T63" fmla="*/ 2147483647 h 120"/>
                    <a:gd name="T64" fmla="*/ 2147483647 w 85"/>
                    <a:gd name="T65" fmla="*/ 2147483647 h 120"/>
                    <a:gd name="T66" fmla="*/ 2147483647 w 85"/>
                    <a:gd name="T67" fmla="*/ 2147483647 h 120"/>
                    <a:gd name="T68" fmla="*/ 2147483647 w 85"/>
                    <a:gd name="T69" fmla="*/ 2147483647 h 120"/>
                    <a:gd name="T70" fmla="*/ 2147483647 w 85"/>
                    <a:gd name="T71" fmla="*/ 2147483647 h 120"/>
                    <a:gd name="T72" fmla="*/ 2147483647 w 85"/>
                    <a:gd name="T73" fmla="*/ 2147483647 h 120"/>
                    <a:gd name="T74" fmla="*/ 2147483647 w 85"/>
                    <a:gd name="T75" fmla="*/ 2147483647 h 120"/>
                    <a:gd name="T76" fmla="*/ 2147483647 w 85"/>
                    <a:gd name="T77" fmla="*/ 2147483647 h 120"/>
                    <a:gd name="T78" fmla="*/ 2147483647 w 85"/>
                    <a:gd name="T79" fmla="*/ 2147483647 h 120"/>
                    <a:gd name="T80" fmla="*/ 2147483647 w 85"/>
                    <a:gd name="T81" fmla="*/ 2147483647 h 120"/>
                    <a:gd name="T82" fmla="*/ 2147483647 w 85"/>
                    <a:gd name="T83" fmla="*/ 2147483647 h 120"/>
                    <a:gd name="T84" fmla="*/ 2147483647 w 85"/>
                    <a:gd name="T85" fmla="*/ 2147483647 h 120"/>
                    <a:gd name="T86" fmla="*/ 2147483647 w 85"/>
                    <a:gd name="T87" fmla="*/ 2147483647 h 120"/>
                    <a:gd name="T88" fmla="*/ 2147483647 w 85"/>
                    <a:gd name="T89" fmla="*/ 2147483647 h 12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5"/>
                    <a:gd name="T136" fmla="*/ 0 h 120"/>
                    <a:gd name="T137" fmla="*/ 85 w 85"/>
                    <a:gd name="T138" fmla="*/ 120 h 12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5" h="120">
                      <a:moveTo>
                        <a:pt x="68" y="91"/>
                      </a:moveTo>
                      <a:lnTo>
                        <a:pt x="66" y="88"/>
                      </a:lnTo>
                      <a:lnTo>
                        <a:pt x="64" y="87"/>
                      </a:lnTo>
                      <a:lnTo>
                        <a:pt x="59" y="85"/>
                      </a:lnTo>
                      <a:lnTo>
                        <a:pt x="54" y="85"/>
                      </a:lnTo>
                      <a:lnTo>
                        <a:pt x="52" y="85"/>
                      </a:lnTo>
                      <a:lnTo>
                        <a:pt x="51" y="87"/>
                      </a:lnTo>
                      <a:lnTo>
                        <a:pt x="51" y="89"/>
                      </a:lnTo>
                      <a:lnTo>
                        <a:pt x="50" y="91"/>
                      </a:lnTo>
                      <a:lnTo>
                        <a:pt x="47" y="91"/>
                      </a:lnTo>
                      <a:lnTo>
                        <a:pt x="45" y="89"/>
                      </a:lnTo>
                      <a:lnTo>
                        <a:pt x="38" y="86"/>
                      </a:lnTo>
                      <a:lnTo>
                        <a:pt x="38" y="85"/>
                      </a:lnTo>
                      <a:lnTo>
                        <a:pt x="38" y="83"/>
                      </a:lnTo>
                      <a:lnTo>
                        <a:pt x="38" y="81"/>
                      </a:lnTo>
                      <a:lnTo>
                        <a:pt x="37" y="79"/>
                      </a:lnTo>
                      <a:lnTo>
                        <a:pt x="36" y="76"/>
                      </a:lnTo>
                      <a:lnTo>
                        <a:pt x="35" y="75"/>
                      </a:lnTo>
                      <a:lnTo>
                        <a:pt x="35" y="74"/>
                      </a:lnTo>
                      <a:lnTo>
                        <a:pt x="37" y="69"/>
                      </a:lnTo>
                      <a:lnTo>
                        <a:pt x="37" y="63"/>
                      </a:lnTo>
                      <a:lnTo>
                        <a:pt x="38" y="53"/>
                      </a:lnTo>
                      <a:lnTo>
                        <a:pt x="40" y="51"/>
                      </a:lnTo>
                      <a:lnTo>
                        <a:pt x="41" y="50"/>
                      </a:lnTo>
                      <a:lnTo>
                        <a:pt x="43" y="50"/>
                      </a:lnTo>
                      <a:lnTo>
                        <a:pt x="46" y="49"/>
                      </a:lnTo>
                      <a:lnTo>
                        <a:pt x="47" y="44"/>
                      </a:lnTo>
                      <a:lnTo>
                        <a:pt x="48" y="40"/>
                      </a:lnTo>
                      <a:lnTo>
                        <a:pt x="48" y="35"/>
                      </a:lnTo>
                      <a:lnTo>
                        <a:pt x="51" y="30"/>
                      </a:lnTo>
                      <a:lnTo>
                        <a:pt x="52" y="28"/>
                      </a:lnTo>
                      <a:lnTo>
                        <a:pt x="51" y="25"/>
                      </a:lnTo>
                      <a:lnTo>
                        <a:pt x="48" y="22"/>
                      </a:lnTo>
                      <a:lnTo>
                        <a:pt x="46" y="18"/>
                      </a:lnTo>
                      <a:lnTo>
                        <a:pt x="46" y="15"/>
                      </a:lnTo>
                      <a:lnTo>
                        <a:pt x="48" y="10"/>
                      </a:lnTo>
                      <a:lnTo>
                        <a:pt x="50" y="5"/>
                      </a:lnTo>
                      <a:lnTo>
                        <a:pt x="50" y="3"/>
                      </a:lnTo>
                      <a:lnTo>
                        <a:pt x="48" y="2"/>
                      </a:lnTo>
                      <a:lnTo>
                        <a:pt x="46" y="0"/>
                      </a:lnTo>
                      <a:lnTo>
                        <a:pt x="45" y="0"/>
                      </a:lnTo>
                      <a:lnTo>
                        <a:pt x="42" y="2"/>
                      </a:lnTo>
                      <a:lnTo>
                        <a:pt x="41" y="4"/>
                      </a:lnTo>
                      <a:lnTo>
                        <a:pt x="37" y="5"/>
                      </a:lnTo>
                      <a:lnTo>
                        <a:pt x="36" y="6"/>
                      </a:lnTo>
                      <a:lnTo>
                        <a:pt x="35" y="8"/>
                      </a:lnTo>
                      <a:lnTo>
                        <a:pt x="29" y="4"/>
                      </a:lnTo>
                      <a:lnTo>
                        <a:pt x="23" y="4"/>
                      </a:lnTo>
                      <a:lnTo>
                        <a:pt x="21" y="4"/>
                      </a:lnTo>
                      <a:lnTo>
                        <a:pt x="18" y="5"/>
                      </a:lnTo>
                      <a:lnTo>
                        <a:pt x="17" y="8"/>
                      </a:lnTo>
                      <a:lnTo>
                        <a:pt x="14" y="10"/>
                      </a:lnTo>
                      <a:lnTo>
                        <a:pt x="13" y="18"/>
                      </a:lnTo>
                      <a:lnTo>
                        <a:pt x="12" y="28"/>
                      </a:lnTo>
                      <a:lnTo>
                        <a:pt x="10" y="29"/>
                      </a:lnTo>
                      <a:lnTo>
                        <a:pt x="10" y="34"/>
                      </a:lnTo>
                      <a:lnTo>
                        <a:pt x="12" y="40"/>
                      </a:lnTo>
                      <a:lnTo>
                        <a:pt x="13" y="46"/>
                      </a:lnTo>
                      <a:lnTo>
                        <a:pt x="13" y="51"/>
                      </a:lnTo>
                      <a:lnTo>
                        <a:pt x="10" y="49"/>
                      </a:lnTo>
                      <a:lnTo>
                        <a:pt x="9" y="48"/>
                      </a:lnTo>
                      <a:lnTo>
                        <a:pt x="7" y="46"/>
                      </a:lnTo>
                      <a:lnTo>
                        <a:pt x="5" y="43"/>
                      </a:lnTo>
                      <a:lnTo>
                        <a:pt x="4" y="43"/>
                      </a:lnTo>
                      <a:lnTo>
                        <a:pt x="3" y="43"/>
                      </a:lnTo>
                      <a:lnTo>
                        <a:pt x="1" y="46"/>
                      </a:lnTo>
                      <a:lnTo>
                        <a:pt x="1" y="48"/>
                      </a:lnTo>
                      <a:lnTo>
                        <a:pt x="1" y="50"/>
                      </a:lnTo>
                      <a:lnTo>
                        <a:pt x="1" y="51"/>
                      </a:lnTo>
                      <a:lnTo>
                        <a:pt x="0" y="53"/>
                      </a:lnTo>
                      <a:lnTo>
                        <a:pt x="7" y="69"/>
                      </a:lnTo>
                      <a:lnTo>
                        <a:pt x="14" y="85"/>
                      </a:lnTo>
                      <a:lnTo>
                        <a:pt x="14" y="86"/>
                      </a:lnTo>
                      <a:lnTo>
                        <a:pt x="15" y="85"/>
                      </a:lnTo>
                      <a:lnTo>
                        <a:pt x="15" y="83"/>
                      </a:lnTo>
                      <a:lnTo>
                        <a:pt x="17" y="80"/>
                      </a:lnTo>
                      <a:lnTo>
                        <a:pt x="17" y="78"/>
                      </a:lnTo>
                      <a:lnTo>
                        <a:pt x="19" y="75"/>
                      </a:lnTo>
                      <a:lnTo>
                        <a:pt x="21" y="75"/>
                      </a:lnTo>
                      <a:lnTo>
                        <a:pt x="23" y="75"/>
                      </a:lnTo>
                      <a:lnTo>
                        <a:pt x="26" y="75"/>
                      </a:lnTo>
                      <a:lnTo>
                        <a:pt x="27" y="78"/>
                      </a:lnTo>
                      <a:lnTo>
                        <a:pt x="27" y="80"/>
                      </a:lnTo>
                      <a:lnTo>
                        <a:pt x="26" y="83"/>
                      </a:lnTo>
                      <a:lnTo>
                        <a:pt x="24" y="87"/>
                      </a:lnTo>
                      <a:lnTo>
                        <a:pt x="22" y="91"/>
                      </a:lnTo>
                      <a:lnTo>
                        <a:pt x="21" y="95"/>
                      </a:lnTo>
                      <a:lnTo>
                        <a:pt x="21" y="97"/>
                      </a:lnTo>
                      <a:lnTo>
                        <a:pt x="22" y="99"/>
                      </a:lnTo>
                      <a:lnTo>
                        <a:pt x="23" y="99"/>
                      </a:lnTo>
                      <a:lnTo>
                        <a:pt x="24" y="99"/>
                      </a:lnTo>
                      <a:lnTo>
                        <a:pt x="27" y="98"/>
                      </a:lnTo>
                      <a:lnTo>
                        <a:pt x="28" y="98"/>
                      </a:lnTo>
                      <a:lnTo>
                        <a:pt x="29" y="99"/>
                      </a:lnTo>
                      <a:lnTo>
                        <a:pt x="31" y="100"/>
                      </a:lnTo>
                      <a:lnTo>
                        <a:pt x="32" y="99"/>
                      </a:lnTo>
                      <a:lnTo>
                        <a:pt x="36" y="98"/>
                      </a:lnTo>
                      <a:lnTo>
                        <a:pt x="38" y="98"/>
                      </a:lnTo>
                      <a:lnTo>
                        <a:pt x="42" y="98"/>
                      </a:lnTo>
                      <a:lnTo>
                        <a:pt x="46" y="99"/>
                      </a:lnTo>
                      <a:lnTo>
                        <a:pt x="52" y="102"/>
                      </a:lnTo>
                      <a:lnTo>
                        <a:pt x="54" y="105"/>
                      </a:lnTo>
                      <a:lnTo>
                        <a:pt x="55" y="108"/>
                      </a:lnTo>
                      <a:lnTo>
                        <a:pt x="57" y="106"/>
                      </a:lnTo>
                      <a:lnTo>
                        <a:pt x="59" y="104"/>
                      </a:lnTo>
                      <a:lnTo>
                        <a:pt x="57" y="98"/>
                      </a:lnTo>
                      <a:lnTo>
                        <a:pt x="61" y="100"/>
                      </a:lnTo>
                      <a:lnTo>
                        <a:pt x="62" y="104"/>
                      </a:lnTo>
                      <a:lnTo>
                        <a:pt x="68" y="112"/>
                      </a:lnTo>
                      <a:lnTo>
                        <a:pt x="69" y="113"/>
                      </a:lnTo>
                      <a:lnTo>
                        <a:pt x="70" y="113"/>
                      </a:lnTo>
                      <a:lnTo>
                        <a:pt x="71" y="114"/>
                      </a:lnTo>
                      <a:lnTo>
                        <a:pt x="74" y="114"/>
                      </a:lnTo>
                      <a:lnTo>
                        <a:pt x="74" y="117"/>
                      </a:lnTo>
                      <a:lnTo>
                        <a:pt x="75" y="119"/>
                      </a:lnTo>
                      <a:lnTo>
                        <a:pt x="78" y="120"/>
                      </a:lnTo>
                      <a:lnTo>
                        <a:pt x="79" y="120"/>
                      </a:lnTo>
                      <a:lnTo>
                        <a:pt x="81" y="118"/>
                      </a:lnTo>
                      <a:lnTo>
                        <a:pt x="83" y="117"/>
                      </a:lnTo>
                      <a:lnTo>
                        <a:pt x="83" y="114"/>
                      </a:lnTo>
                      <a:lnTo>
                        <a:pt x="81" y="113"/>
                      </a:lnTo>
                      <a:lnTo>
                        <a:pt x="79" y="111"/>
                      </a:lnTo>
                      <a:lnTo>
                        <a:pt x="76" y="107"/>
                      </a:lnTo>
                      <a:lnTo>
                        <a:pt x="75" y="104"/>
                      </a:lnTo>
                      <a:lnTo>
                        <a:pt x="75" y="100"/>
                      </a:lnTo>
                      <a:lnTo>
                        <a:pt x="78" y="98"/>
                      </a:lnTo>
                      <a:lnTo>
                        <a:pt x="80" y="97"/>
                      </a:lnTo>
                      <a:lnTo>
                        <a:pt x="85" y="95"/>
                      </a:lnTo>
                      <a:lnTo>
                        <a:pt x="85" y="94"/>
                      </a:lnTo>
                      <a:lnTo>
                        <a:pt x="84" y="92"/>
                      </a:lnTo>
                      <a:lnTo>
                        <a:pt x="80" y="91"/>
                      </a:lnTo>
                      <a:lnTo>
                        <a:pt x="78" y="92"/>
                      </a:lnTo>
                      <a:lnTo>
                        <a:pt x="74" y="93"/>
                      </a:lnTo>
                      <a:lnTo>
                        <a:pt x="70" y="93"/>
                      </a:lnTo>
                      <a:lnTo>
                        <a:pt x="69" y="93"/>
                      </a:lnTo>
                      <a:lnTo>
                        <a:pt x="68" y="9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3" name="Freeform 322">
                  <a:extLst>
                    <a:ext uri="{FF2B5EF4-FFF2-40B4-BE49-F238E27FC236}">
                      <a16:creationId xmlns:a16="http://schemas.microsoft.com/office/drawing/2014/main" id="{464F126A-BFEB-D643-87B4-C41D4CE6D6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52789" y="4186238"/>
                  <a:ext cx="16278" cy="29598"/>
                </a:xfrm>
                <a:custGeom>
                  <a:avLst/>
                  <a:gdLst>
                    <a:gd name="T0" fmla="*/ 2147483647 w 12"/>
                    <a:gd name="T1" fmla="*/ 2147483647 h 20"/>
                    <a:gd name="T2" fmla="*/ 2147483647 w 12"/>
                    <a:gd name="T3" fmla="*/ 2147483647 h 20"/>
                    <a:gd name="T4" fmla="*/ 0 w 12"/>
                    <a:gd name="T5" fmla="*/ 2147483647 h 20"/>
                    <a:gd name="T6" fmla="*/ 0 w 12"/>
                    <a:gd name="T7" fmla="*/ 2147483647 h 20"/>
                    <a:gd name="T8" fmla="*/ 2147483647 w 12"/>
                    <a:gd name="T9" fmla="*/ 0 h 20"/>
                    <a:gd name="T10" fmla="*/ 2147483647 w 12"/>
                    <a:gd name="T11" fmla="*/ 0 h 20"/>
                    <a:gd name="T12" fmla="*/ 2147483647 w 12"/>
                    <a:gd name="T13" fmla="*/ 0 h 20"/>
                    <a:gd name="T14" fmla="*/ 2147483647 w 12"/>
                    <a:gd name="T15" fmla="*/ 2147483647 h 20"/>
                    <a:gd name="T16" fmla="*/ 2147483647 w 12"/>
                    <a:gd name="T17" fmla="*/ 2147483647 h 20"/>
                    <a:gd name="T18" fmla="*/ 2147483647 w 12"/>
                    <a:gd name="T19" fmla="*/ 2147483647 h 20"/>
                    <a:gd name="T20" fmla="*/ 2147483647 w 12"/>
                    <a:gd name="T21" fmla="*/ 2147483647 h 20"/>
                    <a:gd name="T22" fmla="*/ 2147483647 w 12"/>
                    <a:gd name="T23" fmla="*/ 2147483647 h 20"/>
                    <a:gd name="T24" fmla="*/ 2147483647 w 12"/>
                    <a:gd name="T25" fmla="*/ 2147483647 h 20"/>
                    <a:gd name="T26" fmla="*/ 2147483647 w 12"/>
                    <a:gd name="T27" fmla="*/ 2147483647 h 20"/>
                    <a:gd name="T28" fmla="*/ 2147483647 w 12"/>
                    <a:gd name="T29" fmla="*/ 2147483647 h 20"/>
                    <a:gd name="T30" fmla="*/ 2147483647 w 12"/>
                    <a:gd name="T31" fmla="*/ 2147483647 h 20"/>
                    <a:gd name="T32" fmla="*/ 2147483647 w 12"/>
                    <a:gd name="T33" fmla="*/ 2147483647 h 20"/>
                    <a:gd name="T34" fmla="*/ 2147483647 w 12"/>
                    <a:gd name="T35" fmla="*/ 2147483647 h 20"/>
                    <a:gd name="T36" fmla="*/ 0 w 12"/>
                    <a:gd name="T37" fmla="*/ 2147483647 h 20"/>
                    <a:gd name="T38" fmla="*/ 0 w 12"/>
                    <a:gd name="T39" fmla="*/ 2147483647 h 20"/>
                    <a:gd name="T40" fmla="*/ 2147483647 w 12"/>
                    <a:gd name="T41" fmla="*/ 2147483647 h 20"/>
                    <a:gd name="T42" fmla="*/ 2147483647 w 12"/>
                    <a:gd name="T43" fmla="*/ 2147483647 h 2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2"/>
                    <a:gd name="T67" fmla="*/ 0 h 20"/>
                    <a:gd name="T68" fmla="*/ 12 w 12"/>
                    <a:gd name="T69" fmla="*/ 20 h 2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2" h="20">
                      <a:moveTo>
                        <a:pt x="1" y="11"/>
                      </a:moveTo>
                      <a:lnTo>
                        <a:pt x="1" y="11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11" y="5"/>
                      </a:lnTo>
                      <a:lnTo>
                        <a:pt x="12" y="9"/>
                      </a:lnTo>
                      <a:lnTo>
                        <a:pt x="11" y="13"/>
                      </a:lnTo>
                      <a:lnTo>
                        <a:pt x="10" y="17"/>
                      </a:lnTo>
                      <a:lnTo>
                        <a:pt x="6" y="20"/>
                      </a:lnTo>
                      <a:lnTo>
                        <a:pt x="3" y="20"/>
                      </a:lnTo>
                      <a:lnTo>
                        <a:pt x="1" y="20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4" name="Freeform 323">
                  <a:extLst>
                    <a:ext uri="{FF2B5EF4-FFF2-40B4-BE49-F238E27FC236}">
                      <a16:creationId xmlns:a16="http://schemas.microsoft.com/office/drawing/2014/main" id="{4EB23CC7-ADB7-3647-BC0A-E0CF9F3CF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5519" y="4066369"/>
                  <a:ext cx="115430" cy="177585"/>
                </a:xfrm>
                <a:custGeom>
                  <a:avLst/>
                  <a:gdLst>
                    <a:gd name="T0" fmla="*/ 2147483647 w 85"/>
                    <a:gd name="T1" fmla="*/ 2147483647 h 120"/>
                    <a:gd name="T2" fmla="*/ 2147483647 w 85"/>
                    <a:gd name="T3" fmla="*/ 2147483647 h 120"/>
                    <a:gd name="T4" fmla="*/ 2147483647 w 85"/>
                    <a:gd name="T5" fmla="*/ 2147483647 h 120"/>
                    <a:gd name="T6" fmla="*/ 2147483647 w 85"/>
                    <a:gd name="T7" fmla="*/ 2147483647 h 120"/>
                    <a:gd name="T8" fmla="*/ 2147483647 w 85"/>
                    <a:gd name="T9" fmla="*/ 2147483647 h 120"/>
                    <a:gd name="T10" fmla="*/ 2147483647 w 85"/>
                    <a:gd name="T11" fmla="*/ 2147483647 h 120"/>
                    <a:gd name="T12" fmla="*/ 2147483647 w 85"/>
                    <a:gd name="T13" fmla="*/ 2147483647 h 120"/>
                    <a:gd name="T14" fmla="*/ 2147483647 w 85"/>
                    <a:gd name="T15" fmla="*/ 2147483647 h 120"/>
                    <a:gd name="T16" fmla="*/ 2147483647 w 85"/>
                    <a:gd name="T17" fmla="*/ 2147483647 h 120"/>
                    <a:gd name="T18" fmla="*/ 2147483647 w 85"/>
                    <a:gd name="T19" fmla="*/ 2147483647 h 120"/>
                    <a:gd name="T20" fmla="*/ 2147483647 w 85"/>
                    <a:gd name="T21" fmla="*/ 2147483647 h 120"/>
                    <a:gd name="T22" fmla="*/ 2147483647 w 85"/>
                    <a:gd name="T23" fmla="*/ 2147483647 h 120"/>
                    <a:gd name="T24" fmla="*/ 2147483647 w 85"/>
                    <a:gd name="T25" fmla="*/ 2147483647 h 120"/>
                    <a:gd name="T26" fmla="*/ 2147483647 w 85"/>
                    <a:gd name="T27" fmla="*/ 2147483647 h 120"/>
                    <a:gd name="T28" fmla="*/ 2147483647 w 85"/>
                    <a:gd name="T29" fmla="*/ 2147483647 h 120"/>
                    <a:gd name="T30" fmla="*/ 2147483647 w 85"/>
                    <a:gd name="T31" fmla="*/ 2147483647 h 120"/>
                    <a:gd name="T32" fmla="*/ 2147483647 w 85"/>
                    <a:gd name="T33" fmla="*/ 2147483647 h 120"/>
                    <a:gd name="T34" fmla="*/ 2147483647 w 85"/>
                    <a:gd name="T35" fmla="*/ 0 h 120"/>
                    <a:gd name="T36" fmla="*/ 2147483647 w 85"/>
                    <a:gd name="T37" fmla="*/ 2147483647 h 120"/>
                    <a:gd name="T38" fmla="*/ 2147483647 w 85"/>
                    <a:gd name="T39" fmla="*/ 2147483647 h 120"/>
                    <a:gd name="T40" fmla="*/ 2147483647 w 85"/>
                    <a:gd name="T41" fmla="*/ 2147483647 h 120"/>
                    <a:gd name="T42" fmla="*/ 2147483647 w 85"/>
                    <a:gd name="T43" fmla="*/ 2147483647 h 120"/>
                    <a:gd name="T44" fmla="*/ 2147483647 w 85"/>
                    <a:gd name="T45" fmla="*/ 2147483647 h 120"/>
                    <a:gd name="T46" fmla="*/ 2147483647 w 85"/>
                    <a:gd name="T47" fmla="*/ 2147483647 h 120"/>
                    <a:gd name="T48" fmla="*/ 2147483647 w 85"/>
                    <a:gd name="T49" fmla="*/ 2147483647 h 120"/>
                    <a:gd name="T50" fmla="*/ 2147483647 w 85"/>
                    <a:gd name="T51" fmla="*/ 2147483647 h 120"/>
                    <a:gd name="T52" fmla="*/ 2147483647 w 85"/>
                    <a:gd name="T53" fmla="*/ 2147483647 h 120"/>
                    <a:gd name="T54" fmla="*/ 2147483647 w 85"/>
                    <a:gd name="T55" fmla="*/ 2147483647 h 120"/>
                    <a:gd name="T56" fmla="*/ 2147483647 w 85"/>
                    <a:gd name="T57" fmla="*/ 2147483647 h 120"/>
                    <a:gd name="T58" fmla="*/ 2147483647 w 85"/>
                    <a:gd name="T59" fmla="*/ 2147483647 h 120"/>
                    <a:gd name="T60" fmla="*/ 0 w 85"/>
                    <a:gd name="T61" fmla="*/ 2147483647 h 120"/>
                    <a:gd name="T62" fmla="*/ 2147483647 w 85"/>
                    <a:gd name="T63" fmla="*/ 2147483647 h 120"/>
                    <a:gd name="T64" fmla="*/ 2147483647 w 85"/>
                    <a:gd name="T65" fmla="*/ 2147483647 h 120"/>
                    <a:gd name="T66" fmla="*/ 2147483647 w 85"/>
                    <a:gd name="T67" fmla="*/ 2147483647 h 120"/>
                    <a:gd name="T68" fmla="*/ 2147483647 w 85"/>
                    <a:gd name="T69" fmla="*/ 2147483647 h 120"/>
                    <a:gd name="T70" fmla="*/ 2147483647 w 85"/>
                    <a:gd name="T71" fmla="*/ 2147483647 h 120"/>
                    <a:gd name="T72" fmla="*/ 2147483647 w 85"/>
                    <a:gd name="T73" fmla="*/ 2147483647 h 120"/>
                    <a:gd name="T74" fmla="*/ 2147483647 w 85"/>
                    <a:gd name="T75" fmla="*/ 2147483647 h 120"/>
                    <a:gd name="T76" fmla="*/ 2147483647 w 85"/>
                    <a:gd name="T77" fmla="*/ 2147483647 h 120"/>
                    <a:gd name="T78" fmla="*/ 2147483647 w 85"/>
                    <a:gd name="T79" fmla="*/ 2147483647 h 120"/>
                    <a:gd name="T80" fmla="*/ 2147483647 w 85"/>
                    <a:gd name="T81" fmla="*/ 2147483647 h 120"/>
                    <a:gd name="T82" fmla="*/ 2147483647 w 85"/>
                    <a:gd name="T83" fmla="*/ 2147483647 h 120"/>
                    <a:gd name="T84" fmla="*/ 2147483647 w 85"/>
                    <a:gd name="T85" fmla="*/ 2147483647 h 120"/>
                    <a:gd name="T86" fmla="*/ 2147483647 w 85"/>
                    <a:gd name="T87" fmla="*/ 2147483647 h 120"/>
                    <a:gd name="T88" fmla="*/ 2147483647 w 85"/>
                    <a:gd name="T89" fmla="*/ 2147483647 h 120"/>
                    <a:gd name="T90" fmla="*/ 2147483647 w 85"/>
                    <a:gd name="T91" fmla="*/ 2147483647 h 120"/>
                    <a:gd name="T92" fmla="*/ 2147483647 w 85"/>
                    <a:gd name="T93" fmla="*/ 2147483647 h 120"/>
                    <a:gd name="T94" fmla="*/ 2147483647 w 85"/>
                    <a:gd name="T95" fmla="*/ 2147483647 h 120"/>
                    <a:gd name="T96" fmla="*/ 2147483647 w 85"/>
                    <a:gd name="T97" fmla="*/ 2147483647 h 120"/>
                    <a:gd name="T98" fmla="*/ 2147483647 w 85"/>
                    <a:gd name="T99" fmla="*/ 2147483647 h 120"/>
                    <a:gd name="T100" fmla="*/ 2147483647 w 85"/>
                    <a:gd name="T101" fmla="*/ 2147483647 h 120"/>
                    <a:gd name="T102" fmla="*/ 2147483647 w 85"/>
                    <a:gd name="T103" fmla="*/ 2147483647 h 120"/>
                    <a:gd name="T104" fmla="*/ 2147483647 w 85"/>
                    <a:gd name="T105" fmla="*/ 2147483647 h 120"/>
                    <a:gd name="T106" fmla="*/ 2147483647 w 85"/>
                    <a:gd name="T107" fmla="*/ 2147483647 h 120"/>
                    <a:gd name="T108" fmla="*/ 2147483647 w 85"/>
                    <a:gd name="T109" fmla="*/ 2147483647 h 120"/>
                    <a:gd name="T110" fmla="*/ 2147483647 w 85"/>
                    <a:gd name="T111" fmla="*/ 2147483647 h 120"/>
                    <a:gd name="T112" fmla="*/ 2147483647 w 85"/>
                    <a:gd name="T113" fmla="*/ 2147483647 h 120"/>
                    <a:gd name="T114" fmla="*/ 2147483647 w 85"/>
                    <a:gd name="T115" fmla="*/ 2147483647 h 120"/>
                    <a:gd name="T116" fmla="*/ 2147483647 w 85"/>
                    <a:gd name="T117" fmla="*/ 2147483647 h 120"/>
                    <a:gd name="T118" fmla="*/ 2147483647 w 85"/>
                    <a:gd name="T119" fmla="*/ 2147483647 h 12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5"/>
                    <a:gd name="T181" fmla="*/ 0 h 120"/>
                    <a:gd name="T182" fmla="*/ 85 w 85"/>
                    <a:gd name="T183" fmla="*/ 120 h 12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5" h="120">
                      <a:moveTo>
                        <a:pt x="67" y="90"/>
                      </a:moveTo>
                      <a:lnTo>
                        <a:pt x="67" y="90"/>
                      </a:lnTo>
                      <a:lnTo>
                        <a:pt x="66" y="88"/>
                      </a:lnTo>
                      <a:lnTo>
                        <a:pt x="63" y="87"/>
                      </a:lnTo>
                      <a:lnTo>
                        <a:pt x="58" y="84"/>
                      </a:lnTo>
                      <a:lnTo>
                        <a:pt x="53" y="84"/>
                      </a:lnTo>
                      <a:lnTo>
                        <a:pt x="52" y="84"/>
                      </a:lnTo>
                      <a:lnTo>
                        <a:pt x="51" y="87"/>
                      </a:lnTo>
                      <a:lnTo>
                        <a:pt x="51" y="89"/>
                      </a:lnTo>
                      <a:lnTo>
                        <a:pt x="49" y="90"/>
                      </a:lnTo>
                      <a:lnTo>
                        <a:pt x="47" y="90"/>
                      </a:lnTo>
                      <a:lnTo>
                        <a:pt x="44" y="89"/>
                      </a:lnTo>
                      <a:lnTo>
                        <a:pt x="38" y="86"/>
                      </a:lnTo>
                      <a:lnTo>
                        <a:pt x="38" y="84"/>
                      </a:lnTo>
                      <a:lnTo>
                        <a:pt x="38" y="83"/>
                      </a:lnTo>
                      <a:lnTo>
                        <a:pt x="38" y="81"/>
                      </a:lnTo>
                      <a:lnTo>
                        <a:pt x="37" y="79"/>
                      </a:lnTo>
                      <a:lnTo>
                        <a:pt x="36" y="76"/>
                      </a:lnTo>
                      <a:lnTo>
                        <a:pt x="34" y="75"/>
                      </a:lnTo>
                      <a:lnTo>
                        <a:pt x="34" y="74"/>
                      </a:lnTo>
                      <a:lnTo>
                        <a:pt x="37" y="69"/>
                      </a:lnTo>
                      <a:lnTo>
                        <a:pt x="37" y="63"/>
                      </a:lnTo>
                      <a:lnTo>
                        <a:pt x="38" y="52"/>
                      </a:lnTo>
                      <a:lnTo>
                        <a:pt x="39" y="51"/>
                      </a:lnTo>
                      <a:lnTo>
                        <a:pt x="41" y="50"/>
                      </a:lnTo>
                      <a:lnTo>
                        <a:pt x="43" y="50"/>
                      </a:lnTo>
                      <a:lnTo>
                        <a:pt x="46" y="49"/>
                      </a:lnTo>
                      <a:lnTo>
                        <a:pt x="47" y="44"/>
                      </a:lnTo>
                      <a:lnTo>
                        <a:pt x="48" y="39"/>
                      </a:lnTo>
                      <a:lnTo>
                        <a:pt x="48" y="35"/>
                      </a:lnTo>
                      <a:lnTo>
                        <a:pt x="51" y="30"/>
                      </a:lnTo>
                      <a:lnTo>
                        <a:pt x="52" y="28"/>
                      </a:lnTo>
                      <a:lnTo>
                        <a:pt x="51" y="25"/>
                      </a:lnTo>
                      <a:lnTo>
                        <a:pt x="48" y="22"/>
                      </a:lnTo>
                      <a:lnTo>
                        <a:pt x="46" y="18"/>
                      </a:lnTo>
                      <a:lnTo>
                        <a:pt x="46" y="15"/>
                      </a:lnTo>
                      <a:lnTo>
                        <a:pt x="48" y="10"/>
                      </a:lnTo>
                      <a:lnTo>
                        <a:pt x="49" y="5"/>
                      </a:lnTo>
                      <a:lnTo>
                        <a:pt x="49" y="3"/>
                      </a:lnTo>
                      <a:lnTo>
                        <a:pt x="48" y="1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2" y="1"/>
                      </a:lnTo>
                      <a:lnTo>
                        <a:pt x="41" y="4"/>
                      </a:lnTo>
                      <a:lnTo>
                        <a:pt x="37" y="5"/>
                      </a:lnTo>
                      <a:lnTo>
                        <a:pt x="36" y="6"/>
                      </a:lnTo>
                      <a:lnTo>
                        <a:pt x="34" y="7"/>
                      </a:lnTo>
                      <a:lnTo>
                        <a:pt x="29" y="4"/>
                      </a:lnTo>
                      <a:lnTo>
                        <a:pt x="23" y="4"/>
                      </a:lnTo>
                      <a:lnTo>
                        <a:pt x="20" y="4"/>
                      </a:lnTo>
                      <a:lnTo>
                        <a:pt x="18" y="5"/>
                      </a:lnTo>
                      <a:lnTo>
                        <a:pt x="16" y="7"/>
                      </a:lnTo>
                      <a:lnTo>
                        <a:pt x="14" y="10"/>
                      </a:lnTo>
                      <a:lnTo>
                        <a:pt x="13" y="18"/>
                      </a:lnTo>
                      <a:lnTo>
                        <a:pt x="11" y="28"/>
                      </a:lnTo>
                      <a:lnTo>
                        <a:pt x="10" y="29"/>
                      </a:lnTo>
                      <a:lnTo>
                        <a:pt x="10" y="34"/>
                      </a:lnTo>
                      <a:lnTo>
                        <a:pt x="11" y="39"/>
                      </a:lnTo>
                      <a:lnTo>
                        <a:pt x="13" y="45"/>
                      </a:lnTo>
                      <a:lnTo>
                        <a:pt x="13" y="51"/>
                      </a:lnTo>
                      <a:lnTo>
                        <a:pt x="10" y="49"/>
                      </a:lnTo>
                      <a:lnTo>
                        <a:pt x="9" y="48"/>
                      </a:lnTo>
                      <a:lnTo>
                        <a:pt x="6" y="45"/>
                      </a:lnTo>
                      <a:lnTo>
                        <a:pt x="5" y="43"/>
                      </a:lnTo>
                      <a:lnTo>
                        <a:pt x="4" y="43"/>
                      </a:lnTo>
                      <a:lnTo>
                        <a:pt x="2" y="43"/>
                      </a:lnTo>
                      <a:lnTo>
                        <a:pt x="1" y="45"/>
                      </a:lnTo>
                      <a:lnTo>
                        <a:pt x="1" y="48"/>
                      </a:lnTo>
                      <a:lnTo>
                        <a:pt x="1" y="50"/>
                      </a:lnTo>
                      <a:lnTo>
                        <a:pt x="1" y="51"/>
                      </a:lnTo>
                      <a:lnTo>
                        <a:pt x="0" y="52"/>
                      </a:lnTo>
                      <a:lnTo>
                        <a:pt x="6" y="69"/>
                      </a:lnTo>
                      <a:lnTo>
                        <a:pt x="14" y="84"/>
                      </a:lnTo>
                      <a:lnTo>
                        <a:pt x="14" y="86"/>
                      </a:lnTo>
                      <a:lnTo>
                        <a:pt x="15" y="84"/>
                      </a:lnTo>
                      <a:lnTo>
                        <a:pt x="15" y="83"/>
                      </a:lnTo>
                      <a:lnTo>
                        <a:pt x="16" y="80"/>
                      </a:lnTo>
                      <a:lnTo>
                        <a:pt x="16" y="77"/>
                      </a:lnTo>
                      <a:lnTo>
                        <a:pt x="19" y="75"/>
                      </a:lnTo>
                      <a:lnTo>
                        <a:pt x="20" y="75"/>
                      </a:lnTo>
                      <a:lnTo>
                        <a:pt x="23" y="75"/>
                      </a:lnTo>
                      <a:lnTo>
                        <a:pt x="25" y="75"/>
                      </a:lnTo>
                      <a:lnTo>
                        <a:pt x="27" y="77"/>
                      </a:lnTo>
                      <a:lnTo>
                        <a:pt x="27" y="80"/>
                      </a:lnTo>
                      <a:lnTo>
                        <a:pt x="25" y="83"/>
                      </a:lnTo>
                      <a:lnTo>
                        <a:pt x="24" y="87"/>
                      </a:lnTo>
                      <a:lnTo>
                        <a:pt x="22" y="90"/>
                      </a:lnTo>
                      <a:lnTo>
                        <a:pt x="20" y="95"/>
                      </a:lnTo>
                      <a:lnTo>
                        <a:pt x="20" y="96"/>
                      </a:lnTo>
                      <a:lnTo>
                        <a:pt x="22" y="99"/>
                      </a:lnTo>
                      <a:lnTo>
                        <a:pt x="23" y="99"/>
                      </a:lnTo>
                      <a:lnTo>
                        <a:pt x="24" y="99"/>
                      </a:lnTo>
                      <a:lnTo>
                        <a:pt x="27" y="98"/>
                      </a:lnTo>
                      <a:lnTo>
                        <a:pt x="28" y="98"/>
                      </a:lnTo>
                      <a:lnTo>
                        <a:pt x="29" y="99"/>
                      </a:lnTo>
                      <a:lnTo>
                        <a:pt x="30" y="100"/>
                      </a:lnTo>
                      <a:lnTo>
                        <a:pt x="32" y="99"/>
                      </a:lnTo>
                      <a:lnTo>
                        <a:pt x="36" y="98"/>
                      </a:lnTo>
                      <a:lnTo>
                        <a:pt x="38" y="98"/>
                      </a:lnTo>
                      <a:lnTo>
                        <a:pt x="42" y="98"/>
                      </a:lnTo>
                      <a:lnTo>
                        <a:pt x="46" y="99"/>
                      </a:lnTo>
                      <a:lnTo>
                        <a:pt x="52" y="102"/>
                      </a:lnTo>
                      <a:lnTo>
                        <a:pt x="53" y="105"/>
                      </a:lnTo>
                      <a:lnTo>
                        <a:pt x="55" y="108"/>
                      </a:lnTo>
                      <a:lnTo>
                        <a:pt x="57" y="106"/>
                      </a:lnTo>
                      <a:lnTo>
                        <a:pt x="58" y="103"/>
                      </a:lnTo>
                      <a:lnTo>
                        <a:pt x="57" y="98"/>
                      </a:lnTo>
                      <a:lnTo>
                        <a:pt x="61" y="100"/>
                      </a:lnTo>
                      <a:lnTo>
                        <a:pt x="62" y="103"/>
                      </a:lnTo>
                      <a:lnTo>
                        <a:pt x="67" y="112"/>
                      </a:lnTo>
                      <a:lnTo>
                        <a:pt x="69" y="113"/>
                      </a:lnTo>
                      <a:lnTo>
                        <a:pt x="70" y="113"/>
                      </a:lnTo>
                      <a:lnTo>
                        <a:pt x="71" y="114"/>
                      </a:lnTo>
                      <a:lnTo>
                        <a:pt x="74" y="114"/>
                      </a:lnTo>
                      <a:lnTo>
                        <a:pt x="74" y="116"/>
                      </a:lnTo>
                      <a:lnTo>
                        <a:pt x="75" y="119"/>
                      </a:lnTo>
                      <a:lnTo>
                        <a:pt x="77" y="120"/>
                      </a:lnTo>
                      <a:lnTo>
                        <a:pt x="79" y="120"/>
                      </a:lnTo>
                      <a:lnTo>
                        <a:pt x="81" y="118"/>
                      </a:lnTo>
                      <a:lnTo>
                        <a:pt x="82" y="116"/>
                      </a:lnTo>
                      <a:lnTo>
                        <a:pt x="82" y="114"/>
                      </a:lnTo>
                      <a:lnTo>
                        <a:pt x="81" y="113"/>
                      </a:lnTo>
                      <a:lnTo>
                        <a:pt x="79" y="111"/>
                      </a:lnTo>
                      <a:lnTo>
                        <a:pt x="76" y="107"/>
                      </a:lnTo>
                      <a:lnTo>
                        <a:pt x="75" y="103"/>
                      </a:lnTo>
                      <a:lnTo>
                        <a:pt x="75" y="100"/>
                      </a:lnTo>
                      <a:lnTo>
                        <a:pt x="77" y="98"/>
                      </a:lnTo>
                      <a:lnTo>
                        <a:pt x="80" y="96"/>
                      </a:lnTo>
                      <a:lnTo>
                        <a:pt x="85" y="95"/>
                      </a:lnTo>
                      <a:lnTo>
                        <a:pt x="85" y="94"/>
                      </a:lnTo>
                      <a:lnTo>
                        <a:pt x="84" y="92"/>
                      </a:lnTo>
                      <a:lnTo>
                        <a:pt x="80" y="90"/>
                      </a:lnTo>
                      <a:lnTo>
                        <a:pt x="77" y="92"/>
                      </a:lnTo>
                      <a:lnTo>
                        <a:pt x="74" y="93"/>
                      </a:lnTo>
                      <a:lnTo>
                        <a:pt x="70" y="93"/>
                      </a:lnTo>
                      <a:lnTo>
                        <a:pt x="69" y="93"/>
                      </a:lnTo>
                      <a:lnTo>
                        <a:pt x="67" y="9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5" name="Freeform 324">
                  <a:extLst>
                    <a:ext uri="{FF2B5EF4-FFF2-40B4-BE49-F238E27FC236}">
                      <a16:creationId xmlns:a16="http://schemas.microsoft.com/office/drawing/2014/main" id="{B57C7208-43F9-CD40-9E1B-59A91BA25B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8481" y="3865108"/>
                  <a:ext cx="54755" cy="115429"/>
                </a:xfrm>
                <a:custGeom>
                  <a:avLst/>
                  <a:gdLst>
                    <a:gd name="T0" fmla="*/ 2147483647 w 40"/>
                    <a:gd name="T1" fmla="*/ 2147483647 h 78"/>
                    <a:gd name="T2" fmla="*/ 2147483647 w 40"/>
                    <a:gd name="T3" fmla="*/ 2147483647 h 78"/>
                    <a:gd name="T4" fmla="*/ 2147483647 w 40"/>
                    <a:gd name="T5" fmla="*/ 2147483647 h 78"/>
                    <a:gd name="T6" fmla="*/ 2147483647 w 40"/>
                    <a:gd name="T7" fmla="*/ 2147483647 h 78"/>
                    <a:gd name="T8" fmla="*/ 2147483647 w 40"/>
                    <a:gd name="T9" fmla="*/ 0 h 78"/>
                    <a:gd name="T10" fmla="*/ 2147483647 w 40"/>
                    <a:gd name="T11" fmla="*/ 0 h 78"/>
                    <a:gd name="T12" fmla="*/ 2147483647 w 40"/>
                    <a:gd name="T13" fmla="*/ 0 h 78"/>
                    <a:gd name="T14" fmla="*/ 2147483647 w 40"/>
                    <a:gd name="T15" fmla="*/ 2147483647 h 78"/>
                    <a:gd name="T16" fmla="*/ 2147483647 w 40"/>
                    <a:gd name="T17" fmla="*/ 2147483647 h 78"/>
                    <a:gd name="T18" fmla="*/ 2147483647 w 40"/>
                    <a:gd name="T19" fmla="*/ 2147483647 h 78"/>
                    <a:gd name="T20" fmla="*/ 2147483647 w 40"/>
                    <a:gd name="T21" fmla="*/ 2147483647 h 78"/>
                    <a:gd name="T22" fmla="*/ 2147483647 w 40"/>
                    <a:gd name="T23" fmla="*/ 2147483647 h 78"/>
                    <a:gd name="T24" fmla="*/ 2147483647 w 40"/>
                    <a:gd name="T25" fmla="*/ 2147483647 h 78"/>
                    <a:gd name="T26" fmla="*/ 0 w 40"/>
                    <a:gd name="T27" fmla="*/ 2147483647 h 78"/>
                    <a:gd name="T28" fmla="*/ 2147483647 w 40"/>
                    <a:gd name="T29" fmla="*/ 2147483647 h 78"/>
                    <a:gd name="T30" fmla="*/ 2147483647 w 40"/>
                    <a:gd name="T31" fmla="*/ 2147483647 h 78"/>
                    <a:gd name="T32" fmla="*/ 2147483647 w 40"/>
                    <a:gd name="T33" fmla="*/ 2147483647 h 78"/>
                    <a:gd name="T34" fmla="*/ 2147483647 w 40"/>
                    <a:gd name="T35" fmla="*/ 2147483647 h 78"/>
                    <a:gd name="T36" fmla="*/ 2147483647 w 40"/>
                    <a:gd name="T37" fmla="*/ 2147483647 h 78"/>
                    <a:gd name="T38" fmla="*/ 2147483647 w 40"/>
                    <a:gd name="T39" fmla="*/ 2147483647 h 78"/>
                    <a:gd name="T40" fmla="*/ 2147483647 w 40"/>
                    <a:gd name="T41" fmla="*/ 2147483647 h 78"/>
                    <a:gd name="T42" fmla="*/ 2147483647 w 40"/>
                    <a:gd name="T43" fmla="*/ 2147483647 h 78"/>
                    <a:gd name="T44" fmla="*/ 2147483647 w 40"/>
                    <a:gd name="T45" fmla="*/ 2147483647 h 78"/>
                    <a:gd name="T46" fmla="*/ 2147483647 w 40"/>
                    <a:gd name="T47" fmla="*/ 2147483647 h 78"/>
                    <a:gd name="T48" fmla="*/ 2147483647 w 40"/>
                    <a:gd name="T49" fmla="*/ 2147483647 h 78"/>
                    <a:gd name="T50" fmla="*/ 2147483647 w 40"/>
                    <a:gd name="T51" fmla="*/ 2147483647 h 78"/>
                    <a:gd name="T52" fmla="*/ 2147483647 w 40"/>
                    <a:gd name="T53" fmla="*/ 2147483647 h 78"/>
                    <a:gd name="T54" fmla="*/ 2147483647 w 40"/>
                    <a:gd name="T55" fmla="*/ 2147483647 h 78"/>
                    <a:gd name="T56" fmla="*/ 2147483647 w 40"/>
                    <a:gd name="T57" fmla="*/ 2147483647 h 78"/>
                    <a:gd name="T58" fmla="*/ 2147483647 w 40"/>
                    <a:gd name="T59" fmla="*/ 2147483647 h 78"/>
                    <a:gd name="T60" fmla="*/ 2147483647 w 40"/>
                    <a:gd name="T61" fmla="*/ 2147483647 h 78"/>
                    <a:gd name="T62" fmla="*/ 2147483647 w 40"/>
                    <a:gd name="T63" fmla="*/ 2147483647 h 78"/>
                    <a:gd name="T64" fmla="*/ 2147483647 w 40"/>
                    <a:gd name="T65" fmla="*/ 2147483647 h 78"/>
                    <a:gd name="T66" fmla="*/ 2147483647 w 40"/>
                    <a:gd name="T67" fmla="*/ 2147483647 h 78"/>
                    <a:gd name="T68" fmla="*/ 2147483647 w 40"/>
                    <a:gd name="T69" fmla="*/ 2147483647 h 78"/>
                    <a:gd name="T70" fmla="*/ 2147483647 w 40"/>
                    <a:gd name="T71" fmla="*/ 2147483647 h 78"/>
                    <a:gd name="T72" fmla="*/ 2147483647 w 40"/>
                    <a:gd name="T73" fmla="*/ 2147483647 h 78"/>
                    <a:gd name="T74" fmla="*/ 2147483647 w 40"/>
                    <a:gd name="T75" fmla="*/ 2147483647 h 78"/>
                    <a:gd name="T76" fmla="*/ 2147483647 w 40"/>
                    <a:gd name="T77" fmla="*/ 2147483647 h 78"/>
                    <a:gd name="T78" fmla="*/ 2147483647 w 40"/>
                    <a:gd name="T79" fmla="*/ 2147483647 h 78"/>
                    <a:gd name="T80" fmla="*/ 2147483647 w 40"/>
                    <a:gd name="T81" fmla="*/ 2147483647 h 7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0"/>
                    <a:gd name="T124" fmla="*/ 0 h 78"/>
                    <a:gd name="T125" fmla="*/ 40 w 40"/>
                    <a:gd name="T126" fmla="*/ 78 h 7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0" h="78">
                      <a:moveTo>
                        <a:pt x="37" y="12"/>
                      </a:moveTo>
                      <a:lnTo>
                        <a:pt x="40" y="6"/>
                      </a:lnTo>
                      <a:lnTo>
                        <a:pt x="40" y="4"/>
                      </a:lnTo>
                      <a:lnTo>
                        <a:pt x="39" y="1"/>
                      </a:lnTo>
                      <a:lnTo>
                        <a:pt x="36" y="0"/>
                      </a:lnTo>
                      <a:lnTo>
                        <a:pt x="34" y="0"/>
                      </a:lnTo>
                      <a:lnTo>
                        <a:pt x="27" y="0"/>
                      </a:lnTo>
                      <a:lnTo>
                        <a:pt x="22" y="2"/>
                      </a:lnTo>
                      <a:lnTo>
                        <a:pt x="18" y="6"/>
                      </a:lnTo>
                      <a:lnTo>
                        <a:pt x="14" y="13"/>
                      </a:lnTo>
                      <a:lnTo>
                        <a:pt x="11" y="20"/>
                      </a:lnTo>
                      <a:lnTo>
                        <a:pt x="6" y="34"/>
                      </a:lnTo>
                      <a:lnTo>
                        <a:pt x="2" y="40"/>
                      </a:lnTo>
                      <a:lnTo>
                        <a:pt x="0" y="44"/>
                      </a:lnTo>
                      <a:lnTo>
                        <a:pt x="2" y="46"/>
                      </a:lnTo>
                      <a:lnTo>
                        <a:pt x="4" y="52"/>
                      </a:lnTo>
                      <a:lnTo>
                        <a:pt x="6" y="56"/>
                      </a:lnTo>
                      <a:lnTo>
                        <a:pt x="6" y="59"/>
                      </a:lnTo>
                      <a:lnTo>
                        <a:pt x="7" y="60"/>
                      </a:lnTo>
                      <a:lnTo>
                        <a:pt x="8" y="62"/>
                      </a:lnTo>
                      <a:lnTo>
                        <a:pt x="9" y="63"/>
                      </a:lnTo>
                      <a:lnTo>
                        <a:pt x="11" y="65"/>
                      </a:lnTo>
                      <a:lnTo>
                        <a:pt x="12" y="66"/>
                      </a:lnTo>
                      <a:lnTo>
                        <a:pt x="11" y="69"/>
                      </a:lnTo>
                      <a:lnTo>
                        <a:pt x="9" y="72"/>
                      </a:lnTo>
                      <a:lnTo>
                        <a:pt x="11" y="76"/>
                      </a:lnTo>
                      <a:lnTo>
                        <a:pt x="12" y="77"/>
                      </a:lnTo>
                      <a:lnTo>
                        <a:pt x="13" y="78"/>
                      </a:lnTo>
                      <a:lnTo>
                        <a:pt x="14" y="77"/>
                      </a:lnTo>
                      <a:lnTo>
                        <a:pt x="17" y="75"/>
                      </a:lnTo>
                      <a:lnTo>
                        <a:pt x="17" y="71"/>
                      </a:lnTo>
                      <a:lnTo>
                        <a:pt x="17" y="69"/>
                      </a:lnTo>
                      <a:lnTo>
                        <a:pt x="18" y="65"/>
                      </a:lnTo>
                      <a:lnTo>
                        <a:pt x="23" y="58"/>
                      </a:lnTo>
                      <a:lnTo>
                        <a:pt x="27" y="51"/>
                      </a:lnTo>
                      <a:lnTo>
                        <a:pt x="32" y="34"/>
                      </a:lnTo>
                      <a:lnTo>
                        <a:pt x="34" y="30"/>
                      </a:lnTo>
                      <a:lnTo>
                        <a:pt x="35" y="25"/>
                      </a:lnTo>
                      <a:lnTo>
                        <a:pt x="34" y="14"/>
                      </a:lnTo>
                      <a:lnTo>
                        <a:pt x="35" y="13"/>
                      </a:lnTo>
                      <a:lnTo>
                        <a:pt x="37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6" name="Freeform 340">
                  <a:extLst>
                    <a:ext uri="{FF2B5EF4-FFF2-40B4-BE49-F238E27FC236}">
                      <a16:creationId xmlns:a16="http://schemas.microsoft.com/office/drawing/2014/main" id="{51808E18-5D27-6E46-A321-954A96A8ED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7172" y="4927654"/>
                  <a:ext cx="961917" cy="864245"/>
                </a:xfrm>
                <a:custGeom>
                  <a:avLst/>
                  <a:gdLst>
                    <a:gd name="T0" fmla="*/ 2147483647 w 705"/>
                    <a:gd name="T1" fmla="*/ 2147483647 h 584"/>
                    <a:gd name="T2" fmla="*/ 2147483647 w 705"/>
                    <a:gd name="T3" fmla="*/ 2147483647 h 584"/>
                    <a:gd name="T4" fmla="*/ 2147483647 w 705"/>
                    <a:gd name="T5" fmla="*/ 2147483647 h 584"/>
                    <a:gd name="T6" fmla="*/ 2147483647 w 705"/>
                    <a:gd name="T7" fmla="*/ 2147483647 h 584"/>
                    <a:gd name="T8" fmla="*/ 2147483647 w 705"/>
                    <a:gd name="T9" fmla="*/ 2147483647 h 584"/>
                    <a:gd name="T10" fmla="*/ 2147483647 w 705"/>
                    <a:gd name="T11" fmla="*/ 2147483647 h 584"/>
                    <a:gd name="T12" fmla="*/ 2147483647 w 705"/>
                    <a:gd name="T13" fmla="*/ 2147483647 h 584"/>
                    <a:gd name="T14" fmla="*/ 2147483647 w 705"/>
                    <a:gd name="T15" fmla="*/ 2147483647 h 584"/>
                    <a:gd name="T16" fmla="*/ 2147483647 w 705"/>
                    <a:gd name="T17" fmla="*/ 2147483647 h 584"/>
                    <a:gd name="T18" fmla="*/ 2147483647 w 705"/>
                    <a:gd name="T19" fmla="*/ 2147483647 h 584"/>
                    <a:gd name="T20" fmla="*/ 2147483647 w 705"/>
                    <a:gd name="T21" fmla="*/ 2147483647 h 584"/>
                    <a:gd name="T22" fmla="*/ 2147483647 w 705"/>
                    <a:gd name="T23" fmla="*/ 2147483647 h 584"/>
                    <a:gd name="T24" fmla="*/ 2147483647 w 705"/>
                    <a:gd name="T25" fmla="*/ 2147483647 h 584"/>
                    <a:gd name="T26" fmla="*/ 2147483647 w 705"/>
                    <a:gd name="T27" fmla="*/ 2147483647 h 584"/>
                    <a:gd name="T28" fmla="*/ 2147483647 w 705"/>
                    <a:gd name="T29" fmla="*/ 2147483647 h 584"/>
                    <a:gd name="T30" fmla="*/ 2147483647 w 705"/>
                    <a:gd name="T31" fmla="*/ 2147483647 h 584"/>
                    <a:gd name="T32" fmla="*/ 2147483647 w 705"/>
                    <a:gd name="T33" fmla="*/ 2147483647 h 584"/>
                    <a:gd name="T34" fmla="*/ 2147483647 w 705"/>
                    <a:gd name="T35" fmla="*/ 2147483647 h 584"/>
                    <a:gd name="T36" fmla="*/ 2147483647 w 705"/>
                    <a:gd name="T37" fmla="*/ 2147483647 h 584"/>
                    <a:gd name="T38" fmla="*/ 2147483647 w 705"/>
                    <a:gd name="T39" fmla="*/ 2147483647 h 584"/>
                    <a:gd name="T40" fmla="*/ 2147483647 w 705"/>
                    <a:gd name="T41" fmla="*/ 2147483647 h 584"/>
                    <a:gd name="T42" fmla="*/ 2147483647 w 705"/>
                    <a:gd name="T43" fmla="*/ 2147483647 h 584"/>
                    <a:gd name="T44" fmla="*/ 2147483647 w 705"/>
                    <a:gd name="T45" fmla="*/ 2147483647 h 584"/>
                    <a:gd name="T46" fmla="*/ 2147483647 w 705"/>
                    <a:gd name="T47" fmla="*/ 2147483647 h 584"/>
                    <a:gd name="T48" fmla="*/ 2147483647 w 705"/>
                    <a:gd name="T49" fmla="*/ 2147483647 h 584"/>
                    <a:gd name="T50" fmla="*/ 2147483647 w 705"/>
                    <a:gd name="T51" fmla="*/ 2147483647 h 584"/>
                    <a:gd name="T52" fmla="*/ 2147483647 w 705"/>
                    <a:gd name="T53" fmla="*/ 2147483647 h 584"/>
                    <a:gd name="T54" fmla="*/ 2147483647 w 705"/>
                    <a:gd name="T55" fmla="*/ 2147483647 h 584"/>
                    <a:gd name="T56" fmla="*/ 2147483647 w 705"/>
                    <a:gd name="T57" fmla="*/ 2147483647 h 584"/>
                    <a:gd name="T58" fmla="*/ 2147483647 w 705"/>
                    <a:gd name="T59" fmla="*/ 2147483647 h 584"/>
                    <a:gd name="T60" fmla="*/ 2147483647 w 705"/>
                    <a:gd name="T61" fmla="*/ 2147483647 h 584"/>
                    <a:gd name="T62" fmla="*/ 2147483647 w 705"/>
                    <a:gd name="T63" fmla="*/ 2147483647 h 584"/>
                    <a:gd name="T64" fmla="*/ 2147483647 w 705"/>
                    <a:gd name="T65" fmla="*/ 2147483647 h 584"/>
                    <a:gd name="T66" fmla="*/ 2147483647 w 705"/>
                    <a:gd name="T67" fmla="*/ 2147483647 h 584"/>
                    <a:gd name="T68" fmla="*/ 2147483647 w 705"/>
                    <a:gd name="T69" fmla="*/ 2147483647 h 584"/>
                    <a:gd name="T70" fmla="*/ 2147483647 w 705"/>
                    <a:gd name="T71" fmla="*/ 2147483647 h 584"/>
                    <a:gd name="T72" fmla="*/ 2147483647 w 705"/>
                    <a:gd name="T73" fmla="*/ 2147483647 h 584"/>
                    <a:gd name="T74" fmla="*/ 2147483647 w 705"/>
                    <a:gd name="T75" fmla="*/ 2147483647 h 584"/>
                    <a:gd name="T76" fmla="*/ 2147483647 w 705"/>
                    <a:gd name="T77" fmla="*/ 2147483647 h 584"/>
                    <a:gd name="T78" fmla="*/ 2147483647 w 705"/>
                    <a:gd name="T79" fmla="*/ 2147483647 h 584"/>
                    <a:gd name="T80" fmla="*/ 2147483647 w 705"/>
                    <a:gd name="T81" fmla="*/ 2147483647 h 584"/>
                    <a:gd name="T82" fmla="*/ 2147483647 w 705"/>
                    <a:gd name="T83" fmla="*/ 2147483647 h 584"/>
                    <a:gd name="T84" fmla="*/ 2147483647 w 705"/>
                    <a:gd name="T85" fmla="*/ 2147483647 h 584"/>
                    <a:gd name="T86" fmla="*/ 2147483647 w 705"/>
                    <a:gd name="T87" fmla="*/ 2147483647 h 584"/>
                    <a:gd name="T88" fmla="*/ 2147483647 w 705"/>
                    <a:gd name="T89" fmla="*/ 2147483647 h 584"/>
                    <a:gd name="T90" fmla="*/ 2147483647 w 705"/>
                    <a:gd name="T91" fmla="*/ 2147483647 h 584"/>
                    <a:gd name="T92" fmla="*/ 2147483647 w 705"/>
                    <a:gd name="T93" fmla="*/ 2147483647 h 584"/>
                    <a:gd name="T94" fmla="*/ 2147483647 w 705"/>
                    <a:gd name="T95" fmla="*/ 2147483647 h 584"/>
                    <a:gd name="T96" fmla="*/ 2147483647 w 705"/>
                    <a:gd name="T97" fmla="*/ 2147483647 h 584"/>
                    <a:gd name="T98" fmla="*/ 2147483647 w 705"/>
                    <a:gd name="T99" fmla="*/ 2147483647 h 584"/>
                    <a:gd name="T100" fmla="*/ 2147483647 w 705"/>
                    <a:gd name="T101" fmla="*/ 2147483647 h 584"/>
                    <a:gd name="T102" fmla="*/ 2147483647 w 705"/>
                    <a:gd name="T103" fmla="*/ 2147483647 h 584"/>
                    <a:gd name="T104" fmla="*/ 2147483647 w 705"/>
                    <a:gd name="T105" fmla="*/ 2147483647 h 584"/>
                    <a:gd name="T106" fmla="*/ 2147483647 w 705"/>
                    <a:gd name="T107" fmla="*/ 2147483647 h 584"/>
                    <a:gd name="T108" fmla="*/ 2147483647 w 705"/>
                    <a:gd name="T109" fmla="*/ 2147483647 h 584"/>
                    <a:gd name="T110" fmla="*/ 2147483647 w 705"/>
                    <a:gd name="T111" fmla="*/ 2147483647 h 584"/>
                    <a:gd name="T112" fmla="*/ 2147483647 w 705"/>
                    <a:gd name="T113" fmla="*/ 2147483647 h 584"/>
                    <a:gd name="T114" fmla="*/ 2147483647 w 705"/>
                    <a:gd name="T115" fmla="*/ 2147483647 h 584"/>
                    <a:gd name="T116" fmla="*/ 2147483647 w 705"/>
                    <a:gd name="T117" fmla="*/ 2147483647 h 584"/>
                    <a:gd name="T118" fmla="*/ 2147483647 w 705"/>
                    <a:gd name="T119" fmla="*/ 2147483647 h 584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705"/>
                    <a:gd name="T181" fmla="*/ 0 h 584"/>
                    <a:gd name="T182" fmla="*/ 705 w 705"/>
                    <a:gd name="T183" fmla="*/ 584 h 584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705" h="584">
                      <a:moveTo>
                        <a:pt x="216" y="440"/>
                      </a:moveTo>
                      <a:lnTo>
                        <a:pt x="212" y="444"/>
                      </a:lnTo>
                      <a:lnTo>
                        <a:pt x="209" y="447"/>
                      </a:lnTo>
                      <a:lnTo>
                        <a:pt x="204" y="449"/>
                      </a:lnTo>
                      <a:lnTo>
                        <a:pt x="197" y="449"/>
                      </a:lnTo>
                      <a:lnTo>
                        <a:pt x="193" y="450"/>
                      </a:lnTo>
                      <a:lnTo>
                        <a:pt x="191" y="451"/>
                      </a:lnTo>
                      <a:lnTo>
                        <a:pt x="188" y="452"/>
                      </a:lnTo>
                      <a:lnTo>
                        <a:pt x="187" y="454"/>
                      </a:lnTo>
                      <a:lnTo>
                        <a:pt x="186" y="460"/>
                      </a:lnTo>
                      <a:lnTo>
                        <a:pt x="183" y="466"/>
                      </a:lnTo>
                      <a:lnTo>
                        <a:pt x="181" y="469"/>
                      </a:lnTo>
                      <a:lnTo>
                        <a:pt x="176" y="470"/>
                      </a:lnTo>
                      <a:lnTo>
                        <a:pt x="165" y="472"/>
                      </a:lnTo>
                      <a:lnTo>
                        <a:pt x="163" y="472"/>
                      </a:lnTo>
                      <a:lnTo>
                        <a:pt x="160" y="471"/>
                      </a:lnTo>
                      <a:lnTo>
                        <a:pt x="157" y="469"/>
                      </a:lnTo>
                      <a:lnTo>
                        <a:pt x="152" y="469"/>
                      </a:lnTo>
                      <a:lnTo>
                        <a:pt x="148" y="471"/>
                      </a:lnTo>
                      <a:lnTo>
                        <a:pt x="143" y="472"/>
                      </a:lnTo>
                      <a:lnTo>
                        <a:pt x="139" y="472"/>
                      </a:lnTo>
                      <a:lnTo>
                        <a:pt x="132" y="471"/>
                      </a:lnTo>
                      <a:lnTo>
                        <a:pt x="125" y="471"/>
                      </a:lnTo>
                      <a:lnTo>
                        <a:pt x="117" y="473"/>
                      </a:lnTo>
                      <a:lnTo>
                        <a:pt x="111" y="476"/>
                      </a:lnTo>
                      <a:lnTo>
                        <a:pt x="110" y="478"/>
                      </a:lnTo>
                      <a:lnTo>
                        <a:pt x="108" y="482"/>
                      </a:lnTo>
                      <a:lnTo>
                        <a:pt x="108" y="484"/>
                      </a:lnTo>
                      <a:lnTo>
                        <a:pt x="106" y="485"/>
                      </a:lnTo>
                      <a:lnTo>
                        <a:pt x="103" y="487"/>
                      </a:lnTo>
                      <a:lnTo>
                        <a:pt x="101" y="487"/>
                      </a:lnTo>
                      <a:lnTo>
                        <a:pt x="98" y="490"/>
                      </a:lnTo>
                      <a:lnTo>
                        <a:pt x="94" y="492"/>
                      </a:lnTo>
                      <a:lnTo>
                        <a:pt x="91" y="494"/>
                      </a:lnTo>
                      <a:lnTo>
                        <a:pt x="87" y="494"/>
                      </a:lnTo>
                      <a:lnTo>
                        <a:pt x="78" y="492"/>
                      </a:lnTo>
                      <a:lnTo>
                        <a:pt x="70" y="490"/>
                      </a:lnTo>
                      <a:lnTo>
                        <a:pt x="66" y="490"/>
                      </a:lnTo>
                      <a:lnTo>
                        <a:pt x="64" y="491"/>
                      </a:lnTo>
                      <a:lnTo>
                        <a:pt x="60" y="491"/>
                      </a:lnTo>
                      <a:lnTo>
                        <a:pt x="56" y="491"/>
                      </a:lnTo>
                      <a:lnTo>
                        <a:pt x="51" y="490"/>
                      </a:lnTo>
                      <a:lnTo>
                        <a:pt x="47" y="488"/>
                      </a:lnTo>
                      <a:lnTo>
                        <a:pt x="41" y="481"/>
                      </a:lnTo>
                      <a:lnTo>
                        <a:pt x="40" y="481"/>
                      </a:lnTo>
                      <a:lnTo>
                        <a:pt x="37" y="479"/>
                      </a:lnTo>
                      <a:lnTo>
                        <a:pt x="36" y="479"/>
                      </a:lnTo>
                      <a:lnTo>
                        <a:pt x="35" y="479"/>
                      </a:lnTo>
                      <a:lnTo>
                        <a:pt x="35" y="477"/>
                      </a:lnTo>
                      <a:lnTo>
                        <a:pt x="35" y="476"/>
                      </a:lnTo>
                      <a:lnTo>
                        <a:pt x="37" y="473"/>
                      </a:lnTo>
                      <a:lnTo>
                        <a:pt x="37" y="470"/>
                      </a:lnTo>
                      <a:lnTo>
                        <a:pt x="37" y="468"/>
                      </a:lnTo>
                      <a:lnTo>
                        <a:pt x="37" y="464"/>
                      </a:lnTo>
                      <a:lnTo>
                        <a:pt x="37" y="462"/>
                      </a:lnTo>
                      <a:lnTo>
                        <a:pt x="40" y="460"/>
                      </a:lnTo>
                      <a:lnTo>
                        <a:pt x="41" y="462"/>
                      </a:lnTo>
                      <a:lnTo>
                        <a:pt x="44" y="462"/>
                      </a:lnTo>
                      <a:lnTo>
                        <a:pt x="46" y="462"/>
                      </a:lnTo>
                      <a:lnTo>
                        <a:pt x="47" y="462"/>
                      </a:lnTo>
                      <a:lnTo>
                        <a:pt x="49" y="459"/>
                      </a:lnTo>
                      <a:lnTo>
                        <a:pt x="47" y="452"/>
                      </a:lnTo>
                      <a:lnTo>
                        <a:pt x="49" y="445"/>
                      </a:lnTo>
                      <a:lnTo>
                        <a:pt x="47" y="438"/>
                      </a:lnTo>
                      <a:lnTo>
                        <a:pt x="46" y="433"/>
                      </a:lnTo>
                      <a:lnTo>
                        <a:pt x="45" y="430"/>
                      </a:lnTo>
                      <a:lnTo>
                        <a:pt x="44" y="427"/>
                      </a:lnTo>
                      <a:lnTo>
                        <a:pt x="45" y="425"/>
                      </a:lnTo>
                      <a:lnTo>
                        <a:pt x="46" y="421"/>
                      </a:lnTo>
                      <a:lnTo>
                        <a:pt x="46" y="419"/>
                      </a:lnTo>
                      <a:lnTo>
                        <a:pt x="44" y="414"/>
                      </a:lnTo>
                      <a:lnTo>
                        <a:pt x="40" y="411"/>
                      </a:lnTo>
                      <a:lnTo>
                        <a:pt x="37" y="406"/>
                      </a:lnTo>
                      <a:lnTo>
                        <a:pt x="36" y="400"/>
                      </a:lnTo>
                      <a:lnTo>
                        <a:pt x="35" y="390"/>
                      </a:lnTo>
                      <a:lnTo>
                        <a:pt x="36" y="381"/>
                      </a:lnTo>
                      <a:lnTo>
                        <a:pt x="36" y="377"/>
                      </a:lnTo>
                      <a:lnTo>
                        <a:pt x="33" y="374"/>
                      </a:lnTo>
                      <a:lnTo>
                        <a:pt x="31" y="370"/>
                      </a:lnTo>
                      <a:lnTo>
                        <a:pt x="30" y="367"/>
                      </a:lnTo>
                      <a:lnTo>
                        <a:pt x="30" y="364"/>
                      </a:lnTo>
                      <a:lnTo>
                        <a:pt x="30" y="362"/>
                      </a:lnTo>
                      <a:lnTo>
                        <a:pt x="30" y="360"/>
                      </a:lnTo>
                      <a:lnTo>
                        <a:pt x="30" y="357"/>
                      </a:lnTo>
                      <a:lnTo>
                        <a:pt x="27" y="355"/>
                      </a:lnTo>
                      <a:lnTo>
                        <a:pt x="25" y="353"/>
                      </a:lnTo>
                      <a:lnTo>
                        <a:pt x="25" y="350"/>
                      </a:lnTo>
                      <a:lnTo>
                        <a:pt x="22" y="345"/>
                      </a:lnTo>
                      <a:lnTo>
                        <a:pt x="19" y="342"/>
                      </a:lnTo>
                      <a:lnTo>
                        <a:pt x="17" y="332"/>
                      </a:lnTo>
                      <a:lnTo>
                        <a:pt x="13" y="324"/>
                      </a:lnTo>
                      <a:lnTo>
                        <a:pt x="7" y="317"/>
                      </a:lnTo>
                      <a:lnTo>
                        <a:pt x="2" y="310"/>
                      </a:lnTo>
                      <a:lnTo>
                        <a:pt x="0" y="309"/>
                      </a:lnTo>
                      <a:lnTo>
                        <a:pt x="0" y="307"/>
                      </a:lnTo>
                      <a:lnTo>
                        <a:pt x="2" y="307"/>
                      </a:lnTo>
                      <a:lnTo>
                        <a:pt x="4" y="309"/>
                      </a:lnTo>
                      <a:lnTo>
                        <a:pt x="5" y="310"/>
                      </a:lnTo>
                      <a:lnTo>
                        <a:pt x="9" y="315"/>
                      </a:lnTo>
                      <a:lnTo>
                        <a:pt x="12" y="316"/>
                      </a:lnTo>
                      <a:lnTo>
                        <a:pt x="13" y="315"/>
                      </a:lnTo>
                      <a:lnTo>
                        <a:pt x="14" y="312"/>
                      </a:lnTo>
                      <a:lnTo>
                        <a:pt x="13" y="310"/>
                      </a:lnTo>
                      <a:lnTo>
                        <a:pt x="11" y="305"/>
                      </a:lnTo>
                      <a:lnTo>
                        <a:pt x="11" y="304"/>
                      </a:lnTo>
                      <a:lnTo>
                        <a:pt x="14" y="306"/>
                      </a:lnTo>
                      <a:lnTo>
                        <a:pt x="17" y="310"/>
                      </a:lnTo>
                      <a:lnTo>
                        <a:pt x="19" y="312"/>
                      </a:lnTo>
                      <a:lnTo>
                        <a:pt x="21" y="311"/>
                      </a:lnTo>
                      <a:lnTo>
                        <a:pt x="23" y="310"/>
                      </a:lnTo>
                      <a:lnTo>
                        <a:pt x="23" y="307"/>
                      </a:lnTo>
                      <a:lnTo>
                        <a:pt x="23" y="302"/>
                      </a:lnTo>
                      <a:lnTo>
                        <a:pt x="19" y="291"/>
                      </a:lnTo>
                      <a:lnTo>
                        <a:pt x="17" y="290"/>
                      </a:lnTo>
                      <a:lnTo>
                        <a:pt x="12" y="279"/>
                      </a:lnTo>
                      <a:lnTo>
                        <a:pt x="12" y="278"/>
                      </a:lnTo>
                      <a:lnTo>
                        <a:pt x="12" y="277"/>
                      </a:lnTo>
                      <a:lnTo>
                        <a:pt x="13" y="275"/>
                      </a:lnTo>
                      <a:lnTo>
                        <a:pt x="13" y="274"/>
                      </a:lnTo>
                      <a:lnTo>
                        <a:pt x="11" y="272"/>
                      </a:lnTo>
                      <a:lnTo>
                        <a:pt x="11" y="268"/>
                      </a:lnTo>
                      <a:lnTo>
                        <a:pt x="11" y="265"/>
                      </a:lnTo>
                      <a:lnTo>
                        <a:pt x="13" y="258"/>
                      </a:lnTo>
                      <a:lnTo>
                        <a:pt x="16" y="252"/>
                      </a:lnTo>
                      <a:lnTo>
                        <a:pt x="17" y="248"/>
                      </a:lnTo>
                      <a:lnTo>
                        <a:pt x="13" y="241"/>
                      </a:lnTo>
                      <a:lnTo>
                        <a:pt x="12" y="234"/>
                      </a:lnTo>
                      <a:lnTo>
                        <a:pt x="13" y="227"/>
                      </a:lnTo>
                      <a:lnTo>
                        <a:pt x="16" y="223"/>
                      </a:lnTo>
                      <a:lnTo>
                        <a:pt x="18" y="220"/>
                      </a:lnTo>
                      <a:lnTo>
                        <a:pt x="19" y="220"/>
                      </a:lnTo>
                      <a:lnTo>
                        <a:pt x="21" y="221"/>
                      </a:lnTo>
                      <a:lnTo>
                        <a:pt x="22" y="223"/>
                      </a:lnTo>
                      <a:lnTo>
                        <a:pt x="23" y="224"/>
                      </a:lnTo>
                      <a:lnTo>
                        <a:pt x="25" y="226"/>
                      </a:lnTo>
                      <a:lnTo>
                        <a:pt x="27" y="226"/>
                      </a:lnTo>
                      <a:lnTo>
                        <a:pt x="30" y="224"/>
                      </a:lnTo>
                      <a:lnTo>
                        <a:pt x="31" y="222"/>
                      </a:lnTo>
                      <a:lnTo>
                        <a:pt x="33" y="217"/>
                      </a:lnTo>
                      <a:lnTo>
                        <a:pt x="40" y="211"/>
                      </a:lnTo>
                      <a:lnTo>
                        <a:pt x="47" y="207"/>
                      </a:lnTo>
                      <a:lnTo>
                        <a:pt x="61" y="197"/>
                      </a:lnTo>
                      <a:lnTo>
                        <a:pt x="64" y="195"/>
                      </a:lnTo>
                      <a:lnTo>
                        <a:pt x="68" y="194"/>
                      </a:lnTo>
                      <a:lnTo>
                        <a:pt x="75" y="195"/>
                      </a:lnTo>
                      <a:lnTo>
                        <a:pt x="79" y="195"/>
                      </a:lnTo>
                      <a:lnTo>
                        <a:pt x="83" y="192"/>
                      </a:lnTo>
                      <a:lnTo>
                        <a:pt x="92" y="188"/>
                      </a:lnTo>
                      <a:lnTo>
                        <a:pt x="101" y="184"/>
                      </a:lnTo>
                      <a:lnTo>
                        <a:pt x="111" y="183"/>
                      </a:lnTo>
                      <a:lnTo>
                        <a:pt x="121" y="183"/>
                      </a:lnTo>
                      <a:lnTo>
                        <a:pt x="124" y="182"/>
                      </a:lnTo>
                      <a:lnTo>
                        <a:pt x="126" y="181"/>
                      </a:lnTo>
                      <a:lnTo>
                        <a:pt x="131" y="176"/>
                      </a:lnTo>
                      <a:lnTo>
                        <a:pt x="136" y="175"/>
                      </a:lnTo>
                      <a:lnTo>
                        <a:pt x="141" y="174"/>
                      </a:lnTo>
                      <a:lnTo>
                        <a:pt x="143" y="172"/>
                      </a:lnTo>
                      <a:lnTo>
                        <a:pt x="144" y="171"/>
                      </a:lnTo>
                      <a:lnTo>
                        <a:pt x="145" y="164"/>
                      </a:lnTo>
                      <a:lnTo>
                        <a:pt x="148" y="158"/>
                      </a:lnTo>
                      <a:lnTo>
                        <a:pt x="149" y="156"/>
                      </a:lnTo>
                      <a:lnTo>
                        <a:pt x="152" y="153"/>
                      </a:lnTo>
                      <a:lnTo>
                        <a:pt x="155" y="152"/>
                      </a:lnTo>
                      <a:lnTo>
                        <a:pt x="159" y="152"/>
                      </a:lnTo>
                      <a:lnTo>
                        <a:pt x="160" y="151"/>
                      </a:lnTo>
                      <a:lnTo>
                        <a:pt x="162" y="150"/>
                      </a:lnTo>
                      <a:lnTo>
                        <a:pt x="163" y="147"/>
                      </a:lnTo>
                      <a:lnTo>
                        <a:pt x="163" y="138"/>
                      </a:lnTo>
                      <a:lnTo>
                        <a:pt x="164" y="126"/>
                      </a:lnTo>
                      <a:lnTo>
                        <a:pt x="165" y="118"/>
                      </a:lnTo>
                      <a:lnTo>
                        <a:pt x="167" y="114"/>
                      </a:lnTo>
                      <a:lnTo>
                        <a:pt x="169" y="113"/>
                      </a:lnTo>
                      <a:lnTo>
                        <a:pt x="172" y="114"/>
                      </a:lnTo>
                      <a:lnTo>
                        <a:pt x="174" y="115"/>
                      </a:lnTo>
                      <a:lnTo>
                        <a:pt x="176" y="117"/>
                      </a:lnTo>
                      <a:lnTo>
                        <a:pt x="177" y="119"/>
                      </a:lnTo>
                      <a:lnTo>
                        <a:pt x="178" y="125"/>
                      </a:lnTo>
                      <a:lnTo>
                        <a:pt x="179" y="130"/>
                      </a:lnTo>
                      <a:lnTo>
                        <a:pt x="182" y="132"/>
                      </a:lnTo>
                      <a:lnTo>
                        <a:pt x="183" y="132"/>
                      </a:lnTo>
                      <a:lnTo>
                        <a:pt x="185" y="131"/>
                      </a:lnTo>
                      <a:lnTo>
                        <a:pt x="183" y="125"/>
                      </a:lnTo>
                      <a:lnTo>
                        <a:pt x="183" y="119"/>
                      </a:lnTo>
                      <a:lnTo>
                        <a:pt x="183" y="117"/>
                      </a:lnTo>
                      <a:lnTo>
                        <a:pt x="183" y="114"/>
                      </a:lnTo>
                      <a:lnTo>
                        <a:pt x="185" y="112"/>
                      </a:lnTo>
                      <a:lnTo>
                        <a:pt x="188" y="111"/>
                      </a:lnTo>
                      <a:lnTo>
                        <a:pt x="190" y="111"/>
                      </a:lnTo>
                      <a:lnTo>
                        <a:pt x="192" y="112"/>
                      </a:lnTo>
                      <a:lnTo>
                        <a:pt x="193" y="112"/>
                      </a:lnTo>
                      <a:lnTo>
                        <a:pt x="195" y="113"/>
                      </a:lnTo>
                      <a:lnTo>
                        <a:pt x="198" y="111"/>
                      </a:lnTo>
                      <a:lnTo>
                        <a:pt x="200" y="107"/>
                      </a:lnTo>
                      <a:lnTo>
                        <a:pt x="201" y="102"/>
                      </a:lnTo>
                      <a:lnTo>
                        <a:pt x="201" y="99"/>
                      </a:lnTo>
                      <a:lnTo>
                        <a:pt x="198" y="98"/>
                      </a:lnTo>
                      <a:lnTo>
                        <a:pt x="196" y="96"/>
                      </a:lnTo>
                      <a:lnTo>
                        <a:pt x="195" y="95"/>
                      </a:lnTo>
                      <a:lnTo>
                        <a:pt x="196" y="94"/>
                      </a:lnTo>
                      <a:lnTo>
                        <a:pt x="197" y="93"/>
                      </a:lnTo>
                      <a:lnTo>
                        <a:pt x="201" y="92"/>
                      </a:lnTo>
                      <a:lnTo>
                        <a:pt x="206" y="92"/>
                      </a:lnTo>
                      <a:lnTo>
                        <a:pt x="210" y="91"/>
                      </a:lnTo>
                      <a:lnTo>
                        <a:pt x="211" y="89"/>
                      </a:lnTo>
                      <a:lnTo>
                        <a:pt x="212" y="87"/>
                      </a:lnTo>
                      <a:lnTo>
                        <a:pt x="212" y="83"/>
                      </a:lnTo>
                      <a:lnTo>
                        <a:pt x="212" y="79"/>
                      </a:lnTo>
                      <a:lnTo>
                        <a:pt x="212" y="75"/>
                      </a:lnTo>
                      <a:lnTo>
                        <a:pt x="215" y="74"/>
                      </a:lnTo>
                      <a:lnTo>
                        <a:pt x="218" y="73"/>
                      </a:lnTo>
                      <a:lnTo>
                        <a:pt x="219" y="74"/>
                      </a:lnTo>
                      <a:lnTo>
                        <a:pt x="220" y="75"/>
                      </a:lnTo>
                      <a:lnTo>
                        <a:pt x="221" y="77"/>
                      </a:lnTo>
                      <a:lnTo>
                        <a:pt x="223" y="77"/>
                      </a:lnTo>
                      <a:lnTo>
                        <a:pt x="225" y="76"/>
                      </a:lnTo>
                      <a:lnTo>
                        <a:pt x="226" y="74"/>
                      </a:lnTo>
                      <a:lnTo>
                        <a:pt x="228" y="69"/>
                      </a:lnTo>
                      <a:lnTo>
                        <a:pt x="228" y="64"/>
                      </a:lnTo>
                      <a:lnTo>
                        <a:pt x="226" y="59"/>
                      </a:lnTo>
                      <a:lnTo>
                        <a:pt x="228" y="59"/>
                      </a:lnTo>
                      <a:lnTo>
                        <a:pt x="229" y="59"/>
                      </a:lnTo>
                      <a:lnTo>
                        <a:pt x="230" y="60"/>
                      </a:lnTo>
                      <a:lnTo>
                        <a:pt x="230" y="62"/>
                      </a:lnTo>
                      <a:lnTo>
                        <a:pt x="232" y="63"/>
                      </a:lnTo>
                      <a:lnTo>
                        <a:pt x="233" y="64"/>
                      </a:lnTo>
                      <a:lnTo>
                        <a:pt x="234" y="64"/>
                      </a:lnTo>
                      <a:lnTo>
                        <a:pt x="237" y="63"/>
                      </a:lnTo>
                      <a:lnTo>
                        <a:pt x="238" y="63"/>
                      </a:lnTo>
                      <a:lnTo>
                        <a:pt x="239" y="63"/>
                      </a:lnTo>
                      <a:lnTo>
                        <a:pt x="245" y="66"/>
                      </a:lnTo>
                      <a:lnTo>
                        <a:pt x="252" y="66"/>
                      </a:lnTo>
                      <a:lnTo>
                        <a:pt x="252" y="67"/>
                      </a:lnTo>
                      <a:lnTo>
                        <a:pt x="253" y="67"/>
                      </a:lnTo>
                      <a:lnTo>
                        <a:pt x="253" y="72"/>
                      </a:lnTo>
                      <a:lnTo>
                        <a:pt x="256" y="75"/>
                      </a:lnTo>
                      <a:lnTo>
                        <a:pt x="258" y="79"/>
                      </a:lnTo>
                      <a:lnTo>
                        <a:pt x="261" y="82"/>
                      </a:lnTo>
                      <a:lnTo>
                        <a:pt x="261" y="85"/>
                      </a:lnTo>
                      <a:lnTo>
                        <a:pt x="261" y="87"/>
                      </a:lnTo>
                      <a:lnTo>
                        <a:pt x="257" y="92"/>
                      </a:lnTo>
                      <a:lnTo>
                        <a:pt x="256" y="94"/>
                      </a:lnTo>
                      <a:lnTo>
                        <a:pt x="256" y="96"/>
                      </a:lnTo>
                      <a:lnTo>
                        <a:pt x="257" y="98"/>
                      </a:lnTo>
                      <a:lnTo>
                        <a:pt x="258" y="98"/>
                      </a:lnTo>
                      <a:lnTo>
                        <a:pt x="263" y="93"/>
                      </a:lnTo>
                      <a:lnTo>
                        <a:pt x="267" y="88"/>
                      </a:lnTo>
                      <a:lnTo>
                        <a:pt x="270" y="83"/>
                      </a:lnTo>
                      <a:lnTo>
                        <a:pt x="273" y="79"/>
                      </a:lnTo>
                      <a:lnTo>
                        <a:pt x="275" y="77"/>
                      </a:lnTo>
                      <a:lnTo>
                        <a:pt x="277" y="77"/>
                      </a:lnTo>
                      <a:lnTo>
                        <a:pt x="280" y="79"/>
                      </a:lnTo>
                      <a:lnTo>
                        <a:pt x="285" y="80"/>
                      </a:lnTo>
                      <a:lnTo>
                        <a:pt x="289" y="81"/>
                      </a:lnTo>
                      <a:lnTo>
                        <a:pt x="289" y="79"/>
                      </a:lnTo>
                      <a:lnTo>
                        <a:pt x="289" y="77"/>
                      </a:lnTo>
                      <a:lnTo>
                        <a:pt x="286" y="74"/>
                      </a:lnTo>
                      <a:lnTo>
                        <a:pt x="285" y="70"/>
                      </a:lnTo>
                      <a:lnTo>
                        <a:pt x="286" y="67"/>
                      </a:lnTo>
                      <a:lnTo>
                        <a:pt x="286" y="64"/>
                      </a:lnTo>
                      <a:lnTo>
                        <a:pt x="290" y="59"/>
                      </a:lnTo>
                      <a:lnTo>
                        <a:pt x="296" y="54"/>
                      </a:lnTo>
                      <a:lnTo>
                        <a:pt x="299" y="51"/>
                      </a:lnTo>
                      <a:lnTo>
                        <a:pt x="299" y="48"/>
                      </a:lnTo>
                      <a:lnTo>
                        <a:pt x="298" y="43"/>
                      </a:lnTo>
                      <a:lnTo>
                        <a:pt x="298" y="40"/>
                      </a:lnTo>
                      <a:lnTo>
                        <a:pt x="300" y="38"/>
                      </a:lnTo>
                      <a:lnTo>
                        <a:pt x="305" y="35"/>
                      </a:lnTo>
                      <a:lnTo>
                        <a:pt x="310" y="31"/>
                      </a:lnTo>
                      <a:lnTo>
                        <a:pt x="317" y="29"/>
                      </a:lnTo>
                      <a:lnTo>
                        <a:pt x="322" y="28"/>
                      </a:lnTo>
                      <a:lnTo>
                        <a:pt x="328" y="28"/>
                      </a:lnTo>
                      <a:lnTo>
                        <a:pt x="332" y="28"/>
                      </a:lnTo>
                      <a:lnTo>
                        <a:pt x="336" y="25"/>
                      </a:lnTo>
                      <a:lnTo>
                        <a:pt x="338" y="22"/>
                      </a:lnTo>
                      <a:lnTo>
                        <a:pt x="338" y="18"/>
                      </a:lnTo>
                      <a:lnTo>
                        <a:pt x="336" y="16"/>
                      </a:lnTo>
                      <a:lnTo>
                        <a:pt x="333" y="13"/>
                      </a:lnTo>
                      <a:lnTo>
                        <a:pt x="333" y="11"/>
                      </a:lnTo>
                      <a:lnTo>
                        <a:pt x="336" y="10"/>
                      </a:lnTo>
                      <a:lnTo>
                        <a:pt x="338" y="10"/>
                      </a:lnTo>
                      <a:lnTo>
                        <a:pt x="341" y="11"/>
                      </a:lnTo>
                      <a:lnTo>
                        <a:pt x="348" y="16"/>
                      </a:lnTo>
                      <a:lnTo>
                        <a:pt x="356" y="18"/>
                      </a:lnTo>
                      <a:lnTo>
                        <a:pt x="372" y="22"/>
                      </a:lnTo>
                      <a:lnTo>
                        <a:pt x="398" y="27"/>
                      </a:lnTo>
                      <a:lnTo>
                        <a:pt x="399" y="29"/>
                      </a:lnTo>
                      <a:lnTo>
                        <a:pt x="400" y="29"/>
                      </a:lnTo>
                      <a:lnTo>
                        <a:pt x="402" y="29"/>
                      </a:lnTo>
                      <a:lnTo>
                        <a:pt x="404" y="28"/>
                      </a:lnTo>
                      <a:lnTo>
                        <a:pt x="405" y="27"/>
                      </a:lnTo>
                      <a:lnTo>
                        <a:pt x="407" y="24"/>
                      </a:lnTo>
                      <a:lnTo>
                        <a:pt x="408" y="23"/>
                      </a:lnTo>
                      <a:lnTo>
                        <a:pt x="411" y="23"/>
                      </a:lnTo>
                      <a:lnTo>
                        <a:pt x="413" y="24"/>
                      </a:lnTo>
                      <a:lnTo>
                        <a:pt x="413" y="27"/>
                      </a:lnTo>
                      <a:lnTo>
                        <a:pt x="413" y="29"/>
                      </a:lnTo>
                      <a:lnTo>
                        <a:pt x="411" y="35"/>
                      </a:lnTo>
                      <a:lnTo>
                        <a:pt x="409" y="41"/>
                      </a:lnTo>
                      <a:lnTo>
                        <a:pt x="408" y="42"/>
                      </a:lnTo>
                      <a:lnTo>
                        <a:pt x="407" y="43"/>
                      </a:lnTo>
                      <a:lnTo>
                        <a:pt x="402" y="43"/>
                      </a:lnTo>
                      <a:lnTo>
                        <a:pt x="402" y="44"/>
                      </a:lnTo>
                      <a:lnTo>
                        <a:pt x="402" y="45"/>
                      </a:lnTo>
                      <a:lnTo>
                        <a:pt x="405" y="49"/>
                      </a:lnTo>
                      <a:lnTo>
                        <a:pt x="407" y="50"/>
                      </a:lnTo>
                      <a:lnTo>
                        <a:pt x="405" y="54"/>
                      </a:lnTo>
                      <a:lnTo>
                        <a:pt x="402" y="56"/>
                      </a:lnTo>
                      <a:lnTo>
                        <a:pt x="399" y="57"/>
                      </a:lnTo>
                      <a:lnTo>
                        <a:pt x="399" y="60"/>
                      </a:lnTo>
                      <a:lnTo>
                        <a:pt x="398" y="64"/>
                      </a:lnTo>
                      <a:lnTo>
                        <a:pt x="397" y="69"/>
                      </a:lnTo>
                      <a:lnTo>
                        <a:pt x="395" y="74"/>
                      </a:lnTo>
                      <a:lnTo>
                        <a:pt x="395" y="79"/>
                      </a:lnTo>
                      <a:lnTo>
                        <a:pt x="398" y="85"/>
                      </a:lnTo>
                      <a:lnTo>
                        <a:pt x="400" y="89"/>
                      </a:lnTo>
                      <a:lnTo>
                        <a:pt x="405" y="93"/>
                      </a:lnTo>
                      <a:lnTo>
                        <a:pt x="408" y="94"/>
                      </a:lnTo>
                      <a:lnTo>
                        <a:pt x="411" y="94"/>
                      </a:lnTo>
                      <a:lnTo>
                        <a:pt x="413" y="93"/>
                      </a:lnTo>
                      <a:lnTo>
                        <a:pt x="416" y="92"/>
                      </a:lnTo>
                      <a:lnTo>
                        <a:pt x="417" y="93"/>
                      </a:lnTo>
                      <a:lnTo>
                        <a:pt x="418" y="93"/>
                      </a:lnTo>
                      <a:lnTo>
                        <a:pt x="422" y="100"/>
                      </a:lnTo>
                      <a:lnTo>
                        <a:pt x="427" y="106"/>
                      </a:lnTo>
                      <a:lnTo>
                        <a:pt x="433" y="111"/>
                      </a:lnTo>
                      <a:lnTo>
                        <a:pt x="440" y="114"/>
                      </a:lnTo>
                      <a:lnTo>
                        <a:pt x="445" y="115"/>
                      </a:lnTo>
                      <a:lnTo>
                        <a:pt x="446" y="117"/>
                      </a:lnTo>
                      <a:lnTo>
                        <a:pt x="447" y="118"/>
                      </a:lnTo>
                      <a:lnTo>
                        <a:pt x="449" y="121"/>
                      </a:lnTo>
                      <a:lnTo>
                        <a:pt x="450" y="123"/>
                      </a:lnTo>
                      <a:lnTo>
                        <a:pt x="455" y="124"/>
                      </a:lnTo>
                      <a:lnTo>
                        <a:pt x="458" y="125"/>
                      </a:lnTo>
                      <a:lnTo>
                        <a:pt x="463" y="130"/>
                      </a:lnTo>
                      <a:lnTo>
                        <a:pt x="466" y="134"/>
                      </a:lnTo>
                      <a:lnTo>
                        <a:pt x="469" y="137"/>
                      </a:lnTo>
                      <a:lnTo>
                        <a:pt x="472" y="138"/>
                      </a:lnTo>
                      <a:lnTo>
                        <a:pt x="474" y="138"/>
                      </a:lnTo>
                      <a:lnTo>
                        <a:pt x="475" y="138"/>
                      </a:lnTo>
                      <a:lnTo>
                        <a:pt x="479" y="134"/>
                      </a:lnTo>
                      <a:lnTo>
                        <a:pt x="484" y="124"/>
                      </a:lnTo>
                      <a:lnTo>
                        <a:pt x="496" y="93"/>
                      </a:lnTo>
                      <a:lnTo>
                        <a:pt x="496" y="87"/>
                      </a:lnTo>
                      <a:lnTo>
                        <a:pt x="496" y="81"/>
                      </a:lnTo>
                      <a:lnTo>
                        <a:pt x="493" y="76"/>
                      </a:lnTo>
                      <a:lnTo>
                        <a:pt x="493" y="73"/>
                      </a:lnTo>
                      <a:lnTo>
                        <a:pt x="493" y="70"/>
                      </a:lnTo>
                      <a:lnTo>
                        <a:pt x="496" y="64"/>
                      </a:lnTo>
                      <a:lnTo>
                        <a:pt x="496" y="62"/>
                      </a:lnTo>
                      <a:lnTo>
                        <a:pt x="496" y="59"/>
                      </a:lnTo>
                      <a:lnTo>
                        <a:pt x="496" y="54"/>
                      </a:lnTo>
                      <a:lnTo>
                        <a:pt x="496" y="49"/>
                      </a:lnTo>
                      <a:lnTo>
                        <a:pt x="497" y="38"/>
                      </a:lnTo>
                      <a:lnTo>
                        <a:pt x="497" y="28"/>
                      </a:lnTo>
                      <a:lnTo>
                        <a:pt x="498" y="24"/>
                      </a:lnTo>
                      <a:lnTo>
                        <a:pt x="501" y="22"/>
                      </a:lnTo>
                      <a:lnTo>
                        <a:pt x="505" y="19"/>
                      </a:lnTo>
                      <a:lnTo>
                        <a:pt x="506" y="19"/>
                      </a:lnTo>
                      <a:lnTo>
                        <a:pt x="507" y="18"/>
                      </a:lnTo>
                      <a:lnTo>
                        <a:pt x="507" y="12"/>
                      </a:lnTo>
                      <a:lnTo>
                        <a:pt x="506" y="5"/>
                      </a:lnTo>
                      <a:lnTo>
                        <a:pt x="506" y="3"/>
                      </a:lnTo>
                      <a:lnTo>
                        <a:pt x="507" y="0"/>
                      </a:lnTo>
                      <a:lnTo>
                        <a:pt x="508" y="0"/>
                      </a:lnTo>
                      <a:lnTo>
                        <a:pt x="511" y="0"/>
                      </a:lnTo>
                      <a:lnTo>
                        <a:pt x="515" y="3"/>
                      </a:lnTo>
                      <a:lnTo>
                        <a:pt x="516" y="5"/>
                      </a:lnTo>
                      <a:lnTo>
                        <a:pt x="518" y="12"/>
                      </a:lnTo>
                      <a:lnTo>
                        <a:pt x="520" y="22"/>
                      </a:lnTo>
                      <a:lnTo>
                        <a:pt x="522" y="29"/>
                      </a:lnTo>
                      <a:lnTo>
                        <a:pt x="527" y="38"/>
                      </a:lnTo>
                      <a:lnTo>
                        <a:pt x="529" y="43"/>
                      </a:lnTo>
                      <a:lnTo>
                        <a:pt x="530" y="49"/>
                      </a:lnTo>
                      <a:lnTo>
                        <a:pt x="531" y="55"/>
                      </a:lnTo>
                      <a:lnTo>
                        <a:pt x="531" y="61"/>
                      </a:lnTo>
                      <a:lnTo>
                        <a:pt x="532" y="66"/>
                      </a:lnTo>
                      <a:lnTo>
                        <a:pt x="535" y="72"/>
                      </a:lnTo>
                      <a:lnTo>
                        <a:pt x="536" y="72"/>
                      </a:lnTo>
                      <a:lnTo>
                        <a:pt x="538" y="73"/>
                      </a:lnTo>
                      <a:lnTo>
                        <a:pt x="541" y="72"/>
                      </a:lnTo>
                      <a:lnTo>
                        <a:pt x="544" y="69"/>
                      </a:lnTo>
                      <a:lnTo>
                        <a:pt x="546" y="69"/>
                      </a:lnTo>
                      <a:lnTo>
                        <a:pt x="550" y="70"/>
                      </a:lnTo>
                      <a:lnTo>
                        <a:pt x="553" y="74"/>
                      </a:lnTo>
                      <a:lnTo>
                        <a:pt x="557" y="83"/>
                      </a:lnTo>
                      <a:lnTo>
                        <a:pt x="567" y="106"/>
                      </a:lnTo>
                      <a:lnTo>
                        <a:pt x="577" y="128"/>
                      </a:lnTo>
                      <a:lnTo>
                        <a:pt x="578" y="132"/>
                      </a:lnTo>
                      <a:lnTo>
                        <a:pt x="578" y="136"/>
                      </a:lnTo>
                      <a:lnTo>
                        <a:pt x="576" y="143"/>
                      </a:lnTo>
                      <a:lnTo>
                        <a:pt x="576" y="149"/>
                      </a:lnTo>
                      <a:lnTo>
                        <a:pt x="577" y="155"/>
                      </a:lnTo>
                      <a:lnTo>
                        <a:pt x="581" y="160"/>
                      </a:lnTo>
                      <a:lnTo>
                        <a:pt x="585" y="165"/>
                      </a:lnTo>
                      <a:lnTo>
                        <a:pt x="590" y="170"/>
                      </a:lnTo>
                      <a:lnTo>
                        <a:pt x="596" y="174"/>
                      </a:lnTo>
                      <a:lnTo>
                        <a:pt x="602" y="175"/>
                      </a:lnTo>
                      <a:lnTo>
                        <a:pt x="610" y="177"/>
                      </a:lnTo>
                      <a:lnTo>
                        <a:pt x="612" y="178"/>
                      </a:lnTo>
                      <a:lnTo>
                        <a:pt x="616" y="181"/>
                      </a:lnTo>
                      <a:lnTo>
                        <a:pt x="619" y="184"/>
                      </a:lnTo>
                      <a:lnTo>
                        <a:pt x="620" y="188"/>
                      </a:lnTo>
                      <a:lnTo>
                        <a:pt x="620" y="196"/>
                      </a:lnTo>
                      <a:lnTo>
                        <a:pt x="621" y="197"/>
                      </a:lnTo>
                      <a:lnTo>
                        <a:pt x="621" y="198"/>
                      </a:lnTo>
                      <a:lnTo>
                        <a:pt x="625" y="201"/>
                      </a:lnTo>
                      <a:lnTo>
                        <a:pt x="629" y="204"/>
                      </a:lnTo>
                      <a:lnTo>
                        <a:pt x="633" y="211"/>
                      </a:lnTo>
                      <a:lnTo>
                        <a:pt x="638" y="217"/>
                      </a:lnTo>
                      <a:lnTo>
                        <a:pt x="639" y="221"/>
                      </a:lnTo>
                      <a:lnTo>
                        <a:pt x="642" y="222"/>
                      </a:lnTo>
                      <a:lnTo>
                        <a:pt x="649" y="228"/>
                      </a:lnTo>
                      <a:lnTo>
                        <a:pt x="654" y="234"/>
                      </a:lnTo>
                      <a:lnTo>
                        <a:pt x="656" y="241"/>
                      </a:lnTo>
                      <a:lnTo>
                        <a:pt x="656" y="249"/>
                      </a:lnTo>
                      <a:lnTo>
                        <a:pt x="657" y="254"/>
                      </a:lnTo>
                      <a:lnTo>
                        <a:pt x="659" y="259"/>
                      </a:lnTo>
                      <a:lnTo>
                        <a:pt x="663" y="262"/>
                      </a:lnTo>
                      <a:lnTo>
                        <a:pt x="668" y="266"/>
                      </a:lnTo>
                      <a:lnTo>
                        <a:pt x="670" y="266"/>
                      </a:lnTo>
                      <a:lnTo>
                        <a:pt x="670" y="267"/>
                      </a:lnTo>
                      <a:lnTo>
                        <a:pt x="671" y="268"/>
                      </a:lnTo>
                      <a:lnTo>
                        <a:pt x="676" y="270"/>
                      </a:lnTo>
                      <a:lnTo>
                        <a:pt x="681" y="273"/>
                      </a:lnTo>
                      <a:lnTo>
                        <a:pt x="684" y="277"/>
                      </a:lnTo>
                      <a:lnTo>
                        <a:pt x="686" y="281"/>
                      </a:lnTo>
                      <a:lnTo>
                        <a:pt x="695" y="302"/>
                      </a:lnTo>
                      <a:lnTo>
                        <a:pt x="696" y="309"/>
                      </a:lnTo>
                      <a:lnTo>
                        <a:pt x="698" y="313"/>
                      </a:lnTo>
                      <a:lnTo>
                        <a:pt x="700" y="316"/>
                      </a:lnTo>
                      <a:lnTo>
                        <a:pt x="701" y="319"/>
                      </a:lnTo>
                      <a:lnTo>
                        <a:pt x="703" y="322"/>
                      </a:lnTo>
                      <a:lnTo>
                        <a:pt x="705" y="364"/>
                      </a:lnTo>
                      <a:lnTo>
                        <a:pt x="704" y="376"/>
                      </a:lnTo>
                      <a:lnTo>
                        <a:pt x="701" y="388"/>
                      </a:lnTo>
                      <a:lnTo>
                        <a:pt x="694" y="413"/>
                      </a:lnTo>
                      <a:lnTo>
                        <a:pt x="690" y="421"/>
                      </a:lnTo>
                      <a:lnTo>
                        <a:pt x="684" y="432"/>
                      </a:lnTo>
                      <a:lnTo>
                        <a:pt x="671" y="449"/>
                      </a:lnTo>
                      <a:lnTo>
                        <a:pt x="668" y="453"/>
                      </a:lnTo>
                      <a:lnTo>
                        <a:pt x="666" y="457"/>
                      </a:lnTo>
                      <a:lnTo>
                        <a:pt x="665" y="460"/>
                      </a:lnTo>
                      <a:lnTo>
                        <a:pt x="665" y="463"/>
                      </a:lnTo>
                      <a:lnTo>
                        <a:pt x="657" y="476"/>
                      </a:lnTo>
                      <a:lnTo>
                        <a:pt x="652" y="490"/>
                      </a:lnTo>
                      <a:lnTo>
                        <a:pt x="651" y="492"/>
                      </a:lnTo>
                      <a:lnTo>
                        <a:pt x="647" y="495"/>
                      </a:lnTo>
                      <a:lnTo>
                        <a:pt x="645" y="496"/>
                      </a:lnTo>
                      <a:lnTo>
                        <a:pt x="645" y="497"/>
                      </a:lnTo>
                      <a:lnTo>
                        <a:pt x="649" y="503"/>
                      </a:lnTo>
                      <a:lnTo>
                        <a:pt x="649" y="507"/>
                      </a:lnTo>
                      <a:lnTo>
                        <a:pt x="648" y="509"/>
                      </a:lnTo>
                      <a:lnTo>
                        <a:pt x="645" y="520"/>
                      </a:lnTo>
                      <a:lnTo>
                        <a:pt x="644" y="524"/>
                      </a:lnTo>
                      <a:lnTo>
                        <a:pt x="645" y="530"/>
                      </a:lnTo>
                      <a:lnTo>
                        <a:pt x="647" y="534"/>
                      </a:lnTo>
                      <a:lnTo>
                        <a:pt x="647" y="536"/>
                      </a:lnTo>
                      <a:lnTo>
                        <a:pt x="645" y="537"/>
                      </a:lnTo>
                      <a:lnTo>
                        <a:pt x="643" y="542"/>
                      </a:lnTo>
                      <a:lnTo>
                        <a:pt x="640" y="547"/>
                      </a:lnTo>
                      <a:lnTo>
                        <a:pt x="638" y="551"/>
                      </a:lnTo>
                      <a:lnTo>
                        <a:pt x="634" y="554"/>
                      </a:lnTo>
                      <a:lnTo>
                        <a:pt x="629" y="556"/>
                      </a:lnTo>
                      <a:lnTo>
                        <a:pt x="623" y="558"/>
                      </a:lnTo>
                      <a:lnTo>
                        <a:pt x="610" y="558"/>
                      </a:lnTo>
                      <a:lnTo>
                        <a:pt x="610" y="559"/>
                      </a:lnTo>
                      <a:lnTo>
                        <a:pt x="604" y="560"/>
                      </a:lnTo>
                      <a:lnTo>
                        <a:pt x="598" y="562"/>
                      </a:lnTo>
                      <a:lnTo>
                        <a:pt x="593" y="567"/>
                      </a:lnTo>
                      <a:lnTo>
                        <a:pt x="590" y="571"/>
                      </a:lnTo>
                      <a:lnTo>
                        <a:pt x="587" y="572"/>
                      </a:lnTo>
                      <a:lnTo>
                        <a:pt x="583" y="573"/>
                      </a:lnTo>
                      <a:lnTo>
                        <a:pt x="579" y="573"/>
                      </a:lnTo>
                      <a:lnTo>
                        <a:pt x="577" y="575"/>
                      </a:lnTo>
                      <a:lnTo>
                        <a:pt x="577" y="577"/>
                      </a:lnTo>
                      <a:lnTo>
                        <a:pt x="578" y="579"/>
                      </a:lnTo>
                      <a:lnTo>
                        <a:pt x="579" y="581"/>
                      </a:lnTo>
                      <a:lnTo>
                        <a:pt x="579" y="583"/>
                      </a:lnTo>
                      <a:lnTo>
                        <a:pt x="578" y="584"/>
                      </a:lnTo>
                      <a:lnTo>
                        <a:pt x="577" y="583"/>
                      </a:lnTo>
                      <a:lnTo>
                        <a:pt x="576" y="580"/>
                      </a:lnTo>
                      <a:lnTo>
                        <a:pt x="571" y="577"/>
                      </a:lnTo>
                      <a:lnTo>
                        <a:pt x="567" y="572"/>
                      </a:lnTo>
                      <a:lnTo>
                        <a:pt x="563" y="571"/>
                      </a:lnTo>
                      <a:lnTo>
                        <a:pt x="557" y="571"/>
                      </a:lnTo>
                      <a:lnTo>
                        <a:pt x="562" y="567"/>
                      </a:lnTo>
                      <a:lnTo>
                        <a:pt x="563" y="565"/>
                      </a:lnTo>
                      <a:lnTo>
                        <a:pt x="564" y="562"/>
                      </a:lnTo>
                      <a:lnTo>
                        <a:pt x="563" y="559"/>
                      </a:lnTo>
                      <a:lnTo>
                        <a:pt x="560" y="556"/>
                      </a:lnTo>
                      <a:lnTo>
                        <a:pt x="557" y="555"/>
                      </a:lnTo>
                      <a:lnTo>
                        <a:pt x="553" y="554"/>
                      </a:lnTo>
                      <a:lnTo>
                        <a:pt x="552" y="555"/>
                      </a:lnTo>
                      <a:lnTo>
                        <a:pt x="550" y="558"/>
                      </a:lnTo>
                      <a:lnTo>
                        <a:pt x="549" y="560"/>
                      </a:lnTo>
                      <a:lnTo>
                        <a:pt x="550" y="562"/>
                      </a:lnTo>
                      <a:lnTo>
                        <a:pt x="552" y="565"/>
                      </a:lnTo>
                      <a:lnTo>
                        <a:pt x="552" y="566"/>
                      </a:lnTo>
                      <a:lnTo>
                        <a:pt x="552" y="567"/>
                      </a:lnTo>
                      <a:lnTo>
                        <a:pt x="550" y="567"/>
                      </a:lnTo>
                      <a:lnTo>
                        <a:pt x="549" y="567"/>
                      </a:lnTo>
                      <a:lnTo>
                        <a:pt x="546" y="566"/>
                      </a:lnTo>
                      <a:lnTo>
                        <a:pt x="540" y="567"/>
                      </a:lnTo>
                      <a:lnTo>
                        <a:pt x="535" y="568"/>
                      </a:lnTo>
                      <a:lnTo>
                        <a:pt x="531" y="569"/>
                      </a:lnTo>
                      <a:lnTo>
                        <a:pt x="529" y="572"/>
                      </a:lnTo>
                      <a:lnTo>
                        <a:pt x="525" y="573"/>
                      </a:lnTo>
                      <a:lnTo>
                        <a:pt x="522" y="573"/>
                      </a:lnTo>
                      <a:lnTo>
                        <a:pt x="520" y="573"/>
                      </a:lnTo>
                      <a:lnTo>
                        <a:pt x="515" y="569"/>
                      </a:lnTo>
                      <a:lnTo>
                        <a:pt x="508" y="566"/>
                      </a:lnTo>
                      <a:lnTo>
                        <a:pt x="506" y="566"/>
                      </a:lnTo>
                      <a:lnTo>
                        <a:pt x="503" y="565"/>
                      </a:lnTo>
                      <a:lnTo>
                        <a:pt x="501" y="566"/>
                      </a:lnTo>
                      <a:lnTo>
                        <a:pt x="497" y="568"/>
                      </a:lnTo>
                      <a:lnTo>
                        <a:pt x="496" y="568"/>
                      </a:lnTo>
                      <a:lnTo>
                        <a:pt x="494" y="568"/>
                      </a:lnTo>
                      <a:lnTo>
                        <a:pt x="492" y="567"/>
                      </a:lnTo>
                      <a:lnTo>
                        <a:pt x="491" y="566"/>
                      </a:lnTo>
                      <a:lnTo>
                        <a:pt x="489" y="564"/>
                      </a:lnTo>
                      <a:lnTo>
                        <a:pt x="488" y="564"/>
                      </a:lnTo>
                      <a:lnTo>
                        <a:pt x="483" y="562"/>
                      </a:lnTo>
                      <a:lnTo>
                        <a:pt x="480" y="562"/>
                      </a:lnTo>
                      <a:lnTo>
                        <a:pt x="479" y="560"/>
                      </a:lnTo>
                      <a:lnTo>
                        <a:pt x="469" y="543"/>
                      </a:lnTo>
                      <a:lnTo>
                        <a:pt x="466" y="534"/>
                      </a:lnTo>
                      <a:lnTo>
                        <a:pt x="465" y="529"/>
                      </a:lnTo>
                      <a:lnTo>
                        <a:pt x="465" y="524"/>
                      </a:lnTo>
                      <a:lnTo>
                        <a:pt x="465" y="521"/>
                      </a:lnTo>
                      <a:lnTo>
                        <a:pt x="463" y="517"/>
                      </a:lnTo>
                      <a:lnTo>
                        <a:pt x="458" y="509"/>
                      </a:lnTo>
                      <a:lnTo>
                        <a:pt x="450" y="503"/>
                      </a:lnTo>
                      <a:lnTo>
                        <a:pt x="441" y="498"/>
                      </a:lnTo>
                      <a:lnTo>
                        <a:pt x="441" y="497"/>
                      </a:lnTo>
                      <a:lnTo>
                        <a:pt x="441" y="496"/>
                      </a:lnTo>
                      <a:lnTo>
                        <a:pt x="442" y="492"/>
                      </a:lnTo>
                      <a:lnTo>
                        <a:pt x="444" y="488"/>
                      </a:lnTo>
                      <a:lnTo>
                        <a:pt x="444" y="485"/>
                      </a:lnTo>
                      <a:lnTo>
                        <a:pt x="442" y="483"/>
                      </a:lnTo>
                      <a:lnTo>
                        <a:pt x="438" y="478"/>
                      </a:lnTo>
                      <a:lnTo>
                        <a:pt x="437" y="476"/>
                      </a:lnTo>
                      <a:lnTo>
                        <a:pt x="435" y="476"/>
                      </a:lnTo>
                      <a:lnTo>
                        <a:pt x="433" y="478"/>
                      </a:lnTo>
                      <a:lnTo>
                        <a:pt x="432" y="479"/>
                      </a:lnTo>
                      <a:lnTo>
                        <a:pt x="431" y="484"/>
                      </a:lnTo>
                      <a:lnTo>
                        <a:pt x="431" y="488"/>
                      </a:lnTo>
                      <a:lnTo>
                        <a:pt x="430" y="492"/>
                      </a:lnTo>
                      <a:lnTo>
                        <a:pt x="426" y="494"/>
                      </a:lnTo>
                      <a:lnTo>
                        <a:pt x="421" y="495"/>
                      </a:lnTo>
                      <a:lnTo>
                        <a:pt x="417" y="495"/>
                      </a:lnTo>
                      <a:lnTo>
                        <a:pt x="416" y="495"/>
                      </a:lnTo>
                      <a:lnTo>
                        <a:pt x="416" y="494"/>
                      </a:lnTo>
                      <a:lnTo>
                        <a:pt x="422" y="488"/>
                      </a:lnTo>
                      <a:lnTo>
                        <a:pt x="425" y="481"/>
                      </a:lnTo>
                      <a:lnTo>
                        <a:pt x="426" y="473"/>
                      </a:lnTo>
                      <a:lnTo>
                        <a:pt x="426" y="466"/>
                      </a:lnTo>
                      <a:lnTo>
                        <a:pt x="426" y="464"/>
                      </a:lnTo>
                      <a:lnTo>
                        <a:pt x="427" y="463"/>
                      </a:lnTo>
                      <a:lnTo>
                        <a:pt x="431" y="459"/>
                      </a:lnTo>
                      <a:lnTo>
                        <a:pt x="433" y="453"/>
                      </a:lnTo>
                      <a:lnTo>
                        <a:pt x="433" y="449"/>
                      </a:lnTo>
                      <a:lnTo>
                        <a:pt x="432" y="443"/>
                      </a:lnTo>
                      <a:lnTo>
                        <a:pt x="431" y="438"/>
                      </a:lnTo>
                      <a:lnTo>
                        <a:pt x="430" y="437"/>
                      </a:lnTo>
                      <a:lnTo>
                        <a:pt x="428" y="438"/>
                      </a:lnTo>
                      <a:lnTo>
                        <a:pt x="426" y="439"/>
                      </a:lnTo>
                      <a:lnTo>
                        <a:pt x="418" y="454"/>
                      </a:lnTo>
                      <a:lnTo>
                        <a:pt x="413" y="462"/>
                      </a:lnTo>
                      <a:lnTo>
                        <a:pt x="409" y="464"/>
                      </a:lnTo>
                      <a:lnTo>
                        <a:pt x="405" y="466"/>
                      </a:lnTo>
                      <a:lnTo>
                        <a:pt x="403" y="468"/>
                      </a:lnTo>
                      <a:lnTo>
                        <a:pt x="402" y="470"/>
                      </a:lnTo>
                      <a:lnTo>
                        <a:pt x="399" y="476"/>
                      </a:lnTo>
                      <a:lnTo>
                        <a:pt x="399" y="482"/>
                      </a:lnTo>
                      <a:lnTo>
                        <a:pt x="400" y="488"/>
                      </a:lnTo>
                      <a:lnTo>
                        <a:pt x="397" y="488"/>
                      </a:lnTo>
                      <a:lnTo>
                        <a:pt x="393" y="487"/>
                      </a:lnTo>
                      <a:lnTo>
                        <a:pt x="390" y="484"/>
                      </a:lnTo>
                      <a:lnTo>
                        <a:pt x="389" y="481"/>
                      </a:lnTo>
                      <a:lnTo>
                        <a:pt x="388" y="472"/>
                      </a:lnTo>
                      <a:lnTo>
                        <a:pt x="384" y="465"/>
                      </a:lnTo>
                      <a:lnTo>
                        <a:pt x="380" y="458"/>
                      </a:lnTo>
                      <a:lnTo>
                        <a:pt x="375" y="451"/>
                      </a:lnTo>
                      <a:lnTo>
                        <a:pt x="370" y="444"/>
                      </a:lnTo>
                      <a:lnTo>
                        <a:pt x="364" y="437"/>
                      </a:lnTo>
                      <a:lnTo>
                        <a:pt x="361" y="434"/>
                      </a:lnTo>
                      <a:lnTo>
                        <a:pt x="358" y="434"/>
                      </a:lnTo>
                      <a:lnTo>
                        <a:pt x="351" y="433"/>
                      </a:lnTo>
                      <a:lnTo>
                        <a:pt x="342" y="431"/>
                      </a:lnTo>
                      <a:lnTo>
                        <a:pt x="332" y="427"/>
                      </a:lnTo>
                      <a:lnTo>
                        <a:pt x="322" y="421"/>
                      </a:lnTo>
                      <a:lnTo>
                        <a:pt x="317" y="420"/>
                      </a:lnTo>
                      <a:lnTo>
                        <a:pt x="312" y="418"/>
                      </a:lnTo>
                      <a:lnTo>
                        <a:pt x="306" y="418"/>
                      </a:lnTo>
                      <a:lnTo>
                        <a:pt x="300" y="418"/>
                      </a:lnTo>
                      <a:lnTo>
                        <a:pt x="287" y="421"/>
                      </a:lnTo>
                      <a:lnTo>
                        <a:pt x="280" y="422"/>
                      </a:lnTo>
                      <a:lnTo>
                        <a:pt x="275" y="425"/>
                      </a:lnTo>
                      <a:lnTo>
                        <a:pt x="259" y="433"/>
                      </a:lnTo>
                      <a:lnTo>
                        <a:pt x="254" y="434"/>
                      </a:lnTo>
                      <a:lnTo>
                        <a:pt x="249" y="434"/>
                      </a:lnTo>
                      <a:lnTo>
                        <a:pt x="237" y="433"/>
                      </a:lnTo>
                      <a:lnTo>
                        <a:pt x="232" y="433"/>
                      </a:lnTo>
                      <a:lnTo>
                        <a:pt x="225" y="434"/>
                      </a:lnTo>
                      <a:lnTo>
                        <a:pt x="220" y="437"/>
                      </a:lnTo>
                      <a:lnTo>
                        <a:pt x="216" y="44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7" name="Freeform 341">
                  <a:extLst>
                    <a:ext uri="{FF2B5EF4-FFF2-40B4-BE49-F238E27FC236}">
                      <a16:creationId xmlns:a16="http://schemas.microsoft.com/office/drawing/2014/main" id="{5EDF4E14-68A0-CE49-BCD9-69D9B508DD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2657" y="6225502"/>
                  <a:ext cx="22198" cy="23678"/>
                </a:xfrm>
                <a:custGeom>
                  <a:avLst/>
                  <a:gdLst>
                    <a:gd name="T0" fmla="*/ 2147483647 w 16"/>
                    <a:gd name="T1" fmla="*/ 2147483647 h 16"/>
                    <a:gd name="T2" fmla="*/ 2147483647 w 16"/>
                    <a:gd name="T3" fmla="*/ 2147483647 h 16"/>
                    <a:gd name="T4" fmla="*/ 0 w 16"/>
                    <a:gd name="T5" fmla="*/ 2147483647 h 16"/>
                    <a:gd name="T6" fmla="*/ 2147483647 w 16"/>
                    <a:gd name="T7" fmla="*/ 2147483647 h 16"/>
                    <a:gd name="T8" fmla="*/ 2147483647 w 16"/>
                    <a:gd name="T9" fmla="*/ 0 h 16"/>
                    <a:gd name="T10" fmla="*/ 2147483647 w 16"/>
                    <a:gd name="T11" fmla="*/ 0 h 16"/>
                    <a:gd name="T12" fmla="*/ 2147483647 w 16"/>
                    <a:gd name="T13" fmla="*/ 2147483647 h 16"/>
                    <a:gd name="T14" fmla="*/ 2147483647 w 16"/>
                    <a:gd name="T15" fmla="*/ 2147483647 h 16"/>
                    <a:gd name="T16" fmla="*/ 2147483647 w 16"/>
                    <a:gd name="T17" fmla="*/ 2147483647 h 16"/>
                    <a:gd name="T18" fmla="*/ 2147483647 w 16"/>
                    <a:gd name="T19" fmla="*/ 2147483647 h 16"/>
                    <a:gd name="T20" fmla="*/ 2147483647 w 16"/>
                    <a:gd name="T21" fmla="*/ 2147483647 h 16"/>
                    <a:gd name="T22" fmla="*/ 2147483647 w 16"/>
                    <a:gd name="T23" fmla="*/ 2147483647 h 16"/>
                    <a:gd name="T24" fmla="*/ 2147483647 w 16"/>
                    <a:gd name="T25" fmla="*/ 2147483647 h 16"/>
                    <a:gd name="T26" fmla="*/ 2147483647 w 16"/>
                    <a:gd name="T27" fmla="*/ 2147483647 h 1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6"/>
                    <a:gd name="T43" fmla="*/ 0 h 16"/>
                    <a:gd name="T44" fmla="*/ 16 w 16"/>
                    <a:gd name="T45" fmla="*/ 16 h 1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6" h="16">
                      <a:moveTo>
                        <a:pt x="5" y="10"/>
                      </a:move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9" y="1"/>
                      </a:lnTo>
                      <a:lnTo>
                        <a:pt x="14" y="4"/>
                      </a:lnTo>
                      <a:lnTo>
                        <a:pt x="16" y="10"/>
                      </a:lnTo>
                      <a:lnTo>
                        <a:pt x="16" y="13"/>
                      </a:lnTo>
                      <a:lnTo>
                        <a:pt x="16" y="15"/>
                      </a:lnTo>
                      <a:lnTo>
                        <a:pt x="14" y="16"/>
                      </a:lnTo>
                      <a:lnTo>
                        <a:pt x="11" y="15"/>
                      </a:lnTo>
                      <a:lnTo>
                        <a:pt x="5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8" name="Freeform 343">
                  <a:extLst>
                    <a:ext uri="{FF2B5EF4-FFF2-40B4-BE49-F238E27FC236}">
                      <a16:creationId xmlns:a16="http://schemas.microsoft.com/office/drawing/2014/main" id="{434F113F-7272-3641-8776-ADA625F04B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1174" y="6222545"/>
                  <a:ext cx="22199" cy="25157"/>
                </a:xfrm>
                <a:custGeom>
                  <a:avLst/>
                  <a:gdLst>
                    <a:gd name="T0" fmla="*/ 2147483647 w 16"/>
                    <a:gd name="T1" fmla="*/ 2147483647 h 17"/>
                    <a:gd name="T2" fmla="*/ 2147483647 w 16"/>
                    <a:gd name="T3" fmla="*/ 2147483647 h 17"/>
                    <a:gd name="T4" fmla="*/ 2147483647 w 16"/>
                    <a:gd name="T5" fmla="*/ 2147483647 h 17"/>
                    <a:gd name="T6" fmla="*/ 0 w 16"/>
                    <a:gd name="T7" fmla="*/ 2147483647 h 17"/>
                    <a:gd name="T8" fmla="*/ 2147483647 w 16"/>
                    <a:gd name="T9" fmla="*/ 2147483647 h 17"/>
                    <a:gd name="T10" fmla="*/ 2147483647 w 16"/>
                    <a:gd name="T11" fmla="*/ 0 h 17"/>
                    <a:gd name="T12" fmla="*/ 2147483647 w 16"/>
                    <a:gd name="T13" fmla="*/ 0 h 17"/>
                    <a:gd name="T14" fmla="*/ 2147483647 w 16"/>
                    <a:gd name="T15" fmla="*/ 0 h 17"/>
                    <a:gd name="T16" fmla="*/ 2147483647 w 16"/>
                    <a:gd name="T17" fmla="*/ 2147483647 h 17"/>
                    <a:gd name="T18" fmla="*/ 2147483647 w 16"/>
                    <a:gd name="T19" fmla="*/ 2147483647 h 17"/>
                    <a:gd name="T20" fmla="*/ 2147483647 w 16"/>
                    <a:gd name="T21" fmla="*/ 2147483647 h 17"/>
                    <a:gd name="T22" fmla="*/ 2147483647 w 16"/>
                    <a:gd name="T23" fmla="*/ 2147483647 h 17"/>
                    <a:gd name="T24" fmla="*/ 2147483647 w 16"/>
                    <a:gd name="T25" fmla="*/ 2147483647 h 17"/>
                    <a:gd name="T26" fmla="*/ 2147483647 w 16"/>
                    <a:gd name="T27" fmla="*/ 2147483647 h 17"/>
                    <a:gd name="T28" fmla="*/ 2147483647 w 16"/>
                    <a:gd name="T29" fmla="*/ 2147483647 h 17"/>
                    <a:gd name="T30" fmla="*/ 2147483647 w 16"/>
                    <a:gd name="T31" fmla="*/ 2147483647 h 17"/>
                    <a:gd name="T32" fmla="*/ 2147483647 w 16"/>
                    <a:gd name="T33" fmla="*/ 2147483647 h 17"/>
                    <a:gd name="T34" fmla="*/ 2147483647 w 16"/>
                    <a:gd name="T35" fmla="*/ 2147483647 h 1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6"/>
                    <a:gd name="T55" fmla="*/ 0 h 17"/>
                    <a:gd name="T56" fmla="*/ 16 w 16"/>
                    <a:gd name="T57" fmla="*/ 17 h 1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6" h="17">
                      <a:moveTo>
                        <a:pt x="5" y="11"/>
                      </a:moveTo>
                      <a:lnTo>
                        <a:pt x="5" y="11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9" y="2"/>
                      </a:lnTo>
                      <a:lnTo>
                        <a:pt x="14" y="5"/>
                      </a:lnTo>
                      <a:lnTo>
                        <a:pt x="16" y="11"/>
                      </a:lnTo>
                      <a:lnTo>
                        <a:pt x="16" y="13"/>
                      </a:lnTo>
                      <a:lnTo>
                        <a:pt x="16" y="16"/>
                      </a:lnTo>
                      <a:lnTo>
                        <a:pt x="14" y="17"/>
                      </a:lnTo>
                      <a:lnTo>
                        <a:pt x="11" y="16"/>
                      </a:lnTo>
                      <a:lnTo>
                        <a:pt x="5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9" name="Freeform 344">
                  <a:extLst>
                    <a:ext uri="{FF2B5EF4-FFF2-40B4-BE49-F238E27FC236}">
                      <a16:creationId xmlns:a16="http://schemas.microsoft.com/office/drawing/2014/main" id="{93D71DD4-71BF-4F41-B274-3CADB2FDD1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3863" y="6118954"/>
                  <a:ext cx="45876" cy="32557"/>
                </a:xfrm>
                <a:custGeom>
                  <a:avLst/>
                  <a:gdLst>
                    <a:gd name="T0" fmla="*/ 2147483647 w 33"/>
                    <a:gd name="T1" fmla="*/ 2147483647 h 22"/>
                    <a:gd name="T2" fmla="*/ 2147483647 w 33"/>
                    <a:gd name="T3" fmla="*/ 2147483647 h 22"/>
                    <a:gd name="T4" fmla="*/ 2147483647 w 33"/>
                    <a:gd name="T5" fmla="*/ 2147483647 h 22"/>
                    <a:gd name="T6" fmla="*/ 2147483647 w 33"/>
                    <a:gd name="T7" fmla="*/ 2147483647 h 22"/>
                    <a:gd name="T8" fmla="*/ 2147483647 w 33"/>
                    <a:gd name="T9" fmla="*/ 2147483647 h 22"/>
                    <a:gd name="T10" fmla="*/ 2147483647 w 33"/>
                    <a:gd name="T11" fmla="*/ 2147483647 h 22"/>
                    <a:gd name="T12" fmla="*/ 2147483647 w 33"/>
                    <a:gd name="T13" fmla="*/ 2147483647 h 22"/>
                    <a:gd name="T14" fmla="*/ 2147483647 w 33"/>
                    <a:gd name="T15" fmla="*/ 2147483647 h 22"/>
                    <a:gd name="T16" fmla="*/ 2147483647 w 33"/>
                    <a:gd name="T17" fmla="*/ 2147483647 h 22"/>
                    <a:gd name="T18" fmla="*/ 2147483647 w 33"/>
                    <a:gd name="T19" fmla="*/ 2147483647 h 22"/>
                    <a:gd name="T20" fmla="*/ 2147483647 w 33"/>
                    <a:gd name="T21" fmla="*/ 2147483647 h 22"/>
                    <a:gd name="T22" fmla="*/ 2147483647 w 33"/>
                    <a:gd name="T23" fmla="*/ 2147483647 h 22"/>
                    <a:gd name="T24" fmla="*/ 2147483647 w 33"/>
                    <a:gd name="T25" fmla="*/ 0 h 22"/>
                    <a:gd name="T26" fmla="*/ 2147483647 w 33"/>
                    <a:gd name="T27" fmla="*/ 2147483647 h 22"/>
                    <a:gd name="T28" fmla="*/ 2147483647 w 33"/>
                    <a:gd name="T29" fmla="*/ 2147483647 h 22"/>
                    <a:gd name="T30" fmla="*/ 2147483647 w 33"/>
                    <a:gd name="T31" fmla="*/ 2147483647 h 22"/>
                    <a:gd name="T32" fmla="*/ 2147483647 w 33"/>
                    <a:gd name="T33" fmla="*/ 2147483647 h 22"/>
                    <a:gd name="T34" fmla="*/ 2147483647 w 33"/>
                    <a:gd name="T35" fmla="*/ 2147483647 h 22"/>
                    <a:gd name="T36" fmla="*/ 2147483647 w 33"/>
                    <a:gd name="T37" fmla="*/ 2147483647 h 22"/>
                    <a:gd name="T38" fmla="*/ 2147483647 w 33"/>
                    <a:gd name="T39" fmla="*/ 2147483647 h 22"/>
                    <a:gd name="T40" fmla="*/ 2147483647 w 33"/>
                    <a:gd name="T41" fmla="*/ 2147483647 h 22"/>
                    <a:gd name="T42" fmla="*/ 0 w 33"/>
                    <a:gd name="T43" fmla="*/ 2147483647 h 22"/>
                    <a:gd name="T44" fmla="*/ 0 w 33"/>
                    <a:gd name="T45" fmla="*/ 2147483647 h 22"/>
                    <a:gd name="T46" fmla="*/ 2147483647 w 33"/>
                    <a:gd name="T47" fmla="*/ 2147483647 h 22"/>
                    <a:gd name="T48" fmla="*/ 2147483647 w 33"/>
                    <a:gd name="T49" fmla="*/ 2147483647 h 22"/>
                    <a:gd name="T50" fmla="*/ 2147483647 w 33"/>
                    <a:gd name="T51" fmla="*/ 2147483647 h 22"/>
                    <a:gd name="T52" fmla="*/ 2147483647 w 33"/>
                    <a:gd name="T53" fmla="*/ 2147483647 h 22"/>
                    <a:gd name="T54" fmla="*/ 2147483647 w 33"/>
                    <a:gd name="T55" fmla="*/ 2147483647 h 22"/>
                    <a:gd name="T56" fmla="*/ 2147483647 w 33"/>
                    <a:gd name="T57" fmla="*/ 2147483647 h 22"/>
                    <a:gd name="T58" fmla="*/ 2147483647 w 33"/>
                    <a:gd name="T59" fmla="*/ 2147483647 h 22"/>
                    <a:gd name="T60" fmla="*/ 2147483647 w 33"/>
                    <a:gd name="T61" fmla="*/ 2147483647 h 22"/>
                    <a:gd name="T62" fmla="*/ 2147483647 w 33"/>
                    <a:gd name="T63" fmla="*/ 2147483647 h 22"/>
                    <a:gd name="T64" fmla="*/ 2147483647 w 33"/>
                    <a:gd name="T65" fmla="*/ 2147483647 h 22"/>
                    <a:gd name="T66" fmla="*/ 2147483647 w 33"/>
                    <a:gd name="T67" fmla="*/ 2147483647 h 22"/>
                    <a:gd name="T68" fmla="*/ 2147483647 w 33"/>
                    <a:gd name="T69" fmla="*/ 2147483647 h 2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33"/>
                    <a:gd name="T106" fmla="*/ 0 h 22"/>
                    <a:gd name="T107" fmla="*/ 33 w 33"/>
                    <a:gd name="T108" fmla="*/ 22 h 2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33" h="22">
                      <a:moveTo>
                        <a:pt x="29" y="13"/>
                      </a:moveTo>
                      <a:lnTo>
                        <a:pt x="32" y="12"/>
                      </a:lnTo>
                      <a:lnTo>
                        <a:pt x="33" y="11"/>
                      </a:lnTo>
                      <a:lnTo>
                        <a:pt x="32" y="10"/>
                      </a:lnTo>
                      <a:lnTo>
                        <a:pt x="24" y="8"/>
                      </a:lnTo>
                      <a:lnTo>
                        <a:pt x="22" y="5"/>
                      </a:lnTo>
                      <a:lnTo>
                        <a:pt x="18" y="2"/>
                      </a:lnTo>
                      <a:lnTo>
                        <a:pt x="17" y="2"/>
                      </a:lnTo>
                      <a:lnTo>
                        <a:pt x="14" y="3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7" y="8"/>
                      </a:lnTo>
                      <a:lnTo>
                        <a:pt x="7" y="9"/>
                      </a:lnTo>
                      <a:lnTo>
                        <a:pt x="5" y="10"/>
                      </a:lnTo>
                      <a:lnTo>
                        <a:pt x="4" y="10"/>
                      </a:lnTo>
                      <a:lnTo>
                        <a:pt x="1" y="11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4" y="16"/>
                      </a:lnTo>
                      <a:lnTo>
                        <a:pt x="8" y="21"/>
                      </a:lnTo>
                      <a:lnTo>
                        <a:pt x="9" y="22"/>
                      </a:lnTo>
                      <a:lnTo>
                        <a:pt x="10" y="22"/>
                      </a:lnTo>
                      <a:lnTo>
                        <a:pt x="15" y="21"/>
                      </a:lnTo>
                      <a:lnTo>
                        <a:pt x="19" y="21"/>
                      </a:lnTo>
                      <a:lnTo>
                        <a:pt x="23" y="22"/>
                      </a:lnTo>
                      <a:lnTo>
                        <a:pt x="27" y="22"/>
                      </a:lnTo>
                      <a:lnTo>
                        <a:pt x="28" y="22"/>
                      </a:lnTo>
                      <a:lnTo>
                        <a:pt x="28" y="19"/>
                      </a:lnTo>
                      <a:lnTo>
                        <a:pt x="27" y="15"/>
                      </a:lnTo>
                      <a:lnTo>
                        <a:pt x="29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0" name="Freeform 345">
                  <a:extLst>
                    <a:ext uri="{FF2B5EF4-FFF2-40B4-BE49-F238E27FC236}">
                      <a16:creationId xmlns:a16="http://schemas.microsoft.com/office/drawing/2014/main" id="{31E132B8-5B3E-5244-BB35-2DB510D479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4494" y="4508852"/>
                  <a:ext cx="4439" cy="10359"/>
                </a:xfrm>
                <a:custGeom>
                  <a:avLst/>
                  <a:gdLst>
                    <a:gd name="T0" fmla="*/ 2147483647 w 3"/>
                    <a:gd name="T1" fmla="*/ 2147483647 h 7"/>
                    <a:gd name="T2" fmla="*/ 2147483647 w 3"/>
                    <a:gd name="T3" fmla="*/ 2147483647 h 7"/>
                    <a:gd name="T4" fmla="*/ 2147483647 w 3"/>
                    <a:gd name="T5" fmla="*/ 2147483647 h 7"/>
                    <a:gd name="T6" fmla="*/ 2147483647 w 3"/>
                    <a:gd name="T7" fmla="*/ 2147483647 h 7"/>
                    <a:gd name="T8" fmla="*/ 0 w 3"/>
                    <a:gd name="T9" fmla="*/ 2147483647 h 7"/>
                    <a:gd name="T10" fmla="*/ 0 w 3"/>
                    <a:gd name="T11" fmla="*/ 2147483647 h 7"/>
                    <a:gd name="T12" fmla="*/ 2147483647 w 3"/>
                    <a:gd name="T13" fmla="*/ 0 h 7"/>
                    <a:gd name="T14" fmla="*/ 2147483647 w 3"/>
                    <a:gd name="T15" fmla="*/ 0 h 7"/>
                    <a:gd name="T16" fmla="*/ 2147483647 w 3"/>
                    <a:gd name="T17" fmla="*/ 2147483647 h 7"/>
                    <a:gd name="T18" fmla="*/ 2147483647 w 3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"/>
                    <a:gd name="T31" fmla="*/ 0 h 7"/>
                    <a:gd name="T32" fmla="*/ 3 w 3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" h="7">
                      <a:moveTo>
                        <a:pt x="3" y="5"/>
                      </a:move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1" name="Freeform 346">
                  <a:extLst>
                    <a:ext uri="{FF2B5EF4-FFF2-40B4-BE49-F238E27FC236}">
                      <a16:creationId xmlns:a16="http://schemas.microsoft.com/office/drawing/2014/main" id="{394DA5F9-9543-C34D-BB92-29ED9934AD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22381" y="6117475"/>
                  <a:ext cx="45877" cy="32557"/>
                </a:xfrm>
                <a:custGeom>
                  <a:avLst/>
                  <a:gdLst>
                    <a:gd name="T0" fmla="*/ 2147483647 w 33"/>
                    <a:gd name="T1" fmla="*/ 2147483647 h 22"/>
                    <a:gd name="T2" fmla="*/ 2147483647 w 33"/>
                    <a:gd name="T3" fmla="*/ 2147483647 h 22"/>
                    <a:gd name="T4" fmla="*/ 2147483647 w 33"/>
                    <a:gd name="T5" fmla="*/ 2147483647 h 22"/>
                    <a:gd name="T6" fmla="*/ 2147483647 w 33"/>
                    <a:gd name="T7" fmla="*/ 2147483647 h 22"/>
                    <a:gd name="T8" fmla="*/ 2147483647 w 33"/>
                    <a:gd name="T9" fmla="*/ 2147483647 h 22"/>
                    <a:gd name="T10" fmla="*/ 2147483647 w 33"/>
                    <a:gd name="T11" fmla="*/ 2147483647 h 22"/>
                    <a:gd name="T12" fmla="*/ 2147483647 w 33"/>
                    <a:gd name="T13" fmla="*/ 2147483647 h 22"/>
                    <a:gd name="T14" fmla="*/ 2147483647 w 33"/>
                    <a:gd name="T15" fmla="*/ 2147483647 h 22"/>
                    <a:gd name="T16" fmla="*/ 2147483647 w 33"/>
                    <a:gd name="T17" fmla="*/ 2147483647 h 22"/>
                    <a:gd name="T18" fmla="*/ 2147483647 w 33"/>
                    <a:gd name="T19" fmla="*/ 2147483647 h 22"/>
                    <a:gd name="T20" fmla="*/ 2147483647 w 33"/>
                    <a:gd name="T21" fmla="*/ 2147483647 h 22"/>
                    <a:gd name="T22" fmla="*/ 2147483647 w 33"/>
                    <a:gd name="T23" fmla="*/ 2147483647 h 22"/>
                    <a:gd name="T24" fmla="*/ 2147483647 w 33"/>
                    <a:gd name="T25" fmla="*/ 2147483647 h 22"/>
                    <a:gd name="T26" fmla="*/ 2147483647 w 33"/>
                    <a:gd name="T27" fmla="*/ 2147483647 h 22"/>
                    <a:gd name="T28" fmla="*/ 2147483647 w 33"/>
                    <a:gd name="T29" fmla="*/ 2147483647 h 22"/>
                    <a:gd name="T30" fmla="*/ 2147483647 w 33"/>
                    <a:gd name="T31" fmla="*/ 2147483647 h 22"/>
                    <a:gd name="T32" fmla="*/ 2147483647 w 33"/>
                    <a:gd name="T33" fmla="*/ 2147483647 h 22"/>
                    <a:gd name="T34" fmla="*/ 2147483647 w 33"/>
                    <a:gd name="T35" fmla="*/ 0 h 22"/>
                    <a:gd name="T36" fmla="*/ 2147483647 w 33"/>
                    <a:gd name="T37" fmla="*/ 2147483647 h 22"/>
                    <a:gd name="T38" fmla="*/ 2147483647 w 33"/>
                    <a:gd name="T39" fmla="*/ 2147483647 h 22"/>
                    <a:gd name="T40" fmla="*/ 2147483647 w 33"/>
                    <a:gd name="T41" fmla="*/ 2147483647 h 22"/>
                    <a:gd name="T42" fmla="*/ 2147483647 w 33"/>
                    <a:gd name="T43" fmla="*/ 2147483647 h 22"/>
                    <a:gd name="T44" fmla="*/ 2147483647 w 33"/>
                    <a:gd name="T45" fmla="*/ 2147483647 h 22"/>
                    <a:gd name="T46" fmla="*/ 2147483647 w 33"/>
                    <a:gd name="T47" fmla="*/ 2147483647 h 22"/>
                    <a:gd name="T48" fmla="*/ 2147483647 w 33"/>
                    <a:gd name="T49" fmla="*/ 2147483647 h 22"/>
                    <a:gd name="T50" fmla="*/ 2147483647 w 33"/>
                    <a:gd name="T51" fmla="*/ 2147483647 h 22"/>
                    <a:gd name="T52" fmla="*/ 2147483647 w 33"/>
                    <a:gd name="T53" fmla="*/ 2147483647 h 22"/>
                    <a:gd name="T54" fmla="*/ 2147483647 w 33"/>
                    <a:gd name="T55" fmla="*/ 2147483647 h 22"/>
                    <a:gd name="T56" fmla="*/ 2147483647 w 33"/>
                    <a:gd name="T57" fmla="*/ 2147483647 h 22"/>
                    <a:gd name="T58" fmla="*/ 0 w 33"/>
                    <a:gd name="T59" fmla="*/ 2147483647 h 22"/>
                    <a:gd name="T60" fmla="*/ 0 w 33"/>
                    <a:gd name="T61" fmla="*/ 2147483647 h 22"/>
                    <a:gd name="T62" fmla="*/ 0 w 33"/>
                    <a:gd name="T63" fmla="*/ 2147483647 h 22"/>
                    <a:gd name="T64" fmla="*/ 2147483647 w 33"/>
                    <a:gd name="T65" fmla="*/ 2147483647 h 22"/>
                    <a:gd name="T66" fmla="*/ 2147483647 w 33"/>
                    <a:gd name="T67" fmla="*/ 2147483647 h 22"/>
                    <a:gd name="T68" fmla="*/ 2147483647 w 33"/>
                    <a:gd name="T69" fmla="*/ 2147483647 h 22"/>
                    <a:gd name="T70" fmla="*/ 2147483647 w 33"/>
                    <a:gd name="T71" fmla="*/ 2147483647 h 22"/>
                    <a:gd name="T72" fmla="*/ 2147483647 w 33"/>
                    <a:gd name="T73" fmla="*/ 2147483647 h 22"/>
                    <a:gd name="T74" fmla="*/ 2147483647 w 33"/>
                    <a:gd name="T75" fmla="*/ 2147483647 h 22"/>
                    <a:gd name="T76" fmla="*/ 2147483647 w 33"/>
                    <a:gd name="T77" fmla="*/ 2147483647 h 22"/>
                    <a:gd name="T78" fmla="*/ 2147483647 w 33"/>
                    <a:gd name="T79" fmla="*/ 2147483647 h 22"/>
                    <a:gd name="T80" fmla="*/ 2147483647 w 33"/>
                    <a:gd name="T81" fmla="*/ 2147483647 h 22"/>
                    <a:gd name="T82" fmla="*/ 2147483647 w 33"/>
                    <a:gd name="T83" fmla="*/ 2147483647 h 22"/>
                    <a:gd name="T84" fmla="*/ 2147483647 w 33"/>
                    <a:gd name="T85" fmla="*/ 2147483647 h 22"/>
                    <a:gd name="T86" fmla="*/ 2147483647 w 33"/>
                    <a:gd name="T87" fmla="*/ 2147483647 h 22"/>
                    <a:gd name="T88" fmla="*/ 2147483647 w 33"/>
                    <a:gd name="T89" fmla="*/ 2147483647 h 22"/>
                    <a:gd name="T90" fmla="*/ 2147483647 w 33"/>
                    <a:gd name="T91" fmla="*/ 2147483647 h 22"/>
                    <a:gd name="T92" fmla="*/ 2147483647 w 33"/>
                    <a:gd name="T93" fmla="*/ 2147483647 h 22"/>
                    <a:gd name="T94" fmla="*/ 2147483647 w 33"/>
                    <a:gd name="T95" fmla="*/ 2147483647 h 22"/>
                    <a:gd name="T96" fmla="*/ 2147483647 w 33"/>
                    <a:gd name="T97" fmla="*/ 2147483647 h 2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3"/>
                    <a:gd name="T148" fmla="*/ 0 h 22"/>
                    <a:gd name="T149" fmla="*/ 33 w 33"/>
                    <a:gd name="T150" fmla="*/ 22 h 2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3" h="22">
                      <a:moveTo>
                        <a:pt x="29" y="13"/>
                      </a:moveTo>
                      <a:lnTo>
                        <a:pt x="29" y="13"/>
                      </a:lnTo>
                      <a:lnTo>
                        <a:pt x="32" y="12"/>
                      </a:lnTo>
                      <a:lnTo>
                        <a:pt x="33" y="11"/>
                      </a:lnTo>
                      <a:lnTo>
                        <a:pt x="32" y="10"/>
                      </a:lnTo>
                      <a:lnTo>
                        <a:pt x="24" y="7"/>
                      </a:lnTo>
                      <a:lnTo>
                        <a:pt x="22" y="5"/>
                      </a:lnTo>
                      <a:lnTo>
                        <a:pt x="18" y="1"/>
                      </a:lnTo>
                      <a:lnTo>
                        <a:pt x="16" y="1"/>
                      </a:lnTo>
                      <a:lnTo>
                        <a:pt x="14" y="3"/>
                      </a:lnTo>
                      <a:lnTo>
                        <a:pt x="13" y="3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6" y="7"/>
                      </a:lnTo>
                      <a:lnTo>
                        <a:pt x="6" y="9"/>
                      </a:lnTo>
                      <a:lnTo>
                        <a:pt x="5" y="10"/>
                      </a:lnTo>
                      <a:lnTo>
                        <a:pt x="4" y="10"/>
                      </a:lnTo>
                      <a:lnTo>
                        <a:pt x="1" y="11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4" y="16"/>
                      </a:lnTo>
                      <a:lnTo>
                        <a:pt x="8" y="20"/>
                      </a:lnTo>
                      <a:lnTo>
                        <a:pt x="9" y="22"/>
                      </a:lnTo>
                      <a:lnTo>
                        <a:pt x="10" y="22"/>
                      </a:lnTo>
                      <a:lnTo>
                        <a:pt x="15" y="20"/>
                      </a:lnTo>
                      <a:lnTo>
                        <a:pt x="19" y="20"/>
                      </a:lnTo>
                      <a:lnTo>
                        <a:pt x="23" y="22"/>
                      </a:lnTo>
                      <a:lnTo>
                        <a:pt x="27" y="22"/>
                      </a:lnTo>
                      <a:lnTo>
                        <a:pt x="28" y="22"/>
                      </a:lnTo>
                      <a:lnTo>
                        <a:pt x="28" y="19"/>
                      </a:lnTo>
                      <a:lnTo>
                        <a:pt x="27" y="14"/>
                      </a:lnTo>
                      <a:lnTo>
                        <a:pt x="29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2" name="Freeform 347">
                  <a:extLst>
                    <a:ext uri="{FF2B5EF4-FFF2-40B4-BE49-F238E27FC236}">
                      <a16:creationId xmlns:a16="http://schemas.microsoft.com/office/drawing/2014/main" id="{7288795E-5D1B-3441-83FA-C8794CFCB4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1534" y="4507373"/>
                  <a:ext cx="5919" cy="10360"/>
                </a:xfrm>
                <a:custGeom>
                  <a:avLst/>
                  <a:gdLst>
                    <a:gd name="T0" fmla="*/ 2147483647 w 4"/>
                    <a:gd name="T1" fmla="*/ 2147483647 h 7"/>
                    <a:gd name="T2" fmla="*/ 2147483647 w 4"/>
                    <a:gd name="T3" fmla="*/ 2147483647 h 7"/>
                    <a:gd name="T4" fmla="*/ 2147483647 w 4"/>
                    <a:gd name="T5" fmla="*/ 2147483647 h 7"/>
                    <a:gd name="T6" fmla="*/ 2147483647 w 4"/>
                    <a:gd name="T7" fmla="*/ 2147483647 h 7"/>
                    <a:gd name="T8" fmla="*/ 2147483647 w 4"/>
                    <a:gd name="T9" fmla="*/ 2147483647 h 7"/>
                    <a:gd name="T10" fmla="*/ 2147483647 w 4"/>
                    <a:gd name="T11" fmla="*/ 2147483647 h 7"/>
                    <a:gd name="T12" fmla="*/ 0 w 4"/>
                    <a:gd name="T13" fmla="*/ 2147483647 h 7"/>
                    <a:gd name="T14" fmla="*/ 0 w 4"/>
                    <a:gd name="T15" fmla="*/ 2147483647 h 7"/>
                    <a:gd name="T16" fmla="*/ 0 w 4"/>
                    <a:gd name="T17" fmla="*/ 2147483647 h 7"/>
                    <a:gd name="T18" fmla="*/ 2147483647 w 4"/>
                    <a:gd name="T19" fmla="*/ 0 h 7"/>
                    <a:gd name="T20" fmla="*/ 2147483647 w 4"/>
                    <a:gd name="T21" fmla="*/ 0 h 7"/>
                    <a:gd name="T22" fmla="*/ 2147483647 w 4"/>
                    <a:gd name="T23" fmla="*/ 2147483647 h 7"/>
                    <a:gd name="T24" fmla="*/ 2147483647 w 4"/>
                    <a:gd name="T25" fmla="*/ 2147483647 h 7"/>
                    <a:gd name="T26" fmla="*/ 2147483647 w 4"/>
                    <a:gd name="T27" fmla="*/ 2147483647 h 7"/>
                    <a:gd name="T28" fmla="*/ 2147483647 w 4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"/>
                    <a:gd name="T46" fmla="*/ 0 h 7"/>
                    <a:gd name="T47" fmla="*/ 4 w 4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" h="7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3" name="Freeform 348">
                  <a:extLst>
                    <a:ext uri="{FF2B5EF4-FFF2-40B4-BE49-F238E27FC236}">
                      <a16:creationId xmlns:a16="http://schemas.microsoft.com/office/drawing/2014/main" id="{EA7BC05E-F4B3-6048-967E-8B4126F5D8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3734" y="4587287"/>
                  <a:ext cx="2960" cy="8879"/>
                </a:xfrm>
                <a:custGeom>
                  <a:avLst/>
                  <a:gdLst>
                    <a:gd name="T0" fmla="*/ 2147483647 w 3"/>
                    <a:gd name="T1" fmla="*/ 2147483647 h 6"/>
                    <a:gd name="T2" fmla="*/ 2147483647 w 3"/>
                    <a:gd name="T3" fmla="*/ 2147483647 h 6"/>
                    <a:gd name="T4" fmla="*/ 2147483647 w 3"/>
                    <a:gd name="T5" fmla="*/ 2147483647 h 6"/>
                    <a:gd name="T6" fmla="*/ 2147483647 w 3"/>
                    <a:gd name="T7" fmla="*/ 2147483647 h 6"/>
                    <a:gd name="T8" fmla="*/ 0 w 3"/>
                    <a:gd name="T9" fmla="*/ 2147483647 h 6"/>
                    <a:gd name="T10" fmla="*/ 0 w 3"/>
                    <a:gd name="T11" fmla="*/ 2147483647 h 6"/>
                    <a:gd name="T12" fmla="*/ 0 w 3"/>
                    <a:gd name="T13" fmla="*/ 2147483647 h 6"/>
                    <a:gd name="T14" fmla="*/ 0 w 3"/>
                    <a:gd name="T15" fmla="*/ 0 h 6"/>
                    <a:gd name="T16" fmla="*/ 2147483647 w 3"/>
                    <a:gd name="T17" fmla="*/ 0 h 6"/>
                    <a:gd name="T18" fmla="*/ 2147483647 w 3"/>
                    <a:gd name="T19" fmla="*/ 2147483647 h 6"/>
                    <a:gd name="T20" fmla="*/ 2147483647 w 3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"/>
                    <a:gd name="T34" fmla="*/ 0 h 6"/>
                    <a:gd name="T35" fmla="*/ 3 w 3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" h="6">
                      <a:moveTo>
                        <a:pt x="3" y="5"/>
                      </a:move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4" name="Freeform 349">
                  <a:extLst>
                    <a:ext uri="{FF2B5EF4-FFF2-40B4-BE49-F238E27FC236}">
                      <a16:creationId xmlns:a16="http://schemas.microsoft.com/office/drawing/2014/main" id="{7A5E1846-5F2A-794C-A047-382632879A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0054" y="4766352"/>
                  <a:ext cx="5919" cy="7399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0 w 4"/>
                    <a:gd name="T5" fmla="*/ 2147483647 h 5"/>
                    <a:gd name="T6" fmla="*/ 2147483647 w 4"/>
                    <a:gd name="T7" fmla="*/ 2147483647 h 5"/>
                    <a:gd name="T8" fmla="*/ 2147483647 w 4"/>
                    <a:gd name="T9" fmla="*/ 0 h 5"/>
                    <a:gd name="T10" fmla="*/ 2147483647 w 4"/>
                    <a:gd name="T11" fmla="*/ 0 h 5"/>
                    <a:gd name="T12" fmla="*/ 2147483647 w 4"/>
                    <a:gd name="T13" fmla="*/ 2147483647 h 5"/>
                    <a:gd name="T14" fmla="*/ 2147483647 w 4"/>
                    <a:gd name="T15" fmla="*/ 2147483647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"/>
                    <a:gd name="T25" fmla="*/ 0 h 5"/>
                    <a:gd name="T26" fmla="*/ 4 w 4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" h="5">
                      <a:moveTo>
                        <a:pt x="4" y="5"/>
                      </a:moveTo>
                      <a:lnTo>
                        <a:pt x="3" y="5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5" name="Freeform 350">
                  <a:extLst>
                    <a:ext uri="{FF2B5EF4-FFF2-40B4-BE49-F238E27FC236}">
                      <a16:creationId xmlns:a16="http://schemas.microsoft.com/office/drawing/2014/main" id="{FBE2E4B8-F29A-2249-8AB4-163A789F94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0771" y="4585808"/>
                  <a:ext cx="5919" cy="8879"/>
                </a:xfrm>
                <a:custGeom>
                  <a:avLst/>
                  <a:gdLst>
                    <a:gd name="T0" fmla="*/ 2147483647 w 4"/>
                    <a:gd name="T1" fmla="*/ 2147483647 h 6"/>
                    <a:gd name="T2" fmla="*/ 2147483647 w 4"/>
                    <a:gd name="T3" fmla="*/ 2147483647 h 6"/>
                    <a:gd name="T4" fmla="*/ 2147483647 w 4"/>
                    <a:gd name="T5" fmla="*/ 2147483647 h 6"/>
                    <a:gd name="T6" fmla="*/ 2147483647 w 4"/>
                    <a:gd name="T7" fmla="*/ 2147483647 h 6"/>
                    <a:gd name="T8" fmla="*/ 2147483647 w 4"/>
                    <a:gd name="T9" fmla="*/ 2147483647 h 6"/>
                    <a:gd name="T10" fmla="*/ 2147483647 w 4"/>
                    <a:gd name="T11" fmla="*/ 2147483647 h 6"/>
                    <a:gd name="T12" fmla="*/ 0 w 4"/>
                    <a:gd name="T13" fmla="*/ 2147483647 h 6"/>
                    <a:gd name="T14" fmla="*/ 0 w 4"/>
                    <a:gd name="T15" fmla="*/ 2147483647 h 6"/>
                    <a:gd name="T16" fmla="*/ 0 w 4"/>
                    <a:gd name="T17" fmla="*/ 2147483647 h 6"/>
                    <a:gd name="T18" fmla="*/ 0 w 4"/>
                    <a:gd name="T19" fmla="*/ 2147483647 h 6"/>
                    <a:gd name="T20" fmla="*/ 0 w 4"/>
                    <a:gd name="T21" fmla="*/ 0 h 6"/>
                    <a:gd name="T22" fmla="*/ 2147483647 w 4"/>
                    <a:gd name="T23" fmla="*/ 0 h 6"/>
                    <a:gd name="T24" fmla="*/ 2147483647 w 4"/>
                    <a:gd name="T25" fmla="*/ 0 h 6"/>
                    <a:gd name="T26" fmla="*/ 2147483647 w 4"/>
                    <a:gd name="T27" fmla="*/ 2147483647 h 6"/>
                    <a:gd name="T28" fmla="*/ 2147483647 w 4"/>
                    <a:gd name="T29" fmla="*/ 2147483647 h 6"/>
                    <a:gd name="T30" fmla="*/ 2147483647 w 4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4"/>
                    <a:gd name="T49" fmla="*/ 0 h 6"/>
                    <a:gd name="T50" fmla="*/ 4 w 4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4" h="6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3" y="6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6" name="Freeform 351">
                  <a:extLst>
                    <a:ext uri="{FF2B5EF4-FFF2-40B4-BE49-F238E27FC236}">
                      <a16:creationId xmlns:a16="http://schemas.microsoft.com/office/drawing/2014/main" id="{90094977-4BF1-9040-9C53-E36E79057B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8573" y="4764868"/>
                  <a:ext cx="5919" cy="740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2147483647 w 4"/>
                    <a:gd name="T3" fmla="*/ 2147483647 h 5"/>
                    <a:gd name="T4" fmla="*/ 2147483647 w 4"/>
                    <a:gd name="T5" fmla="*/ 2147483647 h 5"/>
                    <a:gd name="T6" fmla="*/ 0 w 4"/>
                    <a:gd name="T7" fmla="*/ 2147483647 h 5"/>
                    <a:gd name="T8" fmla="*/ 0 w 4"/>
                    <a:gd name="T9" fmla="*/ 2147483647 h 5"/>
                    <a:gd name="T10" fmla="*/ 2147483647 w 4"/>
                    <a:gd name="T11" fmla="*/ 2147483647 h 5"/>
                    <a:gd name="T12" fmla="*/ 2147483647 w 4"/>
                    <a:gd name="T13" fmla="*/ 0 h 5"/>
                    <a:gd name="T14" fmla="*/ 2147483647 w 4"/>
                    <a:gd name="T15" fmla="*/ 0 h 5"/>
                    <a:gd name="T16" fmla="*/ 2147483647 w 4"/>
                    <a:gd name="T17" fmla="*/ 0 h 5"/>
                    <a:gd name="T18" fmla="*/ 2147483647 w 4"/>
                    <a:gd name="T19" fmla="*/ 0 h 5"/>
                    <a:gd name="T20" fmla="*/ 2147483647 w 4"/>
                    <a:gd name="T21" fmla="*/ 2147483647 h 5"/>
                    <a:gd name="T22" fmla="*/ 2147483647 w 4"/>
                    <a:gd name="T23" fmla="*/ 2147483647 h 5"/>
                    <a:gd name="T24" fmla="*/ 2147483647 w 4"/>
                    <a:gd name="T25" fmla="*/ 2147483647 h 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"/>
                    <a:gd name="T40" fmla="*/ 0 h 5"/>
                    <a:gd name="T41" fmla="*/ 4 w 4"/>
                    <a:gd name="T42" fmla="*/ 5 h 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" h="5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7" name="Freeform 352">
                  <a:extLst>
                    <a:ext uri="{FF2B5EF4-FFF2-40B4-BE49-F238E27FC236}">
                      <a16:creationId xmlns:a16="http://schemas.microsoft.com/office/drawing/2014/main" id="{EBFB4527-91E9-5946-AE3C-6ECB5C2765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5974" y="4832943"/>
                  <a:ext cx="4440" cy="11839"/>
                </a:xfrm>
                <a:custGeom>
                  <a:avLst/>
                  <a:gdLst>
                    <a:gd name="T0" fmla="*/ 2147483647 w 4"/>
                    <a:gd name="T1" fmla="*/ 2147483647 h 8"/>
                    <a:gd name="T2" fmla="*/ 2147483647 w 4"/>
                    <a:gd name="T3" fmla="*/ 2147483647 h 8"/>
                    <a:gd name="T4" fmla="*/ 2147483647 w 4"/>
                    <a:gd name="T5" fmla="*/ 2147483647 h 8"/>
                    <a:gd name="T6" fmla="*/ 2147483647 w 4"/>
                    <a:gd name="T7" fmla="*/ 2147483647 h 8"/>
                    <a:gd name="T8" fmla="*/ 0 w 4"/>
                    <a:gd name="T9" fmla="*/ 2147483647 h 8"/>
                    <a:gd name="T10" fmla="*/ 2147483647 w 4"/>
                    <a:gd name="T11" fmla="*/ 2147483647 h 8"/>
                    <a:gd name="T12" fmla="*/ 2147483647 w 4"/>
                    <a:gd name="T13" fmla="*/ 0 h 8"/>
                    <a:gd name="T14" fmla="*/ 2147483647 w 4"/>
                    <a:gd name="T15" fmla="*/ 2147483647 h 8"/>
                    <a:gd name="T16" fmla="*/ 2147483647 w 4"/>
                    <a:gd name="T17" fmla="*/ 2147483647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8"/>
                    <a:gd name="T29" fmla="*/ 4 w 4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8">
                      <a:moveTo>
                        <a:pt x="4" y="5"/>
                      </a:moveTo>
                      <a:lnTo>
                        <a:pt x="4" y="6"/>
                      </a:lnTo>
                      <a:lnTo>
                        <a:pt x="2" y="8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4" y="2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8" name="Freeform 353">
                  <a:extLst>
                    <a:ext uri="{FF2B5EF4-FFF2-40B4-BE49-F238E27FC236}">
                      <a16:creationId xmlns:a16="http://schemas.microsoft.com/office/drawing/2014/main" id="{A9594994-54A1-6E45-A216-09F3117D45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89193" y="1646782"/>
                  <a:ext cx="78434" cy="87312"/>
                </a:xfrm>
                <a:custGeom>
                  <a:avLst/>
                  <a:gdLst>
                    <a:gd name="T0" fmla="*/ 2147483647 w 57"/>
                    <a:gd name="T1" fmla="*/ 2147483647 h 59"/>
                    <a:gd name="T2" fmla="*/ 2147483647 w 57"/>
                    <a:gd name="T3" fmla="*/ 2147483647 h 59"/>
                    <a:gd name="T4" fmla="*/ 2147483647 w 57"/>
                    <a:gd name="T5" fmla="*/ 2147483647 h 59"/>
                    <a:gd name="T6" fmla="*/ 2147483647 w 57"/>
                    <a:gd name="T7" fmla="*/ 2147483647 h 59"/>
                    <a:gd name="T8" fmla="*/ 2147483647 w 57"/>
                    <a:gd name="T9" fmla="*/ 2147483647 h 59"/>
                    <a:gd name="T10" fmla="*/ 2147483647 w 57"/>
                    <a:gd name="T11" fmla="*/ 2147483647 h 59"/>
                    <a:gd name="T12" fmla="*/ 2147483647 w 57"/>
                    <a:gd name="T13" fmla="*/ 2147483647 h 59"/>
                    <a:gd name="T14" fmla="*/ 2147483647 w 57"/>
                    <a:gd name="T15" fmla="*/ 2147483647 h 59"/>
                    <a:gd name="T16" fmla="*/ 2147483647 w 57"/>
                    <a:gd name="T17" fmla="*/ 2147483647 h 59"/>
                    <a:gd name="T18" fmla="*/ 2147483647 w 57"/>
                    <a:gd name="T19" fmla="*/ 2147483647 h 59"/>
                    <a:gd name="T20" fmla="*/ 2147483647 w 57"/>
                    <a:gd name="T21" fmla="*/ 2147483647 h 59"/>
                    <a:gd name="T22" fmla="*/ 2147483647 w 57"/>
                    <a:gd name="T23" fmla="*/ 0 h 59"/>
                    <a:gd name="T24" fmla="*/ 2147483647 w 57"/>
                    <a:gd name="T25" fmla="*/ 2147483647 h 59"/>
                    <a:gd name="T26" fmla="*/ 2147483647 w 57"/>
                    <a:gd name="T27" fmla="*/ 2147483647 h 59"/>
                    <a:gd name="T28" fmla="*/ 2147483647 w 57"/>
                    <a:gd name="T29" fmla="*/ 2147483647 h 59"/>
                    <a:gd name="T30" fmla="*/ 2147483647 w 57"/>
                    <a:gd name="T31" fmla="*/ 2147483647 h 59"/>
                    <a:gd name="T32" fmla="*/ 2147483647 w 57"/>
                    <a:gd name="T33" fmla="*/ 2147483647 h 59"/>
                    <a:gd name="T34" fmla="*/ 2147483647 w 57"/>
                    <a:gd name="T35" fmla="*/ 2147483647 h 59"/>
                    <a:gd name="T36" fmla="*/ 2147483647 w 57"/>
                    <a:gd name="T37" fmla="*/ 2147483647 h 59"/>
                    <a:gd name="T38" fmla="*/ 2147483647 w 57"/>
                    <a:gd name="T39" fmla="*/ 2147483647 h 59"/>
                    <a:gd name="T40" fmla="*/ 2147483647 w 57"/>
                    <a:gd name="T41" fmla="*/ 2147483647 h 59"/>
                    <a:gd name="T42" fmla="*/ 2147483647 w 57"/>
                    <a:gd name="T43" fmla="*/ 2147483647 h 59"/>
                    <a:gd name="T44" fmla="*/ 2147483647 w 57"/>
                    <a:gd name="T45" fmla="*/ 2147483647 h 59"/>
                    <a:gd name="T46" fmla="*/ 0 w 57"/>
                    <a:gd name="T47" fmla="*/ 2147483647 h 59"/>
                    <a:gd name="T48" fmla="*/ 0 w 57"/>
                    <a:gd name="T49" fmla="*/ 2147483647 h 59"/>
                    <a:gd name="T50" fmla="*/ 2147483647 w 57"/>
                    <a:gd name="T51" fmla="*/ 2147483647 h 59"/>
                    <a:gd name="T52" fmla="*/ 2147483647 w 57"/>
                    <a:gd name="T53" fmla="*/ 2147483647 h 59"/>
                    <a:gd name="T54" fmla="*/ 2147483647 w 57"/>
                    <a:gd name="T55" fmla="*/ 2147483647 h 59"/>
                    <a:gd name="T56" fmla="*/ 2147483647 w 57"/>
                    <a:gd name="T57" fmla="*/ 2147483647 h 59"/>
                    <a:gd name="T58" fmla="*/ 2147483647 w 57"/>
                    <a:gd name="T59" fmla="*/ 2147483647 h 59"/>
                    <a:gd name="T60" fmla="*/ 2147483647 w 57"/>
                    <a:gd name="T61" fmla="*/ 2147483647 h 59"/>
                    <a:gd name="T62" fmla="*/ 2147483647 w 57"/>
                    <a:gd name="T63" fmla="*/ 2147483647 h 59"/>
                    <a:gd name="T64" fmla="*/ 2147483647 w 57"/>
                    <a:gd name="T65" fmla="*/ 2147483647 h 59"/>
                    <a:gd name="T66" fmla="*/ 2147483647 w 57"/>
                    <a:gd name="T67" fmla="*/ 2147483647 h 59"/>
                    <a:gd name="T68" fmla="*/ 2147483647 w 57"/>
                    <a:gd name="T69" fmla="*/ 2147483647 h 59"/>
                    <a:gd name="T70" fmla="*/ 2147483647 w 57"/>
                    <a:gd name="T71" fmla="*/ 2147483647 h 59"/>
                    <a:gd name="T72" fmla="*/ 2147483647 w 57"/>
                    <a:gd name="T73" fmla="*/ 2147483647 h 59"/>
                    <a:gd name="T74" fmla="*/ 2147483647 w 57"/>
                    <a:gd name="T75" fmla="*/ 2147483647 h 59"/>
                    <a:gd name="T76" fmla="*/ 2147483647 w 57"/>
                    <a:gd name="T77" fmla="*/ 2147483647 h 59"/>
                    <a:gd name="T78" fmla="*/ 2147483647 w 57"/>
                    <a:gd name="T79" fmla="*/ 2147483647 h 59"/>
                    <a:gd name="T80" fmla="*/ 2147483647 w 57"/>
                    <a:gd name="T81" fmla="*/ 2147483647 h 59"/>
                    <a:gd name="T82" fmla="*/ 2147483647 w 57"/>
                    <a:gd name="T83" fmla="*/ 2147483647 h 59"/>
                    <a:gd name="T84" fmla="*/ 2147483647 w 57"/>
                    <a:gd name="T85" fmla="*/ 2147483647 h 5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7"/>
                    <a:gd name="T130" fmla="*/ 0 h 59"/>
                    <a:gd name="T131" fmla="*/ 57 w 57"/>
                    <a:gd name="T132" fmla="*/ 59 h 5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7" h="59">
                      <a:moveTo>
                        <a:pt x="56" y="38"/>
                      </a:moveTo>
                      <a:lnTo>
                        <a:pt x="51" y="37"/>
                      </a:lnTo>
                      <a:lnTo>
                        <a:pt x="48" y="34"/>
                      </a:lnTo>
                      <a:lnTo>
                        <a:pt x="41" y="29"/>
                      </a:lnTo>
                      <a:lnTo>
                        <a:pt x="41" y="28"/>
                      </a:lnTo>
                      <a:lnTo>
                        <a:pt x="43" y="26"/>
                      </a:lnTo>
                      <a:lnTo>
                        <a:pt x="48" y="24"/>
                      </a:lnTo>
                      <a:lnTo>
                        <a:pt x="46" y="16"/>
                      </a:lnTo>
                      <a:lnTo>
                        <a:pt x="42" y="8"/>
                      </a:lnTo>
                      <a:lnTo>
                        <a:pt x="40" y="4"/>
                      </a:lnTo>
                      <a:lnTo>
                        <a:pt x="37" y="2"/>
                      </a:lnTo>
                      <a:lnTo>
                        <a:pt x="34" y="0"/>
                      </a:lnTo>
                      <a:lnTo>
                        <a:pt x="32" y="2"/>
                      </a:lnTo>
                      <a:lnTo>
                        <a:pt x="22" y="10"/>
                      </a:lnTo>
                      <a:lnTo>
                        <a:pt x="9" y="16"/>
                      </a:lnTo>
                      <a:lnTo>
                        <a:pt x="8" y="17"/>
                      </a:lnTo>
                      <a:lnTo>
                        <a:pt x="8" y="18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4" y="32"/>
                      </a:lnTo>
                      <a:lnTo>
                        <a:pt x="3" y="34"/>
                      </a:lnTo>
                      <a:lnTo>
                        <a:pt x="1" y="36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1" y="44"/>
                      </a:lnTo>
                      <a:lnTo>
                        <a:pt x="3" y="45"/>
                      </a:lnTo>
                      <a:lnTo>
                        <a:pt x="9" y="48"/>
                      </a:lnTo>
                      <a:lnTo>
                        <a:pt x="14" y="51"/>
                      </a:lnTo>
                      <a:lnTo>
                        <a:pt x="18" y="55"/>
                      </a:lnTo>
                      <a:lnTo>
                        <a:pt x="23" y="59"/>
                      </a:lnTo>
                      <a:lnTo>
                        <a:pt x="24" y="59"/>
                      </a:lnTo>
                      <a:lnTo>
                        <a:pt x="26" y="59"/>
                      </a:lnTo>
                      <a:lnTo>
                        <a:pt x="28" y="56"/>
                      </a:lnTo>
                      <a:lnTo>
                        <a:pt x="32" y="50"/>
                      </a:lnTo>
                      <a:lnTo>
                        <a:pt x="34" y="48"/>
                      </a:lnTo>
                      <a:lnTo>
                        <a:pt x="36" y="47"/>
                      </a:lnTo>
                      <a:lnTo>
                        <a:pt x="42" y="44"/>
                      </a:lnTo>
                      <a:lnTo>
                        <a:pt x="55" y="43"/>
                      </a:lnTo>
                      <a:lnTo>
                        <a:pt x="56" y="43"/>
                      </a:lnTo>
                      <a:lnTo>
                        <a:pt x="57" y="42"/>
                      </a:lnTo>
                      <a:lnTo>
                        <a:pt x="57" y="40"/>
                      </a:lnTo>
                      <a:lnTo>
                        <a:pt x="56" y="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9" name="Freeform 354">
                  <a:extLst>
                    <a:ext uri="{FF2B5EF4-FFF2-40B4-BE49-F238E27FC236}">
                      <a16:creationId xmlns:a16="http://schemas.microsoft.com/office/drawing/2014/main" id="{47E7810F-A297-174F-A7FC-932247FDF8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4494" y="4831465"/>
                  <a:ext cx="4439" cy="10359"/>
                </a:xfrm>
                <a:custGeom>
                  <a:avLst/>
                  <a:gdLst>
                    <a:gd name="T0" fmla="*/ 2147483647 w 3"/>
                    <a:gd name="T1" fmla="*/ 2147483647 h 7"/>
                    <a:gd name="T2" fmla="*/ 2147483647 w 3"/>
                    <a:gd name="T3" fmla="*/ 2147483647 h 7"/>
                    <a:gd name="T4" fmla="*/ 2147483647 w 3"/>
                    <a:gd name="T5" fmla="*/ 2147483647 h 7"/>
                    <a:gd name="T6" fmla="*/ 2147483647 w 3"/>
                    <a:gd name="T7" fmla="*/ 2147483647 h 7"/>
                    <a:gd name="T8" fmla="*/ 2147483647 w 3"/>
                    <a:gd name="T9" fmla="*/ 2147483647 h 7"/>
                    <a:gd name="T10" fmla="*/ 2147483647 w 3"/>
                    <a:gd name="T11" fmla="*/ 2147483647 h 7"/>
                    <a:gd name="T12" fmla="*/ 2147483647 w 3"/>
                    <a:gd name="T13" fmla="*/ 2147483647 h 7"/>
                    <a:gd name="T14" fmla="*/ 0 w 3"/>
                    <a:gd name="T15" fmla="*/ 2147483647 h 7"/>
                    <a:gd name="T16" fmla="*/ 2147483647 w 3"/>
                    <a:gd name="T17" fmla="*/ 2147483647 h 7"/>
                    <a:gd name="T18" fmla="*/ 2147483647 w 3"/>
                    <a:gd name="T19" fmla="*/ 2147483647 h 7"/>
                    <a:gd name="T20" fmla="*/ 2147483647 w 3"/>
                    <a:gd name="T21" fmla="*/ 0 h 7"/>
                    <a:gd name="T22" fmla="*/ 2147483647 w 3"/>
                    <a:gd name="T23" fmla="*/ 2147483647 h 7"/>
                    <a:gd name="T24" fmla="*/ 2147483647 w 3"/>
                    <a:gd name="T25" fmla="*/ 2147483647 h 7"/>
                    <a:gd name="T26" fmla="*/ 2147483647 w 3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"/>
                    <a:gd name="T43" fmla="*/ 0 h 7"/>
                    <a:gd name="T44" fmla="*/ 3 w 3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" h="7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0" name="Freeform 355">
                  <a:extLst>
                    <a:ext uri="{FF2B5EF4-FFF2-40B4-BE49-F238E27FC236}">
                      <a16:creationId xmlns:a16="http://schemas.microsoft.com/office/drawing/2014/main" id="{86E2FD2F-E50E-ED44-BE67-E0BC5C6B96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87715" y="1645301"/>
                  <a:ext cx="78433" cy="85833"/>
                </a:xfrm>
                <a:custGeom>
                  <a:avLst/>
                  <a:gdLst>
                    <a:gd name="T0" fmla="*/ 2147483647 w 57"/>
                    <a:gd name="T1" fmla="*/ 2147483647 h 58"/>
                    <a:gd name="T2" fmla="*/ 2147483647 w 57"/>
                    <a:gd name="T3" fmla="*/ 2147483647 h 58"/>
                    <a:gd name="T4" fmla="*/ 2147483647 w 57"/>
                    <a:gd name="T5" fmla="*/ 2147483647 h 58"/>
                    <a:gd name="T6" fmla="*/ 2147483647 w 57"/>
                    <a:gd name="T7" fmla="*/ 2147483647 h 58"/>
                    <a:gd name="T8" fmla="*/ 2147483647 w 57"/>
                    <a:gd name="T9" fmla="*/ 2147483647 h 58"/>
                    <a:gd name="T10" fmla="*/ 2147483647 w 57"/>
                    <a:gd name="T11" fmla="*/ 2147483647 h 58"/>
                    <a:gd name="T12" fmla="*/ 2147483647 w 57"/>
                    <a:gd name="T13" fmla="*/ 2147483647 h 58"/>
                    <a:gd name="T14" fmla="*/ 2147483647 w 57"/>
                    <a:gd name="T15" fmla="*/ 2147483647 h 58"/>
                    <a:gd name="T16" fmla="*/ 2147483647 w 57"/>
                    <a:gd name="T17" fmla="*/ 2147483647 h 58"/>
                    <a:gd name="T18" fmla="*/ 2147483647 w 57"/>
                    <a:gd name="T19" fmla="*/ 2147483647 h 58"/>
                    <a:gd name="T20" fmla="*/ 2147483647 w 57"/>
                    <a:gd name="T21" fmla="*/ 2147483647 h 58"/>
                    <a:gd name="T22" fmla="*/ 2147483647 w 57"/>
                    <a:gd name="T23" fmla="*/ 2147483647 h 58"/>
                    <a:gd name="T24" fmla="*/ 2147483647 w 57"/>
                    <a:gd name="T25" fmla="*/ 2147483647 h 58"/>
                    <a:gd name="T26" fmla="*/ 2147483647 w 57"/>
                    <a:gd name="T27" fmla="*/ 2147483647 h 58"/>
                    <a:gd name="T28" fmla="*/ 2147483647 w 57"/>
                    <a:gd name="T29" fmla="*/ 0 h 58"/>
                    <a:gd name="T30" fmla="*/ 2147483647 w 57"/>
                    <a:gd name="T31" fmla="*/ 2147483647 h 58"/>
                    <a:gd name="T32" fmla="*/ 2147483647 w 57"/>
                    <a:gd name="T33" fmla="*/ 2147483647 h 58"/>
                    <a:gd name="T34" fmla="*/ 2147483647 w 57"/>
                    <a:gd name="T35" fmla="*/ 2147483647 h 58"/>
                    <a:gd name="T36" fmla="*/ 2147483647 w 57"/>
                    <a:gd name="T37" fmla="*/ 2147483647 h 58"/>
                    <a:gd name="T38" fmla="*/ 2147483647 w 57"/>
                    <a:gd name="T39" fmla="*/ 2147483647 h 58"/>
                    <a:gd name="T40" fmla="*/ 2147483647 w 57"/>
                    <a:gd name="T41" fmla="*/ 2147483647 h 58"/>
                    <a:gd name="T42" fmla="*/ 2147483647 w 57"/>
                    <a:gd name="T43" fmla="*/ 2147483647 h 58"/>
                    <a:gd name="T44" fmla="*/ 2147483647 w 57"/>
                    <a:gd name="T45" fmla="*/ 2147483647 h 58"/>
                    <a:gd name="T46" fmla="*/ 2147483647 w 57"/>
                    <a:gd name="T47" fmla="*/ 2147483647 h 58"/>
                    <a:gd name="T48" fmla="*/ 2147483647 w 57"/>
                    <a:gd name="T49" fmla="*/ 2147483647 h 58"/>
                    <a:gd name="T50" fmla="*/ 2147483647 w 57"/>
                    <a:gd name="T51" fmla="*/ 2147483647 h 58"/>
                    <a:gd name="T52" fmla="*/ 2147483647 w 57"/>
                    <a:gd name="T53" fmla="*/ 2147483647 h 58"/>
                    <a:gd name="T54" fmla="*/ 2147483647 w 57"/>
                    <a:gd name="T55" fmla="*/ 2147483647 h 58"/>
                    <a:gd name="T56" fmla="*/ 2147483647 w 57"/>
                    <a:gd name="T57" fmla="*/ 2147483647 h 58"/>
                    <a:gd name="T58" fmla="*/ 2147483647 w 57"/>
                    <a:gd name="T59" fmla="*/ 2147483647 h 58"/>
                    <a:gd name="T60" fmla="*/ 0 w 57"/>
                    <a:gd name="T61" fmla="*/ 2147483647 h 58"/>
                    <a:gd name="T62" fmla="*/ 0 w 57"/>
                    <a:gd name="T63" fmla="*/ 2147483647 h 58"/>
                    <a:gd name="T64" fmla="*/ 2147483647 w 57"/>
                    <a:gd name="T65" fmla="*/ 2147483647 h 58"/>
                    <a:gd name="T66" fmla="*/ 2147483647 w 57"/>
                    <a:gd name="T67" fmla="*/ 2147483647 h 58"/>
                    <a:gd name="T68" fmla="*/ 2147483647 w 57"/>
                    <a:gd name="T69" fmla="*/ 2147483647 h 58"/>
                    <a:gd name="T70" fmla="*/ 2147483647 w 57"/>
                    <a:gd name="T71" fmla="*/ 2147483647 h 58"/>
                    <a:gd name="T72" fmla="*/ 2147483647 w 57"/>
                    <a:gd name="T73" fmla="*/ 2147483647 h 58"/>
                    <a:gd name="T74" fmla="*/ 2147483647 w 57"/>
                    <a:gd name="T75" fmla="*/ 2147483647 h 58"/>
                    <a:gd name="T76" fmla="*/ 2147483647 w 57"/>
                    <a:gd name="T77" fmla="*/ 2147483647 h 58"/>
                    <a:gd name="T78" fmla="*/ 2147483647 w 57"/>
                    <a:gd name="T79" fmla="*/ 2147483647 h 58"/>
                    <a:gd name="T80" fmla="*/ 2147483647 w 57"/>
                    <a:gd name="T81" fmla="*/ 2147483647 h 58"/>
                    <a:gd name="T82" fmla="*/ 2147483647 w 57"/>
                    <a:gd name="T83" fmla="*/ 2147483647 h 58"/>
                    <a:gd name="T84" fmla="*/ 2147483647 w 57"/>
                    <a:gd name="T85" fmla="*/ 2147483647 h 58"/>
                    <a:gd name="T86" fmla="*/ 2147483647 w 57"/>
                    <a:gd name="T87" fmla="*/ 2147483647 h 58"/>
                    <a:gd name="T88" fmla="*/ 2147483647 w 57"/>
                    <a:gd name="T89" fmla="*/ 2147483647 h 58"/>
                    <a:gd name="T90" fmla="*/ 2147483647 w 57"/>
                    <a:gd name="T91" fmla="*/ 2147483647 h 58"/>
                    <a:gd name="T92" fmla="*/ 2147483647 w 57"/>
                    <a:gd name="T93" fmla="*/ 2147483647 h 58"/>
                    <a:gd name="T94" fmla="*/ 2147483647 w 57"/>
                    <a:gd name="T95" fmla="*/ 2147483647 h 58"/>
                    <a:gd name="T96" fmla="*/ 2147483647 w 57"/>
                    <a:gd name="T97" fmla="*/ 2147483647 h 58"/>
                    <a:gd name="T98" fmla="*/ 2147483647 w 57"/>
                    <a:gd name="T99" fmla="*/ 2147483647 h 58"/>
                    <a:gd name="T100" fmla="*/ 2147483647 w 57"/>
                    <a:gd name="T101" fmla="*/ 2147483647 h 58"/>
                    <a:gd name="T102" fmla="*/ 2147483647 w 57"/>
                    <a:gd name="T103" fmla="*/ 2147483647 h 58"/>
                    <a:gd name="T104" fmla="*/ 2147483647 w 57"/>
                    <a:gd name="T105" fmla="*/ 2147483647 h 58"/>
                    <a:gd name="T106" fmla="*/ 2147483647 w 57"/>
                    <a:gd name="T107" fmla="*/ 2147483647 h 58"/>
                    <a:gd name="T108" fmla="*/ 2147483647 w 57"/>
                    <a:gd name="T109" fmla="*/ 2147483647 h 58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57"/>
                    <a:gd name="T166" fmla="*/ 0 h 58"/>
                    <a:gd name="T167" fmla="*/ 57 w 57"/>
                    <a:gd name="T168" fmla="*/ 58 h 58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57" h="58">
                      <a:moveTo>
                        <a:pt x="56" y="38"/>
                      </a:moveTo>
                      <a:lnTo>
                        <a:pt x="56" y="38"/>
                      </a:lnTo>
                      <a:lnTo>
                        <a:pt x="51" y="37"/>
                      </a:lnTo>
                      <a:lnTo>
                        <a:pt x="48" y="33"/>
                      </a:lnTo>
                      <a:lnTo>
                        <a:pt x="41" y="29"/>
                      </a:lnTo>
                      <a:lnTo>
                        <a:pt x="41" y="27"/>
                      </a:lnTo>
                      <a:lnTo>
                        <a:pt x="43" y="26"/>
                      </a:lnTo>
                      <a:lnTo>
                        <a:pt x="48" y="24"/>
                      </a:lnTo>
                      <a:lnTo>
                        <a:pt x="46" y="16"/>
                      </a:lnTo>
                      <a:lnTo>
                        <a:pt x="42" y="7"/>
                      </a:lnTo>
                      <a:lnTo>
                        <a:pt x="39" y="4"/>
                      </a:lnTo>
                      <a:lnTo>
                        <a:pt x="37" y="1"/>
                      </a:lnTo>
                      <a:lnTo>
                        <a:pt x="34" y="0"/>
                      </a:lnTo>
                      <a:lnTo>
                        <a:pt x="32" y="1"/>
                      </a:lnTo>
                      <a:lnTo>
                        <a:pt x="21" y="10"/>
                      </a:lnTo>
                      <a:lnTo>
                        <a:pt x="9" y="16"/>
                      </a:lnTo>
                      <a:lnTo>
                        <a:pt x="8" y="17"/>
                      </a:lnTo>
                      <a:lnTo>
                        <a:pt x="8" y="18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4" y="32"/>
                      </a:lnTo>
                      <a:lnTo>
                        <a:pt x="2" y="33"/>
                      </a:lnTo>
                      <a:lnTo>
                        <a:pt x="1" y="36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1" y="44"/>
                      </a:lnTo>
                      <a:lnTo>
                        <a:pt x="2" y="45"/>
                      </a:lnTo>
                      <a:lnTo>
                        <a:pt x="9" y="48"/>
                      </a:lnTo>
                      <a:lnTo>
                        <a:pt x="14" y="51"/>
                      </a:lnTo>
                      <a:lnTo>
                        <a:pt x="18" y="55"/>
                      </a:lnTo>
                      <a:lnTo>
                        <a:pt x="23" y="58"/>
                      </a:lnTo>
                      <a:lnTo>
                        <a:pt x="24" y="58"/>
                      </a:lnTo>
                      <a:lnTo>
                        <a:pt x="25" y="58"/>
                      </a:lnTo>
                      <a:lnTo>
                        <a:pt x="28" y="56"/>
                      </a:lnTo>
                      <a:lnTo>
                        <a:pt x="32" y="50"/>
                      </a:lnTo>
                      <a:lnTo>
                        <a:pt x="34" y="48"/>
                      </a:lnTo>
                      <a:lnTo>
                        <a:pt x="35" y="46"/>
                      </a:lnTo>
                      <a:lnTo>
                        <a:pt x="42" y="44"/>
                      </a:lnTo>
                      <a:lnTo>
                        <a:pt x="55" y="43"/>
                      </a:lnTo>
                      <a:lnTo>
                        <a:pt x="56" y="43"/>
                      </a:lnTo>
                      <a:lnTo>
                        <a:pt x="57" y="42"/>
                      </a:lnTo>
                      <a:lnTo>
                        <a:pt x="57" y="39"/>
                      </a:lnTo>
                      <a:lnTo>
                        <a:pt x="56" y="3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1" name="Freeform 356">
                  <a:extLst>
                    <a:ext uri="{FF2B5EF4-FFF2-40B4-BE49-F238E27FC236}">
                      <a16:creationId xmlns:a16="http://schemas.microsoft.com/office/drawing/2014/main" id="{15E37730-56FA-014E-8EEF-4B4E5D097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1521" y="1626061"/>
                  <a:ext cx="36997" cy="17758"/>
                </a:xfrm>
                <a:custGeom>
                  <a:avLst/>
                  <a:gdLst>
                    <a:gd name="T0" fmla="*/ 2147483647 w 28"/>
                    <a:gd name="T1" fmla="*/ 0 h 12"/>
                    <a:gd name="T2" fmla="*/ 2147483647 w 28"/>
                    <a:gd name="T3" fmla="*/ 2147483647 h 12"/>
                    <a:gd name="T4" fmla="*/ 2147483647 w 28"/>
                    <a:gd name="T5" fmla="*/ 2147483647 h 12"/>
                    <a:gd name="T6" fmla="*/ 2147483647 w 28"/>
                    <a:gd name="T7" fmla="*/ 2147483647 h 12"/>
                    <a:gd name="T8" fmla="*/ 2147483647 w 28"/>
                    <a:gd name="T9" fmla="*/ 2147483647 h 12"/>
                    <a:gd name="T10" fmla="*/ 2147483647 w 28"/>
                    <a:gd name="T11" fmla="*/ 2147483647 h 12"/>
                    <a:gd name="T12" fmla="*/ 2147483647 w 28"/>
                    <a:gd name="T13" fmla="*/ 2147483647 h 12"/>
                    <a:gd name="T14" fmla="*/ 2147483647 w 28"/>
                    <a:gd name="T15" fmla="*/ 2147483647 h 12"/>
                    <a:gd name="T16" fmla="*/ 2147483647 w 28"/>
                    <a:gd name="T17" fmla="*/ 2147483647 h 12"/>
                    <a:gd name="T18" fmla="*/ 2147483647 w 28"/>
                    <a:gd name="T19" fmla="*/ 2147483647 h 12"/>
                    <a:gd name="T20" fmla="*/ 2147483647 w 28"/>
                    <a:gd name="T21" fmla="*/ 2147483647 h 12"/>
                    <a:gd name="T22" fmla="*/ 0 w 28"/>
                    <a:gd name="T23" fmla="*/ 2147483647 h 12"/>
                    <a:gd name="T24" fmla="*/ 0 w 28"/>
                    <a:gd name="T25" fmla="*/ 2147483647 h 12"/>
                    <a:gd name="T26" fmla="*/ 2147483647 w 28"/>
                    <a:gd name="T27" fmla="*/ 2147483647 h 12"/>
                    <a:gd name="T28" fmla="*/ 2147483647 w 28"/>
                    <a:gd name="T29" fmla="*/ 2147483647 h 12"/>
                    <a:gd name="T30" fmla="*/ 2147483647 w 28"/>
                    <a:gd name="T31" fmla="*/ 2147483647 h 12"/>
                    <a:gd name="T32" fmla="*/ 2147483647 w 28"/>
                    <a:gd name="T33" fmla="*/ 0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8"/>
                    <a:gd name="T52" fmla="*/ 0 h 12"/>
                    <a:gd name="T53" fmla="*/ 28 w 28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8" h="12">
                      <a:moveTo>
                        <a:pt x="14" y="0"/>
                      </a:moveTo>
                      <a:lnTo>
                        <a:pt x="19" y="1"/>
                      </a:lnTo>
                      <a:lnTo>
                        <a:pt x="24" y="3"/>
                      </a:lnTo>
                      <a:lnTo>
                        <a:pt x="28" y="5"/>
                      </a:lnTo>
                      <a:lnTo>
                        <a:pt x="28" y="6"/>
                      </a:lnTo>
                      <a:lnTo>
                        <a:pt x="26" y="7"/>
                      </a:lnTo>
                      <a:lnTo>
                        <a:pt x="21" y="10"/>
                      </a:lnTo>
                      <a:lnTo>
                        <a:pt x="14" y="12"/>
                      </a:lnTo>
                      <a:lnTo>
                        <a:pt x="6" y="12"/>
                      </a:lnTo>
                      <a:lnTo>
                        <a:pt x="4" y="11"/>
                      </a:lnTo>
                      <a:lnTo>
                        <a:pt x="1" y="10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4" y="4"/>
                      </a:lnTo>
                      <a:lnTo>
                        <a:pt x="9" y="1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2" name="Freeform 357">
                  <a:extLst>
                    <a:ext uri="{FF2B5EF4-FFF2-40B4-BE49-F238E27FC236}">
                      <a16:creationId xmlns:a16="http://schemas.microsoft.com/office/drawing/2014/main" id="{7F10BCB6-3F16-3341-A238-F9C76CE096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43318" y="1679337"/>
                  <a:ext cx="34037" cy="26638"/>
                </a:xfrm>
                <a:custGeom>
                  <a:avLst/>
                  <a:gdLst>
                    <a:gd name="T0" fmla="*/ 2147483647 w 25"/>
                    <a:gd name="T1" fmla="*/ 2147483647 h 18"/>
                    <a:gd name="T2" fmla="*/ 2147483647 w 25"/>
                    <a:gd name="T3" fmla="*/ 0 h 18"/>
                    <a:gd name="T4" fmla="*/ 2147483647 w 25"/>
                    <a:gd name="T5" fmla="*/ 0 h 18"/>
                    <a:gd name="T6" fmla="*/ 2147483647 w 25"/>
                    <a:gd name="T7" fmla="*/ 2147483647 h 18"/>
                    <a:gd name="T8" fmla="*/ 2147483647 w 25"/>
                    <a:gd name="T9" fmla="*/ 2147483647 h 18"/>
                    <a:gd name="T10" fmla="*/ 2147483647 w 25"/>
                    <a:gd name="T11" fmla="*/ 2147483647 h 18"/>
                    <a:gd name="T12" fmla="*/ 2147483647 w 25"/>
                    <a:gd name="T13" fmla="*/ 2147483647 h 18"/>
                    <a:gd name="T14" fmla="*/ 2147483647 w 25"/>
                    <a:gd name="T15" fmla="*/ 2147483647 h 18"/>
                    <a:gd name="T16" fmla="*/ 2147483647 w 25"/>
                    <a:gd name="T17" fmla="*/ 2147483647 h 18"/>
                    <a:gd name="T18" fmla="*/ 2147483647 w 25"/>
                    <a:gd name="T19" fmla="*/ 2147483647 h 18"/>
                    <a:gd name="T20" fmla="*/ 2147483647 w 25"/>
                    <a:gd name="T21" fmla="*/ 2147483647 h 18"/>
                    <a:gd name="T22" fmla="*/ 2147483647 w 25"/>
                    <a:gd name="T23" fmla="*/ 2147483647 h 18"/>
                    <a:gd name="T24" fmla="*/ 2147483647 w 25"/>
                    <a:gd name="T25" fmla="*/ 2147483647 h 18"/>
                    <a:gd name="T26" fmla="*/ 0 w 25"/>
                    <a:gd name="T27" fmla="*/ 2147483647 h 18"/>
                    <a:gd name="T28" fmla="*/ 2147483647 w 25"/>
                    <a:gd name="T29" fmla="*/ 2147483647 h 18"/>
                    <a:gd name="T30" fmla="*/ 2147483647 w 25"/>
                    <a:gd name="T31" fmla="*/ 2147483647 h 18"/>
                    <a:gd name="T32" fmla="*/ 2147483647 w 25"/>
                    <a:gd name="T33" fmla="*/ 2147483647 h 18"/>
                    <a:gd name="T34" fmla="*/ 2147483647 w 25"/>
                    <a:gd name="T35" fmla="*/ 2147483647 h 1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5"/>
                    <a:gd name="T55" fmla="*/ 0 h 18"/>
                    <a:gd name="T56" fmla="*/ 25 w 25"/>
                    <a:gd name="T57" fmla="*/ 18 h 1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5" h="18">
                      <a:moveTo>
                        <a:pt x="13" y="1"/>
                      </a:moveTo>
                      <a:lnTo>
                        <a:pt x="18" y="0"/>
                      </a:lnTo>
                      <a:lnTo>
                        <a:pt x="20" y="0"/>
                      </a:lnTo>
                      <a:lnTo>
                        <a:pt x="23" y="1"/>
                      </a:lnTo>
                      <a:lnTo>
                        <a:pt x="25" y="3"/>
                      </a:lnTo>
                      <a:lnTo>
                        <a:pt x="24" y="6"/>
                      </a:lnTo>
                      <a:lnTo>
                        <a:pt x="21" y="9"/>
                      </a:lnTo>
                      <a:lnTo>
                        <a:pt x="19" y="12"/>
                      </a:lnTo>
                      <a:lnTo>
                        <a:pt x="13" y="15"/>
                      </a:lnTo>
                      <a:lnTo>
                        <a:pt x="6" y="18"/>
                      </a:lnTo>
                      <a:lnTo>
                        <a:pt x="4" y="18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2"/>
                      </a:lnTo>
                      <a:lnTo>
                        <a:pt x="1" y="4"/>
                      </a:lnTo>
                      <a:lnTo>
                        <a:pt x="2" y="2"/>
                      </a:lnTo>
                      <a:lnTo>
                        <a:pt x="6" y="2"/>
                      </a:lnTo>
                      <a:lnTo>
                        <a:pt x="1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3" name="Freeform 358">
                  <a:extLst>
                    <a:ext uri="{FF2B5EF4-FFF2-40B4-BE49-F238E27FC236}">
                      <a16:creationId xmlns:a16="http://schemas.microsoft.com/office/drawing/2014/main" id="{E7E753C4-80AC-604C-8774-4151554C14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0044" y="1624583"/>
                  <a:ext cx="36996" cy="17758"/>
                </a:xfrm>
                <a:custGeom>
                  <a:avLst/>
                  <a:gdLst>
                    <a:gd name="T0" fmla="*/ 2147483647 w 27"/>
                    <a:gd name="T1" fmla="*/ 0 h 12"/>
                    <a:gd name="T2" fmla="*/ 2147483647 w 27"/>
                    <a:gd name="T3" fmla="*/ 0 h 12"/>
                    <a:gd name="T4" fmla="*/ 2147483647 w 27"/>
                    <a:gd name="T5" fmla="*/ 2147483647 h 12"/>
                    <a:gd name="T6" fmla="*/ 2147483647 w 27"/>
                    <a:gd name="T7" fmla="*/ 2147483647 h 12"/>
                    <a:gd name="T8" fmla="*/ 2147483647 w 27"/>
                    <a:gd name="T9" fmla="*/ 2147483647 h 12"/>
                    <a:gd name="T10" fmla="*/ 2147483647 w 27"/>
                    <a:gd name="T11" fmla="*/ 2147483647 h 12"/>
                    <a:gd name="T12" fmla="*/ 2147483647 w 27"/>
                    <a:gd name="T13" fmla="*/ 2147483647 h 12"/>
                    <a:gd name="T14" fmla="*/ 2147483647 w 27"/>
                    <a:gd name="T15" fmla="*/ 2147483647 h 12"/>
                    <a:gd name="T16" fmla="*/ 2147483647 w 27"/>
                    <a:gd name="T17" fmla="*/ 2147483647 h 12"/>
                    <a:gd name="T18" fmla="*/ 2147483647 w 27"/>
                    <a:gd name="T19" fmla="*/ 2147483647 h 12"/>
                    <a:gd name="T20" fmla="*/ 2147483647 w 27"/>
                    <a:gd name="T21" fmla="*/ 2147483647 h 12"/>
                    <a:gd name="T22" fmla="*/ 2147483647 w 27"/>
                    <a:gd name="T23" fmla="*/ 2147483647 h 12"/>
                    <a:gd name="T24" fmla="*/ 2147483647 w 27"/>
                    <a:gd name="T25" fmla="*/ 2147483647 h 12"/>
                    <a:gd name="T26" fmla="*/ 2147483647 w 27"/>
                    <a:gd name="T27" fmla="*/ 2147483647 h 12"/>
                    <a:gd name="T28" fmla="*/ 0 w 27"/>
                    <a:gd name="T29" fmla="*/ 2147483647 h 12"/>
                    <a:gd name="T30" fmla="*/ 0 w 27"/>
                    <a:gd name="T31" fmla="*/ 2147483647 h 12"/>
                    <a:gd name="T32" fmla="*/ 2147483647 w 27"/>
                    <a:gd name="T33" fmla="*/ 2147483647 h 12"/>
                    <a:gd name="T34" fmla="*/ 2147483647 w 27"/>
                    <a:gd name="T35" fmla="*/ 2147483647 h 12"/>
                    <a:gd name="T36" fmla="*/ 2147483647 w 27"/>
                    <a:gd name="T37" fmla="*/ 2147483647 h 12"/>
                    <a:gd name="T38" fmla="*/ 2147483647 w 27"/>
                    <a:gd name="T39" fmla="*/ 0 h 12"/>
                    <a:gd name="T40" fmla="*/ 2147483647 w 27"/>
                    <a:gd name="T41" fmla="*/ 0 h 1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7"/>
                    <a:gd name="T64" fmla="*/ 0 h 12"/>
                    <a:gd name="T65" fmla="*/ 27 w 27"/>
                    <a:gd name="T66" fmla="*/ 12 h 1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7" h="12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19" y="1"/>
                      </a:lnTo>
                      <a:lnTo>
                        <a:pt x="24" y="2"/>
                      </a:lnTo>
                      <a:lnTo>
                        <a:pt x="27" y="5"/>
                      </a:lnTo>
                      <a:lnTo>
                        <a:pt x="27" y="6"/>
                      </a:lnTo>
                      <a:lnTo>
                        <a:pt x="26" y="7"/>
                      </a:lnTo>
                      <a:lnTo>
                        <a:pt x="21" y="9"/>
                      </a:lnTo>
                      <a:lnTo>
                        <a:pt x="13" y="12"/>
                      </a:lnTo>
                      <a:lnTo>
                        <a:pt x="6" y="12"/>
                      </a:lnTo>
                      <a:lnTo>
                        <a:pt x="3" y="11"/>
                      </a:lnTo>
                      <a:lnTo>
                        <a:pt x="1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4" name="Freeform 359">
                  <a:extLst>
                    <a:ext uri="{FF2B5EF4-FFF2-40B4-BE49-F238E27FC236}">
                      <a16:creationId xmlns:a16="http://schemas.microsoft.com/office/drawing/2014/main" id="{9B120E2E-9B2D-F243-AE64-588BC5CEFE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41841" y="1677856"/>
                  <a:ext cx="34038" cy="25158"/>
                </a:xfrm>
                <a:custGeom>
                  <a:avLst/>
                  <a:gdLst>
                    <a:gd name="T0" fmla="*/ 2147483647 w 25"/>
                    <a:gd name="T1" fmla="*/ 2147483647 h 17"/>
                    <a:gd name="T2" fmla="*/ 2147483647 w 25"/>
                    <a:gd name="T3" fmla="*/ 2147483647 h 17"/>
                    <a:gd name="T4" fmla="*/ 2147483647 w 25"/>
                    <a:gd name="T5" fmla="*/ 0 h 17"/>
                    <a:gd name="T6" fmla="*/ 2147483647 w 25"/>
                    <a:gd name="T7" fmla="*/ 0 h 17"/>
                    <a:gd name="T8" fmla="*/ 2147483647 w 25"/>
                    <a:gd name="T9" fmla="*/ 2147483647 h 17"/>
                    <a:gd name="T10" fmla="*/ 2147483647 w 25"/>
                    <a:gd name="T11" fmla="*/ 2147483647 h 17"/>
                    <a:gd name="T12" fmla="*/ 2147483647 w 25"/>
                    <a:gd name="T13" fmla="*/ 2147483647 h 17"/>
                    <a:gd name="T14" fmla="*/ 2147483647 w 25"/>
                    <a:gd name="T15" fmla="*/ 2147483647 h 17"/>
                    <a:gd name="T16" fmla="*/ 2147483647 w 25"/>
                    <a:gd name="T17" fmla="*/ 2147483647 h 17"/>
                    <a:gd name="T18" fmla="*/ 2147483647 w 25"/>
                    <a:gd name="T19" fmla="*/ 2147483647 h 17"/>
                    <a:gd name="T20" fmla="*/ 2147483647 w 25"/>
                    <a:gd name="T21" fmla="*/ 2147483647 h 17"/>
                    <a:gd name="T22" fmla="*/ 2147483647 w 25"/>
                    <a:gd name="T23" fmla="*/ 2147483647 h 17"/>
                    <a:gd name="T24" fmla="*/ 2147483647 w 25"/>
                    <a:gd name="T25" fmla="*/ 2147483647 h 17"/>
                    <a:gd name="T26" fmla="*/ 2147483647 w 25"/>
                    <a:gd name="T27" fmla="*/ 2147483647 h 17"/>
                    <a:gd name="T28" fmla="*/ 2147483647 w 25"/>
                    <a:gd name="T29" fmla="*/ 2147483647 h 17"/>
                    <a:gd name="T30" fmla="*/ 2147483647 w 25"/>
                    <a:gd name="T31" fmla="*/ 2147483647 h 17"/>
                    <a:gd name="T32" fmla="*/ 2147483647 w 25"/>
                    <a:gd name="T33" fmla="*/ 2147483647 h 17"/>
                    <a:gd name="T34" fmla="*/ 0 w 25"/>
                    <a:gd name="T35" fmla="*/ 2147483647 h 17"/>
                    <a:gd name="T36" fmla="*/ 2147483647 w 25"/>
                    <a:gd name="T37" fmla="*/ 2147483647 h 17"/>
                    <a:gd name="T38" fmla="*/ 2147483647 w 25"/>
                    <a:gd name="T39" fmla="*/ 2147483647 h 17"/>
                    <a:gd name="T40" fmla="*/ 2147483647 w 25"/>
                    <a:gd name="T41" fmla="*/ 2147483647 h 17"/>
                    <a:gd name="T42" fmla="*/ 2147483647 w 25"/>
                    <a:gd name="T43" fmla="*/ 2147483647 h 17"/>
                    <a:gd name="T44" fmla="*/ 2147483647 w 25"/>
                    <a:gd name="T45" fmla="*/ 2147483647 h 17"/>
                    <a:gd name="T46" fmla="*/ 2147483647 w 25"/>
                    <a:gd name="T47" fmla="*/ 2147483647 h 17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5"/>
                    <a:gd name="T73" fmla="*/ 0 h 17"/>
                    <a:gd name="T74" fmla="*/ 25 w 25"/>
                    <a:gd name="T75" fmla="*/ 17 h 17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5" h="17">
                      <a:moveTo>
                        <a:pt x="12" y="1"/>
                      </a:moveTo>
                      <a:lnTo>
                        <a:pt x="12" y="1"/>
                      </a:lnTo>
                      <a:lnTo>
                        <a:pt x="17" y="0"/>
                      </a:lnTo>
                      <a:lnTo>
                        <a:pt x="20" y="0"/>
                      </a:lnTo>
                      <a:lnTo>
                        <a:pt x="22" y="1"/>
                      </a:lnTo>
                      <a:lnTo>
                        <a:pt x="25" y="3"/>
                      </a:lnTo>
                      <a:lnTo>
                        <a:pt x="24" y="5"/>
                      </a:lnTo>
                      <a:lnTo>
                        <a:pt x="21" y="9"/>
                      </a:lnTo>
                      <a:lnTo>
                        <a:pt x="19" y="11"/>
                      </a:lnTo>
                      <a:lnTo>
                        <a:pt x="12" y="15"/>
                      </a:lnTo>
                      <a:lnTo>
                        <a:pt x="6" y="17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4"/>
                      </a:lnTo>
                      <a:lnTo>
                        <a:pt x="2" y="2"/>
                      </a:lnTo>
                      <a:lnTo>
                        <a:pt x="6" y="2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5" name="Freeform 360">
                  <a:extLst>
                    <a:ext uri="{FF2B5EF4-FFF2-40B4-BE49-F238E27FC236}">
                      <a16:creationId xmlns:a16="http://schemas.microsoft.com/office/drawing/2014/main" id="{23C37B6A-C13F-7F46-94E9-CCBA23F658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6364" y="1658621"/>
                  <a:ext cx="29597" cy="25157"/>
                </a:xfrm>
                <a:custGeom>
                  <a:avLst/>
                  <a:gdLst>
                    <a:gd name="T0" fmla="*/ 2147483647 w 22"/>
                    <a:gd name="T1" fmla="*/ 2147483647 h 17"/>
                    <a:gd name="T2" fmla="*/ 2147483647 w 22"/>
                    <a:gd name="T3" fmla="*/ 2147483647 h 17"/>
                    <a:gd name="T4" fmla="*/ 2147483647 w 22"/>
                    <a:gd name="T5" fmla="*/ 2147483647 h 17"/>
                    <a:gd name="T6" fmla="*/ 2147483647 w 22"/>
                    <a:gd name="T7" fmla="*/ 2147483647 h 17"/>
                    <a:gd name="T8" fmla="*/ 2147483647 w 22"/>
                    <a:gd name="T9" fmla="*/ 2147483647 h 17"/>
                    <a:gd name="T10" fmla="*/ 2147483647 w 22"/>
                    <a:gd name="T11" fmla="*/ 2147483647 h 17"/>
                    <a:gd name="T12" fmla="*/ 2147483647 w 22"/>
                    <a:gd name="T13" fmla="*/ 2147483647 h 17"/>
                    <a:gd name="T14" fmla="*/ 2147483647 w 22"/>
                    <a:gd name="T15" fmla="*/ 2147483647 h 17"/>
                    <a:gd name="T16" fmla="*/ 2147483647 w 22"/>
                    <a:gd name="T17" fmla="*/ 2147483647 h 17"/>
                    <a:gd name="T18" fmla="*/ 0 w 22"/>
                    <a:gd name="T19" fmla="*/ 2147483647 h 17"/>
                    <a:gd name="T20" fmla="*/ 2147483647 w 22"/>
                    <a:gd name="T21" fmla="*/ 2147483647 h 17"/>
                    <a:gd name="T22" fmla="*/ 2147483647 w 22"/>
                    <a:gd name="T23" fmla="*/ 2147483647 h 17"/>
                    <a:gd name="T24" fmla="*/ 2147483647 w 22"/>
                    <a:gd name="T25" fmla="*/ 0 h 17"/>
                    <a:gd name="T26" fmla="*/ 2147483647 w 22"/>
                    <a:gd name="T27" fmla="*/ 0 h 17"/>
                    <a:gd name="T28" fmla="*/ 2147483647 w 22"/>
                    <a:gd name="T29" fmla="*/ 2147483647 h 17"/>
                    <a:gd name="T30" fmla="*/ 2147483647 w 22"/>
                    <a:gd name="T31" fmla="*/ 2147483647 h 1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2"/>
                    <a:gd name="T49" fmla="*/ 0 h 17"/>
                    <a:gd name="T50" fmla="*/ 22 w 22"/>
                    <a:gd name="T51" fmla="*/ 17 h 1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2" h="17">
                      <a:moveTo>
                        <a:pt x="18" y="7"/>
                      </a:moveTo>
                      <a:lnTo>
                        <a:pt x="20" y="9"/>
                      </a:lnTo>
                      <a:lnTo>
                        <a:pt x="22" y="13"/>
                      </a:lnTo>
                      <a:lnTo>
                        <a:pt x="20" y="15"/>
                      </a:lnTo>
                      <a:lnTo>
                        <a:pt x="18" y="17"/>
                      </a:lnTo>
                      <a:lnTo>
                        <a:pt x="14" y="17"/>
                      </a:lnTo>
                      <a:lnTo>
                        <a:pt x="8" y="15"/>
                      </a:lnTo>
                      <a:lnTo>
                        <a:pt x="4" y="13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1" y="4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18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6" name="Freeform 361">
                  <a:extLst>
                    <a:ext uri="{FF2B5EF4-FFF2-40B4-BE49-F238E27FC236}">
                      <a16:creationId xmlns:a16="http://schemas.microsoft.com/office/drawing/2014/main" id="{A903447B-4C38-954C-8892-3F6A059220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2240" y="1808084"/>
                  <a:ext cx="29597" cy="25158"/>
                </a:xfrm>
                <a:custGeom>
                  <a:avLst/>
                  <a:gdLst>
                    <a:gd name="T0" fmla="*/ 2147483647 w 21"/>
                    <a:gd name="T1" fmla="*/ 2147483647 h 17"/>
                    <a:gd name="T2" fmla="*/ 2147483647 w 21"/>
                    <a:gd name="T3" fmla="*/ 2147483647 h 17"/>
                    <a:gd name="T4" fmla="*/ 2147483647 w 21"/>
                    <a:gd name="T5" fmla="*/ 2147483647 h 17"/>
                    <a:gd name="T6" fmla="*/ 2147483647 w 21"/>
                    <a:gd name="T7" fmla="*/ 2147483647 h 17"/>
                    <a:gd name="T8" fmla="*/ 2147483647 w 21"/>
                    <a:gd name="T9" fmla="*/ 0 h 17"/>
                    <a:gd name="T10" fmla="*/ 2147483647 w 21"/>
                    <a:gd name="T11" fmla="*/ 0 h 17"/>
                    <a:gd name="T12" fmla="*/ 2147483647 w 21"/>
                    <a:gd name="T13" fmla="*/ 2147483647 h 17"/>
                    <a:gd name="T14" fmla="*/ 2147483647 w 21"/>
                    <a:gd name="T15" fmla="*/ 2147483647 h 17"/>
                    <a:gd name="T16" fmla="*/ 0 w 21"/>
                    <a:gd name="T17" fmla="*/ 2147483647 h 17"/>
                    <a:gd name="T18" fmla="*/ 0 w 21"/>
                    <a:gd name="T19" fmla="*/ 2147483647 h 17"/>
                    <a:gd name="T20" fmla="*/ 0 w 21"/>
                    <a:gd name="T21" fmla="*/ 2147483647 h 17"/>
                    <a:gd name="T22" fmla="*/ 2147483647 w 21"/>
                    <a:gd name="T23" fmla="*/ 2147483647 h 17"/>
                    <a:gd name="T24" fmla="*/ 2147483647 w 21"/>
                    <a:gd name="T25" fmla="*/ 2147483647 h 17"/>
                    <a:gd name="T26" fmla="*/ 2147483647 w 21"/>
                    <a:gd name="T27" fmla="*/ 2147483647 h 17"/>
                    <a:gd name="T28" fmla="*/ 2147483647 w 21"/>
                    <a:gd name="T29" fmla="*/ 2147483647 h 17"/>
                    <a:gd name="T30" fmla="*/ 2147483647 w 21"/>
                    <a:gd name="T31" fmla="*/ 2147483647 h 17"/>
                    <a:gd name="T32" fmla="*/ 2147483647 w 21"/>
                    <a:gd name="T33" fmla="*/ 2147483647 h 17"/>
                    <a:gd name="T34" fmla="*/ 2147483647 w 21"/>
                    <a:gd name="T35" fmla="*/ 2147483647 h 17"/>
                    <a:gd name="T36" fmla="*/ 2147483647 w 21"/>
                    <a:gd name="T37" fmla="*/ 2147483647 h 17"/>
                    <a:gd name="T38" fmla="*/ 2147483647 w 21"/>
                    <a:gd name="T39" fmla="*/ 2147483647 h 1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1"/>
                    <a:gd name="T61" fmla="*/ 0 h 17"/>
                    <a:gd name="T62" fmla="*/ 21 w 21"/>
                    <a:gd name="T63" fmla="*/ 17 h 1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1" h="17">
                      <a:moveTo>
                        <a:pt x="21" y="15"/>
                      </a:moveTo>
                      <a:lnTo>
                        <a:pt x="18" y="8"/>
                      </a:lnTo>
                      <a:lnTo>
                        <a:pt x="17" y="4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3" y="14"/>
                      </a:lnTo>
                      <a:lnTo>
                        <a:pt x="7" y="16"/>
                      </a:lnTo>
                      <a:lnTo>
                        <a:pt x="9" y="17"/>
                      </a:lnTo>
                      <a:lnTo>
                        <a:pt x="13" y="17"/>
                      </a:lnTo>
                      <a:lnTo>
                        <a:pt x="17" y="16"/>
                      </a:lnTo>
                      <a:lnTo>
                        <a:pt x="21" y="14"/>
                      </a:lnTo>
                      <a:lnTo>
                        <a:pt x="19" y="15"/>
                      </a:lnTo>
                      <a:lnTo>
                        <a:pt x="21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7" name="Freeform 362">
                  <a:extLst>
                    <a:ext uri="{FF2B5EF4-FFF2-40B4-BE49-F238E27FC236}">
                      <a16:creationId xmlns:a16="http://schemas.microsoft.com/office/drawing/2014/main" id="{C0F55142-EAEC-D44F-8156-37525383C7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4887" y="1655661"/>
                  <a:ext cx="28118" cy="26638"/>
                </a:xfrm>
                <a:custGeom>
                  <a:avLst/>
                  <a:gdLst>
                    <a:gd name="T0" fmla="*/ 2147483647 w 21"/>
                    <a:gd name="T1" fmla="*/ 2147483647 h 18"/>
                    <a:gd name="T2" fmla="*/ 2147483647 w 21"/>
                    <a:gd name="T3" fmla="*/ 2147483647 h 18"/>
                    <a:gd name="T4" fmla="*/ 2147483647 w 21"/>
                    <a:gd name="T5" fmla="*/ 2147483647 h 18"/>
                    <a:gd name="T6" fmla="*/ 2147483647 w 21"/>
                    <a:gd name="T7" fmla="*/ 2147483647 h 18"/>
                    <a:gd name="T8" fmla="*/ 2147483647 w 21"/>
                    <a:gd name="T9" fmla="*/ 2147483647 h 18"/>
                    <a:gd name="T10" fmla="*/ 2147483647 w 21"/>
                    <a:gd name="T11" fmla="*/ 2147483647 h 18"/>
                    <a:gd name="T12" fmla="*/ 2147483647 w 21"/>
                    <a:gd name="T13" fmla="*/ 2147483647 h 18"/>
                    <a:gd name="T14" fmla="*/ 2147483647 w 21"/>
                    <a:gd name="T15" fmla="*/ 2147483647 h 18"/>
                    <a:gd name="T16" fmla="*/ 2147483647 w 21"/>
                    <a:gd name="T17" fmla="*/ 2147483647 h 18"/>
                    <a:gd name="T18" fmla="*/ 2147483647 w 21"/>
                    <a:gd name="T19" fmla="*/ 2147483647 h 18"/>
                    <a:gd name="T20" fmla="*/ 2147483647 w 21"/>
                    <a:gd name="T21" fmla="*/ 2147483647 h 18"/>
                    <a:gd name="T22" fmla="*/ 2147483647 w 21"/>
                    <a:gd name="T23" fmla="*/ 2147483647 h 18"/>
                    <a:gd name="T24" fmla="*/ 0 w 21"/>
                    <a:gd name="T25" fmla="*/ 2147483647 h 18"/>
                    <a:gd name="T26" fmla="*/ 2147483647 w 21"/>
                    <a:gd name="T27" fmla="*/ 2147483647 h 18"/>
                    <a:gd name="T28" fmla="*/ 2147483647 w 21"/>
                    <a:gd name="T29" fmla="*/ 2147483647 h 18"/>
                    <a:gd name="T30" fmla="*/ 2147483647 w 21"/>
                    <a:gd name="T31" fmla="*/ 0 h 18"/>
                    <a:gd name="T32" fmla="*/ 2147483647 w 21"/>
                    <a:gd name="T33" fmla="*/ 0 h 18"/>
                    <a:gd name="T34" fmla="*/ 2147483647 w 21"/>
                    <a:gd name="T35" fmla="*/ 0 h 18"/>
                    <a:gd name="T36" fmla="*/ 2147483647 w 21"/>
                    <a:gd name="T37" fmla="*/ 2147483647 h 18"/>
                    <a:gd name="T38" fmla="*/ 2147483647 w 21"/>
                    <a:gd name="T39" fmla="*/ 2147483647 h 18"/>
                    <a:gd name="T40" fmla="*/ 2147483647 w 21"/>
                    <a:gd name="T41" fmla="*/ 2147483647 h 1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1"/>
                    <a:gd name="T64" fmla="*/ 0 h 18"/>
                    <a:gd name="T65" fmla="*/ 21 w 21"/>
                    <a:gd name="T66" fmla="*/ 18 h 1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1" h="18">
                      <a:moveTo>
                        <a:pt x="18" y="7"/>
                      </a:moveTo>
                      <a:lnTo>
                        <a:pt x="18" y="7"/>
                      </a:lnTo>
                      <a:lnTo>
                        <a:pt x="20" y="10"/>
                      </a:lnTo>
                      <a:lnTo>
                        <a:pt x="21" y="13"/>
                      </a:lnTo>
                      <a:lnTo>
                        <a:pt x="20" y="16"/>
                      </a:lnTo>
                      <a:lnTo>
                        <a:pt x="18" y="18"/>
                      </a:lnTo>
                      <a:lnTo>
                        <a:pt x="14" y="18"/>
                      </a:lnTo>
                      <a:lnTo>
                        <a:pt x="7" y="16"/>
                      </a:lnTo>
                      <a:lnTo>
                        <a:pt x="4" y="13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1" y="5"/>
                      </a:lnTo>
                      <a:lnTo>
                        <a:pt x="4" y="3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12" y="2"/>
                      </a:lnTo>
                      <a:lnTo>
                        <a:pt x="1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8" name="Freeform 363">
                  <a:extLst>
                    <a:ext uri="{FF2B5EF4-FFF2-40B4-BE49-F238E27FC236}">
                      <a16:creationId xmlns:a16="http://schemas.microsoft.com/office/drawing/2014/main" id="{2A738A76-0D50-684C-B4E6-DE94F7385A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0760" y="1806609"/>
                  <a:ext cx="28117" cy="25157"/>
                </a:xfrm>
                <a:custGeom>
                  <a:avLst/>
                  <a:gdLst>
                    <a:gd name="T0" fmla="*/ 2147483647 w 20"/>
                    <a:gd name="T1" fmla="*/ 2147483647 h 17"/>
                    <a:gd name="T2" fmla="*/ 2147483647 w 20"/>
                    <a:gd name="T3" fmla="*/ 2147483647 h 17"/>
                    <a:gd name="T4" fmla="*/ 2147483647 w 20"/>
                    <a:gd name="T5" fmla="*/ 2147483647 h 17"/>
                    <a:gd name="T6" fmla="*/ 2147483647 w 20"/>
                    <a:gd name="T7" fmla="*/ 2147483647 h 17"/>
                    <a:gd name="T8" fmla="*/ 2147483647 w 20"/>
                    <a:gd name="T9" fmla="*/ 2147483647 h 17"/>
                    <a:gd name="T10" fmla="*/ 2147483647 w 20"/>
                    <a:gd name="T11" fmla="*/ 2147483647 h 17"/>
                    <a:gd name="T12" fmla="*/ 2147483647 w 20"/>
                    <a:gd name="T13" fmla="*/ 0 h 17"/>
                    <a:gd name="T14" fmla="*/ 2147483647 w 20"/>
                    <a:gd name="T15" fmla="*/ 0 h 17"/>
                    <a:gd name="T16" fmla="*/ 2147483647 w 20"/>
                    <a:gd name="T17" fmla="*/ 2147483647 h 17"/>
                    <a:gd name="T18" fmla="*/ 2147483647 w 20"/>
                    <a:gd name="T19" fmla="*/ 2147483647 h 17"/>
                    <a:gd name="T20" fmla="*/ 2147483647 w 20"/>
                    <a:gd name="T21" fmla="*/ 2147483647 h 17"/>
                    <a:gd name="T22" fmla="*/ 0 w 20"/>
                    <a:gd name="T23" fmla="*/ 2147483647 h 17"/>
                    <a:gd name="T24" fmla="*/ 0 w 20"/>
                    <a:gd name="T25" fmla="*/ 2147483647 h 17"/>
                    <a:gd name="T26" fmla="*/ 0 w 20"/>
                    <a:gd name="T27" fmla="*/ 2147483647 h 17"/>
                    <a:gd name="T28" fmla="*/ 0 w 20"/>
                    <a:gd name="T29" fmla="*/ 2147483647 h 17"/>
                    <a:gd name="T30" fmla="*/ 2147483647 w 20"/>
                    <a:gd name="T31" fmla="*/ 2147483647 h 17"/>
                    <a:gd name="T32" fmla="*/ 2147483647 w 20"/>
                    <a:gd name="T33" fmla="*/ 2147483647 h 17"/>
                    <a:gd name="T34" fmla="*/ 2147483647 w 20"/>
                    <a:gd name="T35" fmla="*/ 2147483647 h 17"/>
                    <a:gd name="T36" fmla="*/ 2147483647 w 20"/>
                    <a:gd name="T37" fmla="*/ 2147483647 h 17"/>
                    <a:gd name="T38" fmla="*/ 2147483647 w 20"/>
                    <a:gd name="T39" fmla="*/ 2147483647 h 17"/>
                    <a:gd name="T40" fmla="*/ 2147483647 w 20"/>
                    <a:gd name="T41" fmla="*/ 2147483647 h 17"/>
                    <a:gd name="T42" fmla="*/ 2147483647 w 20"/>
                    <a:gd name="T43" fmla="*/ 2147483647 h 17"/>
                    <a:gd name="T44" fmla="*/ 2147483647 w 20"/>
                    <a:gd name="T45" fmla="*/ 2147483647 h 17"/>
                    <a:gd name="T46" fmla="*/ 2147483647 w 20"/>
                    <a:gd name="T47" fmla="*/ 2147483647 h 17"/>
                    <a:gd name="T48" fmla="*/ 2147483647 w 20"/>
                    <a:gd name="T49" fmla="*/ 2147483647 h 17"/>
                    <a:gd name="T50" fmla="*/ 2147483647 w 20"/>
                    <a:gd name="T51" fmla="*/ 2147483647 h 17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0"/>
                    <a:gd name="T79" fmla="*/ 0 h 17"/>
                    <a:gd name="T80" fmla="*/ 20 w 20"/>
                    <a:gd name="T81" fmla="*/ 17 h 17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0" h="17">
                      <a:moveTo>
                        <a:pt x="20" y="15"/>
                      </a:moveTo>
                      <a:lnTo>
                        <a:pt x="20" y="15"/>
                      </a:lnTo>
                      <a:lnTo>
                        <a:pt x="18" y="7"/>
                      </a:lnTo>
                      <a:lnTo>
                        <a:pt x="17" y="4"/>
                      </a:lnTo>
                      <a:lnTo>
                        <a:pt x="15" y="1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6" y="3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1" y="11"/>
                      </a:lnTo>
                      <a:lnTo>
                        <a:pt x="3" y="13"/>
                      </a:lnTo>
                      <a:lnTo>
                        <a:pt x="6" y="16"/>
                      </a:lnTo>
                      <a:lnTo>
                        <a:pt x="9" y="17"/>
                      </a:lnTo>
                      <a:lnTo>
                        <a:pt x="13" y="17"/>
                      </a:lnTo>
                      <a:lnTo>
                        <a:pt x="17" y="16"/>
                      </a:lnTo>
                      <a:lnTo>
                        <a:pt x="20" y="13"/>
                      </a:lnTo>
                      <a:lnTo>
                        <a:pt x="19" y="15"/>
                      </a:lnTo>
                      <a:lnTo>
                        <a:pt x="20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9" name="Freeform 364">
                  <a:extLst>
                    <a:ext uri="{FF2B5EF4-FFF2-40B4-BE49-F238E27FC236}">
                      <a16:creationId xmlns:a16="http://schemas.microsoft.com/office/drawing/2014/main" id="{FAB34124-3B0C-904F-B353-2DEDFCBDC7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2603" y="1707457"/>
                  <a:ext cx="68074" cy="73994"/>
                </a:xfrm>
                <a:custGeom>
                  <a:avLst/>
                  <a:gdLst>
                    <a:gd name="T0" fmla="*/ 2147483647 w 50"/>
                    <a:gd name="T1" fmla="*/ 2147483647 h 50"/>
                    <a:gd name="T2" fmla="*/ 2147483647 w 50"/>
                    <a:gd name="T3" fmla="*/ 2147483647 h 50"/>
                    <a:gd name="T4" fmla="*/ 2147483647 w 50"/>
                    <a:gd name="T5" fmla="*/ 2147483647 h 50"/>
                    <a:gd name="T6" fmla="*/ 2147483647 w 50"/>
                    <a:gd name="T7" fmla="*/ 2147483647 h 50"/>
                    <a:gd name="T8" fmla="*/ 2147483647 w 50"/>
                    <a:gd name="T9" fmla="*/ 2147483647 h 50"/>
                    <a:gd name="T10" fmla="*/ 2147483647 w 50"/>
                    <a:gd name="T11" fmla="*/ 2147483647 h 50"/>
                    <a:gd name="T12" fmla="*/ 2147483647 w 50"/>
                    <a:gd name="T13" fmla="*/ 2147483647 h 50"/>
                    <a:gd name="T14" fmla="*/ 2147483647 w 50"/>
                    <a:gd name="T15" fmla="*/ 2147483647 h 50"/>
                    <a:gd name="T16" fmla="*/ 2147483647 w 50"/>
                    <a:gd name="T17" fmla="*/ 2147483647 h 50"/>
                    <a:gd name="T18" fmla="*/ 2147483647 w 50"/>
                    <a:gd name="T19" fmla="*/ 2147483647 h 50"/>
                    <a:gd name="T20" fmla="*/ 2147483647 w 50"/>
                    <a:gd name="T21" fmla="*/ 2147483647 h 50"/>
                    <a:gd name="T22" fmla="*/ 2147483647 w 50"/>
                    <a:gd name="T23" fmla="*/ 2147483647 h 50"/>
                    <a:gd name="T24" fmla="*/ 2147483647 w 50"/>
                    <a:gd name="T25" fmla="*/ 2147483647 h 50"/>
                    <a:gd name="T26" fmla="*/ 2147483647 w 50"/>
                    <a:gd name="T27" fmla="*/ 2147483647 h 50"/>
                    <a:gd name="T28" fmla="*/ 2147483647 w 50"/>
                    <a:gd name="T29" fmla="*/ 2147483647 h 50"/>
                    <a:gd name="T30" fmla="*/ 2147483647 w 50"/>
                    <a:gd name="T31" fmla="*/ 2147483647 h 50"/>
                    <a:gd name="T32" fmla="*/ 2147483647 w 50"/>
                    <a:gd name="T33" fmla="*/ 2147483647 h 50"/>
                    <a:gd name="T34" fmla="*/ 2147483647 w 50"/>
                    <a:gd name="T35" fmla="*/ 2147483647 h 50"/>
                    <a:gd name="T36" fmla="*/ 2147483647 w 50"/>
                    <a:gd name="T37" fmla="*/ 2147483647 h 50"/>
                    <a:gd name="T38" fmla="*/ 2147483647 w 50"/>
                    <a:gd name="T39" fmla="*/ 2147483647 h 50"/>
                    <a:gd name="T40" fmla="*/ 2147483647 w 50"/>
                    <a:gd name="T41" fmla="*/ 2147483647 h 50"/>
                    <a:gd name="T42" fmla="*/ 2147483647 w 50"/>
                    <a:gd name="T43" fmla="*/ 2147483647 h 50"/>
                    <a:gd name="T44" fmla="*/ 2147483647 w 50"/>
                    <a:gd name="T45" fmla="*/ 0 h 50"/>
                    <a:gd name="T46" fmla="*/ 2147483647 w 50"/>
                    <a:gd name="T47" fmla="*/ 2147483647 h 50"/>
                    <a:gd name="T48" fmla="*/ 2147483647 w 50"/>
                    <a:gd name="T49" fmla="*/ 2147483647 h 50"/>
                    <a:gd name="T50" fmla="*/ 2147483647 w 50"/>
                    <a:gd name="T51" fmla="*/ 2147483647 h 50"/>
                    <a:gd name="T52" fmla="*/ 2147483647 w 50"/>
                    <a:gd name="T53" fmla="*/ 2147483647 h 50"/>
                    <a:gd name="T54" fmla="*/ 2147483647 w 50"/>
                    <a:gd name="T55" fmla="*/ 2147483647 h 50"/>
                    <a:gd name="T56" fmla="*/ 2147483647 w 50"/>
                    <a:gd name="T57" fmla="*/ 2147483647 h 50"/>
                    <a:gd name="T58" fmla="*/ 2147483647 w 50"/>
                    <a:gd name="T59" fmla="*/ 2147483647 h 50"/>
                    <a:gd name="T60" fmla="*/ 2147483647 w 50"/>
                    <a:gd name="T61" fmla="*/ 2147483647 h 50"/>
                    <a:gd name="T62" fmla="*/ 2147483647 w 50"/>
                    <a:gd name="T63" fmla="*/ 2147483647 h 50"/>
                    <a:gd name="T64" fmla="*/ 2147483647 w 50"/>
                    <a:gd name="T65" fmla="*/ 2147483647 h 50"/>
                    <a:gd name="T66" fmla="*/ 2147483647 w 50"/>
                    <a:gd name="T67" fmla="*/ 2147483647 h 50"/>
                    <a:gd name="T68" fmla="*/ 2147483647 w 50"/>
                    <a:gd name="T69" fmla="*/ 2147483647 h 50"/>
                    <a:gd name="T70" fmla="*/ 2147483647 w 50"/>
                    <a:gd name="T71" fmla="*/ 2147483647 h 50"/>
                    <a:gd name="T72" fmla="*/ 2147483647 w 50"/>
                    <a:gd name="T73" fmla="*/ 2147483647 h 50"/>
                    <a:gd name="T74" fmla="*/ 0 w 50"/>
                    <a:gd name="T75" fmla="*/ 2147483647 h 50"/>
                    <a:gd name="T76" fmla="*/ 0 w 50"/>
                    <a:gd name="T77" fmla="*/ 2147483647 h 50"/>
                    <a:gd name="T78" fmla="*/ 2147483647 w 50"/>
                    <a:gd name="T79" fmla="*/ 2147483647 h 50"/>
                    <a:gd name="T80" fmla="*/ 2147483647 w 50"/>
                    <a:gd name="T81" fmla="*/ 2147483647 h 50"/>
                    <a:gd name="T82" fmla="*/ 2147483647 w 50"/>
                    <a:gd name="T83" fmla="*/ 2147483647 h 50"/>
                    <a:gd name="T84" fmla="*/ 2147483647 w 50"/>
                    <a:gd name="T85" fmla="*/ 2147483647 h 50"/>
                    <a:gd name="T86" fmla="*/ 2147483647 w 50"/>
                    <a:gd name="T87" fmla="*/ 2147483647 h 50"/>
                    <a:gd name="T88" fmla="*/ 2147483647 w 50"/>
                    <a:gd name="T89" fmla="*/ 2147483647 h 50"/>
                    <a:gd name="T90" fmla="*/ 2147483647 w 50"/>
                    <a:gd name="T91" fmla="*/ 2147483647 h 50"/>
                    <a:gd name="T92" fmla="*/ 2147483647 w 50"/>
                    <a:gd name="T93" fmla="*/ 2147483647 h 50"/>
                    <a:gd name="T94" fmla="*/ 2147483647 w 50"/>
                    <a:gd name="T95" fmla="*/ 2147483647 h 50"/>
                    <a:gd name="T96" fmla="*/ 2147483647 w 50"/>
                    <a:gd name="T97" fmla="*/ 2147483647 h 50"/>
                    <a:gd name="T98" fmla="*/ 2147483647 w 50"/>
                    <a:gd name="T99" fmla="*/ 2147483647 h 50"/>
                    <a:gd name="T100" fmla="*/ 2147483647 w 50"/>
                    <a:gd name="T101" fmla="*/ 2147483647 h 50"/>
                    <a:gd name="T102" fmla="*/ 2147483647 w 50"/>
                    <a:gd name="T103" fmla="*/ 2147483647 h 50"/>
                    <a:gd name="T104" fmla="*/ 2147483647 w 50"/>
                    <a:gd name="T105" fmla="*/ 2147483647 h 5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0"/>
                    <a:gd name="T160" fmla="*/ 0 h 50"/>
                    <a:gd name="T161" fmla="*/ 50 w 50"/>
                    <a:gd name="T162" fmla="*/ 50 h 5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0" h="50">
                      <a:moveTo>
                        <a:pt x="45" y="45"/>
                      </a:moveTo>
                      <a:lnTo>
                        <a:pt x="44" y="41"/>
                      </a:lnTo>
                      <a:lnTo>
                        <a:pt x="44" y="36"/>
                      </a:lnTo>
                      <a:lnTo>
                        <a:pt x="44" y="33"/>
                      </a:lnTo>
                      <a:lnTo>
                        <a:pt x="44" y="29"/>
                      </a:lnTo>
                      <a:lnTo>
                        <a:pt x="43" y="26"/>
                      </a:lnTo>
                      <a:lnTo>
                        <a:pt x="40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39" y="18"/>
                      </a:lnTo>
                      <a:lnTo>
                        <a:pt x="40" y="18"/>
                      </a:lnTo>
                      <a:lnTo>
                        <a:pt x="42" y="18"/>
                      </a:lnTo>
                      <a:lnTo>
                        <a:pt x="44" y="19"/>
                      </a:lnTo>
                      <a:lnTo>
                        <a:pt x="47" y="19"/>
                      </a:lnTo>
                      <a:lnTo>
                        <a:pt x="50" y="16"/>
                      </a:lnTo>
                      <a:lnTo>
                        <a:pt x="50" y="15"/>
                      </a:lnTo>
                      <a:lnTo>
                        <a:pt x="50" y="13"/>
                      </a:lnTo>
                      <a:lnTo>
                        <a:pt x="48" y="10"/>
                      </a:lnTo>
                      <a:lnTo>
                        <a:pt x="44" y="9"/>
                      </a:lnTo>
                      <a:lnTo>
                        <a:pt x="42" y="7"/>
                      </a:lnTo>
                      <a:lnTo>
                        <a:pt x="40" y="3"/>
                      </a:lnTo>
                      <a:lnTo>
                        <a:pt x="39" y="1"/>
                      </a:lnTo>
                      <a:lnTo>
                        <a:pt x="38" y="0"/>
                      </a:lnTo>
                      <a:lnTo>
                        <a:pt x="36" y="1"/>
                      </a:lnTo>
                      <a:lnTo>
                        <a:pt x="26" y="7"/>
                      </a:lnTo>
                      <a:lnTo>
                        <a:pt x="20" y="8"/>
                      </a:lnTo>
                      <a:lnTo>
                        <a:pt x="14" y="9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9" y="18"/>
                      </a:lnTo>
                      <a:lnTo>
                        <a:pt x="7" y="22"/>
                      </a:lnTo>
                      <a:lnTo>
                        <a:pt x="5" y="27"/>
                      </a:lnTo>
                      <a:lnTo>
                        <a:pt x="1" y="31"/>
                      </a:lnTo>
                      <a:lnTo>
                        <a:pt x="1" y="33"/>
                      </a:lnTo>
                      <a:lnTo>
                        <a:pt x="2" y="34"/>
                      </a:lnTo>
                      <a:lnTo>
                        <a:pt x="2" y="36"/>
                      </a:lnTo>
                      <a:lnTo>
                        <a:pt x="2" y="39"/>
                      </a:lnTo>
                      <a:lnTo>
                        <a:pt x="0" y="42"/>
                      </a:lnTo>
                      <a:lnTo>
                        <a:pt x="0" y="45"/>
                      </a:lnTo>
                      <a:lnTo>
                        <a:pt x="1" y="47"/>
                      </a:lnTo>
                      <a:lnTo>
                        <a:pt x="3" y="50"/>
                      </a:lnTo>
                      <a:lnTo>
                        <a:pt x="7" y="50"/>
                      </a:lnTo>
                      <a:lnTo>
                        <a:pt x="11" y="50"/>
                      </a:lnTo>
                      <a:lnTo>
                        <a:pt x="16" y="47"/>
                      </a:lnTo>
                      <a:lnTo>
                        <a:pt x="17" y="47"/>
                      </a:lnTo>
                      <a:lnTo>
                        <a:pt x="20" y="48"/>
                      </a:lnTo>
                      <a:lnTo>
                        <a:pt x="25" y="50"/>
                      </a:lnTo>
                      <a:lnTo>
                        <a:pt x="29" y="50"/>
                      </a:lnTo>
                      <a:lnTo>
                        <a:pt x="33" y="48"/>
                      </a:lnTo>
                      <a:lnTo>
                        <a:pt x="38" y="47"/>
                      </a:lnTo>
                      <a:lnTo>
                        <a:pt x="42" y="48"/>
                      </a:lnTo>
                      <a:lnTo>
                        <a:pt x="45" y="47"/>
                      </a:lnTo>
                      <a:lnTo>
                        <a:pt x="4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0" name="Freeform 365">
                  <a:extLst>
                    <a:ext uri="{FF2B5EF4-FFF2-40B4-BE49-F238E27FC236}">
                      <a16:creationId xmlns:a16="http://schemas.microsoft.com/office/drawing/2014/main" id="{D65E28F1-F7FD-1B4C-BDE9-9A2AD0A367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0444" y="1757770"/>
                  <a:ext cx="51795" cy="47356"/>
                </a:xfrm>
                <a:custGeom>
                  <a:avLst/>
                  <a:gdLst>
                    <a:gd name="T0" fmla="*/ 2147483647 w 38"/>
                    <a:gd name="T1" fmla="*/ 2147483647 h 32"/>
                    <a:gd name="T2" fmla="*/ 2147483647 w 38"/>
                    <a:gd name="T3" fmla="*/ 2147483647 h 32"/>
                    <a:gd name="T4" fmla="*/ 2147483647 w 38"/>
                    <a:gd name="T5" fmla="*/ 2147483647 h 32"/>
                    <a:gd name="T6" fmla="*/ 2147483647 w 38"/>
                    <a:gd name="T7" fmla="*/ 2147483647 h 32"/>
                    <a:gd name="T8" fmla="*/ 2147483647 w 38"/>
                    <a:gd name="T9" fmla="*/ 2147483647 h 32"/>
                    <a:gd name="T10" fmla="*/ 2147483647 w 38"/>
                    <a:gd name="T11" fmla="*/ 2147483647 h 32"/>
                    <a:gd name="T12" fmla="*/ 2147483647 w 38"/>
                    <a:gd name="T13" fmla="*/ 2147483647 h 32"/>
                    <a:gd name="T14" fmla="*/ 2147483647 w 38"/>
                    <a:gd name="T15" fmla="*/ 0 h 32"/>
                    <a:gd name="T16" fmla="*/ 2147483647 w 38"/>
                    <a:gd name="T17" fmla="*/ 2147483647 h 32"/>
                    <a:gd name="T18" fmla="*/ 2147483647 w 38"/>
                    <a:gd name="T19" fmla="*/ 2147483647 h 32"/>
                    <a:gd name="T20" fmla="*/ 0 w 38"/>
                    <a:gd name="T21" fmla="*/ 2147483647 h 32"/>
                    <a:gd name="T22" fmla="*/ 2147483647 w 38"/>
                    <a:gd name="T23" fmla="*/ 2147483647 h 32"/>
                    <a:gd name="T24" fmla="*/ 2147483647 w 38"/>
                    <a:gd name="T25" fmla="*/ 2147483647 h 32"/>
                    <a:gd name="T26" fmla="*/ 2147483647 w 38"/>
                    <a:gd name="T27" fmla="*/ 2147483647 h 32"/>
                    <a:gd name="T28" fmla="*/ 2147483647 w 38"/>
                    <a:gd name="T29" fmla="*/ 2147483647 h 32"/>
                    <a:gd name="T30" fmla="*/ 2147483647 w 38"/>
                    <a:gd name="T31" fmla="*/ 2147483647 h 32"/>
                    <a:gd name="T32" fmla="*/ 2147483647 w 38"/>
                    <a:gd name="T33" fmla="*/ 2147483647 h 32"/>
                    <a:gd name="T34" fmla="*/ 2147483647 w 38"/>
                    <a:gd name="T35" fmla="*/ 2147483647 h 32"/>
                    <a:gd name="T36" fmla="*/ 2147483647 w 38"/>
                    <a:gd name="T37" fmla="*/ 2147483647 h 32"/>
                    <a:gd name="T38" fmla="*/ 2147483647 w 38"/>
                    <a:gd name="T39" fmla="*/ 2147483647 h 32"/>
                    <a:gd name="T40" fmla="*/ 2147483647 w 38"/>
                    <a:gd name="T41" fmla="*/ 2147483647 h 32"/>
                    <a:gd name="T42" fmla="*/ 2147483647 w 38"/>
                    <a:gd name="T43" fmla="*/ 2147483647 h 32"/>
                    <a:gd name="T44" fmla="*/ 2147483647 w 38"/>
                    <a:gd name="T45" fmla="*/ 2147483647 h 3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8"/>
                    <a:gd name="T70" fmla="*/ 0 h 32"/>
                    <a:gd name="T71" fmla="*/ 38 w 38"/>
                    <a:gd name="T72" fmla="*/ 32 h 3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8" h="32">
                      <a:moveTo>
                        <a:pt x="36" y="18"/>
                      </a:moveTo>
                      <a:lnTo>
                        <a:pt x="37" y="17"/>
                      </a:lnTo>
                      <a:lnTo>
                        <a:pt x="38" y="16"/>
                      </a:lnTo>
                      <a:lnTo>
                        <a:pt x="38" y="13"/>
                      </a:lnTo>
                      <a:lnTo>
                        <a:pt x="27" y="6"/>
                      </a:lnTo>
                      <a:lnTo>
                        <a:pt x="22" y="4"/>
                      </a:lnTo>
                      <a:lnTo>
                        <a:pt x="17" y="1"/>
                      </a:lnTo>
                      <a:lnTo>
                        <a:pt x="13" y="0"/>
                      </a:lnTo>
                      <a:lnTo>
                        <a:pt x="9" y="1"/>
                      </a:lnTo>
                      <a:lnTo>
                        <a:pt x="1" y="5"/>
                      </a:lnTo>
                      <a:lnTo>
                        <a:pt x="0" y="6"/>
                      </a:lnTo>
                      <a:lnTo>
                        <a:pt x="1" y="7"/>
                      </a:lnTo>
                      <a:lnTo>
                        <a:pt x="4" y="11"/>
                      </a:lnTo>
                      <a:lnTo>
                        <a:pt x="4" y="17"/>
                      </a:lnTo>
                      <a:lnTo>
                        <a:pt x="4" y="24"/>
                      </a:lnTo>
                      <a:lnTo>
                        <a:pt x="7" y="29"/>
                      </a:lnTo>
                      <a:lnTo>
                        <a:pt x="8" y="31"/>
                      </a:lnTo>
                      <a:lnTo>
                        <a:pt x="12" y="32"/>
                      </a:lnTo>
                      <a:lnTo>
                        <a:pt x="13" y="32"/>
                      </a:lnTo>
                      <a:lnTo>
                        <a:pt x="15" y="32"/>
                      </a:lnTo>
                      <a:lnTo>
                        <a:pt x="24" y="23"/>
                      </a:lnTo>
                      <a:lnTo>
                        <a:pt x="29" y="20"/>
                      </a:lnTo>
                      <a:lnTo>
                        <a:pt x="3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1" name="Freeform 366">
                  <a:extLst>
                    <a:ext uri="{FF2B5EF4-FFF2-40B4-BE49-F238E27FC236}">
                      <a16:creationId xmlns:a16="http://schemas.microsoft.com/office/drawing/2014/main" id="{36E20BC2-4BBA-0C40-9DEE-1A50201DD0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9639" y="1705975"/>
                  <a:ext cx="69554" cy="72514"/>
                </a:xfrm>
                <a:custGeom>
                  <a:avLst/>
                  <a:gdLst>
                    <a:gd name="T0" fmla="*/ 2147483647 w 51"/>
                    <a:gd name="T1" fmla="*/ 2147483647 h 49"/>
                    <a:gd name="T2" fmla="*/ 2147483647 w 51"/>
                    <a:gd name="T3" fmla="*/ 2147483647 h 49"/>
                    <a:gd name="T4" fmla="*/ 2147483647 w 51"/>
                    <a:gd name="T5" fmla="*/ 2147483647 h 49"/>
                    <a:gd name="T6" fmla="*/ 2147483647 w 51"/>
                    <a:gd name="T7" fmla="*/ 2147483647 h 49"/>
                    <a:gd name="T8" fmla="*/ 2147483647 w 51"/>
                    <a:gd name="T9" fmla="*/ 2147483647 h 49"/>
                    <a:gd name="T10" fmla="*/ 2147483647 w 51"/>
                    <a:gd name="T11" fmla="*/ 2147483647 h 49"/>
                    <a:gd name="T12" fmla="*/ 2147483647 w 51"/>
                    <a:gd name="T13" fmla="*/ 2147483647 h 49"/>
                    <a:gd name="T14" fmla="*/ 2147483647 w 51"/>
                    <a:gd name="T15" fmla="*/ 2147483647 h 49"/>
                    <a:gd name="T16" fmla="*/ 2147483647 w 51"/>
                    <a:gd name="T17" fmla="*/ 2147483647 h 49"/>
                    <a:gd name="T18" fmla="*/ 2147483647 w 51"/>
                    <a:gd name="T19" fmla="*/ 2147483647 h 49"/>
                    <a:gd name="T20" fmla="*/ 2147483647 w 51"/>
                    <a:gd name="T21" fmla="*/ 2147483647 h 49"/>
                    <a:gd name="T22" fmla="*/ 2147483647 w 51"/>
                    <a:gd name="T23" fmla="*/ 2147483647 h 49"/>
                    <a:gd name="T24" fmla="*/ 2147483647 w 51"/>
                    <a:gd name="T25" fmla="*/ 2147483647 h 49"/>
                    <a:gd name="T26" fmla="*/ 2147483647 w 51"/>
                    <a:gd name="T27" fmla="*/ 2147483647 h 49"/>
                    <a:gd name="T28" fmla="*/ 2147483647 w 51"/>
                    <a:gd name="T29" fmla="*/ 0 h 49"/>
                    <a:gd name="T30" fmla="*/ 2147483647 w 51"/>
                    <a:gd name="T31" fmla="*/ 2147483647 h 49"/>
                    <a:gd name="T32" fmla="*/ 2147483647 w 51"/>
                    <a:gd name="T33" fmla="*/ 2147483647 h 49"/>
                    <a:gd name="T34" fmla="*/ 2147483647 w 51"/>
                    <a:gd name="T35" fmla="*/ 2147483647 h 49"/>
                    <a:gd name="T36" fmla="*/ 2147483647 w 51"/>
                    <a:gd name="T37" fmla="*/ 2147483647 h 49"/>
                    <a:gd name="T38" fmla="*/ 2147483647 w 51"/>
                    <a:gd name="T39" fmla="*/ 2147483647 h 49"/>
                    <a:gd name="T40" fmla="*/ 2147483647 w 51"/>
                    <a:gd name="T41" fmla="*/ 2147483647 h 49"/>
                    <a:gd name="T42" fmla="*/ 2147483647 w 51"/>
                    <a:gd name="T43" fmla="*/ 2147483647 h 49"/>
                    <a:gd name="T44" fmla="*/ 2147483647 w 51"/>
                    <a:gd name="T45" fmla="*/ 2147483647 h 49"/>
                    <a:gd name="T46" fmla="*/ 2147483647 w 51"/>
                    <a:gd name="T47" fmla="*/ 2147483647 h 49"/>
                    <a:gd name="T48" fmla="*/ 0 w 51"/>
                    <a:gd name="T49" fmla="*/ 2147483647 h 49"/>
                    <a:gd name="T50" fmla="*/ 2147483647 w 51"/>
                    <a:gd name="T51" fmla="*/ 2147483647 h 49"/>
                    <a:gd name="T52" fmla="*/ 2147483647 w 51"/>
                    <a:gd name="T53" fmla="*/ 2147483647 h 49"/>
                    <a:gd name="T54" fmla="*/ 2147483647 w 51"/>
                    <a:gd name="T55" fmla="*/ 2147483647 h 49"/>
                    <a:gd name="T56" fmla="*/ 2147483647 w 51"/>
                    <a:gd name="T57" fmla="*/ 2147483647 h 49"/>
                    <a:gd name="T58" fmla="*/ 2147483647 w 51"/>
                    <a:gd name="T59" fmla="*/ 2147483647 h 49"/>
                    <a:gd name="T60" fmla="*/ 2147483647 w 51"/>
                    <a:gd name="T61" fmla="*/ 2147483647 h 49"/>
                    <a:gd name="T62" fmla="*/ 2147483647 w 51"/>
                    <a:gd name="T63" fmla="*/ 2147483647 h 49"/>
                    <a:gd name="T64" fmla="*/ 2147483647 w 51"/>
                    <a:gd name="T65" fmla="*/ 2147483647 h 49"/>
                    <a:gd name="T66" fmla="*/ 2147483647 w 51"/>
                    <a:gd name="T67" fmla="*/ 2147483647 h 49"/>
                    <a:gd name="T68" fmla="*/ 2147483647 w 51"/>
                    <a:gd name="T69" fmla="*/ 2147483647 h 49"/>
                    <a:gd name="T70" fmla="*/ 2147483647 w 51"/>
                    <a:gd name="T71" fmla="*/ 2147483647 h 49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51"/>
                    <a:gd name="T109" fmla="*/ 0 h 49"/>
                    <a:gd name="T110" fmla="*/ 51 w 51"/>
                    <a:gd name="T111" fmla="*/ 49 h 49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51" h="49">
                      <a:moveTo>
                        <a:pt x="46" y="45"/>
                      </a:moveTo>
                      <a:lnTo>
                        <a:pt x="46" y="45"/>
                      </a:lnTo>
                      <a:lnTo>
                        <a:pt x="45" y="41"/>
                      </a:lnTo>
                      <a:lnTo>
                        <a:pt x="45" y="36"/>
                      </a:lnTo>
                      <a:lnTo>
                        <a:pt x="45" y="33"/>
                      </a:lnTo>
                      <a:lnTo>
                        <a:pt x="45" y="29"/>
                      </a:lnTo>
                      <a:lnTo>
                        <a:pt x="44" y="26"/>
                      </a:lnTo>
                      <a:lnTo>
                        <a:pt x="41" y="23"/>
                      </a:lnTo>
                      <a:lnTo>
                        <a:pt x="38" y="21"/>
                      </a:lnTo>
                      <a:lnTo>
                        <a:pt x="38" y="20"/>
                      </a:lnTo>
                      <a:lnTo>
                        <a:pt x="40" y="17"/>
                      </a:lnTo>
                      <a:lnTo>
                        <a:pt x="41" y="17"/>
                      </a:lnTo>
                      <a:lnTo>
                        <a:pt x="42" y="17"/>
                      </a:lnTo>
                      <a:lnTo>
                        <a:pt x="45" y="19"/>
                      </a:lnTo>
                      <a:lnTo>
                        <a:pt x="47" y="19"/>
                      </a:lnTo>
                      <a:lnTo>
                        <a:pt x="51" y="16"/>
                      </a:lnTo>
                      <a:lnTo>
                        <a:pt x="51" y="15"/>
                      </a:lnTo>
                      <a:lnTo>
                        <a:pt x="51" y="13"/>
                      </a:lnTo>
                      <a:lnTo>
                        <a:pt x="49" y="10"/>
                      </a:lnTo>
                      <a:lnTo>
                        <a:pt x="45" y="9"/>
                      </a:lnTo>
                      <a:lnTo>
                        <a:pt x="42" y="7"/>
                      </a:lnTo>
                      <a:lnTo>
                        <a:pt x="41" y="3"/>
                      </a:lnTo>
                      <a:lnTo>
                        <a:pt x="40" y="1"/>
                      </a:lnTo>
                      <a:lnTo>
                        <a:pt x="38" y="0"/>
                      </a:lnTo>
                      <a:lnTo>
                        <a:pt x="37" y="1"/>
                      </a:lnTo>
                      <a:lnTo>
                        <a:pt x="27" y="7"/>
                      </a:lnTo>
                      <a:lnTo>
                        <a:pt x="21" y="8"/>
                      </a:lnTo>
                      <a:lnTo>
                        <a:pt x="14" y="9"/>
                      </a:lnTo>
                      <a:lnTo>
                        <a:pt x="12" y="10"/>
                      </a:lnTo>
                      <a:lnTo>
                        <a:pt x="9" y="11"/>
                      </a:lnTo>
                      <a:lnTo>
                        <a:pt x="9" y="17"/>
                      </a:lnTo>
                      <a:lnTo>
                        <a:pt x="8" y="22"/>
                      </a:lnTo>
                      <a:lnTo>
                        <a:pt x="5" y="27"/>
                      </a:lnTo>
                      <a:lnTo>
                        <a:pt x="2" y="30"/>
                      </a:lnTo>
                      <a:lnTo>
                        <a:pt x="2" y="33"/>
                      </a:lnTo>
                      <a:lnTo>
                        <a:pt x="3" y="34"/>
                      </a:lnTo>
                      <a:lnTo>
                        <a:pt x="3" y="36"/>
                      </a:lnTo>
                      <a:lnTo>
                        <a:pt x="3" y="39"/>
                      </a:lnTo>
                      <a:lnTo>
                        <a:pt x="0" y="42"/>
                      </a:lnTo>
                      <a:lnTo>
                        <a:pt x="0" y="45"/>
                      </a:lnTo>
                      <a:lnTo>
                        <a:pt x="2" y="47"/>
                      </a:lnTo>
                      <a:lnTo>
                        <a:pt x="4" y="49"/>
                      </a:lnTo>
                      <a:lnTo>
                        <a:pt x="8" y="49"/>
                      </a:lnTo>
                      <a:lnTo>
                        <a:pt x="12" y="49"/>
                      </a:lnTo>
                      <a:lnTo>
                        <a:pt x="17" y="47"/>
                      </a:lnTo>
                      <a:lnTo>
                        <a:pt x="18" y="47"/>
                      </a:lnTo>
                      <a:lnTo>
                        <a:pt x="21" y="48"/>
                      </a:lnTo>
                      <a:lnTo>
                        <a:pt x="26" y="49"/>
                      </a:lnTo>
                      <a:lnTo>
                        <a:pt x="30" y="49"/>
                      </a:lnTo>
                      <a:lnTo>
                        <a:pt x="33" y="48"/>
                      </a:lnTo>
                      <a:lnTo>
                        <a:pt x="38" y="47"/>
                      </a:lnTo>
                      <a:lnTo>
                        <a:pt x="42" y="48"/>
                      </a:lnTo>
                      <a:lnTo>
                        <a:pt x="46" y="47"/>
                      </a:lnTo>
                      <a:lnTo>
                        <a:pt x="46" y="4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2" name="Freeform 367">
                  <a:extLst>
                    <a:ext uri="{FF2B5EF4-FFF2-40B4-BE49-F238E27FC236}">
                      <a16:creationId xmlns:a16="http://schemas.microsoft.com/office/drawing/2014/main" id="{CDAC51A5-622E-7A48-A148-00E2F502D7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8968" y="1756290"/>
                  <a:ext cx="51796" cy="47356"/>
                </a:xfrm>
                <a:custGeom>
                  <a:avLst/>
                  <a:gdLst>
                    <a:gd name="T0" fmla="*/ 2147483647 w 38"/>
                    <a:gd name="T1" fmla="*/ 2147483647 h 32"/>
                    <a:gd name="T2" fmla="*/ 2147483647 w 38"/>
                    <a:gd name="T3" fmla="*/ 2147483647 h 32"/>
                    <a:gd name="T4" fmla="*/ 2147483647 w 38"/>
                    <a:gd name="T5" fmla="*/ 2147483647 h 32"/>
                    <a:gd name="T6" fmla="*/ 2147483647 w 38"/>
                    <a:gd name="T7" fmla="*/ 2147483647 h 32"/>
                    <a:gd name="T8" fmla="*/ 2147483647 w 38"/>
                    <a:gd name="T9" fmla="*/ 2147483647 h 32"/>
                    <a:gd name="T10" fmla="*/ 2147483647 w 38"/>
                    <a:gd name="T11" fmla="*/ 2147483647 h 32"/>
                    <a:gd name="T12" fmla="*/ 2147483647 w 38"/>
                    <a:gd name="T13" fmla="*/ 2147483647 h 32"/>
                    <a:gd name="T14" fmla="*/ 2147483647 w 38"/>
                    <a:gd name="T15" fmla="*/ 2147483647 h 32"/>
                    <a:gd name="T16" fmla="*/ 2147483647 w 38"/>
                    <a:gd name="T17" fmla="*/ 2147483647 h 32"/>
                    <a:gd name="T18" fmla="*/ 2147483647 w 38"/>
                    <a:gd name="T19" fmla="*/ 2147483647 h 32"/>
                    <a:gd name="T20" fmla="*/ 2147483647 w 38"/>
                    <a:gd name="T21" fmla="*/ 2147483647 h 32"/>
                    <a:gd name="T22" fmla="*/ 2147483647 w 38"/>
                    <a:gd name="T23" fmla="*/ 0 h 32"/>
                    <a:gd name="T24" fmla="*/ 2147483647 w 38"/>
                    <a:gd name="T25" fmla="*/ 2147483647 h 32"/>
                    <a:gd name="T26" fmla="*/ 2147483647 w 38"/>
                    <a:gd name="T27" fmla="*/ 2147483647 h 32"/>
                    <a:gd name="T28" fmla="*/ 2147483647 w 38"/>
                    <a:gd name="T29" fmla="*/ 2147483647 h 32"/>
                    <a:gd name="T30" fmla="*/ 0 w 38"/>
                    <a:gd name="T31" fmla="*/ 2147483647 h 32"/>
                    <a:gd name="T32" fmla="*/ 2147483647 w 38"/>
                    <a:gd name="T33" fmla="*/ 2147483647 h 32"/>
                    <a:gd name="T34" fmla="*/ 2147483647 w 38"/>
                    <a:gd name="T35" fmla="*/ 2147483647 h 32"/>
                    <a:gd name="T36" fmla="*/ 2147483647 w 38"/>
                    <a:gd name="T37" fmla="*/ 2147483647 h 32"/>
                    <a:gd name="T38" fmla="*/ 2147483647 w 38"/>
                    <a:gd name="T39" fmla="*/ 2147483647 h 32"/>
                    <a:gd name="T40" fmla="*/ 2147483647 w 38"/>
                    <a:gd name="T41" fmla="*/ 2147483647 h 32"/>
                    <a:gd name="T42" fmla="*/ 2147483647 w 38"/>
                    <a:gd name="T43" fmla="*/ 2147483647 h 32"/>
                    <a:gd name="T44" fmla="*/ 2147483647 w 38"/>
                    <a:gd name="T45" fmla="*/ 2147483647 h 32"/>
                    <a:gd name="T46" fmla="*/ 2147483647 w 38"/>
                    <a:gd name="T47" fmla="*/ 2147483647 h 32"/>
                    <a:gd name="T48" fmla="*/ 2147483647 w 38"/>
                    <a:gd name="T49" fmla="*/ 2147483647 h 32"/>
                    <a:gd name="T50" fmla="*/ 2147483647 w 38"/>
                    <a:gd name="T51" fmla="*/ 2147483647 h 32"/>
                    <a:gd name="T52" fmla="*/ 2147483647 w 38"/>
                    <a:gd name="T53" fmla="*/ 2147483647 h 32"/>
                    <a:gd name="T54" fmla="*/ 2147483647 w 38"/>
                    <a:gd name="T55" fmla="*/ 2147483647 h 32"/>
                    <a:gd name="T56" fmla="*/ 2147483647 w 38"/>
                    <a:gd name="T57" fmla="*/ 2147483647 h 32"/>
                    <a:gd name="T58" fmla="*/ 2147483647 w 38"/>
                    <a:gd name="T59" fmla="*/ 2147483647 h 32"/>
                    <a:gd name="T60" fmla="*/ 2147483647 w 38"/>
                    <a:gd name="T61" fmla="*/ 2147483647 h 32"/>
                    <a:gd name="T62" fmla="*/ 2147483647 w 38"/>
                    <a:gd name="T63" fmla="*/ 2147483647 h 3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8"/>
                    <a:gd name="T97" fmla="*/ 0 h 32"/>
                    <a:gd name="T98" fmla="*/ 38 w 38"/>
                    <a:gd name="T99" fmla="*/ 32 h 3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8" h="32">
                      <a:moveTo>
                        <a:pt x="35" y="18"/>
                      </a:moveTo>
                      <a:lnTo>
                        <a:pt x="35" y="18"/>
                      </a:lnTo>
                      <a:lnTo>
                        <a:pt x="37" y="17"/>
                      </a:lnTo>
                      <a:lnTo>
                        <a:pt x="38" y="15"/>
                      </a:lnTo>
                      <a:lnTo>
                        <a:pt x="38" y="13"/>
                      </a:lnTo>
                      <a:lnTo>
                        <a:pt x="27" y="6"/>
                      </a:lnTo>
                      <a:lnTo>
                        <a:pt x="22" y="3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9" y="1"/>
                      </a:lnTo>
                      <a:lnTo>
                        <a:pt x="1" y="5"/>
                      </a:lnTo>
                      <a:lnTo>
                        <a:pt x="0" y="6"/>
                      </a:lnTo>
                      <a:lnTo>
                        <a:pt x="1" y="7"/>
                      </a:lnTo>
                      <a:lnTo>
                        <a:pt x="4" y="11"/>
                      </a:lnTo>
                      <a:lnTo>
                        <a:pt x="4" y="17"/>
                      </a:lnTo>
                      <a:lnTo>
                        <a:pt x="4" y="24"/>
                      </a:lnTo>
                      <a:lnTo>
                        <a:pt x="6" y="28"/>
                      </a:lnTo>
                      <a:lnTo>
                        <a:pt x="8" y="31"/>
                      </a:lnTo>
                      <a:lnTo>
                        <a:pt x="11" y="32"/>
                      </a:lnTo>
                      <a:lnTo>
                        <a:pt x="13" y="32"/>
                      </a:lnTo>
                      <a:lnTo>
                        <a:pt x="15" y="32"/>
                      </a:lnTo>
                      <a:lnTo>
                        <a:pt x="24" y="22"/>
                      </a:lnTo>
                      <a:lnTo>
                        <a:pt x="29" y="20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3" name="Freeform 368">
                  <a:extLst>
                    <a:ext uri="{FF2B5EF4-FFF2-40B4-BE49-F238E27FC236}">
                      <a16:creationId xmlns:a16="http://schemas.microsoft.com/office/drawing/2014/main" id="{E1281CB6-0A7B-794A-91ED-52BEDCF7E9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9370" y="1774051"/>
                  <a:ext cx="28118" cy="38477"/>
                </a:xfrm>
                <a:custGeom>
                  <a:avLst/>
                  <a:gdLst>
                    <a:gd name="T0" fmla="*/ 2147483647 w 21"/>
                    <a:gd name="T1" fmla="*/ 2147483647 h 26"/>
                    <a:gd name="T2" fmla="*/ 2147483647 w 21"/>
                    <a:gd name="T3" fmla="*/ 2147483647 h 26"/>
                    <a:gd name="T4" fmla="*/ 2147483647 w 21"/>
                    <a:gd name="T5" fmla="*/ 2147483647 h 26"/>
                    <a:gd name="T6" fmla="*/ 2147483647 w 21"/>
                    <a:gd name="T7" fmla="*/ 2147483647 h 26"/>
                    <a:gd name="T8" fmla="*/ 2147483647 w 21"/>
                    <a:gd name="T9" fmla="*/ 2147483647 h 26"/>
                    <a:gd name="T10" fmla="*/ 2147483647 w 21"/>
                    <a:gd name="T11" fmla="*/ 2147483647 h 26"/>
                    <a:gd name="T12" fmla="*/ 2147483647 w 21"/>
                    <a:gd name="T13" fmla="*/ 0 h 26"/>
                    <a:gd name="T14" fmla="*/ 2147483647 w 21"/>
                    <a:gd name="T15" fmla="*/ 0 h 26"/>
                    <a:gd name="T16" fmla="*/ 2147483647 w 21"/>
                    <a:gd name="T17" fmla="*/ 0 h 26"/>
                    <a:gd name="T18" fmla="*/ 2147483647 w 21"/>
                    <a:gd name="T19" fmla="*/ 0 h 26"/>
                    <a:gd name="T20" fmla="*/ 0 w 21"/>
                    <a:gd name="T21" fmla="*/ 2147483647 h 26"/>
                    <a:gd name="T22" fmla="*/ 0 w 21"/>
                    <a:gd name="T23" fmla="*/ 2147483647 h 26"/>
                    <a:gd name="T24" fmla="*/ 2147483647 w 21"/>
                    <a:gd name="T25" fmla="*/ 2147483647 h 26"/>
                    <a:gd name="T26" fmla="*/ 2147483647 w 21"/>
                    <a:gd name="T27" fmla="*/ 2147483647 h 26"/>
                    <a:gd name="T28" fmla="*/ 2147483647 w 21"/>
                    <a:gd name="T29" fmla="*/ 2147483647 h 26"/>
                    <a:gd name="T30" fmla="*/ 2147483647 w 21"/>
                    <a:gd name="T31" fmla="*/ 2147483647 h 26"/>
                    <a:gd name="T32" fmla="*/ 0 w 21"/>
                    <a:gd name="T33" fmla="*/ 2147483647 h 26"/>
                    <a:gd name="T34" fmla="*/ 2147483647 w 21"/>
                    <a:gd name="T35" fmla="*/ 2147483647 h 26"/>
                    <a:gd name="T36" fmla="*/ 2147483647 w 21"/>
                    <a:gd name="T37" fmla="*/ 2147483647 h 26"/>
                    <a:gd name="T38" fmla="*/ 2147483647 w 21"/>
                    <a:gd name="T39" fmla="*/ 2147483647 h 26"/>
                    <a:gd name="T40" fmla="*/ 2147483647 w 21"/>
                    <a:gd name="T41" fmla="*/ 2147483647 h 26"/>
                    <a:gd name="T42" fmla="*/ 2147483647 w 21"/>
                    <a:gd name="T43" fmla="*/ 2147483647 h 26"/>
                    <a:gd name="T44" fmla="*/ 2147483647 w 21"/>
                    <a:gd name="T45" fmla="*/ 2147483647 h 26"/>
                    <a:gd name="T46" fmla="*/ 2147483647 w 21"/>
                    <a:gd name="T47" fmla="*/ 2147483647 h 26"/>
                    <a:gd name="T48" fmla="*/ 2147483647 w 21"/>
                    <a:gd name="T49" fmla="*/ 2147483647 h 2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"/>
                    <a:gd name="T76" fmla="*/ 0 h 26"/>
                    <a:gd name="T77" fmla="*/ 21 w 21"/>
                    <a:gd name="T78" fmla="*/ 26 h 2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" h="26">
                      <a:moveTo>
                        <a:pt x="21" y="21"/>
                      </a:moveTo>
                      <a:lnTo>
                        <a:pt x="19" y="19"/>
                      </a:lnTo>
                      <a:lnTo>
                        <a:pt x="19" y="18"/>
                      </a:lnTo>
                      <a:lnTo>
                        <a:pt x="17" y="15"/>
                      </a:lnTo>
                      <a:lnTo>
                        <a:pt x="16" y="14"/>
                      </a:lnTo>
                      <a:lnTo>
                        <a:pt x="14" y="9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4" y="9"/>
                      </a:lnTo>
                      <a:lnTo>
                        <a:pt x="3" y="14"/>
                      </a:lnTo>
                      <a:lnTo>
                        <a:pt x="2" y="18"/>
                      </a:lnTo>
                      <a:lnTo>
                        <a:pt x="0" y="21"/>
                      </a:lnTo>
                      <a:lnTo>
                        <a:pt x="2" y="22"/>
                      </a:lnTo>
                      <a:lnTo>
                        <a:pt x="3" y="23"/>
                      </a:lnTo>
                      <a:lnTo>
                        <a:pt x="5" y="25"/>
                      </a:lnTo>
                      <a:lnTo>
                        <a:pt x="9" y="25"/>
                      </a:lnTo>
                      <a:lnTo>
                        <a:pt x="16" y="26"/>
                      </a:lnTo>
                      <a:lnTo>
                        <a:pt x="18" y="25"/>
                      </a:lnTo>
                      <a:lnTo>
                        <a:pt x="19" y="25"/>
                      </a:lnTo>
                      <a:lnTo>
                        <a:pt x="21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4" name="Freeform 369">
                  <a:extLst>
                    <a:ext uri="{FF2B5EF4-FFF2-40B4-BE49-F238E27FC236}">
                      <a16:creationId xmlns:a16="http://schemas.microsoft.com/office/drawing/2014/main" id="{6962C2C0-DA59-5F41-AFEC-8C6B60A358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7441" y="1677857"/>
                  <a:ext cx="29597" cy="11839"/>
                </a:xfrm>
                <a:custGeom>
                  <a:avLst/>
                  <a:gdLst>
                    <a:gd name="T0" fmla="*/ 2147483647 w 21"/>
                    <a:gd name="T1" fmla="*/ 2147483647 h 8"/>
                    <a:gd name="T2" fmla="*/ 2147483647 w 21"/>
                    <a:gd name="T3" fmla="*/ 2147483647 h 8"/>
                    <a:gd name="T4" fmla="*/ 2147483647 w 21"/>
                    <a:gd name="T5" fmla="*/ 0 h 8"/>
                    <a:gd name="T6" fmla="*/ 2147483647 w 21"/>
                    <a:gd name="T7" fmla="*/ 2147483647 h 8"/>
                    <a:gd name="T8" fmla="*/ 2147483647 w 21"/>
                    <a:gd name="T9" fmla="*/ 2147483647 h 8"/>
                    <a:gd name="T10" fmla="*/ 2147483647 w 21"/>
                    <a:gd name="T11" fmla="*/ 2147483647 h 8"/>
                    <a:gd name="T12" fmla="*/ 0 w 21"/>
                    <a:gd name="T13" fmla="*/ 2147483647 h 8"/>
                    <a:gd name="T14" fmla="*/ 2147483647 w 21"/>
                    <a:gd name="T15" fmla="*/ 2147483647 h 8"/>
                    <a:gd name="T16" fmla="*/ 2147483647 w 21"/>
                    <a:gd name="T17" fmla="*/ 2147483647 h 8"/>
                    <a:gd name="T18" fmla="*/ 2147483647 w 21"/>
                    <a:gd name="T19" fmla="*/ 2147483647 h 8"/>
                    <a:gd name="T20" fmla="*/ 2147483647 w 21"/>
                    <a:gd name="T21" fmla="*/ 2147483647 h 8"/>
                    <a:gd name="T22" fmla="*/ 2147483647 w 21"/>
                    <a:gd name="T23" fmla="*/ 2147483647 h 8"/>
                    <a:gd name="T24" fmla="*/ 2147483647 w 21"/>
                    <a:gd name="T25" fmla="*/ 2147483647 h 8"/>
                    <a:gd name="T26" fmla="*/ 2147483647 w 21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1"/>
                    <a:gd name="T43" fmla="*/ 0 h 8"/>
                    <a:gd name="T44" fmla="*/ 21 w 21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1" h="8">
                      <a:moveTo>
                        <a:pt x="21" y="2"/>
                      </a:moveTo>
                      <a:lnTo>
                        <a:pt x="21" y="1"/>
                      </a:lnTo>
                      <a:lnTo>
                        <a:pt x="20" y="0"/>
                      </a:lnTo>
                      <a:lnTo>
                        <a:pt x="9" y="1"/>
                      </a:lnTo>
                      <a:lnTo>
                        <a:pt x="4" y="3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5" y="7"/>
                      </a:lnTo>
                      <a:lnTo>
                        <a:pt x="7" y="5"/>
                      </a:lnTo>
                      <a:lnTo>
                        <a:pt x="11" y="5"/>
                      </a:lnTo>
                      <a:lnTo>
                        <a:pt x="15" y="5"/>
                      </a:lnTo>
                      <a:lnTo>
                        <a:pt x="19" y="5"/>
                      </a:lnTo>
                      <a:lnTo>
                        <a:pt x="20" y="4"/>
                      </a:lnTo>
                      <a:lnTo>
                        <a:pt x="2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5" name="Freeform 370">
                  <a:extLst>
                    <a:ext uri="{FF2B5EF4-FFF2-40B4-BE49-F238E27FC236}">
                      <a16:creationId xmlns:a16="http://schemas.microsoft.com/office/drawing/2014/main" id="{B8573F3D-1F19-A34E-B011-0EBF8A63DB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7887" y="1772571"/>
                  <a:ext cx="28117" cy="38477"/>
                </a:xfrm>
                <a:custGeom>
                  <a:avLst/>
                  <a:gdLst>
                    <a:gd name="T0" fmla="*/ 2147483647 w 20"/>
                    <a:gd name="T1" fmla="*/ 2147483647 h 26"/>
                    <a:gd name="T2" fmla="*/ 2147483647 w 20"/>
                    <a:gd name="T3" fmla="*/ 2147483647 h 26"/>
                    <a:gd name="T4" fmla="*/ 2147483647 w 20"/>
                    <a:gd name="T5" fmla="*/ 2147483647 h 26"/>
                    <a:gd name="T6" fmla="*/ 2147483647 w 20"/>
                    <a:gd name="T7" fmla="*/ 2147483647 h 26"/>
                    <a:gd name="T8" fmla="*/ 2147483647 w 20"/>
                    <a:gd name="T9" fmla="*/ 2147483647 h 26"/>
                    <a:gd name="T10" fmla="*/ 2147483647 w 20"/>
                    <a:gd name="T11" fmla="*/ 2147483647 h 26"/>
                    <a:gd name="T12" fmla="*/ 2147483647 w 20"/>
                    <a:gd name="T13" fmla="*/ 2147483647 h 26"/>
                    <a:gd name="T14" fmla="*/ 2147483647 w 20"/>
                    <a:gd name="T15" fmla="*/ 2147483647 h 26"/>
                    <a:gd name="T16" fmla="*/ 2147483647 w 20"/>
                    <a:gd name="T17" fmla="*/ 0 h 26"/>
                    <a:gd name="T18" fmla="*/ 2147483647 w 20"/>
                    <a:gd name="T19" fmla="*/ 0 h 26"/>
                    <a:gd name="T20" fmla="*/ 2147483647 w 20"/>
                    <a:gd name="T21" fmla="*/ 0 h 26"/>
                    <a:gd name="T22" fmla="*/ 2147483647 w 20"/>
                    <a:gd name="T23" fmla="*/ 0 h 26"/>
                    <a:gd name="T24" fmla="*/ 2147483647 w 20"/>
                    <a:gd name="T25" fmla="*/ 0 h 26"/>
                    <a:gd name="T26" fmla="*/ 2147483647 w 20"/>
                    <a:gd name="T27" fmla="*/ 0 h 26"/>
                    <a:gd name="T28" fmla="*/ 0 w 20"/>
                    <a:gd name="T29" fmla="*/ 2147483647 h 26"/>
                    <a:gd name="T30" fmla="*/ 0 w 20"/>
                    <a:gd name="T31" fmla="*/ 2147483647 h 26"/>
                    <a:gd name="T32" fmla="*/ 0 w 20"/>
                    <a:gd name="T33" fmla="*/ 2147483647 h 26"/>
                    <a:gd name="T34" fmla="*/ 2147483647 w 20"/>
                    <a:gd name="T35" fmla="*/ 2147483647 h 26"/>
                    <a:gd name="T36" fmla="*/ 2147483647 w 20"/>
                    <a:gd name="T37" fmla="*/ 2147483647 h 26"/>
                    <a:gd name="T38" fmla="*/ 2147483647 w 20"/>
                    <a:gd name="T39" fmla="*/ 2147483647 h 26"/>
                    <a:gd name="T40" fmla="*/ 2147483647 w 20"/>
                    <a:gd name="T41" fmla="*/ 2147483647 h 26"/>
                    <a:gd name="T42" fmla="*/ 2147483647 w 20"/>
                    <a:gd name="T43" fmla="*/ 2147483647 h 26"/>
                    <a:gd name="T44" fmla="*/ 0 w 20"/>
                    <a:gd name="T45" fmla="*/ 2147483647 h 26"/>
                    <a:gd name="T46" fmla="*/ 2147483647 w 20"/>
                    <a:gd name="T47" fmla="*/ 2147483647 h 26"/>
                    <a:gd name="T48" fmla="*/ 2147483647 w 20"/>
                    <a:gd name="T49" fmla="*/ 2147483647 h 26"/>
                    <a:gd name="T50" fmla="*/ 2147483647 w 20"/>
                    <a:gd name="T51" fmla="*/ 2147483647 h 26"/>
                    <a:gd name="T52" fmla="*/ 2147483647 w 20"/>
                    <a:gd name="T53" fmla="*/ 2147483647 h 26"/>
                    <a:gd name="T54" fmla="*/ 2147483647 w 20"/>
                    <a:gd name="T55" fmla="*/ 2147483647 h 26"/>
                    <a:gd name="T56" fmla="*/ 2147483647 w 20"/>
                    <a:gd name="T57" fmla="*/ 2147483647 h 26"/>
                    <a:gd name="T58" fmla="*/ 2147483647 w 20"/>
                    <a:gd name="T59" fmla="*/ 2147483647 h 26"/>
                    <a:gd name="T60" fmla="*/ 2147483647 w 20"/>
                    <a:gd name="T61" fmla="*/ 2147483647 h 26"/>
                    <a:gd name="T62" fmla="*/ 2147483647 w 20"/>
                    <a:gd name="T63" fmla="*/ 2147483647 h 26"/>
                    <a:gd name="T64" fmla="*/ 2147483647 w 20"/>
                    <a:gd name="T65" fmla="*/ 2147483647 h 26"/>
                    <a:gd name="T66" fmla="*/ 2147483647 w 20"/>
                    <a:gd name="T67" fmla="*/ 2147483647 h 2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0"/>
                    <a:gd name="T103" fmla="*/ 0 h 26"/>
                    <a:gd name="T104" fmla="*/ 20 w 20"/>
                    <a:gd name="T105" fmla="*/ 26 h 2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0" h="26">
                      <a:moveTo>
                        <a:pt x="20" y="21"/>
                      </a:moveTo>
                      <a:lnTo>
                        <a:pt x="20" y="21"/>
                      </a:lnTo>
                      <a:lnTo>
                        <a:pt x="19" y="19"/>
                      </a:lnTo>
                      <a:lnTo>
                        <a:pt x="19" y="17"/>
                      </a:lnTo>
                      <a:lnTo>
                        <a:pt x="17" y="15"/>
                      </a:lnTo>
                      <a:lnTo>
                        <a:pt x="15" y="14"/>
                      </a:lnTo>
                      <a:lnTo>
                        <a:pt x="14" y="9"/>
                      </a:lnTo>
                      <a:lnTo>
                        <a:pt x="15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4" y="9"/>
                      </a:lnTo>
                      <a:lnTo>
                        <a:pt x="3" y="14"/>
                      </a:lnTo>
                      <a:lnTo>
                        <a:pt x="1" y="17"/>
                      </a:lnTo>
                      <a:lnTo>
                        <a:pt x="0" y="21"/>
                      </a:lnTo>
                      <a:lnTo>
                        <a:pt x="1" y="22"/>
                      </a:lnTo>
                      <a:lnTo>
                        <a:pt x="3" y="23"/>
                      </a:lnTo>
                      <a:lnTo>
                        <a:pt x="5" y="24"/>
                      </a:lnTo>
                      <a:lnTo>
                        <a:pt x="9" y="24"/>
                      </a:lnTo>
                      <a:lnTo>
                        <a:pt x="15" y="26"/>
                      </a:lnTo>
                      <a:lnTo>
                        <a:pt x="18" y="24"/>
                      </a:lnTo>
                      <a:lnTo>
                        <a:pt x="19" y="24"/>
                      </a:lnTo>
                      <a:lnTo>
                        <a:pt x="20" y="2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6" name="Freeform 371">
                  <a:extLst>
                    <a:ext uri="{FF2B5EF4-FFF2-40B4-BE49-F238E27FC236}">
                      <a16:creationId xmlns:a16="http://schemas.microsoft.com/office/drawing/2014/main" id="{1F4C6CA4-EC06-3A40-A47B-D2CB021509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5961" y="1674896"/>
                  <a:ext cx="29597" cy="13319"/>
                </a:xfrm>
                <a:custGeom>
                  <a:avLst/>
                  <a:gdLst>
                    <a:gd name="T0" fmla="*/ 2147483647 w 21"/>
                    <a:gd name="T1" fmla="*/ 2147483647 h 9"/>
                    <a:gd name="T2" fmla="*/ 2147483647 w 21"/>
                    <a:gd name="T3" fmla="*/ 2147483647 h 9"/>
                    <a:gd name="T4" fmla="*/ 2147483647 w 21"/>
                    <a:gd name="T5" fmla="*/ 2147483647 h 9"/>
                    <a:gd name="T6" fmla="*/ 2147483647 w 21"/>
                    <a:gd name="T7" fmla="*/ 0 h 9"/>
                    <a:gd name="T8" fmla="*/ 2147483647 w 21"/>
                    <a:gd name="T9" fmla="*/ 0 h 9"/>
                    <a:gd name="T10" fmla="*/ 2147483647 w 21"/>
                    <a:gd name="T11" fmla="*/ 2147483647 h 9"/>
                    <a:gd name="T12" fmla="*/ 2147483647 w 21"/>
                    <a:gd name="T13" fmla="*/ 2147483647 h 9"/>
                    <a:gd name="T14" fmla="*/ 2147483647 w 21"/>
                    <a:gd name="T15" fmla="*/ 2147483647 h 9"/>
                    <a:gd name="T16" fmla="*/ 0 w 21"/>
                    <a:gd name="T17" fmla="*/ 2147483647 h 9"/>
                    <a:gd name="T18" fmla="*/ 0 w 21"/>
                    <a:gd name="T19" fmla="*/ 2147483647 h 9"/>
                    <a:gd name="T20" fmla="*/ 2147483647 w 21"/>
                    <a:gd name="T21" fmla="*/ 2147483647 h 9"/>
                    <a:gd name="T22" fmla="*/ 2147483647 w 21"/>
                    <a:gd name="T23" fmla="*/ 2147483647 h 9"/>
                    <a:gd name="T24" fmla="*/ 2147483647 w 21"/>
                    <a:gd name="T25" fmla="*/ 2147483647 h 9"/>
                    <a:gd name="T26" fmla="*/ 2147483647 w 21"/>
                    <a:gd name="T27" fmla="*/ 2147483647 h 9"/>
                    <a:gd name="T28" fmla="*/ 2147483647 w 21"/>
                    <a:gd name="T29" fmla="*/ 2147483647 h 9"/>
                    <a:gd name="T30" fmla="*/ 2147483647 w 21"/>
                    <a:gd name="T31" fmla="*/ 2147483647 h 9"/>
                    <a:gd name="T32" fmla="*/ 2147483647 w 21"/>
                    <a:gd name="T33" fmla="*/ 2147483647 h 9"/>
                    <a:gd name="T34" fmla="*/ 2147483647 w 21"/>
                    <a:gd name="T35" fmla="*/ 2147483647 h 9"/>
                    <a:gd name="T36" fmla="*/ 2147483647 w 21"/>
                    <a:gd name="T37" fmla="*/ 2147483647 h 9"/>
                    <a:gd name="T38" fmla="*/ 2147483647 w 21"/>
                    <a:gd name="T39" fmla="*/ 2147483647 h 9"/>
                    <a:gd name="T40" fmla="*/ 2147483647 w 21"/>
                    <a:gd name="T41" fmla="*/ 2147483647 h 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1"/>
                    <a:gd name="T64" fmla="*/ 0 h 9"/>
                    <a:gd name="T65" fmla="*/ 21 w 21"/>
                    <a:gd name="T66" fmla="*/ 9 h 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1" h="9">
                      <a:moveTo>
                        <a:pt x="21" y="3"/>
                      </a:moveTo>
                      <a:lnTo>
                        <a:pt x="21" y="3"/>
                      </a:lnTo>
                      <a:lnTo>
                        <a:pt x="21" y="2"/>
                      </a:lnTo>
                      <a:lnTo>
                        <a:pt x="20" y="0"/>
                      </a:lnTo>
                      <a:lnTo>
                        <a:pt x="8" y="2"/>
                      </a:lnTo>
                      <a:lnTo>
                        <a:pt x="3" y="4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5" y="7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5" y="6"/>
                      </a:lnTo>
                      <a:lnTo>
                        <a:pt x="19" y="6"/>
                      </a:lnTo>
                      <a:lnTo>
                        <a:pt x="20" y="5"/>
                      </a:lnTo>
                      <a:lnTo>
                        <a:pt x="21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7" name="Freeform 372">
                  <a:extLst>
                    <a:ext uri="{FF2B5EF4-FFF2-40B4-BE49-F238E27FC236}">
                      <a16:creationId xmlns:a16="http://schemas.microsoft.com/office/drawing/2014/main" id="{F93B4088-3C0F-C640-9F9C-549D9617C3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7085" y="1705975"/>
                  <a:ext cx="13318" cy="14799"/>
                </a:xfrm>
                <a:custGeom>
                  <a:avLst/>
                  <a:gdLst>
                    <a:gd name="T0" fmla="*/ 2147483647 w 10"/>
                    <a:gd name="T1" fmla="*/ 2147483647 h 10"/>
                    <a:gd name="T2" fmla="*/ 2147483647 w 10"/>
                    <a:gd name="T3" fmla="*/ 2147483647 h 10"/>
                    <a:gd name="T4" fmla="*/ 2147483647 w 10"/>
                    <a:gd name="T5" fmla="*/ 2147483647 h 10"/>
                    <a:gd name="T6" fmla="*/ 2147483647 w 10"/>
                    <a:gd name="T7" fmla="*/ 0 h 10"/>
                    <a:gd name="T8" fmla="*/ 2147483647 w 10"/>
                    <a:gd name="T9" fmla="*/ 0 h 10"/>
                    <a:gd name="T10" fmla="*/ 0 w 10"/>
                    <a:gd name="T11" fmla="*/ 2147483647 h 10"/>
                    <a:gd name="T12" fmla="*/ 0 w 10"/>
                    <a:gd name="T13" fmla="*/ 2147483647 h 10"/>
                    <a:gd name="T14" fmla="*/ 2147483647 w 10"/>
                    <a:gd name="T15" fmla="*/ 2147483647 h 10"/>
                    <a:gd name="T16" fmla="*/ 2147483647 w 10"/>
                    <a:gd name="T17" fmla="*/ 2147483647 h 10"/>
                    <a:gd name="T18" fmla="*/ 2147483647 w 10"/>
                    <a:gd name="T19" fmla="*/ 2147483647 h 10"/>
                    <a:gd name="T20" fmla="*/ 2147483647 w 10"/>
                    <a:gd name="T21" fmla="*/ 2147483647 h 10"/>
                    <a:gd name="T22" fmla="*/ 2147483647 w 10"/>
                    <a:gd name="T23" fmla="*/ 2147483647 h 10"/>
                    <a:gd name="T24" fmla="*/ 2147483647 w 10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10"/>
                    <a:gd name="T41" fmla="*/ 10 w 10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10">
                      <a:moveTo>
                        <a:pt x="10" y="5"/>
                      </a:move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8"/>
                      </a:lnTo>
                      <a:lnTo>
                        <a:pt x="8" y="10"/>
                      </a:lnTo>
                      <a:lnTo>
                        <a:pt x="9" y="10"/>
                      </a:lnTo>
                      <a:lnTo>
                        <a:pt x="10" y="9"/>
                      </a:lnTo>
                      <a:lnTo>
                        <a:pt x="10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8" name="Freeform 373">
                  <a:extLst>
                    <a:ext uri="{FF2B5EF4-FFF2-40B4-BE49-F238E27FC236}">
                      <a16:creationId xmlns:a16="http://schemas.microsoft.com/office/drawing/2014/main" id="{19419E2C-383D-8148-94E0-C46F86751C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7488" y="1713373"/>
                  <a:ext cx="20718" cy="17758"/>
                </a:xfrm>
                <a:custGeom>
                  <a:avLst/>
                  <a:gdLst>
                    <a:gd name="T0" fmla="*/ 2147483647 w 15"/>
                    <a:gd name="T1" fmla="*/ 0 h 12"/>
                    <a:gd name="T2" fmla="*/ 2147483647 w 15"/>
                    <a:gd name="T3" fmla="*/ 0 h 12"/>
                    <a:gd name="T4" fmla="*/ 0 w 15"/>
                    <a:gd name="T5" fmla="*/ 0 h 12"/>
                    <a:gd name="T6" fmla="*/ 2147483647 w 15"/>
                    <a:gd name="T7" fmla="*/ 2147483647 h 12"/>
                    <a:gd name="T8" fmla="*/ 2147483647 w 15"/>
                    <a:gd name="T9" fmla="*/ 2147483647 h 12"/>
                    <a:gd name="T10" fmla="*/ 2147483647 w 15"/>
                    <a:gd name="T11" fmla="*/ 2147483647 h 12"/>
                    <a:gd name="T12" fmla="*/ 2147483647 w 15"/>
                    <a:gd name="T13" fmla="*/ 2147483647 h 12"/>
                    <a:gd name="T14" fmla="*/ 2147483647 w 15"/>
                    <a:gd name="T15" fmla="*/ 2147483647 h 12"/>
                    <a:gd name="T16" fmla="*/ 2147483647 w 15"/>
                    <a:gd name="T17" fmla="*/ 2147483647 h 12"/>
                    <a:gd name="T18" fmla="*/ 2147483647 w 15"/>
                    <a:gd name="T19" fmla="*/ 2147483647 h 12"/>
                    <a:gd name="T20" fmla="*/ 2147483647 w 15"/>
                    <a:gd name="T21" fmla="*/ 0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5"/>
                    <a:gd name="T34" fmla="*/ 0 h 12"/>
                    <a:gd name="T35" fmla="*/ 15 w 15"/>
                    <a:gd name="T36" fmla="*/ 12 h 1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5" h="12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2"/>
                      </a:lnTo>
                      <a:lnTo>
                        <a:pt x="14" y="11"/>
                      </a:lnTo>
                      <a:lnTo>
                        <a:pt x="15" y="9"/>
                      </a:lnTo>
                      <a:lnTo>
                        <a:pt x="14" y="8"/>
                      </a:lnTo>
                      <a:lnTo>
                        <a:pt x="11" y="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9" name="Freeform 374">
                  <a:extLst>
                    <a:ext uri="{FF2B5EF4-FFF2-40B4-BE49-F238E27FC236}">
                      <a16:creationId xmlns:a16="http://schemas.microsoft.com/office/drawing/2014/main" id="{050D42C7-0BE0-1843-9D36-9587FD07F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5603" y="1703014"/>
                  <a:ext cx="13319" cy="16278"/>
                </a:xfrm>
                <a:custGeom>
                  <a:avLst/>
                  <a:gdLst>
                    <a:gd name="T0" fmla="*/ 2147483647 w 10"/>
                    <a:gd name="T1" fmla="*/ 2147483647 h 11"/>
                    <a:gd name="T2" fmla="*/ 2147483647 w 10"/>
                    <a:gd name="T3" fmla="*/ 2147483647 h 11"/>
                    <a:gd name="T4" fmla="*/ 2147483647 w 10"/>
                    <a:gd name="T5" fmla="*/ 2147483647 h 11"/>
                    <a:gd name="T6" fmla="*/ 2147483647 w 10"/>
                    <a:gd name="T7" fmla="*/ 2147483647 h 11"/>
                    <a:gd name="T8" fmla="*/ 2147483647 w 10"/>
                    <a:gd name="T9" fmla="*/ 0 h 11"/>
                    <a:gd name="T10" fmla="*/ 2147483647 w 10"/>
                    <a:gd name="T11" fmla="*/ 0 h 11"/>
                    <a:gd name="T12" fmla="*/ 2147483647 w 10"/>
                    <a:gd name="T13" fmla="*/ 0 h 11"/>
                    <a:gd name="T14" fmla="*/ 0 w 10"/>
                    <a:gd name="T15" fmla="*/ 2147483647 h 11"/>
                    <a:gd name="T16" fmla="*/ 0 w 10"/>
                    <a:gd name="T17" fmla="*/ 2147483647 h 11"/>
                    <a:gd name="T18" fmla="*/ 2147483647 w 10"/>
                    <a:gd name="T19" fmla="*/ 2147483647 h 11"/>
                    <a:gd name="T20" fmla="*/ 2147483647 w 10"/>
                    <a:gd name="T21" fmla="*/ 2147483647 h 11"/>
                    <a:gd name="T22" fmla="*/ 2147483647 w 10"/>
                    <a:gd name="T23" fmla="*/ 2147483647 h 11"/>
                    <a:gd name="T24" fmla="*/ 2147483647 w 10"/>
                    <a:gd name="T25" fmla="*/ 2147483647 h 11"/>
                    <a:gd name="T26" fmla="*/ 2147483647 w 10"/>
                    <a:gd name="T27" fmla="*/ 2147483647 h 11"/>
                    <a:gd name="T28" fmla="*/ 2147483647 w 10"/>
                    <a:gd name="T29" fmla="*/ 2147483647 h 11"/>
                    <a:gd name="T30" fmla="*/ 2147483647 w 10"/>
                    <a:gd name="T31" fmla="*/ 2147483647 h 11"/>
                    <a:gd name="T32" fmla="*/ 2147483647 w 10"/>
                    <a:gd name="T33" fmla="*/ 2147483647 h 1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"/>
                    <a:gd name="T52" fmla="*/ 0 h 11"/>
                    <a:gd name="T53" fmla="*/ 10 w 10"/>
                    <a:gd name="T54" fmla="*/ 11 h 1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" h="11">
                      <a:moveTo>
                        <a:pt x="10" y="6"/>
                      </a:moveTo>
                      <a:lnTo>
                        <a:pt x="10" y="6"/>
                      </a:lnTo>
                      <a:lnTo>
                        <a:pt x="9" y="4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5" y="9"/>
                      </a:lnTo>
                      <a:lnTo>
                        <a:pt x="8" y="11"/>
                      </a:lnTo>
                      <a:lnTo>
                        <a:pt x="9" y="11"/>
                      </a:lnTo>
                      <a:lnTo>
                        <a:pt x="10" y="10"/>
                      </a:ln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0" name="Freeform 375">
                  <a:extLst>
                    <a:ext uri="{FF2B5EF4-FFF2-40B4-BE49-F238E27FC236}">
                      <a16:creationId xmlns:a16="http://schemas.microsoft.com/office/drawing/2014/main" id="{5C6FD25C-B89F-1C41-89E3-29CC37418B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6008" y="1711897"/>
                  <a:ext cx="20718" cy="17758"/>
                </a:xfrm>
                <a:custGeom>
                  <a:avLst/>
                  <a:gdLst>
                    <a:gd name="T0" fmla="*/ 2147483647 w 16"/>
                    <a:gd name="T1" fmla="*/ 0 h 12"/>
                    <a:gd name="T2" fmla="*/ 2147483647 w 16"/>
                    <a:gd name="T3" fmla="*/ 0 h 12"/>
                    <a:gd name="T4" fmla="*/ 2147483647 w 16"/>
                    <a:gd name="T5" fmla="*/ 0 h 12"/>
                    <a:gd name="T6" fmla="*/ 0 w 16"/>
                    <a:gd name="T7" fmla="*/ 0 h 12"/>
                    <a:gd name="T8" fmla="*/ 0 w 16"/>
                    <a:gd name="T9" fmla="*/ 0 h 12"/>
                    <a:gd name="T10" fmla="*/ 2147483647 w 16"/>
                    <a:gd name="T11" fmla="*/ 2147483647 h 12"/>
                    <a:gd name="T12" fmla="*/ 2147483647 w 16"/>
                    <a:gd name="T13" fmla="*/ 2147483647 h 12"/>
                    <a:gd name="T14" fmla="*/ 2147483647 w 16"/>
                    <a:gd name="T15" fmla="*/ 2147483647 h 12"/>
                    <a:gd name="T16" fmla="*/ 2147483647 w 16"/>
                    <a:gd name="T17" fmla="*/ 2147483647 h 12"/>
                    <a:gd name="T18" fmla="*/ 2147483647 w 16"/>
                    <a:gd name="T19" fmla="*/ 2147483647 h 12"/>
                    <a:gd name="T20" fmla="*/ 2147483647 w 16"/>
                    <a:gd name="T21" fmla="*/ 2147483647 h 12"/>
                    <a:gd name="T22" fmla="*/ 2147483647 w 16"/>
                    <a:gd name="T23" fmla="*/ 2147483647 h 12"/>
                    <a:gd name="T24" fmla="*/ 2147483647 w 16"/>
                    <a:gd name="T25" fmla="*/ 2147483647 h 12"/>
                    <a:gd name="T26" fmla="*/ 2147483647 w 16"/>
                    <a:gd name="T27" fmla="*/ 2147483647 h 12"/>
                    <a:gd name="T28" fmla="*/ 2147483647 w 16"/>
                    <a:gd name="T29" fmla="*/ 2147483647 h 12"/>
                    <a:gd name="T30" fmla="*/ 2147483647 w 16"/>
                    <a:gd name="T31" fmla="*/ 0 h 12"/>
                    <a:gd name="T32" fmla="*/ 2147483647 w 16"/>
                    <a:gd name="T33" fmla="*/ 0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6"/>
                    <a:gd name="T52" fmla="*/ 0 h 12"/>
                    <a:gd name="T53" fmla="*/ 16 w 16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6" h="12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4"/>
                      </a:lnTo>
                      <a:lnTo>
                        <a:pt x="5" y="6"/>
                      </a:lnTo>
                      <a:lnTo>
                        <a:pt x="13" y="12"/>
                      </a:lnTo>
                      <a:lnTo>
                        <a:pt x="14" y="11"/>
                      </a:lnTo>
                      <a:lnTo>
                        <a:pt x="16" y="9"/>
                      </a:lnTo>
                      <a:lnTo>
                        <a:pt x="14" y="7"/>
                      </a:lnTo>
                      <a:lnTo>
                        <a:pt x="12" y="5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1" name="Freeform 376">
                  <a:extLst>
                    <a:ext uri="{FF2B5EF4-FFF2-40B4-BE49-F238E27FC236}">
                      <a16:creationId xmlns:a16="http://schemas.microsoft.com/office/drawing/2014/main" id="{6396CD86-00A2-174B-BF12-87566F2C71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1163" y="1731135"/>
                  <a:ext cx="16278" cy="14799"/>
                </a:xfrm>
                <a:custGeom>
                  <a:avLst/>
                  <a:gdLst>
                    <a:gd name="T0" fmla="*/ 2147483647 w 12"/>
                    <a:gd name="T1" fmla="*/ 2147483647 h 10"/>
                    <a:gd name="T2" fmla="*/ 2147483647 w 12"/>
                    <a:gd name="T3" fmla="*/ 2147483647 h 10"/>
                    <a:gd name="T4" fmla="*/ 2147483647 w 12"/>
                    <a:gd name="T5" fmla="*/ 2147483647 h 10"/>
                    <a:gd name="T6" fmla="*/ 2147483647 w 12"/>
                    <a:gd name="T7" fmla="*/ 2147483647 h 10"/>
                    <a:gd name="T8" fmla="*/ 0 w 12"/>
                    <a:gd name="T9" fmla="*/ 2147483647 h 10"/>
                    <a:gd name="T10" fmla="*/ 2147483647 w 12"/>
                    <a:gd name="T11" fmla="*/ 2147483647 h 10"/>
                    <a:gd name="T12" fmla="*/ 2147483647 w 12"/>
                    <a:gd name="T13" fmla="*/ 2147483647 h 10"/>
                    <a:gd name="T14" fmla="*/ 2147483647 w 12"/>
                    <a:gd name="T15" fmla="*/ 0 h 10"/>
                    <a:gd name="T16" fmla="*/ 2147483647 w 12"/>
                    <a:gd name="T17" fmla="*/ 0 h 10"/>
                    <a:gd name="T18" fmla="*/ 2147483647 w 12"/>
                    <a:gd name="T19" fmla="*/ 2147483647 h 10"/>
                    <a:gd name="T20" fmla="*/ 2147483647 w 12"/>
                    <a:gd name="T21" fmla="*/ 2147483647 h 10"/>
                    <a:gd name="T22" fmla="*/ 2147483647 w 12"/>
                    <a:gd name="T23" fmla="*/ 2147483647 h 10"/>
                    <a:gd name="T24" fmla="*/ 2147483647 w 12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"/>
                    <a:gd name="T40" fmla="*/ 0 h 10"/>
                    <a:gd name="T41" fmla="*/ 12 w 12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" h="10">
                      <a:moveTo>
                        <a:pt x="8" y="9"/>
                      </a:moveTo>
                      <a:lnTo>
                        <a:pt x="6" y="10"/>
                      </a:lnTo>
                      <a:lnTo>
                        <a:pt x="3" y="10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5"/>
                      </a:ln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8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2" name="Freeform 377">
                  <a:extLst>
                    <a:ext uri="{FF2B5EF4-FFF2-40B4-BE49-F238E27FC236}">
                      <a16:creationId xmlns:a16="http://schemas.microsoft.com/office/drawing/2014/main" id="{A2EBACEB-2001-074B-B17F-6BAC2C9DD8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17528" y="1744454"/>
                  <a:ext cx="31078" cy="20718"/>
                </a:xfrm>
                <a:custGeom>
                  <a:avLst/>
                  <a:gdLst>
                    <a:gd name="T0" fmla="*/ 2147483647 w 23"/>
                    <a:gd name="T1" fmla="*/ 2147483647 h 14"/>
                    <a:gd name="T2" fmla="*/ 2147483647 w 23"/>
                    <a:gd name="T3" fmla="*/ 2147483647 h 14"/>
                    <a:gd name="T4" fmla="*/ 2147483647 w 23"/>
                    <a:gd name="T5" fmla="*/ 2147483647 h 14"/>
                    <a:gd name="T6" fmla="*/ 2147483647 w 23"/>
                    <a:gd name="T7" fmla="*/ 2147483647 h 14"/>
                    <a:gd name="T8" fmla="*/ 2147483647 w 23"/>
                    <a:gd name="T9" fmla="*/ 2147483647 h 14"/>
                    <a:gd name="T10" fmla="*/ 2147483647 w 23"/>
                    <a:gd name="T11" fmla="*/ 2147483647 h 14"/>
                    <a:gd name="T12" fmla="*/ 2147483647 w 23"/>
                    <a:gd name="T13" fmla="*/ 2147483647 h 14"/>
                    <a:gd name="T14" fmla="*/ 2147483647 w 23"/>
                    <a:gd name="T15" fmla="*/ 2147483647 h 14"/>
                    <a:gd name="T16" fmla="*/ 2147483647 w 23"/>
                    <a:gd name="T17" fmla="*/ 2147483647 h 14"/>
                    <a:gd name="T18" fmla="*/ 2147483647 w 23"/>
                    <a:gd name="T19" fmla="*/ 2147483647 h 14"/>
                    <a:gd name="T20" fmla="*/ 0 w 23"/>
                    <a:gd name="T21" fmla="*/ 2147483647 h 14"/>
                    <a:gd name="T22" fmla="*/ 0 w 23"/>
                    <a:gd name="T23" fmla="*/ 2147483647 h 14"/>
                    <a:gd name="T24" fmla="*/ 0 w 23"/>
                    <a:gd name="T25" fmla="*/ 2147483647 h 14"/>
                    <a:gd name="T26" fmla="*/ 2147483647 w 23"/>
                    <a:gd name="T27" fmla="*/ 2147483647 h 14"/>
                    <a:gd name="T28" fmla="*/ 2147483647 w 23"/>
                    <a:gd name="T29" fmla="*/ 0 h 14"/>
                    <a:gd name="T30" fmla="*/ 2147483647 w 23"/>
                    <a:gd name="T31" fmla="*/ 0 h 14"/>
                    <a:gd name="T32" fmla="*/ 2147483647 w 23"/>
                    <a:gd name="T33" fmla="*/ 2147483647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3"/>
                    <a:gd name="T52" fmla="*/ 0 h 14"/>
                    <a:gd name="T53" fmla="*/ 23 w 23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3" h="14">
                      <a:moveTo>
                        <a:pt x="18" y="2"/>
                      </a:moveTo>
                      <a:lnTo>
                        <a:pt x="21" y="3"/>
                      </a:lnTo>
                      <a:lnTo>
                        <a:pt x="23" y="4"/>
                      </a:lnTo>
                      <a:lnTo>
                        <a:pt x="23" y="7"/>
                      </a:lnTo>
                      <a:lnTo>
                        <a:pt x="23" y="9"/>
                      </a:lnTo>
                      <a:lnTo>
                        <a:pt x="22" y="11"/>
                      </a:lnTo>
                      <a:lnTo>
                        <a:pt x="20" y="11"/>
                      </a:lnTo>
                      <a:lnTo>
                        <a:pt x="11" y="14"/>
                      </a:lnTo>
                      <a:lnTo>
                        <a:pt x="7" y="13"/>
                      </a:lnTo>
                      <a:lnTo>
                        <a:pt x="3" y="11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3" y="1"/>
                      </a:lnTo>
                      <a:lnTo>
                        <a:pt x="7" y="0"/>
                      </a:lnTo>
                      <a:lnTo>
                        <a:pt x="11" y="0"/>
                      </a:lnTo>
                      <a:lnTo>
                        <a:pt x="18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3" name="Freeform 378">
                  <a:extLst>
                    <a:ext uri="{FF2B5EF4-FFF2-40B4-BE49-F238E27FC236}">
                      <a16:creationId xmlns:a16="http://schemas.microsoft.com/office/drawing/2014/main" id="{21A8175F-6E21-204A-971B-90AD340F9E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9685" y="1729653"/>
                  <a:ext cx="16279" cy="14799"/>
                </a:xfrm>
                <a:custGeom>
                  <a:avLst/>
                  <a:gdLst>
                    <a:gd name="T0" fmla="*/ 2147483647 w 12"/>
                    <a:gd name="T1" fmla="*/ 2147483647 h 10"/>
                    <a:gd name="T2" fmla="*/ 2147483647 w 12"/>
                    <a:gd name="T3" fmla="*/ 2147483647 h 10"/>
                    <a:gd name="T4" fmla="*/ 2147483647 w 12"/>
                    <a:gd name="T5" fmla="*/ 2147483647 h 10"/>
                    <a:gd name="T6" fmla="*/ 2147483647 w 12"/>
                    <a:gd name="T7" fmla="*/ 2147483647 h 10"/>
                    <a:gd name="T8" fmla="*/ 2147483647 w 12"/>
                    <a:gd name="T9" fmla="*/ 2147483647 h 10"/>
                    <a:gd name="T10" fmla="*/ 0 w 12"/>
                    <a:gd name="T11" fmla="*/ 2147483647 h 10"/>
                    <a:gd name="T12" fmla="*/ 0 w 12"/>
                    <a:gd name="T13" fmla="*/ 2147483647 h 10"/>
                    <a:gd name="T14" fmla="*/ 2147483647 w 12"/>
                    <a:gd name="T15" fmla="*/ 2147483647 h 10"/>
                    <a:gd name="T16" fmla="*/ 2147483647 w 12"/>
                    <a:gd name="T17" fmla="*/ 2147483647 h 10"/>
                    <a:gd name="T18" fmla="*/ 2147483647 w 12"/>
                    <a:gd name="T19" fmla="*/ 0 h 10"/>
                    <a:gd name="T20" fmla="*/ 2147483647 w 12"/>
                    <a:gd name="T21" fmla="*/ 0 h 10"/>
                    <a:gd name="T22" fmla="*/ 2147483647 w 12"/>
                    <a:gd name="T23" fmla="*/ 2147483647 h 10"/>
                    <a:gd name="T24" fmla="*/ 2147483647 w 12"/>
                    <a:gd name="T25" fmla="*/ 2147483647 h 10"/>
                    <a:gd name="T26" fmla="*/ 2147483647 w 12"/>
                    <a:gd name="T27" fmla="*/ 2147483647 h 10"/>
                    <a:gd name="T28" fmla="*/ 2147483647 w 12"/>
                    <a:gd name="T29" fmla="*/ 2147483647 h 10"/>
                    <a:gd name="T30" fmla="*/ 2147483647 w 12"/>
                    <a:gd name="T31" fmla="*/ 2147483647 h 10"/>
                    <a:gd name="T32" fmla="*/ 2147483647 w 12"/>
                    <a:gd name="T33" fmla="*/ 2147483647 h 1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"/>
                    <a:gd name="T52" fmla="*/ 0 h 10"/>
                    <a:gd name="T53" fmla="*/ 12 w 12"/>
                    <a:gd name="T54" fmla="*/ 10 h 1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" h="10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5" y="10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0" y="1"/>
                      </a:lnTo>
                      <a:lnTo>
                        <a:pt x="12" y="5"/>
                      </a:lnTo>
                      <a:lnTo>
                        <a:pt x="10" y="7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4" name="Freeform 379">
                  <a:extLst>
                    <a:ext uri="{FF2B5EF4-FFF2-40B4-BE49-F238E27FC236}">
                      <a16:creationId xmlns:a16="http://schemas.microsoft.com/office/drawing/2014/main" id="{82E9D2D2-A3DC-F44A-A182-C53F03BEA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16052" y="1741491"/>
                  <a:ext cx="31077" cy="22198"/>
                </a:xfrm>
                <a:custGeom>
                  <a:avLst/>
                  <a:gdLst>
                    <a:gd name="T0" fmla="*/ 2147483647 w 23"/>
                    <a:gd name="T1" fmla="*/ 2147483647 h 15"/>
                    <a:gd name="T2" fmla="*/ 2147483647 w 23"/>
                    <a:gd name="T3" fmla="*/ 2147483647 h 15"/>
                    <a:gd name="T4" fmla="*/ 2147483647 w 23"/>
                    <a:gd name="T5" fmla="*/ 2147483647 h 15"/>
                    <a:gd name="T6" fmla="*/ 2147483647 w 23"/>
                    <a:gd name="T7" fmla="*/ 2147483647 h 15"/>
                    <a:gd name="T8" fmla="*/ 2147483647 w 23"/>
                    <a:gd name="T9" fmla="*/ 2147483647 h 15"/>
                    <a:gd name="T10" fmla="*/ 2147483647 w 23"/>
                    <a:gd name="T11" fmla="*/ 2147483647 h 15"/>
                    <a:gd name="T12" fmla="*/ 2147483647 w 23"/>
                    <a:gd name="T13" fmla="*/ 2147483647 h 15"/>
                    <a:gd name="T14" fmla="*/ 2147483647 w 23"/>
                    <a:gd name="T15" fmla="*/ 2147483647 h 15"/>
                    <a:gd name="T16" fmla="*/ 2147483647 w 23"/>
                    <a:gd name="T17" fmla="*/ 2147483647 h 15"/>
                    <a:gd name="T18" fmla="*/ 2147483647 w 23"/>
                    <a:gd name="T19" fmla="*/ 2147483647 h 15"/>
                    <a:gd name="T20" fmla="*/ 2147483647 w 23"/>
                    <a:gd name="T21" fmla="*/ 2147483647 h 15"/>
                    <a:gd name="T22" fmla="*/ 2147483647 w 23"/>
                    <a:gd name="T23" fmla="*/ 2147483647 h 15"/>
                    <a:gd name="T24" fmla="*/ 2147483647 w 23"/>
                    <a:gd name="T25" fmla="*/ 2147483647 h 15"/>
                    <a:gd name="T26" fmla="*/ 2147483647 w 23"/>
                    <a:gd name="T27" fmla="*/ 2147483647 h 15"/>
                    <a:gd name="T28" fmla="*/ 0 w 23"/>
                    <a:gd name="T29" fmla="*/ 2147483647 h 15"/>
                    <a:gd name="T30" fmla="*/ 0 w 23"/>
                    <a:gd name="T31" fmla="*/ 2147483647 h 15"/>
                    <a:gd name="T32" fmla="*/ 0 w 23"/>
                    <a:gd name="T33" fmla="*/ 2147483647 h 15"/>
                    <a:gd name="T34" fmla="*/ 2147483647 w 23"/>
                    <a:gd name="T35" fmla="*/ 2147483647 h 15"/>
                    <a:gd name="T36" fmla="*/ 2147483647 w 23"/>
                    <a:gd name="T37" fmla="*/ 2147483647 h 15"/>
                    <a:gd name="T38" fmla="*/ 2147483647 w 23"/>
                    <a:gd name="T39" fmla="*/ 0 h 15"/>
                    <a:gd name="T40" fmla="*/ 2147483647 w 23"/>
                    <a:gd name="T41" fmla="*/ 0 h 15"/>
                    <a:gd name="T42" fmla="*/ 2147483647 w 23"/>
                    <a:gd name="T43" fmla="*/ 2147483647 h 15"/>
                    <a:gd name="T44" fmla="*/ 2147483647 w 23"/>
                    <a:gd name="T45" fmla="*/ 2147483647 h 15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3"/>
                    <a:gd name="T70" fmla="*/ 0 h 15"/>
                    <a:gd name="T71" fmla="*/ 23 w 23"/>
                    <a:gd name="T72" fmla="*/ 15 h 15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3" h="15">
                      <a:moveTo>
                        <a:pt x="18" y="3"/>
                      </a:moveTo>
                      <a:lnTo>
                        <a:pt x="18" y="3"/>
                      </a:lnTo>
                      <a:lnTo>
                        <a:pt x="21" y="4"/>
                      </a:lnTo>
                      <a:lnTo>
                        <a:pt x="23" y="5"/>
                      </a:lnTo>
                      <a:lnTo>
                        <a:pt x="23" y="8"/>
                      </a:lnTo>
                      <a:lnTo>
                        <a:pt x="23" y="10"/>
                      </a:lnTo>
                      <a:lnTo>
                        <a:pt x="22" y="12"/>
                      </a:lnTo>
                      <a:lnTo>
                        <a:pt x="19" y="12"/>
                      </a:lnTo>
                      <a:lnTo>
                        <a:pt x="10" y="15"/>
                      </a:lnTo>
                      <a:lnTo>
                        <a:pt x="7" y="13"/>
                      </a:lnTo>
                      <a:lnTo>
                        <a:pt x="3" y="12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18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5" name="Freeform 380">
                  <a:extLst>
                    <a:ext uri="{FF2B5EF4-FFF2-40B4-BE49-F238E27FC236}">
                      <a16:creationId xmlns:a16="http://schemas.microsoft.com/office/drawing/2014/main" id="{2AE2830C-450A-CF41-A362-4BF71229F4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7303" y="1793286"/>
                  <a:ext cx="10360" cy="17758"/>
                </a:xfrm>
                <a:custGeom>
                  <a:avLst/>
                  <a:gdLst>
                    <a:gd name="T0" fmla="*/ 2147483647 w 8"/>
                    <a:gd name="T1" fmla="*/ 2147483647 h 12"/>
                    <a:gd name="T2" fmla="*/ 2147483647 w 8"/>
                    <a:gd name="T3" fmla="*/ 2147483647 h 12"/>
                    <a:gd name="T4" fmla="*/ 2147483647 w 8"/>
                    <a:gd name="T5" fmla="*/ 2147483647 h 12"/>
                    <a:gd name="T6" fmla="*/ 2147483647 w 8"/>
                    <a:gd name="T7" fmla="*/ 2147483647 h 12"/>
                    <a:gd name="T8" fmla="*/ 2147483647 w 8"/>
                    <a:gd name="T9" fmla="*/ 2147483647 h 12"/>
                    <a:gd name="T10" fmla="*/ 2147483647 w 8"/>
                    <a:gd name="T11" fmla="*/ 2147483647 h 12"/>
                    <a:gd name="T12" fmla="*/ 0 w 8"/>
                    <a:gd name="T13" fmla="*/ 2147483647 h 12"/>
                    <a:gd name="T14" fmla="*/ 2147483647 w 8"/>
                    <a:gd name="T15" fmla="*/ 2147483647 h 12"/>
                    <a:gd name="T16" fmla="*/ 2147483647 w 8"/>
                    <a:gd name="T17" fmla="*/ 0 h 12"/>
                    <a:gd name="T18" fmla="*/ 2147483647 w 8"/>
                    <a:gd name="T19" fmla="*/ 0 h 12"/>
                    <a:gd name="T20" fmla="*/ 2147483647 w 8"/>
                    <a:gd name="T21" fmla="*/ 2147483647 h 12"/>
                    <a:gd name="T22" fmla="*/ 2147483647 w 8"/>
                    <a:gd name="T23" fmla="*/ 2147483647 h 12"/>
                    <a:gd name="T24" fmla="*/ 2147483647 w 8"/>
                    <a:gd name="T25" fmla="*/ 2147483647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12"/>
                    <a:gd name="T41" fmla="*/ 8 w 8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12">
                      <a:moveTo>
                        <a:pt x="8" y="7"/>
                      </a:moveTo>
                      <a:lnTo>
                        <a:pt x="7" y="10"/>
                      </a:lnTo>
                      <a:lnTo>
                        <a:pt x="5" y="12"/>
                      </a:lnTo>
                      <a:lnTo>
                        <a:pt x="4" y="12"/>
                      </a:lnTo>
                      <a:lnTo>
                        <a:pt x="3" y="10"/>
                      </a:lnTo>
                      <a:lnTo>
                        <a:pt x="1" y="9"/>
                      </a:lnTo>
                      <a:lnTo>
                        <a:pt x="0" y="6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8" y="5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6" name="Freeform 381">
                  <a:extLst>
                    <a:ext uri="{FF2B5EF4-FFF2-40B4-BE49-F238E27FC236}">
                      <a16:creationId xmlns:a16="http://schemas.microsoft.com/office/drawing/2014/main" id="{4543C3B1-362A-6440-911D-8E1EA85D90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3851" y="1701534"/>
                  <a:ext cx="65114" cy="42918"/>
                </a:xfrm>
                <a:custGeom>
                  <a:avLst/>
                  <a:gdLst>
                    <a:gd name="T0" fmla="*/ 2147483647 w 48"/>
                    <a:gd name="T1" fmla="*/ 2147483647 h 29"/>
                    <a:gd name="T2" fmla="*/ 2147483647 w 48"/>
                    <a:gd name="T3" fmla="*/ 2147483647 h 29"/>
                    <a:gd name="T4" fmla="*/ 2147483647 w 48"/>
                    <a:gd name="T5" fmla="*/ 2147483647 h 29"/>
                    <a:gd name="T6" fmla="*/ 2147483647 w 48"/>
                    <a:gd name="T7" fmla="*/ 2147483647 h 29"/>
                    <a:gd name="T8" fmla="*/ 2147483647 w 48"/>
                    <a:gd name="T9" fmla="*/ 2147483647 h 29"/>
                    <a:gd name="T10" fmla="*/ 2147483647 w 48"/>
                    <a:gd name="T11" fmla="*/ 2147483647 h 29"/>
                    <a:gd name="T12" fmla="*/ 2147483647 w 48"/>
                    <a:gd name="T13" fmla="*/ 2147483647 h 29"/>
                    <a:gd name="T14" fmla="*/ 2147483647 w 48"/>
                    <a:gd name="T15" fmla="*/ 0 h 29"/>
                    <a:gd name="T16" fmla="*/ 2147483647 w 48"/>
                    <a:gd name="T17" fmla="*/ 2147483647 h 29"/>
                    <a:gd name="T18" fmla="*/ 2147483647 w 48"/>
                    <a:gd name="T19" fmla="*/ 2147483647 h 29"/>
                    <a:gd name="T20" fmla="*/ 0 w 48"/>
                    <a:gd name="T21" fmla="*/ 2147483647 h 29"/>
                    <a:gd name="T22" fmla="*/ 0 w 48"/>
                    <a:gd name="T23" fmla="*/ 2147483647 h 29"/>
                    <a:gd name="T24" fmla="*/ 2147483647 w 48"/>
                    <a:gd name="T25" fmla="*/ 2147483647 h 29"/>
                    <a:gd name="T26" fmla="*/ 2147483647 w 48"/>
                    <a:gd name="T27" fmla="*/ 2147483647 h 29"/>
                    <a:gd name="T28" fmla="*/ 2147483647 w 48"/>
                    <a:gd name="T29" fmla="*/ 2147483647 h 29"/>
                    <a:gd name="T30" fmla="*/ 2147483647 w 48"/>
                    <a:gd name="T31" fmla="*/ 2147483647 h 29"/>
                    <a:gd name="T32" fmla="*/ 2147483647 w 48"/>
                    <a:gd name="T33" fmla="*/ 2147483647 h 29"/>
                    <a:gd name="T34" fmla="*/ 2147483647 w 48"/>
                    <a:gd name="T35" fmla="*/ 2147483647 h 29"/>
                    <a:gd name="T36" fmla="*/ 2147483647 w 48"/>
                    <a:gd name="T37" fmla="*/ 2147483647 h 29"/>
                    <a:gd name="T38" fmla="*/ 2147483647 w 48"/>
                    <a:gd name="T39" fmla="*/ 2147483647 h 29"/>
                    <a:gd name="T40" fmla="*/ 2147483647 w 48"/>
                    <a:gd name="T41" fmla="*/ 2147483647 h 29"/>
                    <a:gd name="T42" fmla="*/ 2147483647 w 48"/>
                    <a:gd name="T43" fmla="*/ 2147483647 h 2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8"/>
                    <a:gd name="T67" fmla="*/ 0 h 29"/>
                    <a:gd name="T68" fmla="*/ 48 w 48"/>
                    <a:gd name="T69" fmla="*/ 29 h 2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8" h="29">
                      <a:moveTo>
                        <a:pt x="48" y="23"/>
                      </a:moveTo>
                      <a:lnTo>
                        <a:pt x="47" y="22"/>
                      </a:lnTo>
                      <a:lnTo>
                        <a:pt x="43" y="19"/>
                      </a:lnTo>
                      <a:lnTo>
                        <a:pt x="38" y="14"/>
                      </a:lnTo>
                      <a:lnTo>
                        <a:pt x="34" y="11"/>
                      </a:lnTo>
                      <a:lnTo>
                        <a:pt x="23" y="5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3" y="12"/>
                      </a:lnTo>
                      <a:lnTo>
                        <a:pt x="14" y="13"/>
                      </a:lnTo>
                      <a:lnTo>
                        <a:pt x="24" y="16"/>
                      </a:lnTo>
                      <a:lnTo>
                        <a:pt x="33" y="20"/>
                      </a:lnTo>
                      <a:lnTo>
                        <a:pt x="40" y="27"/>
                      </a:lnTo>
                      <a:lnTo>
                        <a:pt x="43" y="29"/>
                      </a:lnTo>
                      <a:lnTo>
                        <a:pt x="45" y="27"/>
                      </a:lnTo>
                      <a:lnTo>
                        <a:pt x="48" y="26"/>
                      </a:lnTo>
                      <a:lnTo>
                        <a:pt x="48" y="2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7" name="Freeform 382">
                  <a:extLst>
                    <a:ext uri="{FF2B5EF4-FFF2-40B4-BE49-F238E27FC236}">
                      <a16:creationId xmlns:a16="http://schemas.microsoft.com/office/drawing/2014/main" id="{46CD4466-89D5-9441-BF28-2E9292575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5819" y="1791806"/>
                  <a:ext cx="10359" cy="16278"/>
                </a:xfrm>
                <a:custGeom>
                  <a:avLst/>
                  <a:gdLst>
                    <a:gd name="T0" fmla="*/ 2147483647 w 8"/>
                    <a:gd name="T1" fmla="*/ 2147483647 h 11"/>
                    <a:gd name="T2" fmla="*/ 2147483647 w 8"/>
                    <a:gd name="T3" fmla="*/ 2147483647 h 11"/>
                    <a:gd name="T4" fmla="*/ 2147483647 w 8"/>
                    <a:gd name="T5" fmla="*/ 2147483647 h 11"/>
                    <a:gd name="T6" fmla="*/ 2147483647 w 8"/>
                    <a:gd name="T7" fmla="*/ 2147483647 h 11"/>
                    <a:gd name="T8" fmla="*/ 2147483647 w 8"/>
                    <a:gd name="T9" fmla="*/ 2147483647 h 11"/>
                    <a:gd name="T10" fmla="*/ 2147483647 w 8"/>
                    <a:gd name="T11" fmla="*/ 2147483647 h 11"/>
                    <a:gd name="T12" fmla="*/ 2147483647 w 8"/>
                    <a:gd name="T13" fmla="*/ 2147483647 h 11"/>
                    <a:gd name="T14" fmla="*/ 2147483647 w 8"/>
                    <a:gd name="T15" fmla="*/ 2147483647 h 11"/>
                    <a:gd name="T16" fmla="*/ 0 w 8"/>
                    <a:gd name="T17" fmla="*/ 2147483647 h 11"/>
                    <a:gd name="T18" fmla="*/ 2147483647 w 8"/>
                    <a:gd name="T19" fmla="*/ 2147483647 h 11"/>
                    <a:gd name="T20" fmla="*/ 2147483647 w 8"/>
                    <a:gd name="T21" fmla="*/ 0 h 11"/>
                    <a:gd name="T22" fmla="*/ 2147483647 w 8"/>
                    <a:gd name="T23" fmla="*/ 0 h 11"/>
                    <a:gd name="T24" fmla="*/ 2147483647 w 8"/>
                    <a:gd name="T25" fmla="*/ 0 h 11"/>
                    <a:gd name="T26" fmla="*/ 2147483647 w 8"/>
                    <a:gd name="T27" fmla="*/ 2147483647 h 11"/>
                    <a:gd name="T28" fmla="*/ 2147483647 w 8"/>
                    <a:gd name="T29" fmla="*/ 2147483647 h 11"/>
                    <a:gd name="T30" fmla="*/ 2147483647 w 8"/>
                    <a:gd name="T31" fmla="*/ 2147483647 h 11"/>
                    <a:gd name="T32" fmla="*/ 2147483647 w 8"/>
                    <a:gd name="T33" fmla="*/ 2147483647 h 1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11"/>
                    <a:gd name="T53" fmla="*/ 8 w 8"/>
                    <a:gd name="T54" fmla="*/ 11 h 1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11">
                      <a:moveTo>
                        <a:pt x="8" y="7"/>
                      </a:moveTo>
                      <a:lnTo>
                        <a:pt x="8" y="7"/>
                      </a:lnTo>
                      <a:lnTo>
                        <a:pt x="6" y="10"/>
                      </a:lnTo>
                      <a:lnTo>
                        <a:pt x="5" y="11"/>
                      </a:lnTo>
                      <a:lnTo>
                        <a:pt x="4" y="11"/>
                      </a:lnTo>
                      <a:lnTo>
                        <a:pt x="2" y="10"/>
                      </a:lnTo>
                      <a:lnTo>
                        <a:pt x="1" y="9"/>
                      </a:lnTo>
                      <a:lnTo>
                        <a:pt x="0" y="6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8" y="4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8" name="Freeform 383">
                  <a:extLst>
                    <a:ext uri="{FF2B5EF4-FFF2-40B4-BE49-F238E27FC236}">
                      <a16:creationId xmlns:a16="http://schemas.microsoft.com/office/drawing/2014/main" id="{D3E77349-B7C2-8B49-8C03-9599394064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0890" y="1700056"/>
                  <a:ext cx="66595" cy="41436"/>
                </a:xfrm>
                <a:custGeom>
                  <a:avLst/>
                  <a:gdLst>
                    <a:gd name="T0" fmla="*/ 2147483647 w 49"/>
                    <a:gd name="T1" fmla="*/ 2147483647 h 28"/>
                    <a:gd name="T2" fmla="*/ 2147483647 w 49"/>
                    <a:gd name="T3" fmla="*/ 2147483647 h 28"/>
                    <a:gd name="T4" fmla="*/ 2147483647 w 49"/>
                    <a:gd name="T5" fmla="*/ 2147483647 h 28"/>
                    <a:gd name="T6" fmla="*/ 2147483647 w 49"/>
                    <a:gd name="T7" fmla="*/ 2147483647 h 28"/>
                    <a:gd name="T8" fmla="*/ 2147483647 w 49"/>
                    <a:gd name="T9" fmla="*/ 2147483647 h 28"/>
                    <a:gd name="T10" fmla="*/ 2147483647 w 49"/>
                    <a:gd name="T11" fmla="*/ 2147483647 h 28"/>
                    <a:gd name="T12" fmla="*/ 2147483647 w 49"/>
                    <a:gd name="T13" fmla="*/ 2147483647 h 28"/>
                    <a:gd name="T14" fmla="*/ 2147483647 w 49"/>
                    <a:gd name="T15" fmla="*/ 2147483647 h 28"/>
                    <a:gd name="T16" fmla="*/ 2147483647 w 49"/>
                    <a:gd name="T17" fmla="*/ 2147483647 h 28"/>
                    <a:gd name="T18" fmla="*/ 2147483647 w 49"/>
                    <a:gd name="T19" fmla="*/ 2147483647 h 28"/>
                    <a:gd name="T20" fmla="*/ 2147483647 w 49"/>
                    <a:gd name="T21" fmla="*/ 2147483647 h 28"/>
                    <a:gd name="T22" fmla="*/ 2147483647 w 49"/>
                    <a:gd name="T23" fmla="*/ 0 h 28"/>
                    <a:gd name="T24" fmla="*/ 2147483647 w 49"/>
                    <a:gd name="T25" fmla="*/ 2147483647 h 28"/>
                    <a:gd name="T26" fmla="*/ 2147483647 w 49"/>
                    <a:gd name="T27" fmla="*/ 2147483647 h 28"/>
                    <a:gd name="T28" fmla="*/ 2147483647 w 49"/>
                    <a:gd name="T29" fmla="*/ 2147483647 h 28"/>
                    <a:gd name="T30" fmla="*/ 0 w 49"/>
                    <a:gd name="T31" fmla="*/ 2147483647 h 28"/>
                    <a:gd name="T32" fmla="*/ 0 w 49"/>
                    <a:gd name="T33" fmla="*/ 2147483647 h 28"/>
                    <a:gd name="T34" fmla="*/ 2147483647 w 49"/>
                    <a:gd name="T35" fmla="*/ 2147483647 h 28"/>
                    <a:gd name="T36" fmla="*/ 2147483647 w 49"/>
                    <a:gd name="T37" fmla="*/ 2147483647 h 28"/>
                    <a:gd name="T38" fmla="*/ 2147483647 w 49"/>
                    <a:gd name="T39" fmla="*/ 2147483647 h 28"/>
                    <a:gd name="T40" fmla="*/ 2147483647 w 49"/>
                    <a:gd name="T41" fmla="*/ 2147483647 h 28"/>
                    <a:gd name="T42" fmla="*/ 2147483647 w 49"/>
                    <a:gd name="T43" fmla="*/ 2147483647 h 28"/>
                    <a:gd name="T44" fmla="*/ 2147483647 w 49"/>
                    <a:gd name="T45" fmla="*/ 2147483647 h 28"/>
                    <a:gd name="T46" fmla="*/ 2147483647 w 49"/>
                    <a:gd name="T47" fmla="*/ 2147483647 h 28"/>
                    <a:gd name="T48" fmla="*/ 2147483647 w 49"/>
                    <a:gd name="T49" fmla="*/ 2147483647 h 28"/>
                    <a:gd name="T50" fmla="*/ 2147483647 w 49"/>
                    <a:gd name="T51" fmla="*/ 2147483647 h 28"/>
                    <a:gd name="T52" fmla="*/ 2147483647 w 49"/>
                    <a:gd name="T53" fmla="*/ 2147483647 h 28"/>
                    <a:gd name="T54" fmla="*/ 2147483647 w 49"/>
                    <a:gd name="T55" fmla="*/ 2147483647 h 28"/>
                    <a:gd name="T56" fmla="*/ 2147483647 w 49"/>
                    <a:gd name="T57" fmla="*/ 2147483647 h 28"/>
                    <a:gd name="T58" fmla="*/ 2147483647 w 49"/>
                    <a:gd name="T59" fmla="*/ 2147483647 h 2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49"/>
                    <a:gd name="T91" fmla="*/ 0 h 28"/>
                    <a:gd name="T92" fmla="*/ 49 w 49"/>
                    <a:gd name="T93" fmla="*/ 28 h 2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49" h="28">
                      <a:moveTo>
                        <a:pt x="49" y="23"/>
                      </a:moveTo>
                      <a:lnTo>
                        <a:pt x="49" y="23"/>
                      </a:lnTo>
                      <a:lnTo>
                        <a:pt x="47" y="21"/>
                      </a:lnTo>
                      <a:lnTo>
                        <a:pt x="44" y="19"/>
                      </a:lnTo>
                      <a:lnTo>
                        <a:pt x="39" y="14"/>
                      </a:lnTo>
                      <a:lnTo>
                        <a:pt x="35" y="11"/>
                      </a:lnTo>
                      <a:lnTo>
                        <a:pt x="23" y="5"/>
                      </a:lnTo>
                      <a:lnTo>
                        <a:pt x="11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2" y="12"/>
                      </a:lnTo>
                      <a:lnTo>
                        <a:pt x="4" y="12"/>
                      </a:lnTo>
                      <a:lnTo>
                        <a:pt x="14" y="13"/>
                      </a:lnTo>
                      <a:lnTo>
                        <a:pt x="25" y="15"/>
                      </a:lnTo>
                      <a:lnTo>
                        <a:pt x="33" y="20"/>
                      </a:lnTo>
                      <a:lnTo>
                        <a:pt x="41" y="27"/>
                      </a:lnTo>
                      <a:lnTo>
                        <a:pt x="44" y="28"/>
                      </a:lnTo>
                      <a:lnTo>
                        <a:pt x="46" y="27"/>
                      </a:lnTo>
                      <a:lnTo>
                        <a:pt x="49" y="26"/>
                      </a:lnTo>
                      <a:lnTo>
                        <a:pt x="49" y="2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9" name="Freeform 384">
                  <a:extLst>
                    <a:ext uri="{FF2B5EF4-FFF2-40B4-BE49-F238E27FC236}">
                      <a16:creationId xmlns:a16="http://schemas.microsoft.com/office/drawing/2014/main" id="{D17BBF0B-768A-4547-AABF-02785FCF3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7934" y="1728172"/>
                  <a:ext cx="28118" cy="17758"/>
                </a:xfrm>
                <a:custGeom>
                  <a:avLst/>
                  <a:gdLst>
                    <a:gd name="T0" fmla="*/ 2147483647 w 20"/>
                    <a:gd name="T1" fmla="*/ 2147483647 h 12"/>
                    <a:gd name="T2" fmla="*/ 2147483647 w 20"/>
                    <a:gd name="T3" fmla="*/ 2147483647 h 12"/>
                    <a:gd name="T4" fmla="*/ 2147483647 w 20"/>
                    <a:gd name="T5" fmla="*/ 2147483647 h 12"/>
                    <a:gd name="T6" fmla="*/ 2147483647 w 20"/>
                    <a:gd name="T7" fmla="*/ 2147483647 h 12"/>
                    <a:gd name="T8" fmla="*/ 2147483647 w 20"/>
                    <a:gd name="T9" fmla="*/ 0 h 12"/>
                    <a:gd name="T10" fmla="*/ 2147483647 w 20"/>
                    <a:gd name="T11" fmla="*/ 0 h 12"/>
                    <a:gd name="T12" fmla="*/ 2147483647 w 20"/>
                    <a:gd name="T13" fmla="*/ 2147483647 h 12"/>
                    <a:gd name="T14" fmla="*/ 2147483647 w 20"/>
                    <a:gd name="T15" fmla="*/ 2147483647 h 12"/>
                    <a:gd name="T16" fmla="*/ 0 w 20"/>
                    <a:gd name="T17" fmla="*/ 2147483647 h 12"/>
                    <a:gd name="T18" fmla="*/ 0 w 20"/>
                    <a:gd name="T19" fmla="*/ 2147483647 h 12"/>
                    <a:gd name="T20" fmla="*/ 2147483647 w 20"/>
                    <a:gd name="T21" fmla="*/ 2147483647 h 12"/>
                    <a:gd name="T22" fmla="*/ 2147483647 w 20"/>
                    <a:gd name="T23" fmla="*/ 2147483647 h 12"/>
                    <a:gd name="T24" fmla="*/ 2147483647 w 20"/>
                    <a:gd name="T25" fmla="*/ 2147483647 h 12"/>
                    <a:gd name="T26" fmla="*/ 2147483647 w 20"/>
                    <a:gd name="T27" fmla="*/ 2147483647 h 12"/>
                    <a:gd name="T28" fmla="*/ 2147483647 w 20"/>
                    <a:gd name="T29" fmla="*/ 2147483647 h 12"/>
                    <a:gd name="T30" fmla="*/ 2147483647 w 20"/>
                    <a:gd name="T31" fmla="*/ 2147483647 h 12"/>
                    <a:gd name="T32" fmla="*/ 2147483647 w 20"/>
                    <a:gd name="T33" fmla="*/ 2147483647 h 12"/>
                    <a:gd name="T34" fmla="*/ 2147483647 w 20"/>
                    <a:gd name="T35" fmla="*/ 2147483647 h 1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0"/>
                    <a:gd name="T55" fmla="*/ 0 h 12"/>
                    <a:gd name="T56" fmla="*/ 20 w 20"/>
                    <a:gd name="T57" fmla="*/ 12 h 12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0" h="12">
                      <a:moveTo>
                        <a:pt x="20" y="7"/>
                      </a:moveTo>
                      <a:lnTo>
                        <a:pt x="20" y="4"/>
                      </a:lnTo>
                      <a:lnTo>
                        <a:pt x="19" y="2"/>
                      </a:lnTo>
                      <a:lnTo>
                        <a:pt x="18" y="1"/>
                      </a:lnTo>
                      <a:lnTo>
                        <a:pt x="13" y="0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7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13" y="12"/>
                      </a:lnTo>
                      <a:lnTo>
                        <a:pt x="15" y="12"/>
                      </a:lnTo>
                      <a:lnTo>
                        <a:pt x="18" y="12"/>
                      </a:lnTo>
                      <a:lnTo>
                        <a:pt x="19" y="9"/>
                      </a:lnTo>
                      <a:lnTo>
                        <a:pt x="20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0" name="Freeform 385">
                  <a:extLst>
                    <a:ext uri="{FF2B5EF4-FFF2-40B4-BE49-F238E27FC236}">
                      <a16:creationId xmlns:a16="http://schemas.microsoft.com/office/drawing/2014/main" id="{AAE8A3DA-3E9C-2B4D-A5D6-637602BA7B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9454" y="1775527"/>
                  <a:ext cx="26637" cy="29598"/>
                </a:xfrm>
                <a:custGeom>
                  <a:avLst/>
                  <a:gdLst>
                    <a:gd name="T0" fmla="*/ 2147483647 w 19"/>
                    <a:gd name="T1" fmla="*/ 2147483647 h 20"/>
                    <a:gd name="T2" fmla="*/ 2147483647 w 19"/>
                    <a:gd name="T3" fmla="*/ 2147483647 h 20"/>
                    <a:gd name="T4" fmla="*/ 2147483647 w 19"/>
                    <a:gd name="T5" fmla="*/ 0 h 20"/>
                    <a:gd name="T6" fmla="*/ 2147483647 w 19"/>
                    <a:gd name="T7" fmla="*/ 0 h 20"/>
                    <a:gd name="T8" fmla="*/ 2147483647 w 19"/>
                    <a:gd name="T9" fmla="*/ 2147483647 h 20"/>
                    <a:gd name="T10" fmla="*/ 2147483647 w 19"/>
                    <a:gd name="T11" fmla="*/ 2147483647 h 20"/>
                    <a:gd name="T12" fmla="*/ 2147483647 w 19"/>
                    <a:gd name="T13" fmla="*/ 2147483647 h 20"/>
                    <a:gd name="T14" fmla="*/ 2147483647 w 19"/>
                    <a:gd name="T15" fmla="*/ 2147483647 h 20"/>
                    <a:gd name="T16" fmla="*/ 0 w 19"/>
                    <a:gd name="T17" fmla="*/ 2147483647 h 20"/>
                    <a:gd name="T18" fmla="*/ 2147483647 w 19"/>
                    <a:gd name="T19" fmla="*/ 2147483647 h 20"/>
                    <a:gd name="T20" fmla="*/ 2147483647 w 19"/>
                    <a:gd name="T21" fmla="*/ 2147483647 h 20"/>
                    <a:gd name="T22" fmla="*/ 2147483647 w 19"/>
                    <a:gd name="T23" fmla="*/ 2147483647 h 20"/>
                    <a:gd name="T24" fmla="*/ 2147483647 w 19"/>
                    <a:gd name="T25" fmla="*/ 2147483647 h 20"/>
                    <a:gd name="T26" fmla="*/ 2147483647 w 19"/>
                    <a:gd name="T27" fmla="*/ 2147483647 h 20"/>
                    <a:gd name="T28" fmla="*/ 2147483647 w 19"/>
                    <a:gd name="T29" fmla="*/ 2147483647 h 20"/>
                    <a:gd name="T30" fmla="*/ 2147483647 w 19"/>
                    <a:gd name="T31" fmla="*/ 2147483647 h 20"/>
                    <a:gd name="T32" fmla="*/ 2147483647 w 19"/>
                    <a:gd name="T33" fmla="*/ 2147483647 h 20"/>
                    <a:gd name="T34" fmla="*/ 2147483647 w 19"/>
                    <a:gd name="T35" fmla="*/ 2147483647 h 2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9"/>
                    <a:gd name="T55" fmla="*/ 0 h 20"/>
                    <a:gd name="T56" fmla="*/ 19 w 19"/>
                    <a:gd name="T57" fmla="*/ 20 h 2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9" h="20">
                      <a:moveTo>
                        <a:pt x="16" y="5"/>
                      </a:moveTo>
                      <a:lnTo>
                        <a:pt x="14" y="1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6" y="5"/>
                      </a:lnTo>
                      <a:lnTo>
                        <a:pt x="5" y="7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4" y="18"/>
                      </a:lnTo>
                      <a:lnTo>
                        <a:pt x="6" y="20"/>
                      </a:lnTo>
                      <a:lnTo>
                        <a:pt x="10" y="20"/>
                      </a:lnTo>
                      <a:lnTo>
                        <a:pt x="14" y="19"/>
                      </a:lnTo>
                      <a:lnTo>
                        <a:pt x="16" y="17"/>
                      </a:lnTo>
                      <a:lnTo>
                        <a:pt x="19" y="13"/>
                      </a:lnTo>
                      <a:lnTo>
                        <a:pt x="19" y="8"/>
                      </a:lnTo>
                      <a:lnTo>
                        <a:pt x="1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1" name="Freeform 386">
                  <a:extLst>
                    <a:ext uri="{FF2B5EF4-FFF2-40B4-BE49-F238E27FC236}">
                      <a16:creationId xmlns:a16="http://schemas.microsoft.com/office/drawing/2014/main" id="{7F36A3A4-0A9C-C943-AE80-F82899FA46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6451" y="1726696"/>
                  <a:ext cx="28117" cy="17758"/>
                </a:xfrm>
                <a:custGeom>
                  <a:avLst/>
                  <a:gdLst>
                    <a:gd name="T0" fmla="*/ 2147483647 w 20"/>
                    <a:gd name="T1" fmla="*/ 2147483647 h 12"/>
                    <a:gd name="T2" fmla="*/ 2147483647 w 20"/>
                    <a:gd name="T3" fmla="*/ 2147483647 h 12"/>
                    <a:gd name="T4" fmla="*/ 2147483647 w 20"/>
                    <a:gd name="T5" fmla="*/ 2147483647 h 12"/>
                    <a:gd name="T6" fmla="*/ 2147483647 w 20"/>
                    <a:gd name="T7" fmla="*/ 2147483647 h 12"/>
                    <a:gd name="T8" fmla="*/ 2147483647 w 20"/>
                    <a:gd name="T9" fmla="*/ 2147483647 h 12"/>
                    <a:gd name="T10" fmla="*/ 2147483647 w 20"/>
                    <a:gd name="T11" fmla="*/ 2147483647 h 12"/>
                    <a:gd name="T12" fmla="*/ 2147483647 w 20"/>
                    <a:gd name="T13" fmla="*/ 0 h 12"/>
                    <a:gd name="T14" fmla="*/ 2147483647 w 20"/>
                    <a:gd name="T15" fmla="*/ 0 h 12"/>
                    <a:gd name="T16" fmla="*/ 2147483647 w 20"/>
                    <a:gd name="T17" fmla="*/ 2147483647 h 12"/>
                    <a:gd name="T18" fmla="*/ 2147483647 w 20"/>
                    <a:gd name="T19" fmla="*/ 2147483647 h 12"/>
                    <a:gd name="T20" fmla="*/ 0 w 20"/>
                    <a:gd name="T21" fmla="*/ 2147483647 h 12"/>
                    <a:gd name="T22" fmla="*/ 0 w 20"/>
                    <a:gd name="T23" fmla="*/ 2147483647 h 12"/>
                    <a:gd name="T24" fmla="*/ 0 w 20"/>
                    <a:gd name="T25" fmla="*/ 2147483647 h 12"/>
                    <a:gd name="T26" fmla="*/ 2147483647 w 20"/>
                    <a:gd name="T27" fmla="*/ 2147483647 h 12"/>
                    <a:gd name="T28" fmla="*/ 2147483647 w 20"/>
                    <a:gd name="T29" fmla="*/ 2147483647 h 12"/>
                    <a:gd name="T30" fmla="*/ 2147483647 w 20"/>
                    <a:gd name="T31" fmla="*/ 2147483647 h 12"/>
                    <a:gd name="T32" fmla="*/ 2147483647 w 20"/>
                    <a:gd name="T33" fmla="*/ 2147483647 h 12"/>
                    <a:gd name="T34" fmla="*/ 2147483647 w 20"/>
                    <a:gd name="T35" fmla="*/ 2147483647 h 12"/>
                    <a:gd name="T36" fmla="*/ 2147483647 w 20"/>
                    <a:gd name="T37" fmla="*/ 2147483647 h 12"/>
                    <a:gd name="T38" fmla="*/ 2147483647 w 20"/>
                    <a:gd name="T39" fmla="*/ 2147483647 h 12"/>
                    <a:gd name="T40" fmla="*/ 2147483647 w 20"/>
                    <a:gd name="T41" fmla="*/ 2147483647 h 12"/>
                    <a:gd name="T42" fmla="*/ 2147483647 w 20"/>
                    <a:gd name="T43" fmla="*/ 2147483647 h 12"/>
                    <a:gd name="T44" fmla="*/ 2147483647 w 20"/>
                    <a:gd name="T45" fmla="*/ 2147483647 h 12"/>
                    <a:gd name="T46" fmla="*/ 2147483647 w 20"/>
                    <a:gd name="T47" fmla="*/ 2147483647 h 1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0"/>
                    <a:gd name="T73" fmla="*/ 0 h 12"/>
                    <a:gd name="T74" fmla="*/ 20 w 20"/>
                    <a:gd name="T75" fmla="*/ 12 h 1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0" h="12">
                      <a:moveTo>
                        <a:pt x="20" y="7"/>
                      </a:moveTo>
                      <a:lnTo>
                        <a:pt x="20" y="7"/>
                      </a:lnTo>
                      <a:lnTo>
                        <a:pt x="20" y="3"/>
                      </a:ln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2" y="7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12" y="12"/>
                      </a:lnTo>
                      <a:lnTo>
                        <a:pt x="15" y="12"/>
                      </a:lnTo>
                      <a:lnTo>
                        <a:pt x="17" y="12"/>
                      </a:lnTo>
                      <a:lnTo>
                        <a:pt x="19" y="9"/>
                      </a:lnTo>
                      <a:lnTo>
                        <a:pt x="20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2" name="Freeform 387">
                  <a:extLst>
                    <a:ext uri="{FF2B5EF4-FFF2-40B4-BE49-F238E27FC236}">
                      <a16:creationId xmlns:a16="http://schemas.microsoft.com/office/drawing/2014/main" id="{AABD6665-408B-3C4A-918C-BA1BA0256C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9454" y="1774047"/>
                  <a:ext cx="25158" cy="29598"/>
                </a:xfrm>
                <a:custGeom>
                  <a:avLst/>
                  <a:gdLst>
                    <a:gd name="T0" fmla="*/ 2147483647 w 19"/>
                    <a:gd name="T1" fmla="*/ 2147483647 h 20"/>
                    <a:gd name="T2" fmla="*/ 2147483647 w 19"/>
                    <a:gd name="T3" fmla="*/ 2147483647 h 20"/>
                    <a:gd name="T4" fmla="*/ 2147483647 w 19"/>
                    <a:gd name="T5" fmla="*/ 2147483647 h 20"/>
                    <a:gd name="T6" fmla="*/ 2147483647 w 19"/>
                    <a:gd name="T7" fmla="*/ 0 h 20"/>
                    <a:gd name="T8" fmla="*/ 2147483647 w 19"/>
                    <a:gd name="T9" fmla="*/ 0 h 20"/>
                    <a:gd name="T10" fmla="*/ 2147483647 w 19"/>
                    <a:gd name="T11" fmla="*/ 0 h 20"/>
                    <a:gd name="T12" fmla="*/ 2147483647 w 19"/>
                    <a:gd name="T13" fmla="*/ 2147483647 h 20"/>
                    <a:gd name="T14" fmla="*/ 2147483647 w 19"/>
                    <a:gd name="T15" fmla="*/ 2147483647 h 20"/>
                    <a:gd name="T16" fmla="*/ 2147483647 w 19"/>
                    <a:gd name="T17" fmla="*/ 2147483647 h 20"/>
                    <a:gd name="T18" fmla="*/ 2147483647 w 19"/>
                    <a:gd name="T19" fmla="*/ 2147483647 h 20"/>
                    <a:gd name="T20" fmla="*/ 2147483647 w 19"/>
                    <a:gd name="T21" fmla="*/ 2147483647 h 20"/>
                    <a:gd name="T22" fmla="*/ 0 w 19"/>
                    <a:gd name="T23" fmla="*/ 2147483647 h 20"/>
                    <a:gd name="T24" fmla="*/ 2147483647 w 19"/>
                    <a:gd name="T25" fmla="*/ 2147483647 h 20"/>
                    <a:gd name="T26" fmla="*/ 2147483647 w 19"/>
                    <a:gd name="T27" fmla="*/ 2147483647 h 20"/>
                    <a:gd name="T28" fmla="*/ 2147483647 w 19"/>
                    <a:gd name="T29" fmla="*/ 2147483647 h 20"/>
                    <a:gd name="T30" fmla="*/ 2147483647 w 19"/>
                    <a:gd name="T31" fmla="*/ 2147483647 h 20"/>
                    <a:gd name="T32" fmla="*/ 2147483647 w 19"/>
                    <a:gd name="T33" fmla="*/ 2147483647 h 20"/>
                    <a:gd name="T34" fmla="*/ 2147483647 w 19"/>
                    <a:gd name="T35" fmla="*/ 2147483647 h 20"/>
                    <a:gd name="T36" fmla="*/ 2147483647 w 19"/>
                    <a:gd name="T37" fmla="*/ 2147483647 h 20"/>
                    <a:gd name="T38" fmla="*/ 2147483647 w 19"/>
                    <a:gd name="T39" fmla="*/ 2147483647 h 20"/>
                    <a:gd name="T40" fmla="*/ 2147483647 w 19"/>
                    <a:gd name="T41" fmla="*/ 2147483647 h 20"/>
                    <a:gd name="T42" fmla="*/ 2147483647 w 19"/>
                    <a:gd name="T43" fmla="*/ 2147483647 h 20"/>
                    <a:gd name="T44" fmla="*/ 2147483647 w 19"/>
                    <a:gd name="T45" fmla="*/ 2147483647 h 20"/>
                    <a:gd name="T46" fmla="*/ 2147483647 w 19"/>
                    <a:gd name="T47" fmla="*/ 2147483647 h 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9"/>
                    <a:gd name="T73" fmla="*/ 0 h 20"/>
                    <a:gd name="T74" fmla="*/ 19 w 19"/>
                    <a:gd name="T75" fmla="*/ 20 h 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9" h="20">
                      <a:moveTo>
                        <a:pt x="16" y="5"/>
                      </a:moveTo>
                      <a:lnTo>
                        <a:pt x="16" y="5"/>
                      </a:lnTo>
                      <a:lnTo>
                        <a:pt x="14" y="1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6" y="5"/>
                      </a:lnTo>
                      <a:lnTo>
                        <a:pt x="5" y="7"/>
                      </a:lnTo>
                      <a:lnTo>
                        <a:pt x="2" y="9"/>
                      </a:lnTo>
                      <a:lnTo>
                        <a:pt x="1" y="10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6" y="20"/>
                      </a:lnTo>
                      <a:lnTo>
                        <a:pt x="10" y="20"/>
                      </a:lnTo>
                      <a:lnTo>
                        <a:pt x="14" y="19"/>
                      </a:lnTo>
                      <a:lnTo>
                        <a:pt x="16" y="16"/>
                      </a:lnTo>
                      <a:lnTo>
                        <a:pt x="19" y="13"/>
                      </a:lnTo>
                      <a:lnTo>
                        <a:pt x="19" y="8"/>
                      </a:lnTo>
                      <a:lnTo>
                        <a:pt x="16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3" name="Freeform 388">
                  <a:extLst>
                    <a:ext uri="{FF2B5EF4-FFF2-40B4-BE49-F238E27FC236}">
                      <a16:creationId xmlns:a16="http://schemas.microsoft.com/office/drawing/2014/main" id="{D2BD69CC-D4D4-0049-BB43-E9A26D98C6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3219" y="1805127"/>
                  <a:ext cx="32557" cy="26638"/>
                </a:xfrm>
                <a:custGeom>
                  <a:avLst/>
                  <a:gdLst>
                    <a:gd name="T0" fmla="*/ 2147483647 w 24"/>
                    <a:gd name="T1" fmla="*/ 2147483647 h 18"/>
                    <a:gd name="T2" fmla="*/ 2147483647 w 24"/>
                    <a:gd name="T3" fmla="*/ 2147483647 h 18"/>
                    <a:gd name="T4" fmla="*/ 2147483647 w 24"/>
                    <a:gd name="T5" fmla="*/ 2147483647 h 18"/>
                    <a:gd name="T6" fmla="*/ 2147483647 w 24"/>
                    <a:gd name="T7" fmla="*/ 0 h 18"/>
                    <a:gd name="T8" fmla="*/ 2147483647 w 24"/>
                    <a:gd name="T9" fmla="*/ 0 h 18"/>
                    <a:gd name="T10" fmla="*/ 2147483647 w 24"/>
                    <a:gd name="T11" fmla="*/ 0 h 18"/>
                    <a:gd name="T12" fmla="*/ 2147483647 w 24"/>
                    <a:gd name="T13" fmla="*/ 2147483647 h 18"/>
                    <a:gd name="T14" fmla="*/ 2147483647 w 24"/>
                    <a:gd name="T15" fmla="*/ 2147483647 h 18"/>
                    <a:gd name="T16" fmla="*/ 2147483647 w 24"/>
                    <a:gd name="T17" fmla="*/ 2147483647 h 18"/>
                    <a:gd name="T18" fmla="*/ 2147483647 w 24"/>
                    <a:gd name="T19" fmla="*/ 2147483647 h 18"/>
                    <a:gd name="T20" fmla="*/ 2147483647 w 24"/>
                    <a:gd name="T21" fmla="*/ 2147483647 h 18"/>
                    <a:gd name="T22" fmla="*/ 2147483647 w 24"/>
                    <a:gd name="T23" fmla="*/ 2147483647 h 18"/>
                    <a:gd name="T24" fmla="*/ 0 w 24"/>
                    <a:gd name="T25" fmla="*/ 2147483647 h 18"/>
                    <a:gd name="T26" fmla="*/ 0 w 24"/>
                    <a:gd name="T27" fmla="*/ 2147483647 h 18"/>
                    <a:gd name="T28" fmla="*/ 2147483647 w 24"/>
                    <a:gd name="T29" fmla="*/ 2147483647 h 18"/>
                    <a:gd name="T30" fmla="*/ 2147483647 w 24"/>
                    <a:gd name="T31" fmla="*/ 2147483647 h 18"/>
                    <a:gd name="T32" fmla="*/ 2147483647 w 24"/>
                    <a:gd name="T33" fmla="*/ 2147483647 h 18"/>
                    <a:gd name="T34" fmla="*/ 2147483647 w 24"/>
                    <a:gd name="T35" fmla="*/ 2147483647 h 18"/>
                    <a:gd name="T36" fmla="*/ 2147483647 w 24"/>
                    <a:gd name="T37" fmla="*/ 2147483647 h 18"/>
                    <a:gd name="T38" fmla="*/ 2147483647 w 24"/>
                    <a:gd name="T39" fmla="*/ 2147483647 h 18"/>
                    <a:gd name="T40" fmla="*/ 2147483647 w 24"/>
                    <a:gd name="T41" fmla="*/ 2147483647 h 18"/>
                    <a:gd name="T42" fmla="*/ 2147483647 w 24"/>
                    <a:gd name="T43" fmla="*/ 2147483647 h 18"/>
                    <a:gd name="T44" fmla="*/ 2147483647 w 24"/>
                    <a:gd name="T45" fmla="*/ 2147483647 h 18"/>
                    <a:gd name="T46" fmla="*/ 2147483647 w 24"/>
                    <a:gd name="T47" fmla="*/ 2147483647 h 1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4"/>
                    <a:gd name="T73" fmla="*/ 0 h 18"/>
                    <a:gd name="T74" fmla="*/ 24 w 24"/>
                    <a:gd name="T75" fmla="*/ 18 h 1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4" h="18">
                      <a:moveTo>
                        <a:pt x="23" y="11"/>
                      </a:moveTo>
                      <a:lnTo>
                        <a:pt x="20" y="8"/>
                      </a:lnTo>
                      <a:lnTo>
                        <a:pt x="20" y="5"/>
                      </a:lnTo>
                      <a:lnTo>
                        <a:pt x="20" y="0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8" y="4"/>
                      </a:lnTo>
                      <a:lnTo>
                        <a:pt x="17" y="5"/>
                      </a:lnTo>
                      <a:lnTo>
                        <a:pt x="14" y="7"/>
                      </a:lnTo>
                      <a:lnTo>
                        <a:pt x="4" y="8"/>
                      </a:lnTo>
                      <a:lnTo>
                        <a:pt x="3" y="10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3" y="18"/>
                      </a:lnTo>
                      <a:lnTo>
                        <a:pt x="5" y="18"/>
                      </a:lnTo>
                      <a:lnTo>
                        <a:pt x="8" y="17"/>
                      </a:lnTo>
                      <a:lnTo>
                        <a:pt x="10" y="16"/>
                      </a:lnTo>
                      <a:lnTo>
                        <a:pt x="13" y="14"/>
                      </a:lnTo>
                      <a:lnTo>
                        <a:pt x="17" y="14"/>
                      </a:lnTo>
                      <a:lnTo>
                        <a:pt x="20" y="14"/>
                      </a:lnTo>
                      <a:lnTo>
                        <a:pt x="23" y="13"/>
                      </a:lnTo>
                      <a:lnTo>
                        <a:pt x="24" y="12"/>
                      </a:lnTo>
                      <a:lnTo>
                        <a:pt x="23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4" name="Freeform 389">
                  <a:extLst>
                    <a:ext uri="{FF2B5EF4-FFF2-40B4-BE49-F238E27FC236}">
                      <a16:creationId xmlns:a16="http://schemas.microsoft.com/office/drawing/2014/main" id="{E4530C77-7EE2-2549-AD00-0C8ABC691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9370" y="1680815"/>
                  <a:ext cx="44396" cy="25158"/>
                </a:xfrm>
                <a:custGeom>
                  <a:avLst/>
                  <a:gdLst>
                    <a:gd name="T0" fmla="*/ 2147483647 w 33"/>
                    <a:gd name="T1" fmla="*/ 2147483647 h 17"/>
                    <a:gd name="T2" fmla="*/ 2147483647 w 33"/>
                    <a:gd name="T3" fmla="*/ 2147483647 h 17"/>
                    <a:gd name="T4" fmla="*/ 2147483647 w 33"/>
                    <a:gd name="T5" fmla="*/ 2147483647 h 17"/>
                    <a:gd name="T6" fmla="*/ 2147483647 w 33"/>
                    <a:gd name="T7" fmla="*/ 2147483647 h 17"/>
                    <a:gd name="T8" fmla="*/ 2147483647 w 33"/>
                    <a:gd name="T9" fmla="*/ 2147483647 h 17"/>
                    <a:gd name="T10" fmla="*/ 2147483647 w 33"/>
                    <a:gd name="T11" fmla="*/ 0 h 17"/>
                    <a:gd name="T12" fmla="*/ 2147483647 w 33"/>
                    <a:gd name="T13" fmla="*/ 0 h 17"/>
                    <a:gd name="T14" fmla="*/ 2147483647 w 33"/>
                    <a:gd name="T15" fmla="*/ 2147483647 h 17"/>
                    <a:gd name="T16" fmla="*/ 2147483647 w 33"/>
                    <a:gd name="T17" fmla="*/ 2147483647 h 17"/>
                    <a:gd name="T18" fmla="*/ 2147483647 w 33"/>
                    <a:gd name="T19" fmla="*/ 2147483647 h 17"/>
                    <a:gd name="T20" fmla="*/ 2147483647 w 33"/>
                    <a:gd name="T21" fmla="*/ 2147483647 h 17"/>
                    <a:gd name="T22" fmla="*/ 2147483647 w 33"/>
                    <a:gd name="T23" fmla="*/ 2147483647 h 17"/>
                    <a:gd name="T24" fmla="*/ 0 w 33"/>
                    <a:gd name="T25" fmla="*/ 2147483647 h 17"/>
                    <a:gd name="T26" fmla="*/ 0 w 33"/>
                    <a:gd name="T27" fmla="*/ 2147483647 h 17"/>
                    <a:gd name="T28" fmla="*/ 2147483647 w 33"/>
                    <a:gd name="T29" fmla="*/ 2147483647 h 17"/>
                    <a:gd name="T30" fmla="*/ 2147483647 w 33"/>
                    <a:gd name="T31" fmla="*/ 2147483647 h 17"/>
                    <a:gd name="T32" fmla="*/ 2147483647 w 33"/>
                    <a:gd name="T33" fmla="*/ 2147483647 h 17"/>
                    <a:gd name="T34" fmla="*/ 2147483647 w 33"/>
                    <a:gd name="T35" fmla="*/ 2147483647 h 17"/>
                    <a:gd name="T36" fmla="*/ 2147483647 w 33"/>
                    <a:gd name="T37" fmla="*/ 2147483647 h 17"/>
                    <a:gd name="T38" fmla="*/ 2147483647 w 33"/>
                    <a:gd name="T39" fmla="*/ 2147483647 h 17"/>
                    <a:gd name="T40" fmla="*/ 2147483647 w 33"/>
                    <a:gd name="T41" fmla="*/ 2147483647 h 17"/>
                    <a:gd name="T42" fmla="*/ 2147483647 w 33"/>
                    <a:gd name="T43" fmla="*/ 2147483647 h 17"/>
                    <a:gd name="T44" fmla="*/ 2147483647 w 33"/>
                    <a:gd name="T45" fmla="*/ 2147483647 h 17"/>
                    <a:gd name="T46" fmla="*/ 2147483647 w 33"/>
                    <a:gd name="T47" fmla="*/ 2147483647 h 17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3"/>
                    <a:gd name="T73" fmla="*/ 0 h 17"/>
                    <a:gd name="T74" fmla="*/ 33 w 33"/>
                    <a:gd name="T75" fmla="*/ 17 h 17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3" h="17">
                      <a:moveTo>
                        <a:pt x="33" y="7"/>
                      </a:moveTo>
                      <a:lnTo>
                        <a:pt x="32" y="6"/>
                      </a:lnTo>
                      <a:lnTo>
                        <a:pt x="31" y="5"/>
                      </a:lnTo>
                      <a:lnTo>
                        <a:pt x="27" y="3"/>
                      </a:lnTo>
                      <a:lnTo>
                        <a:pt x="23" y="2"/>
                      </a:lnTo>
                      <a:lnTo>
                        <a:pt x="21" y="0"/>
                      </a:ln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4" y="3"/>
                      </a:lnTo>
                      <a:lnTo>
                        <a:pt x="9" y="5"/>
                      </a:lnTo>
                      <a:lnTo>
                        <a:pt x="4" y="6"/>
                      </a:lnTo>
                      <a:lnTo>
                        <a:pt x="2" y="7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9" y="15"/>
                      </a:lnTo>
                      <a:lnTo>
                        <a:pt x="14" y="17"/>
                      </a:lnTo>
                      <a:lnTo>
                        <a:pt x="21" y="17"/>
                      </a:lnTo>
                      <a:lnTo>
                        <a:pt x="27" y="15"/>
                      </a:lnTo>
                      <a:lnTo>
                        <a:pt x="30" y="14"/>
                      </a:lnTo>
                      <a:lnTo>
                        <a:pt x="32" y="13"/>
                      </a:lnTo>
                      <a:lnTo>
                        <a:pt x="33" y="11"/>
                      </a:lnTo>
                      <a:lnTo>
                        <a:pt x="33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5" name="Freeform 390">
                  <a:extLst>
                    <a:ext uri="{FF2B5EF4-FFF2-40B4-BE49-F238E27FC236}">
                      <a16:creationId xmlns:a16="http://schemas.microsoft.com/office/drawing/2014/main" id="{0D526455-5AE7-CF41-AF32-D46674BF8C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1739" y="1803646"/>
                  <a:ext cx="32557" cy="26638"/>
                </a:xfrm>
                <a:custGeom>
                  <a:avLst/>
                  <a:gdLst>
                    <a:gd name="T0" fmla="*/ 2147483647 w 24"/>
                    <a:gd name="T1" fmla="*/ 2147483647 h 18"/>
                    <a:gd name="T2" fmla="*/ 2147483647 w 24"/>
                    <a:gd name="T3" fmla="*/ 2147483647 h 18"/>
                    <a:gd name="T4" fmla="*/ 2147483647 w 24"/>
                    <a:gd name="T5" fmla="*/ 2147483647 h 18"/>
                    <a:gd name="T6" fmla="*/ 2147483647 w 24"/>
                    <a:gd name="T7" fmla="*/ 2147483647 h 18"/>
                    <a:gd name="T8" fmla="*/ 2147483647 w 24"/>
                    <a:gd name="T9" fmla="*/ 0 h 18"/>
                    <a:gd name="T10" fmla="*/ 2147483647 w 24"/>
                    <a:gd name="T11" fmla="*/ 0 h 18"/>
                    <a:gd name="T12" fmla="*/ 2147483647 w 24"/>
                    <a:gd name="T13" fmla="*/ 0 h 18"/>
                    <a:gd name="T14" fmla="*/ 2147483647 w 24"/>
                    <a:gd name="T15" fmla="*/ 0 h 18"/>
                    <a:gd name="T16" fmla="*/ 2147483647 w 24"/>
                    <a:gd name="T17" fmla="*/ 0 h 18"/>
                    <a:gd name="T18" fmla="*/ 2147483647 w 24"/>
                    <a:gd name="T19" fmla="*/ 2147483647 h 18"/>
                    <a:gd name="T20" fmla="*/ 2147483647 w 24"/>
                    <a:gd name="T21" fmla="*/ 2147483647 h 18"/>
                    <a:gd name="T22" fmla="*/ 2147483647 w 24"/>
                    <a:gd name="T23" fmla="*/ 2147483647 h 18"/>
                    <a:gd name="T24" fmla="*/ 2147483647 w 24"/>
                    <a:gd name="T25" fmla="*/ 2147483647 h 18"/>
                    <a:gd name="T26" fmla="*/ 2147483647 w 24"/>
                    <a:gd name="T27" fmla="*/ 2147483647 h 18"/>
                    <a:gd name="T28" fmla="*/ 2147483647 w 24"/>
                    <a:gd name="T29" fmla="*/ 2147483647 h 18"/>
                    <a:gd name="T30" fmla="*/ 2147483647 w 24"/>
                    <a:gd name="T31" fmla="*/ 2147483647 h 18"/>
                    <a:gd name="T32" fmla="*/ 0 w 24"/>
                    <a:gd name="T33" fmla="*/ 2147483647 h 18"/>
                    <a:gd name="T34" fmla="*/ 0 w 24"/>
                    <a:gd name="T35" fmla="*/ 2147483647 h 18"/>
                    <a:gd name="T36" fmla="*/ 0 w 24"/>
                    <a:gd name="T37" fmla="*/ 2147483647 h 18"/>
                    <a:gd name="T38" fmla="*/ 2147483647 w 24"/>
                    <a:gd name="T39" fmla="*/ 2147483647 h 18"/>
                    <a:gd name="T40" fmla="*/ 2147483647 w 24"/>
                    <a:gd name="T41" fmla="*/ 2147483647 h 18"/>
                    <a:gd name="T42" fmla="*/ 2147483647 w 24"/>
                    <a:gd name="T43" fmla="*/ 2147483647 h 18"/>
                    <a:gd name="T44" fmla="*/ 2147483647 w 24"/>
                    <a:gd name="T45" fmla="*/ 2147483647 h 18"/>
                    <a:gd name="T46" fmla="*/ 2147483647 w 24"/>
                    <a:gd name="T47" fmla="*/ 2147483647 h 18"/>
                    <a:gd name="T48" fmla="*/ 2147483647 w 24"/>
                    <a:gd name="T49" fmla="*/ 2147483647 h 18"/>
                    <a:gd name="T50" fmla="*/ 2147483647 w 24"/>
                    <a:gd name="T51" fmla="*/ 2147483647 h 18"/>
                    <a:gd name="T52" fmla="*/ 2147483647 w 24"/>
                    <a:gd name="T53" fmla="*/ 2147483647 h 18"/>
                    <a:gd name="T54" fmla="*/ 2147483647 w 24"/>
                    <a:gd name="T55" fmla="*/ 2147483647 h 18"/>
                    <a:gd name="T56" fmla="*/ 2147483647 w 24"/>
                    <a:gd name="T57" fmla="*/ 2147483647 h 18"/>
                    <a:gd name="T58" fmla="*/ 2147483647 w 24"/>
                    <a:gd name="T59" fmla="*/ 2147483647 h 18"/>
                    <a:gd name="T60" fmla="*/ 2147483647 w 24"/>
                    <a:gd name="T61" fmla="*/ 2147483647 h 18"/>
                    <a:gd name="T62" fmla="*/ 2147483647 w 24"/>
                    <a:gd name="T63" fmla="*/ 2147483647 h 18"/>
                    <a:gd name="T64" fmla="*/ 2147483647 w 24"/>
                    <a:gd name="T65" fmla="*/ 2147483647 h 1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"/>
                    <a:gd name="T100" fmla="*/ 0 h 18"/>
                    <a:gd name="T101" fmla="*/ 24 w 24"/>
                    <a:gd name="T102" fmla="*/ 18 h 1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" h="18">
                      <a:moveTo>
                        <a:pt x="23" y="11"/>
                      </a:moveTo>
                      <a:lnTo>
                        <a:pt x="23" y="11"/>
                      </a:lnTo>
                      <a:lnTo>
                        <a:pt x="20" y="8"/>
                      </a:lnTo>
                      <a:lnTo>
                        <a:pt x="20" y="5"/>
                      </a:lnTo>
                      <a:lnTo>
                        <a:pt x="20" y="0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8" y="3"/>
                      </a:lnTo>
                      <a:lnTo>
                        <a:pt x="16" y="5"/>
                      </a:lnTo>
                      <a:lnTo>
                        <a:pt x="14" y="7"/>
                      </a:lnTo>
                      <a:lnTo>
                        <a:pt x="4" y="8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2" y="18"/>
                      </a:lnTo>
                      <a:lnTo>
                        <a:pt x="5" y="18"/>
                      </a:lnTo>
                      <a:lnTo>
                        <a:pt x="7" y="17"/>
                      </a:lnTo>
                      <a:lnTo>
                        <a:pt x="10" y="15"/>
                      </a:lnTo>
                      <a:lnTo>
                        <a:pt x="12" y="14"/>
                      </a:lnTo>
                      <a:lnTo>
                        <a:pt x="16" y="14"/>
                      </a:lnTo>
                      <a:lnTo>
                        <a:pt x="20" y="14"/>
                      </a:lnTo>
                      <a:lnTo>
                        <a:pt x="23" y="13"/>
                      </a:lnTo>
                      <a:lnTo>
                        <a:pt x="24" y="12"/>
                      </a:lnTo>
                      <a:lnTo>
                        <a:pt x="23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6" name="Freeform 391">
                  <a:extLst>
                    <a:ext uri="{FF2B5EF4-FFF2-40B4-BE49-F238E27FC236}">
                      <a16:creationId xmlns:a16="http://schemas.microsoft.com/office/drawing/2014/main" id="{DA46D2C5-050E-BA43-8139-EE8F416DA2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7889" y="1679336"/>
                  <a:ext cx="45876" cy="23678"/>
                </a:xfrm>
                <a:custGeom>
                  <a:avLst/>
                  <a:gdLst>
                    <a:gd name="T0" fmla="*/ 2147483647 w 33"/>
                    <a:gd name="T1" fmla="*/ 2147483647 h 16"/>
                    <a:gd name="T2" fmla="*/ 2147483647 w 33"/>
                    <a:gd name="T3" fmla="*/ 2147483647 h 16"/>
                    <a:gd name="T4" fmla="*/ 2147483647 w 33"/>
                    <a:gd name="T5" fmla="*/ 2147483647 h 16"/>
                    <a:gd name="T6" fmla="*/ 2147483647 w 33"/>
                    <a:gd name="T7" fmla="*/ 2147483647 h 16"/>
                    <a:gd name="T8" fmla="*/ 2147483647 w 33"/>
                    <a:gd name="T9" fmla="*/ 2147483647 h 16"/>
                    <a:gd name="T10" fmla="*/ 2147483647 w 33"/>
                    <a:gd name="T11" fmla="*/ 2147483647 h 16"/>
                    <a:gd name="T12" fmla="*/ 2147483647 w 33"/>
                    <a:gd name="T13" fmla="*/ 2147483647 h 16"/>
                    <a:gd name="T14" fmla="*/ 2147483647 w 33"/>
                    <a:gd name="T15" fmla="*/ 0 h 16"/>
                    <a:gd name="T16" fmla="*/ 2147483647 w 33"/>
                    <a:gd name="T17" fmla="*/ 0 h 16"/>
                    <a:gd name="T18" fmla="*/ 2147483647 w 33"/>
                    <a:gd name="T19" fmla="*/ 0 h 16"/>
                    <a:gd name="T20" fmla="*/ 2147483647 w 33"/>
                    <a:gd name="T21" fmla="*/ 2147483647 h 16"/>
                    <a:gd name="T22" fmla="*/ 2147483647 w 33"/>
                    <a:gd name="T23" fmla="*/ 2147483647 h 16"/>
                    <a:gd name="T24" fmla="*/ 2147483647 w 33"/>
                    <a:gd name="T25" fmla="*/ 2147483647 h 16"/>
                    <a:gd name="T26" fmla="*/ 2147483647 w 33"/>
                    <a:gd name="T27" fmla="*/ 2147483647 h 16"/>
                    <a:gd name="T28" fmla="*/ 2147483647 w 33"/>
                    <a:gd name="T29" fmla="*/ 2147483647 h 16"/>
                    <a:gd name="T30" fmla="*/ 0 w 33"/>
                    <a:gd name="T31" fmla="*/ 2147483647 h 16"/>
                    <a:gd name="T32" fmla="*/ 0 w 33"/>
                    <a:gd name="T33" fmla="*/ 2147483647 h 16"/>
                    <a:gd name="T34" fmla="*/ 0 w 33"/>
                    <a:gd name="T35" fmla="*/ 2147483647 h 16"/>
                    <a:gd name="T36" fmla="*/ 2147483647 w 33"/>
                    <a:gd name="T37" fmla="*/ 2147483647 h 16"/>
                    <a:gd name="T38" fmla="*/ 2147483647 w 33"/>
                    <a:gd name="T39" fmla="*/ 2147483647 h 16"/>
                    <a:gd name="T40" fmla="*/ 2147483647 w 33"/>
                    <a:gd name="T41" fmla="*/ 2147483647 h 16"/>
                    <a:gd name="T42" fmla="*/ 2147483647 w 33"/>
                    <a:gd name="T43" fmla="*/ 2147483647 h 16"/>
                    <a:gd name="T44" fmla="*/ 2147483647 w 33"/>
                    <a:gd name="T45" fmla="*/ 2147483647 h 16"/>
                    <a:gd name="T46" fmla="*/ 2147483647 w 33"/>
                    <a:gd name="T47" fmla="*/ 2147483647 h 16"/>
                    <a:gd name="T48" fmla="*/ 2147483647 w 33"/>
                    <a:gd name="T49" fmla="*/ 2147483647 h 16"/>
                    <a:gd name="T50" fmla="*/ 2147483647 w 33"/>
                    <a:gd name="T51" fmla="*/ 2147483647 h 16"/>
                    <a:gd name="T52" fmla="*/ 2147483647 w 33"/>
                    <a:gd name="T53" fmla="*/ 2147483647 h 16"/>
                    <a:gd name="T54" fmla="*/ 2147483647 w 33"/>
                    <a:gd name="T55" fmla="*/ 2147483647 h 16"/>
                    <a:gd name="T56" fmla="*/ 2147483647 w 33"/>
                    <a:gd name="T57" fmla="*/ 2147483647 h 16"/>
                    <a:gd name="T58" fmla="*/ 2147483647 w 33"/>
                    <a:gd name="T59" fmla="*/ 2147483647 h 16"/>
                    <a:gd name="T60" fmla="*/ 2147483647 w 33"/>
                    <a:gd name="T61" fmla="*/ 2147483647 h 1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3"/>
                    <a:gd name="T94" fmla="*/ 0 h 16"/>
                    <a:gd name="T95" fmla="*/ 33 w 33"/>
                    <a:gd name="T96" fmla="*/ 16 h 1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3" h="16">
                      <a:moveTo>
                        <a:pt x="33" y="7"/>
                      </a:moveTo>
                      <a:lnTo>
                        <a:pt x="33" y="7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7" y="3"/>
                      </a:lnTo>
                      <a:lnTo>
                        <a:pt x="23" y="2"/>
                      </a:lnTo>
                      <a:lnTo>
                        <a:pt x="20" y="0"/>
                      </a:ln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4" y="3"/>
                      </a:lnTo>
                      <a:lnTo>
                        <a:pt x="9" y="4"/>
                      </a:lnTo>
                      <a:lnTo>
                        <a:pt x="4" y="6"/>
                      </a:lnTo>
                      <a:lnTo>
                        <a:pt x="1" y="7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4" y="14"/>
                      </a:lnTo>
                      <a:lnTo>
                        <a:pt x="9" y="15"/>
                      </a:lnTo>
                      <a:lnTo>
                        <a:pt x="14" y="16"/>
                      </a:lnTo>
                      <a:lnTo>
                        <a:pt x="20" y="16"/>
                      </a:lnTo>
                      <a:lnTo>
                        <a:pt x="27" y="15"/>
                      </a:lnTo>
                      <a:lnTo>
                        <a:pt x="29" y="14"/>
                      </a:lnTo>
                      <a:lnTo>
                        <a:pt x="32" y="13"/>
                      </a:lnTo>
                      <a:lnTo>
                        <a:pt x="33" y="10"/>
                      </a:lnTo>
                      <a:lnTo>
                        <a:pt x="33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7" name="Freeform 392">
                  <a:extLst>
                    <a:ext uri="{FF2B5EF4-FFF2-40B4-BE49-F238E27FC236}">
                      <a16:creationId xmlns:a16="http://schemas.microsoft.com/office/drawing/2014/main" id="{21A9803F-24F3-A843-98A4-7A2075F38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7746" y="1717816"/>
                  <a:ext cx="112470" cy="90272"/>
                </a:xfrm>
                <a:custGeom>
                  <a:avLst/>
                  <a:gdLst>
                    <a:gd name="T0" fmla="*/ 2147483647 w 82"/>
                    <a:gd name="T1" fmla="*/ 2147483647 h 61"/>
                    <a:gd name="T2" fmla="*/ 2147483647 w 82"/>
                    <a:gd name="T3" fmla="*/ 2147483647 h 61"/>
                    <a:gd name="T4" fmla="*/ 2147483647 w 82"/>
                    <a:gd name="T5" fmla="*/ 2147483647 h 61"/>
                    <a:gd name="T6" fmla="*/ 2147483647 w 82"/>
                    <a:gd name="T7" fmla="*/ 2147483647 h 61"/>
                    <a:gd name="T8" fmla="*/ 2147483647 w 82"/>
                    <a:gd name="T9" fmla="*/ 2147483647 h 61"/>
                    <a:gd name="T10" fmla="*/ 2147483647 w 82"/>
                    <a:gd name="T11" fmla="*/ 2147483647 h 61"/>
                    <a:gd name="T12" fmla="*/ 2147483647 w 82"/>
                    <a:gd name="T13" fmla="*/ 2147483647 h 61"/>
                    <a:gd name="T14" fmla="*/ 2147483647 w 82"/>
                    <a:gd name="T15" fmla="*/ 0 h 61"/>
                    <a:gd name="T16" fmla="*/ 2147483647 w 82"/>
                    <a:gd name="T17" fmla="*/ 2147483647 h 61"/>
                    <a:gd name="T18" fmla="*/ 2147483647 w 82"/>
                    <a:gd name="T19" fmla="*/ 2147483647 h 61"/>
                    <a:gd name="T20" fmla="*/ 2147483647 w 82"/>
                    <a:gd name="T21" fmla="*/ 2147483647 h 61"/>
                    <a:gd name="T22" fmla="*/ 2147483647 w 82"/>
                    <a:gd name="T23" fmla="*/ 2147483647 h 61"/>
                    <a:gd name="T24" fmla="*/ 2147483647 w 82"/>
                    <a:gd name="T25" fmla="*/ 2147483647 h 61"/>
                    <a:gd name="T26" fmla="*/ 2147483647 w 82"/>
                    <a:gd name="T27" fmla="*/ 2147483647 h 61"/>
                    <a:gd name="T28" fmla="*/ 2147483647 w 82"/>
                    <a:gd name="T29" fmla="*/ 2147483647 h 61"/>
                    <a:gd name="T30" fmla="*/ 2147483647 w 82"/>
                    <a:gd name="T31" fmla="*/ 2147483647 h 61"/>
                    <a:gd name="T32" fmla="*/ 2147483647 w 82"/>
                    <a:gd name="T33" fmla="*/ 2147483647 h 61"/>
                    <a:gd name="T34" fmla="*/ 2147483647 w 82"/>
                    <a:gd name="T35" fmla="*/ 2147483647 h 61"/>
                    <a:gd name="T36" fmla="*/ 2147483647 w 82"/>
                    <a:gd name="T37" fmla="*/ 2147483647 h 61"/>
                    <a:gd name="T38" fmla="*/ 2147483647 w 82"/>
                    <a:gd name="T39" fmla="*/ 2147483647 h 61"/>
                    <a:gd name="T40" fmla="*/ 2147483647 w 82"/>
                    <a:gd name="T41" fmla="*/ 2147483647 h 61"/>
                    <a:gd name="T42" fmla="*/ 2147483647 w 82"/>
                    <a:gd name="T43" fmla="*/ 2147483647 h 61"/>
                    <a:gd name="T44" fmla="*/ 2147483647 w 82"/>
                    <a:gd name="T45" fmla="*/ 2147483647 h 61"/>
                    <a:gd name="T46" fmla="*/ 2147483647 w 82"/>
                    <a:gd name="T47" fmla="*/ 2147483647 h 61"/>
                    <a:gd name="T48" fmla="*/ 2147483647 w 82"/>
                    <a:gd name="T49" fmla="*/ 2147483647 h 61"/>
                    <a:gd name="T50" fmla="*/ 2147483647 w 82"/>
                    <a:gd name="T51" fmla="*/ 2147483647 h 61"/>
                    <a:gd name="T52" fmla="*/ 2147483647 w 82"/>
                    <a:gd name="T53" fmla="*/ 2147483647 h 61"/>
                    <a:gd name="T54" fmla="*/ 2147483647 w 82"/>
                    <a:gd name="T55" fmla="*/ 2147483647 h 61"/>
                    <a:gd name="T56" fmla="*/ 2147483647 w 82"/>
                    <a:gd name="T57" fmla="*/ 2147483647 h 61"/>
                    <a:gd name="T58" fmla="*/ 2147483647 w 82"/>
                    <a:gd name="T59" fmla="*/ 2147483647 h 61"/>
                    <a:gd name="T60" fmla="*/ 2147483647 w 82"/>
                    <a:gd name="T61" fmla="*/ 2147483647 h 61"/>
                    <a:gd name="T62" fmla="*/ 2147483647 w 82"/>
                    <a:gd name="T63" fmla="*/ 2147483647 h 61"/>
                    <a:gd name="T64" fmla="*/ 2147483647 w 82"/>
                    <a:gd name="T65" fmla="*/ 2147483647 h 61"/>
                    <a:gd name="T66" fmla="*/ 2147483647 w 82"/>
                    <a:gd name="T67" fmla="*/ 2147483647 h 61"/>
                    <a:gd name="T68" fmla="*/ 2147483647 w 82"/>
                    <a:gd name="T69" fmla="*/ 2147483647 h 61"/>
                    <a:gd name="T70" fmla="*/ 2147483647 w 82"/>
                    <a:gd name="T71" fmla="*/ 2147483647 h 61"/>
                    <a:gd name="T72" fmla="*/ 2147483647 w 82"/>
                    <a:gd name="T73" fmla="*/ 2147483647 h 61"/>
                    <a:gd name="T74" fmla="*/ 2147483647 w 82"/>
                    <a:gd name="T75" fmla="*/ 2147483647 h 61"/>
                    <a:gd name="T76" fmla="*/ 2147483647 w 82"/>
                    <a:gd name="T77" fmla="*/ 2147483647 h 61"/>
                    <a:gd name="T78" fmla="*/ 2147483647 w 82"/>
                    <a:gd name="T79" fmla="*/ 2147483647 h 61"/>
                    <a:gd name="T80" fmla="*/ 2147483647 w 82"/>
                    <a:gd name="T81" fmla="*/ 2147483647 h 61"/>
                    <a:gd name="T82" fmla="*/ 2147483647 w 82"/>
                    <a:gd name="T83" fmla="*/ 2147483647 h 61"/>
                    <a:gd name="T84" fmla="*/ 2147483647 w 82"/>
                    <a:gd name="T85" fmla="*/ 2147483647 h 61"/>
                    <a:gd name="T86" fmla="*/ 2147483647 w 82"/>
                    <a:gd name="T87" fmla="*/ 2147483647 h 61"/>
                    <a:gd name="T88" fmla="*/ 2147483647 w 82"/>
                    <a:gd name="T89" fmla="*/ 2147483647 h 61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2"/>
                    <a:gd name="T136" fmla="*/ 0 h 61"/>
                    <a:gd name="T137" fmla="*/ 82 w 82"/>
                    <a:gd name="T138" fmla="*/ 61 h 61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2" h="61">
                      <a:moveTo>
                        <a:pt x="80" y="26"/>
                      </a:moveTo>
                      <a:lnTo>
                        <a:pt x="79" y="24"/>
                      </a:lnTo>
                      <a:lnTo>
                        <a:pt x="78" y="22"/>
                      </a:lnTo>
                      <a:lnTo>
                        <a:pt x="75" y="22"/>
                      </a:lnTo>
                      <a:lnTo>
                        <a:pt x="72" y="24"/>
                      </a:lnTo>
                      <a:lnTo>
                        <a:pt x="68" y="24"/>
                      </a:lnTo>
                      <a:lnTo>
                        <a:pt x="66" y="22"/>
                      </a:lnTo>
                      <a:lnTo>
                        <a:pt x="66" y="20"/>
                      </a:lnTo>
                      <a:lnTo>
                        <a:pt x="69" y="18"/>
                      </a:lnTo>
                      <a:lnTo>
                        <a:pt x="70" y="15"/>
                      </a:lnTo>
                      <a:lnTo>
                        <a:pt x="74" y="9"/>
                      </a:lnTo>
                      <a:lnTo>
                        <a:pt x="78" y="3"/>
                      </a:lnTo>
                      <a:lnTo>
                        <a:pt x="78" y="2"/>
                      </a:lnTo>
                      <a:lnTo>
                        <a:pt x="78" y="1"/>
                      </a:lnTo>
                      <a:lnTo>
                        <a:pt x="77" y="0"/>
                      </a:lnTo>
                      <a:lnTo>
                        <a:pt x="75" y="0"/>
                      </a:lnTo>
                      <a:lnTo>
                        <a:pt x="73" y="2"/>
                      </a:lnTo>
                      <a:lnTo>
                        <a:pt x="72" y="5"/>
                      </a:lnTo>
                      <a:lnTo>
                        <a:pt x="69" y="6"/>
                      </a:lnTo>
                      <a:lnTo>
                        <a:pt x="68" y="5"/>
                      </a:lnTo>
                      <a:lnTo>
                        <a:pt x="66" y="3"/>
                      </a:lnTo>
                      <a:lnTo>
                        <a:pt x="65" y="3"/>
                      </a:lnTo>
                      <a:lnTo>
                        <a:pt x="63" y="3"/>
                      </a:lnTo>
                      <a:lnTo>
                        <a:pt x="61" y="5"/>
                      </a:lnTo>
                      <a:lnTo>
                        <a:pt x="59" y="9"/>
                      </a:lnTo>
                      <a:lnTo>
                        <a:pt x="58" y="9"/>
                      </a:lnTo>
                      <a:lnTo>
                        <a:pt x="56" y="9"/>
                      </a:lnTo>
                      <a:lnTo>
                        <a:pt x="54" y="8"/>
                      </a:lnTo>
                      <a:lnTo>
                        <a:pt x="52" y="8"/>
                      </a:lnTo>
                      <a:lnTo>
                        <a:pt x="51" y="11"/>
                      </a:lnTo>
                      <a:lnTo>
                        <a:pt x="51" y="13"/>
                      </a:lnTo>
                      <a:lnTo>
                        <a:pt x="51" y="15"/>
                      </a:lnTo>
                      <a:lnTo>
                        <a:pt x="51" y="16"/>
                      </a:lnTo>
                      <a:lnTo>
                        <a:pt x="46" y="19"/>
                      </a:lnTo>
                      <a:lnTo>
                        <a:pt x="40" y="21"/>
                      </a:lnTo>
                      <a:lnTo>
                        <a:pt x="33" y="22"/>
                      </a:lnTo>
                      <a:lnTo>
                        <a:pt x="27" y="25"/>
                      </a:lnTo>
                      <a:lnTo>
                        <a:pt x="22" y="26"/>
                      </a:lnTo>
                      <a:lnTo>
                        <a:pt x="17" y="25"/>
                      </a:lnTo>
                      <a:lnTo>
                        <a:pt x="12" y="24"/>
                      </a:lnTo>
                      <a:lnTo>
                        <a:pt x="7" y="25"/>
                      </a:lnTo>
                      <a:lnTo>
                        <a:pt x="2" y="27"/>
                      </a:lnTo>
                      <a:lnTo>
                        <a:pt x="0" y="28"/>
                      </a:lnTo>
                      <a:lnTo>
                        <a:pt x="2" y="29"/>
                      </a:lnTo>
                      <a:lnTo>
                        <a:pt x="4" y="31"/>
                      </a:lnTo>
                      <a:lnTo>
                        <a:pt x="9" y="31"/>
                      </a:lnTo>
                      <a:lnTo>
                        <a:pt x="11" y="33"/>
                      </a:lnTo>
                      <a:lnTo>
                        <a:pt x="12" y="34"/>
                      </a:lnTo>
                      <a:lnTo>
                        <a:pt x="11" y="41"/>
                      </a:lnTo>
                      <a:lnTo>
                        <a:pt x="8" y="47"/>
                      </a:lnTo>
                      <a:lnTo>
                        <a:pt x="7" y="53"/>
                      </a:lnTo>
                      <a:lnTo>
                        <a:pt x="7" y="57"/>
                      </a:lnTo>
                      <a:lnTo>
                        <a:pt x="8" y="60"/>
                      </a:lnTo>
                      <a:lnTo>
                        <a:pt x="9" y="61"/>
                      </a:lnTo>
                      <a:lnTo>
                        <a:pt x="11" y="60"/>
                      </a:lnTo>
                      <a:lnTo>
                        <a:pt x="13" y="58"/>
                      </a:lnTo>
                      <a:lnTo>
                        <a:pt x="14" y="58"/>
                      </a:lnTo>
                      <a:lnTo>
                        <a:pt x="16" y="58"/>
                      </a:lnTo>
                      <a:lnTo>
                        <a:pt x="17" y="59"/>
                      </a:lnTo>
                      <a:lnTo>
                        <a:pt x="17" y="61"/>
                      </a:lnTo>
                      <a:lnTo>
                        <a:pt x="19" y="61"/>
                      </a:lnTo>
                      <a:lnTo>
                        <a:pt x="22" y="59"/>
                      </a:lnTo>
                      <a:lnTo>
                        <a:pt x="26" y="58"/>
                      </a:lnTo>
                      <a:lnTo>
                        <a:pt x="35" y="57"/>
                      </a:lnTo>
                      <a:lnTo>
                        <a:pt x="37" y="56"/>
                      </a:lnTo>
                      <a:lnTo>
                        <a:pt x="39" y="54"/>
                      </a:lnTo>
                      <a:lnTo>
                        <a:pt x="39" y="51"/>
                      </a:lnTo>
                      <a:lnTo>
                        <a:pt x="39" y="47"/>
                      </a:lnTo>
                      <a:lnTo>
                        <a:pt x="39" y="44"/>
                      </a:lnTo>
                      <a:lnTo>
                        <a:pt x="40" y="43"/>
                      </a:lnTo>
                      <a:lnTo>
                        <a:pt x="42" y="44"/>
                      </a:lnTo>
                      <a:lnTo>
                        <a:pt x="45" y="47"/>
                      </a:lnTo>
                      <a:lnTo>
                        <a:pt x="46" y="48"/>
                      </a:lnTo>
                      <a:lnTo>
                        <a:pt x="47" y="48"/>
                      </a:lnTo>
                      <a:lnTo>
                        <a:pt x="54" y="46"/>
                      </a:lnTo>
                      <a:lnTo>
                        <a:pt x="60" y="45"/>
                      </a:lnTo>
                      <a:lnTo>
                        <a:pt x="65" y="45"/>
                      </a:lnTo>
                      <a:lnTo>
                        <a:pt x="70" y="43"/>
                      </a:lnTo>
                      <a:lnTo>
                        <a:pt x="70" y="41"/>
                      </a:lnTo>
                      <a:lnTo>
                        <a:pt x="70" y="40"/>
                      </a:lnTo>
                      <a:lnTo>
                        <a:pt x="68" y="37"/>
                      </a:lnTo>
                      <a:lnTo>
                        <a:pt x="68" y="34"/>
                      </a:lnTo>
                      <a:lnTo>
                        <a:pt x="68" y="32"/>
                      </a:lnTo>
                      <a:lnTo>
                        <a:pt x="69" y="32"/>
                      </a:lnTo>
                      <a:lnTo>
                        <a:pt x="72" y="32"/>
                      </a:lnTo>
                      <a:lnTo>
                        <a:pt x="74" y="33"/>
                      </a:lnTo>
                      <a:lnTo>
                        <a:pt x="77" y="33"/>
                      </a:lnTo>
                      <a:lnTo>
                        <a:pt x="79" y="33"/>
                      </a:lnTo>
                      <a:lnTo>
                        <a:pt x="82" y="31"/>
                      </a:lnTo>
                      <a:lnTo>
                        <a:pt x="82" y="29"/>
                      </a:lnTo>
                      <a:lnTo>
                        <a:pt x="8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8" name="Freeform 393">
                  <a:extLst>
                    <a:ext uri="{FF2B5EF4-FFF2-40B4-BE49-F238E27FC236}">
                      <a16:creationId xmlns:a16="http://schemas.microsoft.com/office/drawing/2014/main" id="{10212313-A6E9-624B-89A4-8EC5555F1B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7114" y="1726696"/>
                  <a:ext cx="128748" cy="60674"/>
                </a:xfrm>
                <a:custGeom>
                  <a:avLst/>
                  <a:gdLst>
                    <a:gd name="T0" fmla="*/ 2147483647 w 95"/>
                    <a:gd name="T1" fmla="*/ 2147483647 h 41"/>
                    <a:gd name="T2" fmla="*/ 2147483647 w 95"/>
                    <a:gd name="T3" fmla="*/ 2147483647 h 41"/>
                    <a:gd name="T4" fmla="*/ 2147483647 w 95"/>
                    <a:gd name="T5" fmla="*/ 2147483647 h 41"/>
                    <a:gd name="T6" fmla="*/ 2147483647 w 95"/>
                    <a:gd name="T7" fmla="*/ 2147483647 h 41"/>
                    <a:gd name="T8" fmla="*/ 2147483647 w 95"/>
                    <a:gd name="T9" fmla="*/ 2147483647 h 41"/>
                    <a:gd name="T10" fmla="*/ 2147483647 w 95"/>
                    <a:gd name="T11" fmla="*/ 0 h 41"/>
                    <a:gd name="T12" fmla="*/ 2147483647 w 95"/>
                    <a:gd name="T13" fmla="*/ 0 h 41"/>
                    <a:gd name="T14" fmla="*/ 2147483647 w 95"/>
                    <a:gd name="T15" fmla="*/ 2147483647 h 41"/>
                    <a:gd name="T16" fmla="*/ 2147483647 w 95"/>
                    <a:gd name="T17" fmla="*/ 2147483647 h 41"/>
                    <a:gd name="T18" fmla="*/ 2147483647 w 95"/>
                    <a:gd name="T19" fmla="*/ 2147483647 h 41"/>
                    <a:gd name="T20" fmla="*/ 2147483647 w 95"/>
                    <a:gd name="T21" fmla="*/ 2147483647 h 41"/>
                    <a:gd name="T22" fmla="*/ 2147483647 w 95"/>
                    <a:gd name="T23" fmla="*/ 2147483647 h 41"/>
                    <a:gd name="T24" fmla="*/ 0 w 95"/>
                    <a:gd name="T25" fmla="*/ 2147483647 h 41"/>
                    <a:gd name="T26" fmla="*/ 0 w 95"/>
                    <a:gd name="T27" fmla="*/ 2147483647 h 41"/>
                    <a:gd name="T28" fmla="*/ 2147483647 w 95"/>
                    <a:gd name="T29" fmla="*/ 2147483647 h 41"/>
                    <a:gd name="T30" fmla="*/ 2147483647 w 95"/>
                    <a:gd name="T31" fmla="*/ 2147483647 h 41"/>
                    <a:gd name="T32" fmla="*/ 2147483647 w 95"/>
                    <a:gd name="T33" fmla="*/ 2147483647 h 41"/>
                    <a:gd name="T34" fmla="*/ 2147483647 w 95"/>
                    <a:gd name="T35" fmla="*/ 2147483647 h 41"/>
                    <a:gd name="T36" fmla="*/ 2147483647 w 95"/>
                    <a:gd name="T37" fmla="*/ 2147483647 h 41"/>
                    <a:gd name="T38" fmla="*/ 2147483647 w 95"/>
                    <a:gd name="T39" fmla="*/ 2147483647 h 41"/>
                    <a:gd name="T40" fmla="*/ 2147483647 w 95"/>
                    <a:gd name="T41" fmla="*/ 2147483647 h 41"/>
                    <a:gd name="T42" fmla="*/ 2147483647 w 95"/>
                    <a:gd name="T43" fmla="*/ 2147483647 h 41"/>
                    <a:gd name="T44" fmla="*/ 2147483647 w 95"/>
                    <a:gd name="T45" fmla="*/ 2147483647 h 41"/>
                    <a:gd name="T46" fmla="*/ 2147483647 w 95"/>
                    <a:gd name="T47" fmla="*/ 2147483647 h 41"/>
                    <a:gd name="T48" fmla="*/ 2147483647 w 95"/>
                    <a:gd name="T49" fmla="*/ 2147483647 h 41"/>
                    <a:gd name="T50" fmla="*/ 2147483647 w 95"/>
                    <a:gd name="T51" fmla="*/ 2147483647 h 41"/>
                    <a:gd name="T52" fmla="*/ 2147483647 w 95"/>
                    <a:gd name="T53" fmla="*/ 2147483647 h 41"/>
                    <a:gd name="T54" fmla="*/ 2147483647 w 95"/>
                    <a:gd name="T55" fmla="*/ 2147483647 h 41"/>
                    <a:gd name="T56" fmla="*/ 2147483647 w 95"/>
                    <a:gd name="T57" fmla="*/ 2147483647 h 41"/>
                    <a:gd name="T58" fmla="*/ 2147483647 w 95"/>
                    <a:gd name="T59" fmla="*/ 2147483647 h 41"/>
                    <a:gd name="T60" fmla="*/ 2147483647 w 95"/>
                    <a:gd name="T61" fmla="*/ 2147483647 h 41"/>
                    <a:gd name="T62" fmla="*/ 2147483647 w 95"/>
                    <a:gd name="T63" fmla="*/ 2147483647 h 41"/>
                    <a:gd name="T64" fmla="*/ 2147483647 w 95"/>
                    <a:gd name="T65" fmla="*/ 2147483647 h 41"/>
                    <a:gd name="T66" fmla="*/ 2147483647 w 95"/>
                    <a:gd name="T67" fmla="*/ 2147483647 h 41"/>
                    <a:gd name="T68" fmla="*/ 2147483647 w 95"/>
                    <a:gd name="T69" fmla="*/ 2147483647 h 41"/>
                    <a:gd name="T70" fmla="*/ 2147483647 w 95"/>
                    <a:gd name="T71" fmla="*/ 2147483647 h 41"/>
                    <a:gd name="T72" fmla="*/ 2147483647 w 95"/>
                    <a:gd name="T73" fmla="*/ 2147483647 h 41"/>
                    <a:gd name="T74" fmla="*/ 2147483647 w 95"/>
                    <a:gd name="T75" fmla="*/ 2147483647 h 41"/>
                    <a:gd name="T76" fmla="*/ 2147483647 w 95"/>
                    <a:gd name="T77" fmla="*/ 2147483647 h 41"/>
                    <a:gd name="T78" fmla="*/ 2147483647 w 95"/>
                    <a:gd name="T79" fmla="*/ 2147483647 h 41"/>
                    <a:gd name="T80" fmla="*/ 2147483647 w 95"/>
                    <a:gd name="T81" fmla="*/ 2147483647 h 41"/>
                    <a:gd name="T82" fmla="*/ 2147483647 w 95"/>
                    <a:gd name="T83" fmla="*/ 2147483647 h 41"/>
                    <a:gd name="T84" fmla="*/ 2147483647 w 95"/>
                    <a:gd name="T85" fmla="*/ 2147483647 h 41"/>
                    <a:gd name="T86" fmla="*/ 2147483647 w 95"/>
                    <a:gd name="T87" fmla="*/ 2147483647 h 41"/>
                    <a:gd name="T88" fmla="*/ 2147483647 w 95"/>
                    <a:gd name="T89" fmla="*/ 2147483647 h 41"/>
                    <a:gd name="T90" fmla="*/ 2147483647 w 95"/>
                    <a:gd name="T91" fmla="*/ 2147483647 h 41"/>
                    <a:gd name="T92" fmla="*/ 2147483647 w 95"/>
                    <a:gd name="T93" fmla="*/ 2147483647 h 41"/>
                    <a:gd name="T94" fmla="*/ 2147483647 w 95"/>
                    <a:gd name="T95" fmla="*/ 2147483647 h 41"/>
                    <a:gd name="T96" fmla="*/ 2147483647 w 95"/>
                    <a:gd name="T97" fmla="*/ 2147483647 h 41"/>
                    <a:gd name="T98" fmla="*/ 2147483647 w 95"/>
                    <a:gd name="T99" fmla="*/ 2147483647 h 41"/>
                    <a:gd name="T100" fmla="*/ 2147483647 w 95"/>
                    <a:gd name="T101" fmla="*/ 2147483647 h 41"/>
                    <a:gd name="T102" fmla="*/ 2147483647 w 95"/>
                    <a:gd name="T103" fmla="*/ 2147483647 h 41"/>
                    <a:gd name="T104" fmla="*/ 2147483647 w 95"/>
                    <a:gd name="T105" fmla="*/ 2147483647 h 41"/>
                    <a:gd name="T106" fmla="*/ 2147483647 w 95"/>
                    <a:gd name="T107" fmla="*/ 2147483647 h 41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95"/>
                    <a:gd name="T163" fmla="*/ 0 h 41"/>
                    <a:gd name="T164" fmla="*/ 95 w 95"/>
                    <a:gd name="T165" fmla="*/ 41 h 41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95" h="41">
                      <a:moveTo>
                        <a:pt x="91" y="7"/>
                      </a:moveTo>
                      <a:lnTo>
                        <a:pt x="88" y="5"/>
                      </a:lnTo>
                      <a:lnTo>
                        <a:pt x="85" y="3"/>
                      </a:lnTo>
                      <a:lnTo>
                        <a:pt x="73" y="2"/>
                      </a:lnTo>
                      <a:lnTo>
                        <a:pt x="63" y="1"/>
                      </a:lnTo>
                      <a:lnTo>
                        <a:pt x="55" y="0"/>
                      </a:lnTo>
                      <a:lnTo>
                        <a:pt x="52" y="0"/>
                      </a:lnTo>
                      <a:lnTo>
                        <a:pt x="49" y="1"/>
                      </a:lnTo>
                      <a:lnTo>
                        <a:pt x="38" y="8"/>
                      </a:lnTo>
                      <a:lnTo>
                        <a:pt x="25" y="13"/>
                      </a:lnTo>
                      <a:lnTo>
                        <a:pt x="13" y="18"/>
                      </a:lnTo>
                      <a:lnTo>
                        <a:pt x="1" y="20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1" y="25"/>
                      </a:lnTo>
                      <a:lnTo>
                        <a:pt x="3" y="28"/>
                      </a:lnTo>
                      <a:lnTo>
                        <a:pt x="6" y="31"/>
                      </a:lnTo>
                      <a:lnTo>
                        <a:pt x="8" y="32"/>
                      </a:lnTo>
                      <a:lnTo>
                        <a:pt x="10" y="32"/>
                      </a:lnTo>
                      <a:lnTo>
                        <a:pt x="13" y="29"/>
                      </a:lnTo>
                      <a:lnTo>
                        <a:pt x="19" y="34"/>
                      </a:lnTo>
                      <a:lnTo>
                        <a:pt x="21" y="35"/>
                      </a:lnTo>
                      <a:lnTo>
                        <a:pt x="25" y="35"/>
                      </a:lnTo>
                      <a:lnTo>
                        <a:pt x="26" y="37"/>
                      </a:lnTo>
                      <a:lnTo>
                        <a:pt x="27" y="37"/>
                      </a:lnTo>
                      <a:lnTo>
                        <a:pt x="34" y="35"/>
                      </a:lnTo>
                      <a:lnTo>
                        <a:pt x="36" y="34"/>
                      </a:lnTo>
                      <a:lnTo>
                        <a:pt x="40" y="34"/>
                      </a:lnTo>
                      <a:lnTo>
                        <a:pt x="44" y="37"/>
                      </a:lnTo>
                      <a:lnTo>
                        <a:pt x="46" y="40"/>
                      </a:lnTo>
                      <a:lnTo>
                        <a:pt x="48" y="41"/>
                      </a:lnTo>
                      <a:lnTo>
                        <a:pt x="50" y="41"/>
                      </a:lnTo>
                      <a:lnTo>
                        <a:pt x="52" y="40"/>
                      </a:lnTo>
                      <a:lnTo>
                        <a:pt x="53" y="38"/>
                      </a:lnTo>
                      <a:lnTo>
                        <a:pt x="52" y="33"/>
                      </a:lnTo>
                      <a:lnTo>
                        <a:pt x="52" y="31"/>
                      </a:lnTo>
                      <a:lnTo>
                        <a:pt x="52" y="28"/>
                      </a:lnTo>
                      <a:lnTo>
                        <a:pt x="55" y="19"/>
                      </a:lnTo>
                      <a:lnTo>
                        <a:pt x="57" y="19"/>
                      </a:lnTo>
                      <a:lnTo>
                        <a:pt x="59" y="19"/>
                      </a:lnTo>
                      <a:lnTo>
                        <a:pt x="62" y="19"/>
                      </a:lnTo>
                      <a:lnTo>
                        <a:pt x="64" y="18"/>
                      </a:lnTo>
                      <a:lnTo>
                        <a:pt x="66" y="14"/>
                      </a:lnTo>
                      <a:lnTo>
                        <a:pt x="67" y="13"/>
                      </a:lnTo>
                      <a:lnTo>
                        <a:pt x="68" y="13"/>
                      </a:lnTo>
                      <a:lnTo>
                        <a:pt x="73" y="15"/>
                      </a:lnTo>
                      <a:lnTo>
                        <a:pt x="74" y="15"/>
                      </a:lnTo>
                      <a:lnTo>
                        <a:pt x="77" y="15"/>
                      </a:lnTo>
                      <a:lnTo>
                        <a:pt x="82" y="13"/>
                      </a:lnTo>
                      <a:lnTo>
                        <a:pt x="86" y="13"/>
                      </a:lnTo>
                      <a:lnTo>
                        <a:pt x="91" y="12"/>
                      </a:lnTo>
                      <a:lnTo>
                        <a:pt x="95" y="9"/>
                      </a:lnTo>
                      <a:lnTo>
                        <a:pt x="93" y="8"/>
                      </a:lnTo>
                      <a:lnTo>
                        <a:pt x="91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9" name="Freeform 394">
                  <a:extLst>
                    <a:ext uri="{FF2B5EF4-FFF2-40B4-BE49-F238E27FC236}">
                      <a16:creationId xmlns:a16="http://schemas.microsoft.com/office/drawing/2014/main" id="{CD304E6E-3EEC-0445-9F53-BA7E5BB8D5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6266" y="1716332"/>
                  <a:ext cx="110991" cy="90273"/>
                </a:xfrm>
                <a:custGeom>
                  <a:avLst/>
                  <a:gdLst>
                    <a:gd name="T0" fmla="*/ 2147483647 w 81"/>
                    <a:gd name="T1" fmla="*/ 2147483647 h 61"/>
                    <a:gd name="T2" fmla="*/ 2147483647 w 81"/>
                    <a:gd name="T3" fmla="*/ 2147483647 h 61"/>
                    <a:gd name="T4" fmla="*/ 2147483647 w 81"/>
                    <a:gd name="T5" fmla="*/ 2147483647 h 61"/>
                    <a:gd name="T6" fmla="*/ 2147483647 w 81"/>
                    <a:gd name="T7" fmla="*/ 2147483647 h 61"/>
                    <a:gd name="T8" fmla="*/ 2147483647 w 81"/>
                    <a:gd name="T9" fmla="*/ 2147483647 h 61"/>
                    <a:gd name="T10" fmla="*/ 2147483647 w 81"/>
                    <a:gd name="T11" fmla="*/ 2147483647 h 61"/>
                    <a:gd name="T12" fmla="*/ 2147483647 w 81"/>
                    <a:gd name="T13" fmla="*/ 2147483647 h 61"/>
                    <a:gd name="T14" fmla="*/ 2147483647 w 81"/>
                    <a:gd name="T15" fmla="*/ 2147483647 h 61"/>
                    <a:gd name="T16" fmla="*/ 2147483647 w 81"/>
                    <a:gd name="T17" fmla="*/ 2147483647 h 61"/>
                    <a:gd name="T18" fmla="*/ 2147483647 w 81"/>
                    <a:gd name="T19" fmla="*/ 2147483647 h 61"/>
                    <a:gd name="T20" fmla="*/ 2147483647 w 81"/>
                    <a:gd name="T21" fmla="*/ 0 h 61"/>
                    <a:gd name="T22" fmla="*/ 2147483647 w 81"/>
                    <a:gd name="T23" fmla="*/ 2147483647 h 61"/>
                    <a:gd name="T24" fmla="*/ 2147483647 w 81"/>
                    <a:gd name="T25" fmla="*/ 2147483647 h 61"/>
                    <a:gd name="T26" fmla="*/ 2147483647 w 81"/>
                    <a:gd name="T27" fmla="*/ 2147483647 h 61"/>
                    <a:gd name="T28" fmla="*/ 2147483647 w 81"/>
                    <a:gd name="T29" fmla="*/ 2147483647 h 61"/>
                    <a:gd name="T30" fmla="*/ 2147483647 w 81"/>
                    <a:gd name="T31" fmla="*/ 2147483647 h 61"/>
                    <a:gd name="T32" fmla="*/ 2147483647 w 81"/>
                    <a:gd name="T33" fmla="*/ 2147483647 h 61"/>
                    <a:gd name="T34" fmla="*/ 2147483647 w 81"/>
                    <a:gd name="T35" fmla="*/ 2147483647 h 61"/>
                    <a:gd name="T36" fmla="*/ 2147483647 w 81"/>
                    <a:gd name="T37" fmla="*/ 2147483647 h 61"/>
                    <a:gd name="T38" fmla="*/ 2147483647 w 81"/>
                    <a:gd name="T39" fmla="*/ 2147483647 h 61"/>
                    <a:gd name="T40" fmla="*/ 2147483647 w 81"/>
                    <a:gd name="T41" fmla="*/ 2147483647 h 61"/>
                    <a:gd name="T42" fmla="*/ 2147483647 w 81"/>
                    <a:gd name="T43" fmla="*/ 2147483647 h 61"/>
                    <a:gd name="T44" fmla="*/ 2147483647 w 81"/>
                    <a:gd name="T45" fmla="*/ 2147483647 h 61"/>
                    <a:gd name="T46" fmla="*/ 2147483647 w 81"/>
                    <a:gd name="T47" fmla="*/ 2147483647 h 61"/>
                    <a:gd name="T48" fmla="*/ 2147483647 w 81"/>
                    <a:gd name="T49" fmla="*/ 2147483647 h 61"/>
                    <a:gd name="T50" fmla="*/ 2147483647 w 81"/>
                    <a:gd name="T51" fmla="*/ 2147483647 h 61"/>
                    <a:gd name="T52" fmla="*/ 2147483647 w 81"/>
                    <a:gd name="T53" fmla="*/ 2147483647 h 61"/>
                    <a:gd name="T54" fmla="*/ 2147483647 w 81"/>
                    <a:gd name="T55" fmla="*/ 2147483647 h 61"/>
                    <a:gd name="T56" fmla="*/ 2147483647 w 81"/>
                    <a:gd name="T57" fmla="*/ 2147483647 h 61"/>
                    <a:gd name="T58" fmla="*/ 2147483647 w 81"/>
                    <a:gd name="T59" fmla="*/ 2147483647 h 61"/>
                    <a:gd name="T60" fmla="*/ 2147483647 w 81"/>
                    <a:gd name="T61" fmla="*/ 2147483647 h 61"/>
                    <a:gd name="T62" fmla="*/ 2147483647 w 81"/>
                    <a:gd name="T63" fmla="*/ 2147483647 h 61"/>
                    <a:gd name="T64" fmla="*/ 2147483647 w 81"/>
                    <a:gd name="T65" fmla="*/ 2147483647 h 61"/>
                    <a:gd name="T66" fmla="*/ 2147483647 w 81"/>
                    <a:gd name="T67" fmla="*/ 2147483647 h 61"/>
                    <a:gd name="T68" fmla="*/ 2147483647 w 81"/>
                    <a:gd name="T69" fmla="*/ 2147483647 h 61"/>
                    <a:gd name="T70" fmla="*/ 2147483647 w 81"/>
                    <a:gd name="T71" fmla="*/ 2147483647 h 61"/>
                    <a:gd name="T72" fmla="*/ 2147483647 w 81"/>
                    <a:gd name="T73" fmla="*/ 2147483647 h 61"/>
                    <a:gd name="T74" fmla="*/ 2147483647 w 81"/>
                    <a:gd name="T75" fmla="*/ 2147483647 h 61"/>
                    <a:gd name="T76" fmla="*/ 2147483647 w 81"/>
                    <a:gd name="T77" fmla="*/ 2147483647 h 61"/>
                    <a:gd name="T78" fmla="*/ 2147483647 w 81"/>
                    <a:gd name="T79" fmla="*/ 2147483647 h 61"/>
                    <a:gd name="T80" fmla="*/ 2147483647 w 81"/>
                    <a:gd name="T81" fmla="*/ 2147483647 h 61"/>
                    <a:gd name="T82" fmla="*/ 2147483647 w 81"/>
                    <a:gd name="T83" fmla="*/ 2147483647 h 61"/>
                    <a:gd name="T84" fmla="*/ 2147483647 w 81"/>
                    <a:gd name="T85" fmla="*/ 2147483647 h 61"/>
                    <a:gd name="T86" fmla="*/ 2147483647 w 81"/>
                    <a:gd name="T87" fmla="*/ 2147483647 h 61"/>
                    <a:gd name="T88" fmla="*/ 2147483647 w 81"/>
                    <a:gd name="T89" fmla="*/ 2147483647 h 61"/>
                    <a:gd name="T90" fmla="*/ 2147483647 w 81"/>
                    <a:gd name="T91" fmla="*/ 2147483647 h 61"/>
                    <a:gd name="T92" fmla="*/ 2147483647 w 81"/>
                    <a:gd name="T93" fmla="*/ 2147483647 h 61"/>
                    <a:gd name="T94" fmla="*/ 2147483647 w 81"/>
                    <a:gd name="T95" fmla="*/ 2147483647 h 61"/>
                    <a:gd name="T96" fmla="*/ 2147483647 w 81"/>
                    <a:gd name="T97" fmla="*/ 2147483647 h 61"/>
                    <a:gd name="T98" fmla="*/ 2147483647 w 81"/>
                    <a:gd name="T99" fmla="*/ 2147483647 h 61"/>
                    <a:gd name="T100" fmla="*/ 2147483647 w 81"/>
                    <a:gd name="T101" fmla="*/ 2147483647 h 61"/>
                    <a:gd name="T102" fmla="*/ 2147483647 w 81"/>
                    <a:gd name="T103" fmla="*/ 2147483647 h 61"/>
                    <a:gd name="T104" fmla="*/ 2147483647 w 81"/>
                    <a:gd name="T105" fmla="*/ 2147483647 h 61"/>
                    <a:gd name="T106" fmla="*/ 2147483647 w 81"/>
                    <a:gd name="T107" fmla="*/ 2147483647 h 61"/>
                    <a:gd name="T108" fmla="*/ 2147483647 w 81"/>
                    <a:gd name="T109" fmla="*/ 2147483647 h 61"/>
                    <a:gd name="T110" fmla="*/ 2147483647 w 81"/>
                    <a:gd name="T111" fmla="*/ 2147483647 h 61"/>
                    <a:gd name="T112" fmla="*/ 2147483647 w 81"/>
                    <a:gd name="T113" fmla="*/ 2147483647 h 61"/>
                    <a:gd name="T114" fmla="*/ 2147483647 w 81"/>
                    <a:gd name="T115" fmla="*/ 2147483647 h 61"/>
                    <a:gd name="T116" fmla="*/ 2147483647 w 81"/>
                    <a:gd name="T117" fmla="*/ 2147483647 h 61"/>
                    <a:gd name="T118" fmla="*/ 2147483647 w 81"/>
                    <a:gd name="T119" fmla="*/ 2147483647 h 6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1"/>
                    <a:gd name="T181" fmla="*/ 0 h 61"/>
                    <a:gd name="T182" fmla="*/ 81 w 81"/>
                    <a:gd name="T183" fmla="*/ 61 h 6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1" h="61">
                      <a:moveTo>
                        <a:pt x="80" y="26"/>
                      </a:moveTo>
                      <a:lnTo>
                        <a:pt x="80" y="26"/>
                      </a:lnTo>
                      <a:lnTo>
                        <a:pt x="79" y="23"/>
                      </a:lnTo>
                      <a:lnTo>
                        <a:pt x="78" y="22"/>
                      </a:lnTo>
                      <a:lnTo>
                        <a:pt x="75" y="22"/>
                      </a:lnTo>
                      <a:lnTo>
                        <a:pt x="71" y="23"/>
                      </a:lnTo>
                      <a:lnTo>
                        <a:pt x="67" y="23"/>
                      </a:lnTo>
                      <a:lnTo>
                        <a:pt x="66" y="22"/>
                      </a:lnTo>
                      <a:lnTo>
                        <a:pt x="66" y="20"/>
                      </a:lnTo>
                      <a:lnTo>
                        <a:pt x="69" y="17"/>
                      </a:lnTo>
                      <a:lnTo>
                        <a:pt x="70" y="15"/>
                      </a:lnTo>
                      <a:lnTo>
                        <a:pt x="74" y="9"/>
                      </a:lnTo>
                      <a:lnTo>
                        <a:pt x="78" y="3"/>
                      </a:lnTo>
                      <a:lnTo>
                        <a:pt x="78" y="2"/>
                      </a:lnTo>
                      <a:lnTo>
                        <a:pt x="78" y="1"/>
                      </a:lnTo>
                      <a:lnTo>
                        <a:pt x="76" y="0"/>
                      </a:lnTo>
                      <a:lnTo>
                        <a:pt x="75" y="0"/>
                      </a:lnTo>
                      <a:lnTo>
                        <a:pt x="73" y="2"/>
                      </a:lnTo>
                      <a:lnTo>
                        <a:pt x="71" y="4"/>
                      </a:lnTo>
                      <a:lnTo>
                        <a:pt x="69" y="6"/>
                      </a:lnTo>
                      <a:lnTo>
                        <a:pt x="67" y="4"/>
                      </a:lnTo>
                      <a:lnTo>
                        <a:pt x="66" y="3"/>
                      </a:lnTo>
                      <a:lnTo>
                        <a:pt x="65" y="3"/>
                      </a:lnTo>
                      <a:lnTo>
                        <a:pt x="62" y="3"/>
                      </a:lnTo>
                      <a:lnTo>
                        <a:pt x="61" y="4"/>
                      </a:lnTo>
                      <a:lnTo>
                        <a:pt x="59" y="9"/>
                      </a:lnTo>
                      <a:lnTo>
                        <a:pt x="57" y="9"/>
                      </a:lnTo>
                      <a:lnTo>
                        <a:pt x="56" y="9"/>
                      </a:lnTo>
                      <a:lnTo>
                        <a:pt x="53" y="8"/>
                      </a:lnTo>
                      <a:lnTo>
                        <a:pt x="52" y="8"/>
                      </a:lnTo>
                      <a:lnTo>
                        <a:pt x="51" y="10"/>
                      </a:lnTo>
                      <a:lnTo>
                        <a:pt x="51" y="13"/>
                      </a:lnTo>
                      <a:lnTo>
                        <a:pt x="51" y="15"/>
                      </a:lnTo>
                      <a:lnTo>
                        <a:pt x="51" y="16"/>
                      </a:lnTo>
                      <a:lnTo>
                        <a:pt x="46" y="19"/>
                      </a:lnTo>
                      <a:lnTo>
                        <a:pt x="40" y="21"/>
                      </a:lnTo>
                      <a:lnTo>
                        <a:pt x="33" y="22"/>
                      </a:lnTo>
                      <a:lnTo>
                        <a:pt x="27" y="25"/>
                      </a:lnTo>
                      <a:lnTo>
                        <a:pt x="22" y="26"/>
                      </a:lnTo>
                      <a:lnTo>
                        <a:pt x="17" y="25"/>
                      </a:lnTo>
                      <a:lnTo>
                        <a:pt x="12" y="23"/>
                      </a:lnTo>
                      <a:lnTo>
                        <a:pt x="7" y="25"/>
                      </a:lnTo>
                      <a:lnTo>
                        <a:pt x="1" y="27"/>
                      </a:lnTo>
                      <a:lnTo>
                        <a:pt x="0" y="28"/>
                      </a:lnTo>
                      <a:lnTo>
                        <a:pt x="1" y="29"/>
                      </a:lnTo>
                      <a:lnTo>
                        <a:pt x="4" y="30"/>
                      </a:lnTo>
                      <a:lnTo>
                        <a:pt x="9" y="30"/>
                      </a:lnTo>
                      <a:lnTo>
                        <a:pt x="10" y="33"/>
                      </a:lnTo>
                      <a:lnTo>
                        <a:pt x="12" y="34"/>
                      </a:lnTo>
                      <a:lnTo>
                        <a:pt x="10" y="41"/>
                      </a:lnTo>
                      <a:lnTo>
                        <a:pt x="8" y="47"/>
                      </a:lnTo>
                      <a:lnTo>
                        <a:pt x="7" y="53"/>
                      </a:lnTo>
                      <a:lnTo>
                        <a:pt x="7" y="57"/>
                      </a:lnTo>
                      <a:lnTo>
                        <a:pt x="8" y="60"/>
                      </a:lnTo>
                      <a:lnTo>
                        <a:pt x="9" y="61"/>
                      </a:lnTo>
                      <a:lnTo>
                        <a:pt x="10" y="60"/>
                      </a:lnTo>
                      <a:lnTo>
                        <a:pt x="13" y="58"/>
                      </a:lnTo>
                      <a:lnTo>
                        <a:pt x="14" y="58"/>
                      </a:lnTo>
                      <a:lnTo>
                        <a:pt x="15" y="58"/>
                      </a:lnTo>
                      <a:lnTo>
                        <a:pt x="17" y="59"/>
                      </a:lnTo>
                      <a:lnTo>
                        <a:pt x="17" y="61"/>
                      </a:lnTo>
                      <a:lnTo>
                        <a:pt x="19" y="61"/>
                      </a:lnTo>
                      <a:lnTo>
                        <a:pt x="22" y="59"/>
                      </a:lnTo>
                      <a:lnTo>
                        <a:pt x="26" y="58"/>
                      </a:lnTo>
                      <a:lnTo>
                        <a:pt x="34" y="57"/>
                      </a:lnTo>
                      <a:lnTo>
                        <a:pt x="37" y="55"/>
                      </a:lnTo>
                      <a:lnTo>
                        <a:pt x="38" y="54"/>
                      </a:lnTo>
                      <a:lnTo>
                        <a:pt x="38" y="51"/>
                      </a:lnTo>
                      <a:lnTo>
                        <a:pt x="38" y="47"/>
                      </a:lnTo>
                      <a:lnTo>
                        <a:pt x="38" y="44"/>
                      </a:lnTo>
                      <a:lnTo>
                        <a:pt x="40" y="42"/>
                      </a:lnTo>
                      <a:lnTo>
                        <a:pt x="42" y="44"/>
                      </a:lnTo>
                      <a:lnTo>
                        <a:pt x="45" y="47"/>
                      </a:lnTo>
                      <a:lnTo>
                        <a:pt x="46" y="48"/>
                      </a:lnTo>
                      <a:lnTo>
                        <a:pt x="47" y="48"/>
                      </a:lnTo>
                      <a:lnTo>
                        <a:pt x="53" y="46"/>
                      </a:lnTo>
                      <a:lnTo>
                        <a:pt x="60" y="45"/>
                      </a:lnTo>
                      <a:lnTo>
                        <a:pt x="65" y="45"/>
                      </a:lnTo>
                      <a:lnTo>
                        <a:pt x="70" y="42"/>
                      </a:lnTo>
                      <a:lnTo>
                        <a:pt x="70" y="41"/>
                      </a:lnTo>
                      <a:lnTo>
                        <a:pt x="70" y="40"/>
                      </a:lnTo>
                      <a:lnTo>
                        <a:pt x="67" y="36"/>
                      </a:lnTo>
                      <a:lnTo>
                        <a:pt x="67" y="34"/>
                      </a:lnTo>
                      <a:lnTo>
                        <a:pt x="67" y="32"/>
                      </a:lnTo>
                      <a:lnTo>
                        <a:pt x="69" y="32"/>
                      </a:lnTo>
                      <a:lnTo>
                        <a:pt x="71" y="32"/>
                      </a:lnTo>
                      <a:lnTo>
                        <a:pt x="74" y="33"/>
                      </a:lnTo>
                      <a:lnTo>
                        <a:pt x="76" y="33"/>
                      </a:lnTo>
                      <a:lnTo>
                        <a:pt x="79" y="33"/>
                      </a:lnTo>
                      <a:lnTo>
                        <a:pt x="81" y="30"/>
                      </a:lnTo>
                      <a:lnTo>
                        <a:pt x="81" y="29"/>
                      </a:lnTo>
                      <a:lnTo>
                        <a:pt x="80" y="2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0" name="Freeform 395">
                  <a:extLst>
                    <a:ext uri="{FF2B5EF4-FFF2-40B4-BE49-F238E27FC236}">
                      <a16:creationId xmlns:a16="http://schemas.microsoft.com/office/drawing/2014/main" id="{575478DC-1313-C643-BDC8-CDEDC06AF0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4157" y="1725211"/>
                  <a:ext cx="128748" cy="60675"/>
                </a:xfrm>
                <a:custGeom>
                  <a:avLst/>
                  <a:gdLst>
                    <a:gd name="T0" fmla="*/ 2147483647 w 95"/>
                    <a:gd name="T1" fmla="*/ 2147483647 h 41"/>
                    <a:gd name="T2" fmla="*/ 2147483647 w 95"/>
                    <a:gd name="T3" fmla="*/ 2147483647 h 41"/>
                    <a:gd name="T4" fmla="*/ 2147483647 w 95"/>
                    <a:gd name="T5" fmla="*/ 2147483647 h 41"/>
                    <a:gd name="T6" fmla="*/ 2147483647 w 95"/>
                    <a:gd name="T7" fmla="*/ 2147483647 h 41"/>
                    <a:gd name="T8" fmla="*/ 2147483647 w 95"/>
                    <a:gd name="T9" fmla="*/ 0 h 41"/>
                    <a:gd name="T10" fmla="*/ 2147483647 w 95"/>
                    <a:gd name="T11" fmla="*/ 2147483647 h 41"/>
                    <a:gd name="T12" fmla="*/ 2147483647 w 95"/>
                    <a:gd name="T13" fmla="*/ 2147483647 h 41"/>
                    <a:gd name="T14" fmla="*/ 2147483647 w 95"/>
                    <a:gd name="T15" fmla="*/ 2147483647 h 41"/>
                    <a:gd name="T16" fmla="*/ 0 w 95"/>
                    <a:gd name="T17" fmla="*/ 2147483647 h 41"/>
                    <a:gd name="T18" fmla="*/ 2147483647 w 95"/>
                    <a:gd name="T19" fmla="*/ 2147483647 h 41"/>
                    <a:gd name="T20" fmla="*/ 2147483647 w 95"/>
                    <a:gd name="T21" fmla="*/ 2147483647 h 41"/>
                    <a:gd name="T22" fmla="*/ 2147483647 w 95"/>
                    <a:gd name="T23" fmla="*/ 2147483647 h 41"/>
                    <a:gd name="T24" fmla="*/ 2147483647 w 95"/>
                    <a:gd name="T25" fmla="*/ 2147483647 h 41"/>
                    <a:gd name="T26" fmla="*/ 2147483647 w 95"/>
                    <a:gd name="T27" fmla="*/ 2147483647 h 41"/>
                    <a:gd name="T28" fmla="*/ 2147483647 w 95"/>
                    <a:gd name="T29" fmla="*/ 2147483647 h 41"/>
                    <a:gd name="T30" fmla="*/ 2147483647 w 95"/>
                    <a:gd name="T31" fmla="*/ 2147483647 h 41"/>
                    <a:gd name="T32" fmla="*/ 2147483647 w 95"/>
                    <a:gd name="T33" fmla="*/ 2147483647 h 41"/>
                    <a:gd name="T34" fmla="*/ 2147483647 w 95"/>
                    <a:gd name="T35" fmla="*/ 2147483647 h 41"/>
                    <a:gd name="T36" fmla="*/ 2147483647 w 95"/>
                    <a:gd name="T37" fmla="*/ 2147483647 h 41"/>
                    <a:gd name="T38" fmla="*/ 2147483647 w 95"/>
                    <a:gd name="T39" fmla="*/ 2147483647 h 41"/>
                    <a:gd name="T40" fmla="*/ 2147483647 w 95"/>
                    <a:gd name="T41" fmla="*/ 2147483647 h 41"/>
                    <a:gd name="T42" fmla="*/ 2147483647 w 95"/>
                    <a:gd name="T43" fmla="*/ 2147483647 h 41"/>
                    <a:gd name="T44" fmla="*/ 2147483647 w 95"/>
                    <a:gd name="T45" fmla="*/ 2147483647 h 41"/>
                    <a:gd name="T46" fmla="*/ 2147483647 w 95"/>
                    <a:gd name="T47" fmla="*/ 2147483647 h 41"/>
                    <a:gd name="T48" fmla="*/ 2147483647 w 95"/>
                    <a:gd name="T49" fmla="*/ 2147483647 h 41"/>
                    <a:gd name="T50" fmla="*/ 2147483647 w 95"/>
                    <a:gd name="T51" fmla="*/ 2147483647 h 41"/>
                    <a:gd name="T52" fmla="*/ 2147483647 w 95"/>
                    <a:gd name="T53" fmla="*/ 2147483647 h 41"/>
                    <a:gd name="T54" fmla="*/ 2147483647 w 95"/>
                    <a:gd name="T55" fmla="*/ 2147483647 h 41"/>
                    <a:gd name="T56" fmla="*/ 2147483647 w 95"/>
                    <a:gd name="T57" fmla="*/ 2147483647 h 41"/>
                    <a:gd name="T58" fmla="*/ 2147483647 w 95"/>
                    <a:gd name="T59" fmla="*/ 2147483647 h 41"/>
                    <a:gd name="T60" fmla="*/ 2147483647 w 95"/>
                    <a:gd name="T61" fmla="*/ 2147483647 h 41"/>
                    <a:gd name="T62" fmla="*/ 2147483647 w 95"/>
                    <a:gd name="T63" fmla="*/ 2147483647 h 41"/>
                    <a:gd name="T64" fmla="*/ 2147483647 w 95"/>
                    <a:gd name="T65" fmla="*/ 2147483647 h 41"/>
                    <a:gd name="T66" fmla="*/ 2147483647 w 95"/>
                    <a:gd name="T67" fmla="*/ 2147483647 h 41"/>
                    <a:gd name="T68" fmla="*/ 2147483647 w 95"/>
                    <a:gd name="T69" fmla="*/ 2147483647 h 41"/>
                    <a:gd name="T70" fmla="*/ 2147483647 w 95"/>
                    <a:gd name="T71" fmla="*/ 2147483647 h 41"/>
                    <a:gd name="T72" fmla="*/ 2147483647 w 95"/>
                    <a:gd name="T73" fmla="*/ 2147483647 h 4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95"/>
                    <a:gd name="T112" fmla="*/ 0 h 41"/>
                    <a:gd name="T113" fmla="*/ 95 w 95"/>
                    <a:gd name="T114" fmla="*/ 41 h 4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95" h="41">
                      <a:moveTo>
                        <a:pt x="92" y="7"/>
                      </a:moveTo>
                      <a:lnTo>
                        <a:pt x="92" y="7"/>
                      </a:lnTo>
                      <a:lnTo>
                        <a:pt x="89" y="4"/>
                      </a:lnTo>
                      <a:lnTo>
                        <a:pt x="85" y="3"/>
                      </a:lnTo>
                      <a:lnTo>
                        <a:pt x="74" y="2"/>
                      </a:lnTo>
                      <a:lnTo>
                        <a:pt x="64" y="1"/>
                      </a:lnTo>
                      <a:lnTo>
                        <a:pt x="56" y="0"/>
                      </a:lnTo>
                      <a:lnTo>
                        <a:pt x="52" y="0"/>
                      </a:lnTo>
                      <a:lnTo>
                        <a:pt x="50" y="1"/>
                      </a:lnTo>
                      <a:lnTo>
                        <a:pt x="38" y="8"/>
                      </a:lnTo>
                      <a:lnTo>
                        <a:pt x="26" y="13"/>
                      </a:lnTo>
                      <a:lnTo>
                        <a:pt x="14" y="17"/>
                      </a:lnTo>
                      <a:lnTo>
                        <a:pt x="2" y="20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2" y="24"/>
                      </a:lnTo>
                      <a:lnTo>
                        <a:pt x="4" y="28"/>
                      </a:lnTo>
                      <a:lnTo>
                        <a:pt x="7" y="30"/>
                      </a:lnTo>
                      <a:lnTo>
                        <a:pt x="9" y="32"/>
                      </a:lnTo>
                      <a:lnTo>
                        <a:pt x="10" y="32"/>
                      </a:lnTo>
                      <a:lnTo>
                        <a:pt x="14" y="29"/>
                      </a:lnTo>
                      <a:lnTo>
                        <a:pt x="19" y="34"/>
                      </a:lnTo>
                      <a:lnTo>
                        <a:pt x="22" y="35"/>
                      </a:lnTo>
                      <a:lnTo>
                        <a:pt x="26" y="35"/>
                      </a:lnTo>
                      <a:lnTo>
                        <a:pt x="27" y="36"/>
                      </a:lnTo>
                      <a:lnTo>
                        <a:pt x="28" y="36"/>
                      </a:lnTo>
                      <a:lnTo>
                        <a:pt x="35" y="35"/>
                      </a:lnTo>
                      <a:lnTo>
                        <a:pt x="37" y="34"/>
                      </a:lnTo>
                      <a:lnTo>
                        <a:pt x="41" y="34"/>
                      </a:lnTo>
                      <a:lnTo>
                        <a:pt x="45" y="36"/>
                      </a:lnTo>
                      <a:lnTo>
                        <a:pt x="47" y="40"/>
                      </a:lnTo>
                      <a:lnTo>
                        <a:pt x="48" y="41"/>
                      </a:lnTo>
                      <a:lnTo>
                        <a:pt x="51" y="41"/>
                      </a:lnTo>
                      <a:lnTo>
                        <a:pt x="52" y="40"/>
                      </a:lnTo>
                      <a:lnTo>
                        <a:pt x="54" y="38"/>
                      </a:lnTo>
                      <a:lnTo>
                        <a:pt x="52" y="33"/>
                      </a:lnTo>
                      <a:lnTo>
                        <a:pt x="52" y="30"/>
                      </a:lnTo>
                      <a:lnTo>
                        <a:pt x="52" y="28"/>
                      </a:lnTo>
                      <a:lnTo>
                        <a:pt x="56" y="19"/>
                      </a:lnTo>
                      <a:lnTo>
                        <a:pt x="57" y="19"/>
                      </a:lnTo>
                      <a:lnTo>
                        <a:pt x="60" y="19"/>
                      </a:lnTo>
                      <a:lnTo>
                        <a:pt x="62" y="19"/>
                      </a:lnTo>
                      <a:lnTo>
                        <a:pt x="65" y="17"/>
                      </a:lnTo>
                      <a:lnTo>
                        <a:pt x="66" y="14"/>
                      </a:lnTo>
                      <a:lnTo>
                        <a:pt x="68" y="13"/>
                      </a:lnTo>
                      <a:lnTo>
                        <a:pt x="69" y="13"/>
                      </a:lnTo>
                      <a:lnTo>
                        <a:pt x="74" y="15"/>
                      </a:lnTo>
                      <a:lnTo>
                        <a:pt x="75" y="15"/>
                      </a:lnTo>
                      <a:lnTo>
                        <a:pt x="78" y="15"/>
                      </a:lnTo>
                      <a:lnTo>
                        <a:pt x="83" y="13"/>
                      </a:lnTo>
                      <a:lnTo>
                        <a:pt x="87" y="13"/>
                      </a:lnTo>
                      <a:lnTo>
                        <a:pt x="92" y="11"/>
                      </a:lnTo>
                      <a:lnTo>
                        <a:pt x="95" y="9"/>
                      </a:lnTo>
                      <a:lnTo>
                        <a:pt x="94" y="8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1" name="Freeform 396">
                  <a:extLst>
                    <a:ext uri="{FF2B5EF4-FFF2-40B4-BE49-F238E27FC236}">
                      <a16:creationId xmlns:a16="http://schemas.microsoft.com/office/drawing/2014/main" id="{3FAE230D-A514-8849-8ED6-17BAB08BFA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0338" y="1787370"/>
                  <a:ext cx="38477" cy="20718"/>
                </a:xfrm>
                <a:custGeom>
                  <a:avLst/>
                  <a:gdLst>
                    <a:gd name="T0" fmla="*/ 2147483647 w 28"/>
                    <a:gd name="T1" fmla="*/ 0 h 14"/>
                    <a:gd name="T2" fmla="*/ 2147483647 w 28"/>
                    <a:gd name="T3" fmla="*/ 0 h 14"/>
                    <a:gd name="T4" fmla="*/ 2147483647 w 28"/>
                    <a:gd name="T5" fmla="*/ 2147483647 h 14"/>
                    <a:gd name="T6" fmla="*/ 2147483647 w 28"/>
                    <a:gd name="T7" fmla="*/ 2147483647 h 14"/>
                    <a:gd name="T8" fmla="*/ 2147483647 w 28"/>
                    <a:gd name="T9" fmla="*/ 2147483647 h 14"/>
                    <a:gd name="T10" fmla="*/ 0 w 28"/>
                    <a:gd name="T11" fmla="*/ 2147483647 h 14"/>
                    <a:gd name="T12" fmla="*/ 2147483647 w 28"/>
                    <a:gd name="T13" fmla="*/ 2147483647 h 14"/>
                    <a:gd name="T14" fmla="*/ 2147483647 w 28"/>
                    <a:gd name="T15" fmla="*/ 2147483647 h 14"/>
                    <a:gd name="T16" fmla="*/ 2147483647 w 28"/>
                    <a:gd name="T17" fmla="*/ 2147483647 h 14"/>
                    <a:gd name="T18" fmla="*/ 2147483647 w 28"/>
                    <a:gd name="T19" fmla="*/ 2147483647 h 14"/>
                    <a:gd name="T20" fmla="*/ 2147483647 w 28"/>
                    <a:gd name="T21" fmla="*/ 2147483647 h 14"/>
                    <a:gd name="T22" fmla="*/ 2147483647 w 28"/>
                    <a:gd name="T23" fmla="*/ 2147483647 h 14"/>
                    <a:gd name="T24" fmla="*/ 2147483647 w 28"/>
                    <a:gd name="T25" fmla="*/ 2147483647 h 14"/>
                    <a:gd name="T26" fmla="*/ 2147483647 w 28"/>
                    <a:gd name="T27" fmla="*/ 2147483647 h 14"/>
                    <a:gd name="T28" fmla="*/ 2147483647 w 28"/>
                    <a:gd name="T29" fmla="*/ 2147483647 h 14"/>
                    <a:gd name="T30" fmla="*/ 2147483647 w 28"/>
                    <a:gd name="T31" fmla="*/ 0 h 14"/>
                    <a:gd name="T32" fmla="*/ 2147483647 w 28"/>
                    <a:gd name="T33" fmla="*/ 0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8"/>
                    <a:gd name="T52" fmla="*/ 0 h 14"/>
                    <a:gd name="T53" fmla="*/ 28 w 28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8" h="14">
                      <a:moveTo>
                        <a:pt x="26" y="0"/>
                      </a:moveTo>
                      <a:lnTo>
                        <a:pt x="20" y="0"/>
                      </a:lnTo>
                      <a:lnTo>
                        <a:pt x="13" y="3"/>
                      </a:lnTo>
                      <a:lnTo>
                        <a:pt x="7" y="5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1" y="13"/>
                      </a:lnTo>
                      <a:lnTo>
                        <a:pt x="2" y="14"/>
                      </a:lnTo>
                      <a:lnTo>
                        <a:pt x="4" y="14"/>
                      </a:ln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4" y="10"/>
                      </a:lnTo>
                      <a:lnTo>
                        <a:pt x="23" y="9"/>
                      </a:lnTo>
                      <a:lnTo>
                        <a:pt x="25" y="7"/>
                      </a:lnTo>
                      <a:lnTo>
                        <a:pt x="26" y="5"/>
                      </a:lnTo>
                      <a:lnTo>
                        <a:pt x="28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2" name="Freeform 397">
                  <a:extLst>
                    <a:ext uri="{FF2B5EF4-FFF2-40B4-BE49-F238E27FC236}">
                      <a16:creationId xmlns:a16="http://schemas.microsoft.com/office/drawing/2014/main" id="{70ADAD3C-48DB-0F40-9F22-CCD0BE5AB7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0063" y="1871720"/>
                  <a:ext cx="26637" cy="11839"/>
                </a:xfrm>
                <a:custGeom>
                  <a:avLst/>
                  <a:gdLst>
                    <a:gd name="T0" fmla="*/ 2147483647 w 19"/>
                    <a:gd name="T1" fmla="*/ 2147483647 h 8"/>
                    <a:gd name="T2" fmla="*/ 2147483647 w 19"/>
                    <a:gd name="T3" fmla="*/ 0 h 8"/>
                    <a:gd name="T4" fmla="*/ 2147483647 w 19"/>
                    <a:gd name="T5" fmla="*/ 0 h 8"/>
                    <a:gd name="T6" fmla="*/ 2147483647 w 19"/>
                    <a:gd name="T7" fmla="*/ 0 h 8"/>
                    <a:gd name="T8" fmla="*/ 2147483647 w 19"/>
                    <a:gd name="T9" fmla="*/ 2147483647 h 8"/>
                    <a:gd name="T10" fmla="*/ 0 w 19"/>
                    <a:gd name="T11" fmla="*/ 2147483647 h 8"/>
                    <a:gd name="T12" fmla="*/ 0 w 19"/>
                    <a:gd name="T13" fmla="*/ 2147483647 h 8"/>
                    <a:gd name="T14" fmla="*/ 0 w 19"/>
                    <a:gd name="T15" fmla="*/ 2147483647 h 8"/>
                    <a:gd name="T16" fmla="*/ 2147483647 w 19"/>
                    <a:gd name="T17" fmla="*/ 2147483647 h 8"/>
                    <a:gd name="T18" fmla="*/ 2147483647 w 19"/>
                    <a:gd name="T19" fmla="*/ 2147483647 h 8"/>
                    <a:gd name="T20" fmla="*/ 2147483647 w 19"/>
                    <a:gd name="T21" fmla="*/ 2147483647 h 8"/>
                    <a:gd name="T22" fmla="*/ 2147483647 w 19"/>
                    <a:gd name="T23" fmla="*/ 2147483647 h 8"/>
                    <a:gd name="T24" fmla="*/ 2147483647 w 19"/>
                    <a:gd name="T25" fmla="*/ 2147483647 h 8"/>
                    <a:gd name="T26" fmla="*/ 2147483647 w 19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9"/>
                    <a:gd name="T43" fmla="*/ 0 h 8"/>
                    <a:gd name="T44" fmla="*/ 19 w 19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9" h="8">
                      <a:moveTo>
                        <a:pt x="16" y="1"/>
                      </a:move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8"/>
                      </a:lnTo>
                      <a:lnTo>
                        <a:pt x="11" y="7"/>
                      </a:lnTo>
                      <a:lnTo>
                        <a:pt x="16" y="6"/>
                      </a:lnTo>
                      <a:lnTo>
                        <a:pt x="18" y="5"/>
                      </a:lnTo>
                      <a:lnTo>
                        <a:pt x="19" y="4"/>
                      </a:lnTo>
                      <a:lnTo>
                        <a:pt x="16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3" name="Freeform 398">
                  <a:extLst>
                    <a:ext uri="{FF2B5EF4-FFF2-40B4-BE49-F238E27FC236}">
                      <a16:creationId xmlns:a16="http://schemas.microsoft.com/office/drawing/2014/main" id="{14ECCFDB-B1AD-C742-8415-84EFB84B92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8854" y="1785890"/>
                  <a:ext cx="36997" cy="20718"/>
                </a:xfrm>
                <a:custGeom>
                  <a:avLst/>
                  <a:gdLst>
                    <a:gd name="T0" fmla="*/ 2147483647 w 27"/>
                    <a:gd name="T1" fmla="*/ 0 h 14"/>
                    <a:gd name="T2" fmla="*/ 2147483647 w 27"/>
                    <a:gd name="T3" fmla="*/ 0 h 14"/>
                    <a:gd name="T4" fmla="*/ 2147483647 w 27"/>
                    <a:gd name="T5" fmla="*/ 0 h 14"/>
                    <a:gd name="T6" fmla="*/ 2147483647 w 27"/>
                    <a:gd name="T7" fmla="*/ 2147483647 h 14"/>
                    <a:gd name="T8" fmla="*/ 2147483647 w 27"/>
                    <a:gd name="T9" fmla="*/ 2147483647 h 14"/>
                    <a:gd name="T10" fmla="*/ 2147483647 w 27"/>
                    <a:gd name="T11" fmla="*/ 2147483647 h 14"/>
                    <a:gd name="T12" fmla="*/ 2147483647 w 27"/>
                    <a:gd name="T13" fmla="*/ 2147483647 h 14"/>
                    <a:gd name="T14" fmla="*/ 0 w 27"/>
                    <a:gd name="T15" fmla="*/ 2147483647 h 14"/>
                    <a:gd name="T16" fmla="*/ 2147483647 w 27"/>
                    <a:gd name="T17" fmla="*/ 2147483647 h 14"/>
                    <a:gd name="T18" fmla="*/ 2147483647 w 27"/>
                    <a:gd name="T19" fmla="*/ 2147483647 h 14"/>
                    <a:gd name="T20" fmla="*/ 2147483647 w 27"/>
                    <a:gd name="T21" fmla="*/ 2147483647 h 14"/>
                    <a:gd name="T22" fmla="*/ 2147483647 w 27"/>
                    <a:gd name="T23" fmla="*/ 2147483647 h 14"/>
                    <a:gd name="T24" fmla="*/ 2147483647 w 27"/>
                    <a:gd name="T25" fmla="*/ 2147483647 h 14"/>
                    <a:gd name="T26" fmla="*/ 2147483647 w 27"/>
                    <a:gd name="T27" fmla="*/ 2147483647 h 14"/>
                    <a:gd name="T28" fmla="*/ 2147483647 w 27"/>
                    <a:gd name="T29" fmla="*/ 2147483647 h 14"/>
                    <a:gd name="T30" fmla="*/ 2147483647 w 27"/>
                    <a:gd name="T31" fmla="*/ 2147483647 h 14"/>
                    <a:gd name="T32" fmla="*/ 2147483647 w 27"/>
                    <a:gd name="T33" fmla="*/ 2147483647 h 14"/>
                    <a:gd name="T34" fmla="*/ 2147483647 w 27"/>
                    <a:gd name="T35" fmla="*/ 2147483647 h 14"/>
                    <a:gd name="T36" fmla="*/ 2147483647 w 27"/>
                    <a:gd name="T37" fmla="*/ 2147483647 h 14"/>
                    <a:gd name="T38" fmla="*/ 2147483647 w 27"/>
                    <a:gd name="T39" fmla="*/ 2147483647 h 14"/>
                    <a:gd name="T40" fmla="*/ 2147483647 w 27"/>
                    <a:gd name="T41" fmla="*/ 0 h 14"/>
                    <a:gd name="T42" fmla="*/ 2147483647 w 27"/>
                    <a:gd name="T43" fmla="*/ 0 h 14"/>
                    <a:gd name="T44" fmla="*/ 2147483647 w 27"/>
                    <a:gd name="T45" fmla="*/ 0 h 14"/>
                    <a:gd name="T46" fmla="*/ 2147483647 w 27"/>
                    <a:gd name="T47" fmla="*/ 0 h 14"/>
                    <a:gd name="T48" fmla="*/ 2147483647 w 27"/>
                    <a:gd name="T49" fmla="*/ 0 h 14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7"/>
                    <a:gd name="T76" fmla="*/ 0 h 14"/>
                    <a:gd name="T77" fmla="*/ 27 w 27"/>
                    <a:gd name="T78" fmla="*/ 14 h 14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7" h="14"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20" y="0"/>
                      </a:lnTo>
                      <a:lnTo>
                        <a:pt x="12" y="2"/>
                      </a:lnTo>
                      <a:lnTo>
                        <a:pt x="7" y="5"/>
                      </a:ln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1" y="13"/>
                      </a:lnTo>
                      <a:lnTo>
                        <a:pt x="2" y="14"/>
                      </a:lnTo>
                      <a:lnTo>
                        <a:pt x="3" y="14"/>
                      </a:ln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4" y="10"/>
                      </a:lnTo>
                      <a:lnTo>
                        <a:pt x="22" y="8"/>
                      </a:lnTo>
                      <a:lnTo>
                        <a:pt x="25" y="7"/>
                      </a:lnTo>
                      <a:lnTo>
                        <a:pt x="26" y="5"/>
                      </a:lnTo>
                      <a:lnTo>
                        <a:pt x="27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4" name="Freeform 399">
                  <a:extLst>
                    <a:ext uri="{FF2B5EF4-FFF2-40B4-BE49-F238E27FC236}">
                      <a16:creationId xmlns:a16="http://schemas.microsoft.com/office/drawing/2014/main" id="{6212E5B4-EB31-F14A-A5EC-C7D4ADA599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8585" y="1870239"/>
                  <a:ext cx="26637" cy="11839"/>
                </a:xfrm>
                <a:custGeom>
                  <a:avLst/>
                  <a:gdLst>
                    <a:gd name="T0" fmla="*/ 2147483647 w 19"/>
                    <a:gd name="T1" fmla="*/ 2147483647 h 8"/>
                    <a:gd name="T2" fmla="*/ 2147483647 w 19"/>
                    <a:gd name="T3" fmla="*/ 2147483647 h 8"/>
                    <a:gd name="T4" fmla="*/ 2147483647 w 19"/>
                    <a:gd name="T5" fmla="*/ 0 h 8"/>
                    <a:gd name="T6" fmla="*/ 2147483647 w 19"/>
                    <a:gd name="T7" fmla="*/ 0 h 8"/>
                    <a:gd name="T8" fmla="*/ 2147483647 w 19"/>
                    <a:gd name="T9" fmla="*/ 0 h 8"/>
                    <a:gd name="T10" fmla="*/ 2147483647 w 19"/>
                    <a:gd name="T11" fmla="*/ 2147483647 h 8"/>
                    <a:gd name="T12" fmla="*/ 2147483647 w 19"/>
                    <a:gd name="T13" fmla="*/ 2147483647 h 8"/>
                    <a:gd name="T14" fmla="*/ 0 w 19"/>
                    <a:gd name="T15" fmla="*/ 2147483647 h 8"/>
                    <a:gd name="T16" fmla="*/ 0 w 19"/>
                    <a:gd name="T17" fmla="*/ 2147483647 h 8"/>
                    <a:gd name="T18" fmla="*/ 0 w 19"/>
                    <a:gd name="T19" fmla="*/ 2147483647 h 8"/>
                    <a:gd name="T20" fmla="*/ 2147483647 w 19"/>
                    <a:gd name="T21" fmla="*/ 2147483647 h 8"/>
                    <a:gd name="T22" fmla="*/ 2147483647 w 19"/>
                    <a:gd name="T23" fmla="*/ 2147483647 h 8"/>
                    <a:gd name="T24" fmla="*/ 2147483647 w 19"/>
                    <a:gd name="T25" fmla="*/ 2147483647 h 8"/>
                    <a:gd name="T26" fmla="*/ 2147483647 w 19"/>
                    <a:gd name="T27" fmla="*/ 2147483647 h 8"/>
                    <a:gd name="T28" fmla="*/ 2147483647 w 19"/>
                    <a:gd name="T29" fmla="*/ 2147483647 h 8"/>
                    <a:gd name="T30" fmla="*/ 2147483647 w 19"/>
                    <a:gd name="T31" fmla="*/ 2147483647 h 8"/>
                    <a:gd name="T32" fmla="*/ 2147483647 w 19"/>
                    <a:gd name="T33" fmla="*/ 2147483647 h 8"/>
                    <a:gd name="T34" fmla="*/ 2147483647 w 19"/>
                    <a:gd name="T35" fmla="*/ 2147483647 h 8"/>
                    <a:gd name="T36" fmla="*/ 2147483647 w 19"/>
                    <a:gd name="T37" fmla="*/ 2147483647 h 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9"/>
                    <a:gd name="T58" fmla="*/ 0 h 8"/>
                    <a:gd name="T59" fmla="*/ 19 w 19"/>
                    <a:gd name="T60" fmla="*/ 8 h 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9" h="8">
                      <a:moveTo>
                        <a:pt x="16" y="1"/>
                      </a:moveTo>
                      <a:lnTo>
                        <a:pt x="16" y="1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8"/>
                      </a:lnTo>
                      <a:lnTo>
                        <a:pt x="11" y="7"/>
                      </a:lnTo>
                      <a:lnTo>
                        <a:pt x="16" y="6"/>
                      </a:lnTo>
                      <a:lnTo>
                        <a:pt x="17" y="5"/>
                      </a:lnTo>
                      <a:lnTo>
                        <a:pt x="19" y="4"/>
                      </a:lnTo>
                      <a:lnTo>
                        <a:pt x="16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5" name="Freeform 400">
                  <a:extLst>
                    <a:ext uri="{FF2B5EF4-FFF2-40B4-BE49-F238E27FC236}">
                      <a16:creationId xmlns:a16="http://schemas.microsoft.com/office/drawing/2014/main" id="{FA3290D0-CFF4-2841-ACDF-9DA4E4863C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6068" y="1973834"/>
                  <a:ext cx="17758" cy="28118"/>
                </a:xfrm>
                <a:custGeom>
                  <a:avLst/>
                  <a:gdLst>
                    <a:gd name="T0" fmla="*/ 2147483647 w 13"/>
                    <a:gd name="T1" fmla="*/ 2147483647 h 19"/>
                    <a:gd name="T2" fmla="*/ 2147483647 w 13"/>
                    <a:gd name="T3" fmla="*/ 2147483647 h 19"/>
                    <a:gd name="T4" fmla="*/ 2147483647 w 13"/>
                    <a:gd name="T5" fmla="*/ 2147483647 h 19"/>
                    <a:gd name="T6" fmla="*/ 2147483647 w 13"/>
                    <a:gd name="T7" fmla="*/ 2147483647 h 19"/>
                    <a:gd name="T8" fmla="*/ 0 w 13"/>
                    <a:gd name="T9" fmla="*/ 2147483647 h 19"/>
                    <a:gd name="T10" fmla="*/ 2147483647 w 13"/>
                    <a:gd name="T11" fmla="*/ 2147483647 h 19"/>
                    <a:gd name="T12" fmla="*/ 2147483647 w 13"/>
                    <a:gd name="T13" fmla="*/ 2147483647 h 19"/>
                    <a:gd name="T14" fmla="*/ 2147483647 w 13"/>
                    <a:gd name="T15" fmla="*/ 0 h 19"/>
                    <a:gd name="T16" fmla="*/ 2147483647 w 13"/>
                    <a:gd name="T17" fmla="*/ 0 h 19"/>
                    <a:gd name="T18" fmla="*/ 2147483647 w 13"/>
                    <a:gd name="T19" fmla="*/ 0 h 19"/>
                    <a:gd name="T20" fmla="*/ 2147483647 w 13"/>
                    <a:gd name="T21" fmla="*/ 2147483647 h 19"/>
                    <a:gd name="T22" fmla="*/ 2147483647 w 13"/>
                    <a:gd name="T23" fmla="*/ 2147483647 h 19"/>
                    <a:gd name="T24" fmla="*/ 2147483647 w 13"/>
                    <a:gd name="T25" fmla="*/ 2147483647 h 19"/>
                    <a:gd name="T26" fmla="*/ 2147483647 w 13"/>
                    <a:gd name="T27" fmla="*/ 2147483647 h 1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19"/>
                    <a:gd name="T44" fmla="*/ 13 w 13"/>
                    <a:gd name="T45" fmla="*/ 19 h 1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19">
                      <a:moveTo>
                        <a:pt x="8" y="13"/>
                      </a:moveTo>
                      <a:lnTo>
                        <a:pt x="4" y="18"/>
                      </a:lnTo>
                      <a:lnTo>
                        <a:pt x="3" y="19"/>
                      </a:lnTo>
                      <a:lnTo>
                        <a:pt x="2" y="18"/>
                      </a:lnTo>
                      <a:lnTo>
                        <a:pt x="0" y="13"/>
                      </a:lnTo>
                      <a:lnTo>
                        <a:pt x="2" y="9"/>
                      </a:lnTo>
                      <a:lnTo>
                        <a:pt x="6" y="5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2" y="0"/>
                      </a:lnTo>
                      <a:lnTo>
                        <a:pt x="13" y="1"/>
                      </a:lnTo>
                      <a:lnTo>
                        <a:pt x="13" y="5"/>
                      </a:lnTo>
                      <a:lnTo>
                        <a:pt x="12" y="7"/>
                      </a:lnTo>
                      <a:lnTo>
                        <a:pt x="8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6" name="Freeform 401">
                  <a:extLst>
                    <a:ext uri="{FF2B5EF4-FFF2-40B4-BE49-F238E27FC236}">
                      <a16:creationId xmlns:a16="http://schemas.microsoft.com/office/drawing/2014/main" id="{99D46A81-BA14-874C-831B-38CB392FCF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5884" y="1775528"/>
                  <a:ext cx="226420" cy="87313"/>
                </a:xfrm>
                <a:custGeom>
                  <a:avLst/>
                  <a:gdLst>
                    <a:gd name="T0" fmla="*/ 2147483647 w 166"/>
                    <a:gd name="T1" fmla="*/ 2147483647 h 59"/>
                    <a:gd name="T2" fmla="*/ 2147483647 w 166"/>
                    <a:gd name="T3" fmla="*/ 2147483647 h 59"/>
                    <a:gd name="T4" fmla="*/ 2147483647 w 166"/>
                    <a:gd name="T5" fmla="*/ 2147483647 h 59"/>
                    <a:gd name="T6" fmla="*/ 2147483647 w 166"/>
                    <a:gd name="T7" fmla="*/ 2147483647 h 59"/>
                    <a:gd name="T8" fmla="*/ 2147483647 w 166"/>
                    <a:gd name="T9" fmla="*/ 2147483647 h 59"/>
                    <a:gd name="T10" fmla="*/ 2147483647 w 166"/>
                    <a:gd name="T11" fmla="*/ 2147483647 h 59"/>
                    <a:gd name="T12" fmla="*/ 2147483647 w 166"/>
                    <a:gd name="T13" fmla="*/ 2147483647 h 59"/>
                    <a:gd name="T14" fmla="*/ 2147483647 w 166"/>
                    <a:gd name="T15" fmla="*/ 2147483647 h 59"/>
                    <a:gd name="T16" fmla="*/ 2147483647 w 166"/>
                    <a:gd name="T17" fmla="*/ 0 h 59"/>
                    <a:gd name="T18" fmla="*/ 2147483647 w 166"/>
                    <a:gd name="T19" fmla="*/ 2147483647 h 59"/>
                    <a:gd name="T20" fmla="*/ 2147483647 w 166"/>
                    <a:gd name="T21" fmla="*/ 2147483647 h 59"/>
                    <a:gd name="T22" fmla="*/ 2147483647 w 166"/>
                    <a:gd name="T23" fmla="*/ 2147483647 h 59"/>
                    <a:gd name="T24" fmla="*/ 2147483647 w 166"/>
                    <a:gd name="T25" fmla="*/ 2147483647 h 59"/>
                    <a:gd name="T26" fmla="*/ 2147483647 w 166"/>
                    <a:gd name="T27" fmla="*/ 2147483647 h 59"/>
                    <a:gd name="T28" fmla="*/ 2147483647 w 166"/>
                    <a:gd name="T29" fmla="*/ 2147483647 h 59"/>
                    <a:gd name="T30" fmla="*/ 2147483647 w 166"/>
                    <a:gd name="T31" fmla="*/ 2147483647 h 59"/>
                    <a:gd name="T32" fmla="*/ 2147483647 w 166"/>
                    <a:gd name="T33" fmla="*/ 2147483647 h 59"/>
                    <a:gd name="T34" fmla="*/ 2147483647 w 166"/>
                    <a:gd name="T35" fmla="*/ 2147483647 h 59"/>
                    <a:gd name="T36" fmla="*/ 0 w 166"/>
                    <a:gd name="T37" fmla="*/ 2147483647 h 59"/>
                    <a:gd name="T38" fmla="*/ 2147483647 w 166"/>
                    <a:gd name="T39" fmla="*/ 2147483647 h 59"/>
                    <a:gd name="T40" fmla="*/ 2147483647 w 166"/>
                    <a:gd name="T41" fmla="*/ 2147483647 h 59"/>
                    <a:gd name="T42" fmla="*/ 2147483647 w 166"/>
                    <a:gd name="T43" fmla="*/ 2147483647 h 59"/>
                    <a:gd name="T44" fmla="*/ 2147483647 w 166"/>
                    <a:gd name="T45" fmla="*/ 2147483647 h 59"/>
                    <a:gd name="T46" fmla="*/ 2147483647 w 166"/>
                    <a:gd name="T47" fmla="*/ 2147483647 h 59"/>
                    <a:gd name="T48" fmla="*/ 2147483647 w 166"/>
                    <a:gd name="T49" fmla="*/ 2147483647 h 59"/>
                    <a:gd name="T50" fmla="*/ 2147483647 w 166"/>
                    <a:gd name="T51" fmla="*/ 2147483647 h 59"/>
                    <a:gd name="T52" fmla="*/ 2147483647 w 166"/>
                    <a:gd name="T53" fmla="*/ 2147483647 h 59"/>
                    <a:gd name="T54" fmla="*/ 2147483647 w 166"/>
                    <a:gd name="T55" fmla="*/ 2147483647 h 59"/>
                    <a:gd name="T56" fmla="*/ 2147483647 w 166"/>
                    <a:gd name="T57" fmla="*/ 2147483647 h 59"/>
                    <a:gd name="T58" fmla="*/ 2147483647 w 166"/>
                    <a:gd name="T59" fmla="*/ 2147483647 h 59"/>
                    <a:gd name="T60" fmla="*/ 2147483647 w 166"/>
                    <a:gd name="T61" fmla="*/ 2147483647 h 59"/>
                    <a:gd name="T62" fmla="*/ 2147483647 w 166"/>
                    <a:gd name="T63" fmla="*/ 2147483647 h 59"/>
                    <a:gd name="T64" fmla="*/ 2147483647 w 166"/>
                    <a:gd name="T65" fmla="*/ 2147483647 h 59"/>
                    <a:gd name="T66" fmla="*/ 2147483647 w 166"/>
                    <a:gd name="T67" fmla="*/ 2147483647 h 59"/>
                    <a:gd name="T68" fmla="*/ 2147483647 w 166"/>
                    <a:gd name="T69" fmla="*/ 2147483647 h 59"/>
                    <a:gd name="T70" fmla="*/ 2147483647 w 166"/>
                    <a:gd name="T71" fmla="*/ 2147483647 h 59"/>
                    <a:gd name="T72" fmla="*/ 2147483647 w 166"/>
                    <a:gd name="T73" fmla="*/ 2147483647 h 59"/>
                    <a:gd name="T74" fmla="*/ 2147483647 w 166"/>
                    <a:gd name="T75" fmla="*/ 2147483647 h 59"/>
                    <a:gd name="T76" fmla="*/ 2147483647 w 166"/>
                    <a:gd name="T77" fmla="*/ 2147483647 h 59"/>
                    <a:gd name="T78" fmla="*/ 2147483647 w 166"/>
                    <a:gd name="T79" fmla="*/ 2147483647 h 59"/>
                    <a:gd name="T80" fmla="*/ 2147483647 w 166"/>
                    <a:gd name="T81" fmla="*/ 2147483647 h 59"/>
                    <a:gd name="T82" fmla="*/ 2147483647 w 166"/>
                    <a:gd name="T83" fmla="*/ 2147483647 h 59"/>
                    <a:gd name="T84" fmla="*/ 2147483647 w 166"/>
                    <a:gd name="T85" fmla="*/ 2147483647 h 59"/>
                    <a:gd name="T86" fmla="*/ 2147483647 w 166"/>
                    <a:gd name="T87" fmla="*/ 2147483647 h 59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66"/>
                    <a:gd name="T133" fmla="*/ 0 h 59"/>
                    <a:gd name="T134" fmla="*/ 166 w 166"/>
                    <a:gd name="T135" fmla="*/ 59 h 59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66" h="59">
                      <a:moveTo>
                        <a:pt x="162" y="13"/>
                      </a:moveTo>
                      <a:lnTo>
                        <a:pt x="160" y="12"/>
                      </a:lnTo>
                      <a:lnTo>
                        <a:pt x="157" y="11"/>
                      </a:lnTo>
                      <a:lnTo>
                        <a:pt x="152" y="12"/>
                      </a:lnTo>
                      <a:lnTo>
                        <a:pt x="147" y="12"/>
                      </a:lnTo>
                      <a:lnTo>
                        <a:pt x="132" y="7"/>
                      </a:lnTo>
                      <a:lnTo>
                        <a:pt x="124" y="5"/>
                      </a:lnTo>
                      <a:lnTo>
                        <a:pt x="117" y="5"/>
                      </a:lnTo>
                      <a:lnTo>
                        <a:pt x="111" y="6"/>
                      </a:lnTo>
                      <a:lnTo>
                        <a:pt x="108" y="8"/>
                      </a:lnTo>
                      <a:lnTo>
                        <a:pt x="104" y="9"/>
                      </a:lnTo>
                      <a:lnTo>
                        <a:pt x="99" y="9"/>
                      </a:lnTo>
                      <a:lnTo>
                        <a:pt x="94" y="7"/>
                      </a:lnTo>
                      <a:lnTo>
                        <a:pt x="90" y="5"/>
                      </a:lnTo>
                      <a:lnTo>
                        <a:pt x="89" y="4"/>
                      </a:lnTo>
                      <a:lnTo>
                        <a:pt x="87" y="2"/>
                      </a:lnTo>
                      <a:lnTo>
                        <a:pt x="86" y="1"/>
                      </a:lnTo>
                      <a:lnTo>
                        <a:pt x="85" y="0"/>
                      </a:lnTo>
                      <a:lnTo>
                        <a:pt x="82" y="0"/>
                      </a:lnTo>
                      <a:lnTo>
                        <a:pt x="80" y="1"/>
                      </a:lnTo>
                      <a:lnTo>
                        <a:pt x="76" y="4"/>
                      </a:lnTo>
                      <a:lnTo>
                        <a:pt x="73" y="11"/>
                      </a:lnTo>
                      <a:lnTo>
                        <a:pt x="71" y="14"/>
                      </a:lnTo>
                      <a:lnTo>
                        <a:pt x="67" y="15"/>
                      </a:lnTo>
                      <a:lnTo>
                        <a:pt x="62" y="15"/>
                      </a:lnTo>
                      <a:lnTo>
                        <a:pt x="57" y="14"/>
                      </a:lnTo>
                      <a:lnTo>
                        <a:pt x="49" y="12"/>
                      </a:lnTo>
                      <a:lnTo>
                        <a:pt x="33" y="2"/>
                      </a:lnTo>
                      <a:lnTo>
                        <a:pt x="31" y="2"/>
                      </a:lnTo>
                      <a:lnTo>
                        <a:pt x="30" y="4"/>
                      </a:lnTo>
                      <a:lnTo>
                        <a:pt x="25" y="7"/>
                      </a:lnTo>
                      <a:lnTo>
                        <a:pt x="20" y="11"/>
                      </a:lnTo>
                      <a:lnTo>
                        <a:pt x="16" y="13"/>
                      </a:lnTo>
                      <a:lnTo>
                        <a:pt x="12" y="15"/>
                      </a:lnTo>
                      <a:lnTo>
                        <a:pt x="2" y="20"/>
                      </a:lnTo>
                      <a:lnTo>
                        <a:pt x="1" y="21"/>
                      </a:lnTo>
                      <a:lnTo>
                        <a:pt x="0" y="22"/>
                      </a:lnTo>
                      <a:lnTo>
                        <a:pt x="0" y="26"/>
                      </a:lnTo>
                      <a:lnTo>
                        <a:pt x="1" y="28"/>
                      </a:lnTo>
                      <a:lnTo>
                        <a:pt x="5" y="28"/>
                      </a:lnTo>
                      <a:lnTo>
                        <a:pt x="7" y="30"/>
                      </a:lnTo>
                      <a:lnTo>
                        <a:pt x="10" y="30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9" y="34"/>
                      </a:lnTo>
                      <a:lnTo>
                        <a:pt x="6" y="36"/>
                      </a:lnTo>
                      <a:lnTo>
                        <a:pt x="5" y="37"/>
                      </a:lnTo>
                      <a:lnTo>
                        <a:pt x="4" y="38"/>
                      </a:lnTo>
                      <a:lnTo>
                        <a:pt x="2" y="39"/>
                      </a:lnTo>
                      <a:lnTo>
                        <a:pt x="4" y="40"/>
                      </a:lnTo>
                      <a:lnTo>
                        <a:pt x="6" y="41"/>
                      </a:lnTo>
                      <a:lnTo>
                        <a:pt x="10" y="41"/>
                      </a:lnTo>
                      <a:lnTo>
                        <a:pt x="12" y="41"/>
                      </a:lnTo>
                      <a:lnTo>
                        <a:pt x="16" y="44"/>
                      </a:lnTo>
                      <a:lnTo>
                        <a:pt x="20" y="45"/>
                      </a:lnTo>
                      <a:lnTo>
                        <a:pt x="26" y="44"/>
                      </a:lnTo>
                      <a:lnTo>
                        <a:pt x="34" y="41"/>
                      </a:lnTo>
                      <a:lnTo>
                        <a:pt x="42" y="40"/>
                      </a:lnTo>
                      <a:lnTo>
                        <a:pt x="43" y="41"/>
                      </a:lnTo>
                      <a:lnTo>
                        <a:pt x="42" y="44"/>
                      </a:lnTo>
                      <a:lnTo>
                        <a:pt x="38" y="45"/>
                      </a:lnTo>
                      <a:lnTo>
                        <a:pt x="35" y="46"/>
                      </a:lnTo>
                      <a:lnTo>
                        <a:pt x="33" y="49"/>
                      </a:lnTo>
                      <a:lnTo>
                        <a:pt x="33" y="51"/>
                      </a:lnTo>
                      <a:lnTo>
                        <a:pt x="35" y="52"/>
                      </a:lnTo>
                      <a:lnTo>
                        <a:pt x="42" y="54"/>
                      </a:lnTo>
                      <a:lnTo>
                        <a:pt x="45" y="54"/>
                      </a:lnTo>
                      <a:lnTo>
                        <a:pt x="49" y="54"/>
                      </a:lnTo>
                      <a:lnTo>
                        <a:pt x="58" y="54"/>
                      </a:lnTo>
                      <a:lnTo>
                        <a:pt x="67" y="56"/>
                      </a:lnTo>
                      <a:lnTo>
                        <a:pt x="75" y="57"/>
                      </a:lnTo>
                      <a:lnTo>
                        <a:pt x="84" y="57"/>
                      </a:lnTo>
                      <a:lnTo>
                        <a:pt x="96" y="57"/>
                      </a:lnTo>
                      <a:lnTo>
                        <a:pt x="108" y="58"/>
                      </a:lnTo>
                      <a:lnTo>
                        <a:pt x="120" y="59"/>
                      </a:lnTo>
                      <a:lnTo>
                        <a:pt x="132" y="59"/>
                      </a:lnTo>
                      <a:lnTo>
                        <a:pt x="138" y="58"/>
                      </a:lnTo>
                      <a:lnTo>
                        <a:pt x="142" y="56"/>
                      </a:lnTo>
                      <a:lnTo>
                        <a:pt x="146" y="52"/>
                      </a:lnTo>
                      <a:lnTo>
                        <a:pt x="150" y="47"/>
                      </a:lnTo>
                      <a:lnTo>
                        <a:pt x="156" y="38"/>
                      </a:lnTo>
                      <a:lnTo>
                        <a:pt x="162" y="27"/>
                      </a:lnTo>
                      <a:lnTo>
                        <a:pt x="165" y="24"/>
                      </a:lnTo>
                      <a:lnTo>
                        <a:pt x="166" y="22"/>
                      </a:lnTo>
                      <a:lnTo>
                        <a:pt x="166" y="20"/>
                      </a:lnTo>
                      <a:lnTo>
                        <a:pt x="165" y="17"/>
                      </a:lnTo>
                      <a:lnTo>
                        <a:pt x="164" y="14"/>
                      </a:lnTo>
                      <a:lnTo>
                        <a:pt x="162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7" name="Freeform 402">
                  <a:extLst>
                    <a:ext uri="{FF2B5EF4-FFF2-40B4-BE49-F238E27FC236}">
                      <a16:creationId xmlns:a16="http://schemas.microsoft.com/office/drawing/2014/main" id="{7EA5D580-D21F-9E4A-B2EA-B380BC25DA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4589" y="1972351"/>
                  <a:ext cx="17758" cy="28117"/>
                </a:xfrm>
                <a:custGeom>
                  <a:avLst/>
                  <a:gdLst>
                    <a:gd name="T0" fmla="*/ 2147483647 w 13"/>
                    <a:gd name="T1" fmla="*/ 2147483647 h 19"/>
                    <a:gd name="T2" fmla="*/ 2147483647 w 13"/>
                    <a:gd name="T3" fmla="*/ 2147483647 h 19"/>
                    <a:gd name="T4" fmla="*/ 2147483647 w 13"/>
                    <a:gd name="T5" fmla="*/ 2147483647 h 19"/>
                    <a:gd name="T6" fmla="*/ 2147483647 w 13"/>
                    <a:gd name="T7" fmla="*/ 2147483647 h 19"/>
                    <a:gd name="T8" fmla="*/ 2147483647 w 13"/>
                    <a:gd name="T9" fmla="*/ 2147483647 h 19"/>
                    <a:gd name="T10" fmla="*/ 2147483647 w 13"/>
                    <a:gd name="T11" fmla="*/ 2147483647 h 19"/>
                    <a:gd name="T12" fmla="*/ 0 w 13"/>
                    <a:gd name="T13" fmla="*/ 2147483647 h 19"/>
                    <a:gd name="T14" fmla="*/ 2147483647 w 13"/>
                    <a:gd name="T15" fmla="*/ 2147483647 h 19"/>
                    <a:gd name="T16" fmla="*/ 2147483647 w 13"/>
                    <a:gd name="T17" fmla="*/ 2147483647 h 19"/>
                    <a:gd name="T18" fmla="*/ 2147483647 w 13"/>
                    <a:gd name="T19" fmla="*/ 0 h 19"/>
                    <a:gd name="T20" fmla="*/ 2147483647 w 13"/>
                    <a:gd name="T21" fmla="*/ 0 h 19"/>
                    <a:gd name="T22" fmla="*/ 2147483647 w 13"/>
                    <a:gd name="T23" fmla="*/ 0 h 19"/>
                    <a:gd name="T24" fmla="*/ 2147483647 w 13"/>
                    <a:gd name="T25" fmla="*/ 0 h 19"/>
                    <a:gd name="T26" fmla="*/ 2147483647 w 13"/>
                    <a:gd name="T27" fmla="*/ 2147483647 h 19"/>
                    <a:gd name="T28" fmla="*/ 2147483647 w 13"/>
                    <a:gd name="T29" fmla="*/ 2147483647 h 19"/>
                    <a:gd name="T30" fmla="*/ 2147483647 w 13"/>
                    <a:gd name="T31" fmla="*/ 2147483647 h 19"/>
                    <a:gd name="T32" fmla="*/ 2147483647 w 13"/>
                    <a:gd name="T33" fmla="*/ 2147483647 h 19"/>
                    <a:gd name="T34" fmla="*/ 2147483647 w 13"/>
                    <a:gd name="T35" fmla="*/ 2147483647 h 19"/>
                    <a:gd name="T36" fmla="*/ 2147483647 w 13"/>
                    <a:gd name="T37" fmla="*/ 2147483647 h 1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"/>
                    <a:gd name="T58" fmla="*/ 0 h 19"/>
                    <a:gd name="T59" fmla="*/ 13 w 13"/>
                    <a:gd name="T60" fmla="*/ 19 h 1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" h="19">
                      <a:moveTo>
                        <a:pt x="8" y="13"/>
                      </a:moveTo>
                      <a:lnTo>
                        <a:pt x="8" y="13"/>
                      </a:lnTo>
                      <a:lnTo>
                        <a:pt x="4" y="18"/>
                      </a:lnTo>
                      <a:lnTo>
                        <a:pt x="3" y="19"/>
                      </a:lnTo>
                      <a:lnTo>
                        <a:pt x="1" y="18"/>
                      </a:lnTo>
                      <a:lnTo>
                        <a:pt x="0" y="13"/>
                      </a:lnTo>
                      <a:lnTo>
                        <a:pt x="1" y="9"/>
                      </a:lnTo>
                      <a:lnTo>
                        <a:pt x="5" y="4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3" y="1"/>
                      </a:lnTo>
                      <a:lnTo>
                        <a:pt x="13" y="4"/>
                      </a:lnTo>
                      <a:lnTo>
                        <a:pt x="12" y="7"/>
                      </a:lnTo>
                      <a:lnTo>
                        <a:pt x="8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8" name="Freeform 403">
                  <a:extLst>
                    <a:ext uri="{FF2B5EF4-FFF2-40B4-BE49-F238E27FC236}">
                      <a16:creationId xmlns:a16="http://schemas.microsoft.com/office/drawing/2014/main" id="{DF3AD5EF-8D95-FF4B-8224-F01477183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2927" y="1774051"/>
                  <a:ext cx="227900" cy="87312"/>
                </a:xfrm>
                <a:custGeom>
                  <a:avLst/>
                  <a:gdLst>
                    <a:gd name="T0" fmla="*/ 2147483647 w 167"/>
                    <a:gd name="T1" fmla="*/ 2147483647 h 59"/>
                    <a:gd name="T2" fmla="*/ 2147483647 w 167"/>
                    <a:gd name="T3" fmla="*/ 2147483647 h 59"/>
                    <a:gd name="T4" fmla="*/ 2147483647 w 167"/>
                    <a:gd name="T5" fmla="*/ 2147483647 h 59"/>
                    <a:gd name="T6" fmla="*/ 2147483647 w 167"/>
                    <a:gd name="T7" fmla="*/ 2147483647 h 59"/>
                    <a:gd name="T8" fmla="*/ 2147483647 w 167"/>
                    <a:gd name="T9" fmla="*/ 2147483647 h 59"/>
                    <a:gd name="T10" fmla="*/ 2147483647 w 167"/>
                    <a:gd name="T11" fmla="*/ 2147483647 h 59"/>
                    <a:gd name="T12" fmla="*/ 2147483647 w 167"/>
                    <a:gd name="T13" fmla="*/ 2147483647 h 59"/>
                    <a:gd name="T14" fmla="*/ 2147483647 w 167"/>
                    <a:gd name="T15" fmla="*/ 2147483647 h 59"/>
                    <a:gd name="T16" fmla="*/ 2147483647 w 167"/>
                    <a:gd name="T17" fmla="*/ 2147483647 h 59"/>
                    <a:gd name="T18" fmla="*/ 2147483647 w 167"/>
                    <a:gd name="T19" fmla="*/ 2147483647 h 59"/>
                    <a:gd name="T20" fmla="*/ 2147483647 w 167"/>
                    <a:gd name="T21" fmla="*/ 2147483647 h 59"/>
                    <a:gd name="T22" fmla="*/ 2147483647 w 167"/>
                    <a:gd name="T23" fmla="*/ 0 h 59"/>
                    <a:gd name="T24" fmla="*/ 2147483647 w 167"/>
                    <a:gd name="T25" fmla="*/ 0 h 59"/>
                    <a:gd name="T26" fmla="*/ 2147483647 w 167"/>
                    <a:gd name="T27" fmla="*/ 2147483647 h 59"/>
                    <a:gd name="T28" fmla="*/ 2147483647 w 167"/>
                    <a:gd name="T29" fmla="*/ 2147483647 h 59"/>
                    <a:gd name="T30" fmla="*/ 2147483647 w 167"/>
                    <a:gd name="T31" fmla="*/ 2147483647 h 59"/>
                    <a:gd name="T32" fmla="*/ 2147483647 w 167"/>
                    <a:gd name="T33" fmla="*/ 2147483647 h 59"/>
                    <a:gd name="T34" fmla="*/ 2147483647 w 167"/>
                    <a:gd name="T35" fmla="*/ 2147483647 h 59"/>
                    <a:gd name="T36" fmla="*/ 2147483647 w 167"/>
                    <a:gd name="T37" fmla="*/ 2147483647 h 59"/>
                    <a:gd name="T38" fmla="*/ 2147483647 w 167"/>
                    <a:gd name="T39" fmla="*/ 2147483647 h 59"/>
                    <a:gd name="T40" fmla="*/ 2147483647 w 167"/>
                    <a:gd name="T41" fmla="*/ 2147483647 h 59"/>
                    <a:gd name="T42" fmla="*/ 2147483647 w 167"/>
                    <a:gd name="T43" fmla="*/ 2147483647 h 59"/>
                    <a:gd name="T44" fmla="*/ 2147483647 w 167"/>
                    <a:gd name="T45" fmla="*/ 2147483647 h 59"/>
                    <a:gd name="T46" fmla="*/ 2147483647 w 167"/>
                    <a:gd name="T47" fmla="*/ 2147483647 h 59"/>
                    <a:gd name="T48" fmla="*/ 0 w 167"/>
                    <a:gd name="T49" fmla="*/ 2147483647 h 59"/>
                    <a:gd name="T50" fmla="*/ 0 w 167"/>
                    <a:gd name="T51" fmla="*/ 2147483647 h 59"/>
                    <a:gd name="T52" fmla="*/ 2147483647 w 167"/>
                    <a:gd name="T53" fmla="*/ 2147483647 h 59"/>
                    <a:gd name="T54" fmla="*/ 2147483647 w 167"/>
                    <a:gd name="T55" fmla="*/ 2147483647 h 59"/>
                    <a:gd name="T56" fmla="*/ 2147483647 w 167"/>
                    <a:gd name="T57" fmla="*/ 2147483647 h 59"/>
                    <a:gd name="T58" fmla="*/ 2147483647 w 167"/>
                    <a:gd name="T59" fmla="*/ 2147483647 h 59"/>
                    <a:gd name="T60" fmla="*/ 2147483647 w 167"/>
                    <a:gd name="T61" fmla="*/ 2147483647 h 59"/>
                    <a:gd name="T62" fmla="*/ 2147483647 w 167"/>
                    <a:gd name="T63" fmla="*/ 2147483647 h 59"/>
                    <a:gd name="T64" fmla="*/ 2147483647 w 167"/>
                    <a:gd name="T65" fmla="*/ 2147483647 h 59"/>
                    <a:gd name="T66" fmla="*/ 2147483647 w 167"/>
                    <a:gd name="T67" fmla="*/ 2147483647 h 59"/>
                    <a:gd name="T68" fmla="*/ 2147483647 w 167"/>
                    <a:gd name="T69" fmla="*/ 2147483647 h 59"/>
                    <a:gd name="T70" fmla="*/ 2147483647 w 167"/>
                    <a:gd name="T71" fmla="*/ 2147483647 h 59"/>
                    <a:gd name="T72" fmla="*/ 2147483647 w 167"/>
                    <a:gd name="T73" fmla="*/ 2147483647 h 59"/>
                    <a:gd name="T74" fmla="*/ 2147483647 w 167"/>
                    <a:gd name="T75" fmla="*/ 2147483647 h 59"/>
                    <a:gd name="T76" fmla="*/ 2147483647 w 167"/>
                    <a:gd name="T77" fmla="*/ 2147483647 h 59"/>
                    <a:gd name="T78" fmla="*/ 2147483647 w 167"/>
                    <a:gd name="T79" fmla="*/ 2147483647 h 59"/>
                    <a:gd name="T80" fmla="*/ 2147483647 w 167"/>
                    <a:gd name="T81" fmla="*/ 2147483647 h 59"/>
                    <a:gd name="T82" fmla="*/ 2147483647 w 167"/>
                    <a:gd name="T83" fmla="*/ 2147483647 h 59"/>
                    <a:gd name="T84" fmla="*/ 2147483647 w 167"/>
                    <a:gd name="T85" fmla="*/ 2147483647 h 59"/>
                    <a:gd name="T86" fmla="*/ 2147483647 w 167"/>
                    <a:gd name="T87" fmla="*/ 2147483647 h 59"/>
                    <a:gd name="T88" fmla="*/ 2147483647 w 167"/>
                    <a:gd name="T89" fmla="*/ 2147483647 h 59"/>
                    <a:gd name="T90" fmla="*/ 2147483647 w 167"/>
                    <a:gd name="T91" fmla="*/ 2147483647 h 59"/>
                    <a:gd name="T92" fmla="*/ 2147483647 w 167"/>
                    <a:gd name="T93" fmla="*/ 2147483647 h 59"/>
                    <a:gd name="T94" fmla="*/ 2147483647 w 167"/>
                    <a:gd name="T95" fmla="*/ 2147483647 h 59"/>
                    <a:gd name="T96" fmla="*/ 2147483647 w 167"/>
                    <a:gd name="T97" fmla="*/ 2147483647 h 59"/>
                    <a:gd name="T98" fmla="*/ 2147483647 w 167"/>
                    <a:gd name="T99" fmla="*/ 2147483647 h 59"/>
                    <a:gd name="T100" fmla="*/ 2147483647 w 167"/>
                    <a:gd name="T101" fmla="*/ 2147483647 h 59"/>
                    <a:gd name="T102" fmla="*/ 2147483647 w 167"/>
                    <a:gd name="T103" fmla="*/ 2147483647 h 59"/>
                    <a:gd name="T104" fmla="*/ 2147483647 w 167"/>
                    <a:gd name="T105" fmla="*/ 2147483647 h 59"/>
                    <a:gd name="T106" fmla="*/ 2147483647 w 167"/>
                    <a:gd name="T107" fmla="*/ 2147483647 h 59"/>
                    <a:gd name="T108" fmla="*/ 2147483647 w 167"/>
                    <a:gd name="T109" fmla="*/ 2147483647 h 59"/>
                    <a:gd name="T110" fmla="*/ 2147483647 w 167"/>
                    <a:gd name="T111" fmla="*/ 2147483647 h 59"/>
                    <a:gd name="T112" fmla="*/ 2147483647 w 167"/>
                    <a:gd name="T113" fmla="*/ 2147483647 h 59"/>
                    <a:gd name="T114" fmla="*/ 2147483647 w 167"/>
                    <a:gd name="T115" fmla="*/ 2147483647 h 59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67"/>
                    <a:gd name="T175" fmla="*/ 0 h 59"/>
                    <a:gd name="T176" fmla="*/ 167 w 167"/>
                    <a:gd name="T177" fmla="*/ 59 h 59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67" h="59">
                      <a:moveTo>
                        <a:pt x="163" y="13"/>
                      </a:moveTo>
                      <a:lnTo>
                        <a:pt x="163" y="13"/>
                      </a:lnTo>
                      <a:lnTo>
                        <a:pt x="160" y="12"/>
                      </a:lnTo>
                      <a:lnTo>
                        <a:pt x="158" y="10"/>
                      </a:lnTo>
                      <a:lnTo>
                        <a:pt x="153" y="12"/>
                      </a:lnTo>
                      <a:lnTo>
                        <a:pt x="148" y="12"/>
                      </a:lnTo>
                      <a:lnTo>
                        <a:pt x="133" y="7"/>
                      </a:lnTo>
                      <a:lnTo>
                        <a:pt x="125" y="5"/>
                      </a:lnTo>
                      <a:lnTo>
                        <a:pt x="117" y="5"/>
                      </a:lnTo>
                      <a:lnTo>
                        <a:pt x="112" y="6"/>
                      </a:lnTo>
                      <a:lnTo>
                        <a:pt x="108" y="8"/>
                      </a:lnTo>
                      <a:lnTo>
                        <a:pt x="105" y="9"/>
                      </a:lnTo>
                      <a:lnTo>
                        <a:pt x="100" y="9"/>
                      </a:lnTo>
                      <a:lnTo>
                        <a:pt x="94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88" y="2"/>
                      </a:lnTo>
                      <a:lnTo>
                        <a:pt x="87" y="1"/>
                      </a:lnTo>
                      <a:lnTo>
                        <a:pt x="86" y="0"/>
                      </a:lnTo>
                      <a:lnTo>
                        <a:pt x="83" y="0"/>
                      </a:lnTo>
                      <a:lnTo>
                        <a:pt x="80" y="1"/>
                      </a:lnTo>
                      <a:lnTo>
                        <a:pt x="77" y="3"/>
                      </a:lnTo>
                      <a:lnTo>
                        <a:pt x="74" y="10"/>
                      </a:lnTo>
                      <a:lnTo>
                        <a:pt x="72" y="14"/>
                      </a:lnTo>
                      <a:lnTo>
                        <a:pt x="68" y="15"/>
                      </a:lnTo>
                      <a:lnTo>
                        <a:pt x="63" y="15"/>
                      </a:lnTo>
                      <a:lnTo>
                        <a:pt x="58" y="14"/>
                      </a:lnTo>
                      <a:lnTo>
                        <a:pt x="50" y="12"/>
                      </a:lnTo>
                      <a:lnTo>
                        <a:pt x="33" y="2"/>
                      </a:lnTo>
                      <a:lnTo>
                        <a:pt x="32" y="2"/>
                      </a:lnTo>
                      <a:lnTo>
                        <a:pt x="31" y="3"/>
                      </a:lnTo>
                      <a:lnTo>
                        <a:pt x="26" y="7"/>
                      </a:lnTo>
                      <a:lnTo>
                        <a:pt x="21" y="10"/>
                      </a:lnTo>
                      <a:lnTo>
                        <a:pt x="17" y="13"/>
                      </a:lnTo>
                      <a:lnTo>
                        <a:pt x="13" y="15"/>
                      </a:lnTo>
                      <a:lnTo>
                        <a:pt x="3" y="20"/>
                      </a:lnTo>
                      <a:lnTo>
                        <a:pt x="2" y="21"/>
                      </a:lnTo>
                      <a:lnTo>
                        <a:pt x="0" y="22"/>
                      </a:lnTo>
                      <a:lnTo>
                        <a:pt x="0" y="26"/>
                      </a:lnTo>
                      <a:lnTo>
                        <a:pt x="2" y="28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1" y="29"/>
                      </a:lnTo>
                      <a:lnTo>
                        <a:pt x="12" y="31"/>
                      </a:lnTo>
                      <a:lnTo>
                        <a:pt x="11" y="32"/>
                      </a:lnTo>
                      <a:lnTo>
                        <a:pt x="9" y="34"/>
                      </a:lnTo>
                      <a:lnTo>
                        <a:pt x="7" y="35"/>
                      </a:lnTo>
                      <a:lnTo>
                        <a:pt x="6" y="37"/>
                      </a:lnTo>
                      <a:lnTo>
                        <a:pt x="4" y="38"/>
                      </a:lnTo>
                      <a:lnTo>
                        <a:pt x="3" y="39"/>
                      </a:lnTo>
                      <a:lnTo>
                        <a:pt x="4" y="40"/>
                      </a:lnTo>
                      <a:lnTo>
                        <a:pt x="7" y="41"/>
                      </a:lnTo>
                      <a:lnTo>
                        <a:pt x="11" y="41"/>
                      </a:lnTo>
                      <a:lnTo>
                        <a:pt x="13" y="41"/>
                      </a:lnTo>
                      <a:lnTo>
                        <a:pt x="17" y="44"/>
                      </a:lnTo>
                      <a:lnTo>
                        <a:pt x="21" y="45"/>
                      </a:lnTo>
                      <a:lnTo>
                        <a:pt x="27" y="44"/>
                      </a:lnTo>
                      <a:lnTo>
                        <a:pt x="35" y="41"/>
                      </a:lnTo>
                      <a:lnTo>
                        <a:pt x="42" y="40"/>
                      </a:lnTo>
                      <a:lnTo>
                        <a:pt x="44" y="41"/>
                      </a:lnTo>
                      <a:lnTo>
                        <a:pt x="42" y="44"/>
                      </a:lnTo>
                      <a:lnTo>
                        <a:pt x="39" y="45"/>
                      </a:lnTo>
                      <a:lnTo>
                        <a:pt x="36" y="46"/>
                      </a:lnTo>
                      <a:lnTo>
                        <a:pt x="33" y="48"/>
                      </a:lnTo>
                      <a:lnTo>
                        <a:pt x="33" y="51"/>
                      </a:lnTo>
                      <a:lnTo>
                        <a:pt x="36" y="52"/>
                      </a:lnTo>
                      <a:lnTo>
                        <a:pt x="42" y="54"/>
                      </a:lnTo>
                      <a:lnTo>
                        <a:pt x="46" y="54"/>
                      </a:lnTo>
                      <a:lnTo>
                        <a:pt x="50" y="54"/>
                      </a:lnTo>
                      <a:lnTo>
                        <a:pt x="59" y="54"/>
                      </a:lnTo>
                      <a:lnTo>
                        <a:pt x="68" y="55"/>
                      </a:lnTo>
                      <a:lnTo>
                        <a:pt x="75" y="57"/>
                      </a:lnTo>
                      <a:lnTo>
                        <a:pt x="84" y="57"/>
                      </a:lnTo>
                      <a:lnTo>
                        <a:pt x="97" y="57"/>
                      </a:lnTo>
                      <a:lnTo>
                        <a:pt x="108" y="58"/>
                      </a:lnTo>
                      <a:lnTo>
                        <a:pt x="121" y="59"/>
                      </a:lnTo>
                      <a:lnTo>
                        <a:pt x="133" y="59"/>
                      </a:lnTo>
                      <a:lnTo>
                        <a:pt x="139" y="58"/>
                      </a:lnTo>
                      <a:lnTo>
                        <a:pt x="143" y="55"/>
                      </a:lnTo>
                      <a:lnTo>
                        <a:pt x="146" y="52"/>
                      </a:lnTo>
                      <a:lnTo>
                        <a:pt x="150" y="47"/>
                      </a:lnTo>
                      <a:lnTo>
                        <a:pt x="157" y="38"/>
                      </a:lnTo>
                      <a:lnTo>
                        <a:pt x="163" y="27"/>
                      </a:lnTo>
                      <a:lnTo>
                        <a:pt x="166" y="23"/>
                      </a:lnTo>
                      <a:lnTo>
                        <a:pt x="167" y="22"/>
                      </a:lnTo>
                      <a:lnTo>
                        <a:pt x="167" y="20"/>
                      </a:lnTo>
                      <a:lnTo>
                        <a:pt x="166" y="16"/>
                      </a:lnTo>
                      <a:lnTo>
                        <a:pt x="164" y="14"/>
                      </a:lnTo>
                      <a:lnTo>
                        <a:pt x="163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9" name="Freeform 404">
                  <a:extLst>
                    <a:ext uri="{FF2B5EF4-FFF2-40B4-BE49-F238E27FC236}">
                      <a16:creationId xmlns:a16="http://schemas.microsoft.com/office/drawing/2014/main" id="{C8EA8A89-99FC-174C-8E08-BCC1D65421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001" y="1908716"/>
                  <a:ext cx="90272" cy="47356"/>
                </a:xfrm>
                <a:custGeom>
                  <a:avLst/>
                  <a:gdLst>
                    <a:gd name="T0" fmla="*/ 2147483647 w 66"/>
                    <a:gd name="T1" fmla="*/ 2147483647 h 32"/>
                    <a:gd name="T2" fmla="*/ 2147483647 w 66"/>
                    <a:gd name="T3" fmla="*/ 2147483647 h 32"/>
                    <a:gd name="T4" fmla="*/ 2147483647 w 66"/>
                    <a:gd name="T5" fmla="*/ 2147483647 h 32"/>
                    <a:gd name="T6" fmla="*/ 2147483647 w 66"/>
                    <a:gd name="T7" fmla="*/ 2147483647 h 32"/>
                    <a:gd name="T8" fmla="*/ 2147483647 w 66"/>
                    <a:gd name="T9" fmla="*/ 2147483647 h 32"/>
                    <a:gd name="T10" fmla="*/ 2147483647 w 66"/>
                    <a:gd name="T11" fmla="*/ 2147483647 h 32"/>
                    <a:gd name="T12" fmla="*/ 2147483647 w 66"/>
                    <a:gd name="T13" fmla="*/ 2147483647 h 32"/>
                    <a:gd name="T14" fmla="*/ 2147483647 w 66"/>
                    <a:gd name="T15" fmla="*/ 2147483647 h 32"/>
                    <a:gd name="T16" fmla="*/ 2147483647 w 66"/>
                    <a:gd name="T17" fmla="*/ 2147483647 h 32"/>
                    <a:gd name="T18" fmla="*/ 2147483647 w 66"/>
                    <a:gd name="T19" fmla="*/ 2147483647 h 32"/>
                    <a:gd name="T20" fmla="*/ 2147483647 w 66"/>
                    <a:gd name="T21" fmla="*/ 2147483647 h 32"/>
                    <a:gd name="T22" fmla="*/ 2147483647 w 66"/>
                    <a:gd name="T23" fmla="*/ 2147483647 h 32"/>
                    <a:gd name="T24" fmla="*/ 2147483647 w 66"/>
                    <a:gd name="T25" fmla="*/ 2147483647 h 32"/>
                    <a:gd name="T26" fmla="*/ 2147483647 w 66"/>
                    <a:gd name="T27" fmla="*/ 2147483647 h 32"/>
                    <a:gd name="T28" fmla="*/ 2147483647 w 66"/>
                    <a:gd name="T29" fmla="*/ 2147483647 h 32"/>
                    <a:gd name="T30" fmla="*/ 2147483647 w 66"/>
                    <a:gd name="T31" fmla="*/ 2147483647 h 32"/>
                    <a:gd name="T32" fmla="*/ 2147483647 w 66"/>
                    <a:gd name="T33" fmla="*/ 2147483647 h 32"/>
                    <a:gd name="T34" fmla="*/ 2147483647 w 66"/>
                    <a:gd name="T35" fmla="*/ 2147483647 h 32"/>
                    <a:gd name="T36" fmla="*/ 2147483647 w 66"/>
                    <a:gd name="T37" fmla="*/ 2147483647 h 32"/>
                    <a:gd name="T38" fmla="*/ 2147483647 w 66"/>
                    <a:gd name="T39" fmla="*/ 0 h 32"/>
                    <a:gd name="T40" fmla="*/ 2147483647 w 66"/>
                    <a:gd name="T41" fmla="*/ 0 h 32"/>
                    <a:gd name="T42" fmla="*/ 2147483647 w 66"/>
                    <a:gd name="T43" fmla="*/ 0 h 32"/>
                    <a:gd name="T44" fmla="*/ 2147483647 w 66"/>
                    <a:gd name="T45" fmla="*/ 2147483647 h 32"/>
                    <a:gd name="T46" fmla="*/ 2147483647 w 66"/>
                    <a:gd name="T47" fmla="*/ 2147483647 h 32"/>
                    <a:gd name="T48" fmla="*/ 2147483647 w 66"/>
                    <a:gd name="T49" fmla="*/ 2147483647 h 32"/>
                    <a:gd name="T50" fmla="*/ 2147483647 w 66"/>
                    <a:gd name="T51" fmla="*/ 2147483647 h 32"/>
                    <a:gd name="T52" fmla="*/ 2147483647 w 66"/>
                    <a:gd name="T53" fmla="*/ 2147483647 h 32"/>
                    <a:gd name="T54" fmla="*/ 2147483647 w 66"/>
                    <a:gd name="T55" fmla="*/ 2147483647 h 32"/>
                    <a:gd name="T56" fmla="*/ 2147483647 w 66"/>
                    <a:gd name="T57" fmla="*/ 2147483647 h 32"/>
                    <a:gd name="T58" fmla="*/ 0 w 66"/>
                    <a:gd name="T59" fmla="*/ 2147483647 h 32"/>
                    <a:gd name="T60" fmla="*/ 0 w 66"/>
                    <a:gd name="T61" fmla="*/ 2147483647 h 32"/>
                    <a:gd name="T62" fmla="*/ 2147483647 w 66"/>
                    <a:gd name="T63" fmla="*/ 2147483647 h 32"/>
                    <a:gd name="T64" fmla="*/ 2147483647 w 66"/>
                    <a:gd name="T65" fmla="*/ 2147483647 h 32"/>
                    <a:gd name="T66" fmla="*/ 2147483647 w 66"/>
                    <a:gd name="T67" fmla="*/ 2147483647 h 32"/>
                    <a:gd name="T68" fmla="*/ 2147483647 w 66"/>
                    <a:gd name="T69" fmla="*/ 2147483647 h 32"/>
                    <a:gd name="T70" fmla="*/ 2147483647 w 66"/>
                    <a:gd name="T71" fmla="*/ 2147483647 h 32"/>
                    <a:gd name="T72" fmla="*/ 2147483647 w 66"/>
                    <a:gd name="T73" fmla="*/ 2147483647 h 32"/>
                    <a:gd name="T74" fmla="*/ 2147483647 w 66"/>
                    <a:gd name="T75" fmla="*/ 2147483647 h 32"/>
                    <a:gd name="T76" fmla="*/ 2147483647 w 66"/>
                    <a:gd name="T77" fmla="*/ 2147483647 h 32"/>
                    <a:gd name="T78" fmla="*/ 2147483647 w 66"/>
                    <a:gd name="T79" fmla="*/ 2147483647 h 32"/>
                    <a:gd name="T80" fmla="*/ 2147483647 w 66"/>
                    <a:gd name="T81" fmla="*/ 2147483647 h 32"/>
                    <a:gd name="T82" fmla="*/ 2147483647 w 66"/>
                    <a:gd name="T83" fmla="*/ 2147483647 h 32"/>
                    <a:gd name="T84" fmla="*/ 2147483647 w 66"/>
                    <a:gd name="T85" fmla="*/ 2147483647 h 32"/>
                    <a:gd name="T86" fmla="*/ 2147483647 w 66"/>
                    <a:gd name="T87" fmla="*/ 2147483647 h 32"/>
                    <a:gd name="T88" fmla="*/ 2147483647 w 66"/>
                    <a:gd name="T89" fmla="*/ 2147483647 h 32"/>
                    <a:gd name="T90" fmla="*/ 2147483647 w 66"/>
                    <a:gd name="T91" fmla="*/ 2147483647 h 32"/>
                    <a:gd name="T92" fmla="*/ 2147483647 w 66"/>
                    <a:gd name="T93" fmla="*/ 2147483647 h 32"/>
                    <a:gd name="T94" fmla="*/ 2147483647 w 66"/>
                    <a:gd name="T95" fmla="*/ 2147483647 h 32"/>
                    <a:gd name="T96" fmla="*/ 2147483647 w 66"/>
                    <a:gd name="T97" fmla="*/ 2147483647 h 32"/>
                    <a:gd name="T98" fmla="*/ 2147483647 w 66"/>
                    <a:gd name="T99" fmla="*/ 2147483647 h 32"/>
                    <a:gd name="T100" fmla="*/ 2147483647 w 66"/>
                    <a:gd name="T101" fmla="*/ 2147483647 h 32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6"/>
                    <a:gd name="T154" fmla="*/ 0 h 32"/>
                    <a:gd name="T155" fmla="*/ 66 w 66"/>
                    <a:gd name="T156" fmla="*/ 32 h 32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6" h="32">
                      <a:moveTo>
                        <a:pt x="65" y="19"/>
                      </a:moveTo>
                      <a:lnTo>
                        <a:pt x="66" y="18"/>
                      </a:lnTo>
                      <a:lnTo>
                        <a:pt x="66" y="17"/>
                      </a:lnTo>
                      <a:lnTo>
                        <a:pt x="66" y="14"/>
                      </a:lnTo>
                      <a:lnTo>
                        <a:pt x="65" y="13"/>
                      </a:lnTo>
                      <a:lnTo>
                        <a:pt x="63" y="13"/>
                      </a:lnTo>
                      <a:lnTo>
                        <a:pt x="62" y="12"/>
                      </a:lnTo>
                      <a:lnTo>
                        <a:pt x="58" y="11"/>
                      </a:lnTo>
                      <a:lnTo>
                        <a:pt x="55" y="11"/>
                      </a:lnTo>
                      <a:lnTo>
                        <a:pt x="52" y="12"/>
                      </a:lnTo>
                      <a:lnTo>
                        <a:pt x="50" y="14"/>
                      </a:lnTo>
                      <a:lnTo>
                        <a:pt x="48" y="12"/>
                      </a:lnTo>
                      <a:lnTo>
                        <a:pt x="47" y="10"/>
                      </a:lnTo>
                      <a:lnTo>
                        <a:pt x="46" y="8"/>
                      </a:lnTo>
                      <a:lnTo>
                        <a:pt x="44" y="10"/>
                      </a:lnTo>
                      <a:lnTo>
                        <a:pt x="42" y="10"/>
                      </a:lnTo>
                      <a:lnTo>
                        <a:pt x="39" y="10"/>
                      </a:lnTo>
                      <a:lnTo>
                        <a:pt x="38" y="10"/>
                      </a:lnTo>
                      <a:lnTo>
                        <a:pt x="36" y="2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27" y="2"/>
                      </a:lnTo>
                      <a:lnTo>
                        <a:pt x="23" y="2"/>
                      </a:lnTo>
                      <a:lnTo>
                        <a:pt x="16" y="2"/>
                      </a:lnTo>
                      <a:lnTo>
                        <a:pt x="9" y="5"/>
                      </a:lnTo>
                      <a:lnTo>
                        <a:pt x="5" y="7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20"/>
                      </a:lnTo>
                      <a:lnTo>
                        <a:pt x="0" y="26"/>
                      </a:lnTo>
                      <a:lnTo>
                        <a:pt x="1" y="31"/>
                      </a:lnTo>
                      <a:lnTo>
                        <a:pt x="3" y="32"/>
                      </a:lnTo>
                      <a:lnTo>
                        <a:pt x="5" y="31"/>
                      </a:lnTo>
                      <a:lnTo>
                        <a:pt x="8" y="26"/>
                      </a:lnTo>
                      <a:lnTo>
                        <a:pt x="11" y="24"/>
                      </a:lnTo>
                      <a:lnTo>
                        <a:pt x="16" y="24"/>
                      </a:lnTo>
                      <a:lnTo>
                        <a:pt x="23" y="25"/>
                      </a:lnTo>
                      <a:lnTo>
                        <a:pt x="27" y="24"/>
                      </a:lnTo>
                      <a:lnTo>
                        <a:pt x="28" y="23"/>
                      </a:lnTo>
                      <a:lnTo>
                        <a:pt x="29" y="23"/>
                      </a:lnTo>
                      <a:lnTo>
                        <a:pt x="30" y="24"/>
                      </a:lnTo>
                      <a:lnTo>
                        <a:pt x="29" y="26"/>
                      </a:lnTo>
                      <a:lnTo>
                        <a:pt x="28" y="30"/>
                      </a:lnTo>
                      <a:lnTo>
                        <a:pt x="29" y="30"/>
                      </a:lnTo>
                      <a:lnTo>
                        <a:pt x="30" y="31"/>
                      </a:lnTo>
                      <a:lnTo>
                        <a:pt x="33" y="30"/>
                      </a:lnTo>
                      <a:lnTo>
                        <a:pt x="41" y="26"/>
                      </a:lnTo>
                      <a:lnTo>
                        <a:pt x="48" y="24"/>
                      </a:lnTo>
                      <a:lnTo>
                        <a:pt x="57" y="23"/>
                      </a:lnTo>
                      <a:lnTo>
                        <a:pt x="65" y="1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0" name="Freeform 405">
                  <a:extLst>
                    <a:ext uri="{FF2B5EF4-FFF2-40B4-BE49-F238E27FC236}">
                      <a16:creationId xmlns:a16="http://schemas.microsoft.com/office/drawing/2014/main" id="{46799F1C-AF1D-294B-B549-F6F2507F66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1759" y="1882078"/>
                  <a:ext cx="48836" cy="35517"/>
                </a:xfrm>
                <a:custGeom>
                  <a:avLst/>
                  <a:gdLst>
                    <a:gd name="T0" fmla="*/ 2147483647 w 36"/>
                    <a:gd name="T1" fmla="*/ 2147483647 h 24"/>
                    <a:gd name="T2" fmla="*/ 2147483647 w 36"/>
                    <a:gd name="T3" fmla="*/ 2147483647 h 24"/>
                    <a:gd name="T4" fmla="*/ 2147483647 w 36"/>
                    <a:gd name="T5" fmla="*/ 2147483647 h 24"/>
                    <a:gd name="T6" fmla="*/ 2147483647 w 36"/>
                    <a:gd name="T7" fmla="*/ 0 h 24"/>
                    <a:gd name="T8" fmla="*/ 2147483647 w 36"/>
                    <a:gd name="T9" fmla="*/ 0 h 24"/>
                    <a:gd name="T10" fmla="*/ 2147483647 w 36"/>
                    <a:gd name="T11" fmla="*/ 2147483647 h 24"/>
                    <a:gd name="T12" fmla="*/ 2147483647 w 36"/>
                    <a:gd name="T13" fmla="*/ 2147483647 h 24"/>
                    <a:gd name="T14" fmla="*/ 2147483647 w 36"/>
                    <a:gd name="T15" fmla="*/ 2147483647 h 24"/>
                    <a:gd name="T16" fmla="*/ 2147483647 w 36"/>
                    <a:gd name="T17" fmla="*/ 2147483647 h 24"/>
                    <a:gd name="T18" fmla="*/ 2147483647 w 36"/>
                    <a:gd name="T19" fmla="*/ 2147483647 h 24"/>
                    <a:gd name="T20" fmla="*/ 2147483647 w 36"/>
                    <a:gd name="T21" fmla="*/ 2147483647 h 24"/>
                    <a:gd name="T22" fmla="*/ 2147483647 w 36"/>
                    <a:gd name="T23" fmla="*/ 2147483647 h 24"/>
                    <a:gd name="T24" fmla="*/ 2147483647 w 36"/>
                    <a:gd name="T25" fmla="*/ 2147483647 h 24"/>
                    <a:gd name="T26" fmla="*/ 2147483647 w 36"/>
                    <a:gd name="T27" fmla="*/ 2147483647 h 24"/>
                    <a:gd name="T28" fmla="*/ 0 w 36"/>
                    <a:gd name="T29" fmla="*/ 2147483647 h 24"/>
                    <a:gd name="T30" fmla="*/ 0 w 36"/>
                    <a:gd name="T31" fmla="*/ 2147483647 h 24"/>
                    <a:gd name="T32" fmla="*/ 0 w 36"/>
                    <a:gd name="T33" fmla="*/ 2147483647 h 24"/>
                    <a:gd name="T34" fmla="*/ 2147483647 w 36"/>
                    <a:gd name="T35" fmla="*/ 2147483647 h 24"/>
                    <a:gd name="T36" fmla="*/ 2147483647 w 36"/>
                    <a:gd name="T37" fmla="*/ 2147483647 h 24"/>
                    <a:gd name="T38" fmla="*/ 2147483647 w 36"/>
                    <a:gd name="T39" fmla="*/ 2147483647 h 24"/>
                    <a:gd name="T40" fmla="*/ 2147483647 w 36"/>
                    <a:gd name="T41" fmla="*/ 2147483647 h 24"/>
                    <a:gd name="T42" fmla="*/ 2147483647 w 36"/>
                    <a:gd name="T43" fmla="*/ 2147483647 h 24"/>
                    <a:gd name="T44" fmla="*/ 2147483647 w 36"/>
                    <a:gd name="T45" fmla="*/ 2147483647 h 24"/>
                    <a:gd name="T46" fmla="*/ 2147483647 w 36"/>
                    <a:gd name="T47" fmla="*/ 2147483647 h 24"/>
                    <a:gd name="T48" fmla="*/ 2147483647 w 36"/>
                    <a:gd name="T49" fmla="*/ 2147483647 h 24"/>
                    <a:gd name="T50" fmla="*/ 2147483647 w 36"/>
                    <a:gd name="T51" fmla="*/ 2147483647 h 24"/>
                    <a:gd name="T52" fmla="*/ 2147483647 w 36"/>
                    <a:gd name="T53" fmla="*/ 2147483647 h 24"/>
                    <a:gd name="T54" fmla="*/ 2147483647 w 36"/>
                    <a:gd name="T55" fmla="*/ 2147483647 h 24"/>
                    <a:gd name="T56" fmla="*/ 2147483647 w 36"/>
                    <a:gd name="T57" fmla="*/ 2147483647 h 24"/>
                    <a:gd name="T58" fmla="*/ 2147483647 w 36"/>
                    <a:gd name="T59" fmla="*/ 2147483647 h 24"/>
                    <a:gd name="T60" fmla="*/ 2147483647 w 36"/>
                    <a:gd name="T61" fmla="*/ 2147483647 h 2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6"/>
                    <a:gd name="T94" fmla="*/ 0 h 24"/>
                    <a:gd name="T95" fmla="*/ 36 w 36"/>
                    <a:gd name="T96" fmla="*/ 24 h 2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6" h="24">
                      <a:moveTo>
                        <a:pt x="36" y="10"/>
                      </a:moveTo>
                      <a:lnTo>
                        <a:pt x="36" y="6"/>
                      </a:lnTo>
                      <a:lnTo>
                        <a:pt x="34" y="3"/>
                      </a:lnTo>
                      <a:lnTo>
                        <a:pt x="33" y="0"/>
                      </a:lnTo>
                      <a:lnTo>
                        <a:pt x="30" y="0"/>
                      </a:lnTo>
                      <a:lnTo>
                        <a:pt x="29" y="1"/>
                      </a:lnTo>
                      <a:lnTo>
                        <a:pt x="27" y="3"/>
                      </a:lnTo>
                      <a:lnTo>
                        <a:pt x="24" y="5"/>
                      </a:lnTo>
                      <a:lnTo>
                        <a:pt x="23" y="6"/>
                      </a:lnTo>
                      <a:lnTo>
                        <a:pt x="20" y="7"/>
                      </a:lnTo>
                      <a:lnTo>
                        <a:pt x="15" y="9"/>
                      </a:lnTo>
                      <a:lnTo>
                        <a:pt x="11" y="9"/>
                      </a:lnTo>
                      <a:lnTo>
                        <a:pt x="6" y="9"/>
                      </a:lnTo>
                      <a:lnTo>
                        <a:pt x="3" y="11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3" y="18"/>
                      </a:lnTo>
                      <a:lnTo>
                        <a:pt x="3" y="20"/>
                      </a:lnTo>
                      <a:lnTo>
                        <a:pt x="4" y="22"/>
                      </a:lnTo>
                      <a:lnTo>
                        <a:pt x="4" y="24"/>
                      </a:lnTo>
                      <a:lnTo>
                        <a:pt x="6" y="24"/>
                      </a:lnTo>
                      <a:lnTo>
                        <a:pt x="9" y="23"/>
                      </a:lnTo>
                      <a:lnTo>
                        <a:pt x="10" y="20"/>
                      </a:lnTo>
                      <a:lnTo>
                        <a:pt x="13" y="19"/>
                      </a:lnTo>
                      <a:lnTo>
                        <a:pt x="18" y="17"/>
                      </a:lnTo>
                      <a:lnTo>
                        <a:pt x="28" y="17"/>
                      </a:lnTo>
                      <a:lnTo>
                        <a:pt x="30" y="17"/>
                      </a:lnTo>
                      <a:lnTo>
                        <a:pt x="33" y="15"/>
                      </a:lnTo>
                      <a:lnTo>
                        <a:pt x="34" y="13"/>
                      </a:lnTo>
                      <a:lnTo>
                        <a:pt x="36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1" name="Freeform 406">
                  <a:extLst>
                    <a:ext uri="{FF2B5EF4-FFF2-40B4-BE49-F238E27FC236}">
                      <a16:creationId xmlns:a16="http://schemas.microsoft.com/office/drawing/2014/main" id="{1EE323E5-5BC1-2F41-9828-E09F0B7766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9518" y="1907237"/>
                  <a:ext cx="90273" cy="47356"/>
                </a:xfrm>
                <a:custGeom>
                  <a:avLst/>
                  <a:gdLst>
                    <a:gd name="T0" fmla="*/ 2147483647 w 66"/>
                    <a:gd name="T1" fmla="*/ 2147483647 h 32"/>
                    <a:gd name="T2" fmla="*/ 2147483647 w 66"/>
                    <a:gd name="T3" fmla="*/ 2147483647 h 32"/>
                    <a:gd name="T4" fmla="*/ 2147483647 w 66"/>
                    <a:gd name="T5" fmla="*/ 2147483647 h 32"/>
                    <a:gd name="T6" fmla="*/ 2147483647 w 66"/>
                    <a:gd name="T7" fmla="*/ 2147483647 h 32"/>
                    <a:gd name="T8" fmla="*/ 2147483647 w 66"/>
                    <a:gd name="T9" fmla="*/ 2147483647 h 32"/>
                    <a:gd name="T10" fmla="*/ 2147483647 w 66"/>
                    <a:gd name="T11" fmla="*/ 2147483647 h 32"/>
                    <a:gd name="T12" fmla="*/ 2147483647 w 66"/>
                    <a:gd name="T13" fmla="*/ 2147483647 h 32"/>
                    <a:gd name="T14" fmla="*/ 2147483647 w 66"/>
                    <a:gd name="T15" fmla="*/ 2147483647 h 32"/>
                    <a:gd name="T16" fmla="*/ 2147483647 w 66"/>
                    <a:gd name="T17" fmla="*/ 2147483647 h 32"/>
                    <a:gd name="T18" fmla="*/ 2147483647 w 66"/>
                    <a:gd name="T19" fmla="*/ 2147483647 h 32"/>
                    <a:gd name="T20" fmla="*/ 2147483647 w 66"/>
                    <a:gd name="T21" fmla="*/ 2147483647 h 32"/>
                    <a:gd name="T22" fmla="*/ 2147483647 w 66"/>
                    <a:gd name="T23" fmla="*/ 2147483647 h 32"/>
                    <a:gd name="T24" fmla="*/ 2147483647 w 66"/>
                    <a:gd name="T25" fmla="*/ 2147483647 h 32"/>
                    <a:gd name="T26" fmla="*/ 2147483647 w 66"/>
                    <a:gd name="T27" fmla="*/ 0 h 32"/>
                    <a:gd name="T28" fmla="*/ 2147483647 w 66"/>
                    <a:gd name="T29" fmla="*/ 0 h 32"/>
                    <a:gd name="T30" fmla="*/ 2147483647 w 66"/>
                    <a:gd name="T31" fmla="*/ 2147483647 h 32"/>
                    <a:gd name="T32" fmla="*/ 2147483647 w 66"/>
                    <a:gd name="T33" fmla="*/ 2147483647 h 32"/>
                    <a:gd name="T34" fmla="*/ 2147483647 w 66"/>
                    <a:gd name="T35" fmla="*/ 2147483647 h 32"/>
                    <a:gd name="T36" fmla="*/ 2147483647 w 66"/>
                    <a:gd name="T37" fmla="*/ 2147483647 h 32"/>
                    <a:gd name="T38" fmla="*/ 0 w 66"/>
                    <a:gd name="T39" fmla="*/ 2147483647 h 32"/>
                    <a:gd name="T40" fmla="*/ 2147483647 w 66"/>
                    <a:gd name="T41" fmla="*/ 2147483647 h 32"/>
                    <a:gd name="T42" fmla="*/ 2147483647 w 66"/>
                    <a:gd name="T43" fmla="*/ 2147483647 h 32"/>
                    <a:gd name="T44" fmla="*/ 2147483647 w 66"/>
                    <a:gd name="T45" fmla="*/ 2147483647 h 32"/>
                    <a:gd name="T46" fmla="*/ 2147483647 w 66"/>
                    <a:gd name="T47" fmla="*/ 2147483647 h 32"/>
                    <a:gd name="T48" fmla="*/ 2147483647 w 66"/>
                    <a:gd name="T49" fmla="*/ 2147483647 h 32"/>
                    <a:gd name="T50" fmla="*/ 2147483647 w 66"/>
                    <a:gd name="T51" fmla="*/ 2147483647 h 32"/>
                    <a:gd name="T52" fmla="*/ 2147483647 w 66"/>
                    <a:gd name="T53" fmla="*/ 2147483647 h 32"/>
                    <a:gd name="T54" fmla="*/ 2147483647 w 66"/>
                    <a:gd name="T55" fmla="*/ 2147483647 h 32"/>
                    <a:gd name="T56" fmla="*/ 2147483647 w 66"/>
                    <a:gd name="T57" fmla="*/ 2147483647 h 32"/>
                    <a:gd name="T58" fmla="*/ 2147483647 w 66"/>
                    <a:gd name="T59" fmla="*/ 2147483647 h 32"/>
                    <a:gd name="T60" fmla="*/ 2147483647 w 66"/>
                    <a:gd name="T61" fmla="*/ 2147483647 h 32"/>
                    <a:gd name="T62" fmla="*/ 2147483647 w 66"/>
                    <a:gd name="T63" fmla="*/ 2147483647 h 32"/>
                    <a:gd name="T64" fmla="*/ 2147483647 w 66"/>
                    <a:gd name="T65" fmla="*/ 2147483647 h 32"/>
                    <a:gd name="T66" fmla="*/ 2147483647 w 66"/>
                    <a:gd name="T67" fmla="*/ 2147483647 h 3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66"/>
                    <a:gd name="T103" fmla="*/ 0 h 32"/>
                    <a:gd name="T104" fmla="*/ 66 w 66"/>
                    <a:gd name="T105" fmla="*/ 32 h 3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66" h="32">
                      <a:moveTo>
                        <a:pt x="64" y="19"/>
                      </a:moveTo>
                      <a:lnTo>
                        <a:pt x="64" y="19"/>
                      </a:lnTo>
                      <a:lnTo>
                        <a:pt x="66" y="18"/>
                      </a:lnTo>
                      <a:lnTo>
                        <a:pt x="66" y="16"/>
                      </a:lnTo>
                      <a:lnTo>
                        <a:pt x="66" y="14"/>
                      </a:lnTo>
                      <a:lnTo>
                        <a:pt x="64" y="13"/>
                      </a:lnTo>
                      <a:lnTo>
                        <a:pt x="63" y="13"/>
                      </a:lnTo>
                      <a:lnTo>
                        <a:pt x="62" y="12"/>
                      </a:lnTo>
                      <a:lnTo>
                        <a:pt x="58" y="11"/>
                      </a:lnTo>
                      <a:lnTo>
                        <a:pt x="54" y="11"/>
                      </a:lnTo>
                      <a:lnTo>
                        <a:pt x="52" y="12"/>
                      </a:lnTo>
                      <a:lnTo>
                        <a:pt x="49" y="14"/>
                      </a:lnTo>
                      <a:lnTo>
                        <a:pt x="48" y="12"/>
                      </a:lnTo>
                      <a:lnTo>
                        <a:pt x="47" y="9"/>
                      </a:lnTo>
                      <a:lnTo>
                        <a:pt x="45" y="8"/>
                      </a:lnTo>
                      <a:lnTo>
                        <a:pt x="44" y="9"/>
                      </a:lnTo>
                      <a:lnTo>
                        <a:pt x="42" y="9"/>
                      </a:lnTo>
                      <a:lnTo>
                        <a:pt x="39" y="9"/>
                      </a:lnTo>
                      <a:lnTo>
                        <a:pt x="38" y="9"/>
                      </a:lnTo>
                      <a:lnTo>
                        <a:pt x="35" y="2"/>
                      </a:lnTo>
                      <a:lnTo>
                        <a:pt x="33" y="0"/>
                      </a:lnTo>
                      <a:lnTo>
                        <a:pt x="31" y="0"/>
                      </a:lnTo>
                      <a:lnTo>
                        <a:pt x="30" y="0"/>
                      </a:lnTo>
                      <a:lnTo>
                        <a:pt x="26" y="2"/>
                      </a:lnTo>
                      <a:lnTo>
                        <a:pt x="23" y="2"/>
                      </a:lnTo>
                      <a:lnTo>
                        <a:pt x="16" y="2"/>
                      </a:lnTo>
                      <a:lnTo>
                        <a:pt x="9" y="5"/>
                      </a:lnTo>
                      <a:lnTo>
                        <a:pt x="5" y="7"/>
                      </a:lnTo>
                      <a:lnTo>
                        <a:pt x="4" y="9"/>
                      </a:lnTo>
                      <a:lnTo>
                        <a:pt x="1" y="14"/>
                      </a:lnTo>
                      <a:lnTo>
                        <a:pt x="0" y="20"/>
                      </a:lnTo>
                      <a:lnTo>
                        <a:pt x="0" y="26"/>
                      </a:lnTo>
                      <a:lnTo>
                        <a:pt x="1" y="31"/>
                      </a:lnTo>
                      <a:lnTo>
                        <a:pt x="2" y="32"/>
                      </a:lnTo>
                      <a:lnTo>
                        <a:pt x="5" y="31"/>
                      </a:lnTo>
                      <a:lnTo>
                        <a:pt x="7" y="26"/>
                      </a:lnTo>
                      <a:lnTo>
                        <a:pt x="11" y="24"/>
                      </a:lnTo>
                      <a:lnTo>
                        <a:pt x="16" y="24"/>
                      </a:lnTo>
                      <a:lnTo>
                        <a:pt x="23" y="25"/>
                      </a:lnTo>
                      <a:lnTo>
                        <a:pt x="26" y="24"/>
                      </a:lnTo>
                      <a:lnTo>
                        <a:pt x="28" y="22"/>
                      </a:lnTo>
                      <a:lnTo>
                        <a:pt x="29" y="22"/>
                      </a:lnTo>
                      <a:lnTo>
                        <a:pt x="30" y="24"/>
                      </a:lnTo>
                      <a:lnTo>
                        <a:pt x="29" y="26"/>
                      </a:lnTo>
                      <a:lnTo>
                        <a:pt x="28" y="30"/>
                      </a:lnTo>
                      <a:lnTo>
                        <a:pt x="29" y="30"/>
                      </a:lnTo>
                      <a:lnTo>
                        <a:pt x="30" y="31"/>
                      </a:lnTo>
                      <a:lnTo>
                        <a:pt x="33" y="30"/>
                      </a:lnTo>
                      <a:lnTo>
                        <a:pt x="40" y="26"/>
                      </a:lnTo>
                      <a:lnTo>
                        <a:pt x="48" y="24"/>
                      </a:lnTo>
                      <a:lnTo>
                        <a:pt x="57" y="22"/>
                      </a:lnTo>
                      <a:lnTo>
                        <a:pt x="64" y="1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2" name="Freeform 407">
                  <a:extLst>
                    <a:ext uri="{FF2B5EF4-FFF2-40B4-BE49-F238E27FC236}">
                      <a16:creationId xmlns:a16="http://schemas.microsoft.com/office/drawing/2014/main" id="{94DD99BC-C72C-9D4C-9EDC-5934EF5A94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0283" y="1880599"/>
                  <a:ext cx="48835" cy="35517"/>
                </a:xfrm>
                <a:custGeom>
                  <a:avLst/>
                  <a:gdLst>
                    <a:gd name="T0" fmla="*/ 2147483647 w 35"/>
                    <a:gd name="T1" fmla="*/ 2147483647 h 24"/>
                    <a:gd name="T2" fmla="*/ 2147483647 w 35"/>
                    <a:gd name="T3" fmla="*/ 2147483647 h 24"/>
                    <a:gd name="T4" fmla="*/ 2147483647 w 35"/>
                    <a:gd name="T5" fmla="*/ 2147483647 h 24"/>
                    <a:gd name="T6" fmla="*/ 2147483647 w 35"/>
                    <a:gd name="T7" fmla="*/ 2147483647 h 24"/>
                    <a:gd name="T8" fmla="*/ 2147483647 w 35"/>
                    <a:gd name="T9" fmla="*/ 0 h 24"/>
                    <a:gd name="T10" fmla="*/ 2147483647 w 35"/>
                    <a:gd name="T11" fmla="*/ 0 h 24"/>
                    <a:gd name="T12" fmla="*/ 2147483647 w 35"/>
                    <a:gd name="T13" fmla="*/ 2147483647 h 24"/>
                    <a:gd name="T14" fmla="*/ 2147483647 w 35"/>
                    <a:gd name="T15" fmla="*/ 2147483647 h 24"/>
                    <a:gd name="T16" fmla="*/ 2147483647 w 35"/>
                    <a:gd name="T17" fmla="*/ 2147483647 h 24"/>
                    <a:gd name="T18" fmla="*/ 2147483647 w 35"/>
                    <a:gd name="T19" fmla="*/ 2147483647 h 24"/>
                    <a:gd name="T20" fmla="*/ 2147483647 w 35"/>
                    <a:gd name="T21" fmla="*/ 2147483647 h 24"/>
                    <a:gd name="T22" fmla="*/ 2147483647 w 35"/>
                    <a:gd name="T23" fmla="*/ 2147483647 h 24"/>
                    <a:gd name="T24" fmla="*/ 2147483647 w 35"/>
                    <a:gd name="T25" fmla="*/ 2147483647 h 24"/>
                    <a:gd name="T26" fmla="*/ 2147483647 w 35"/>
                    <a:gd name="T27" fmla="*/ 2147483647 h 24"/>
                    <a:gd name="T28" fmla="*/ 2147483647 w 35"/>
                    <a:gd name="T29" fmla="*/ 2147483647 h 24"/>
                    <a:gd name="T30" fmla="*/ 2147483647 w 35"/>
                    <a:gd name="T31" fmla="*/ 2147483647 h 24"/>
                    <a:gd name="T32" fmla="*/ 2147483647 w 35"/>
                    <a:gd name="T33" fmla="*/ 2147483647 h 24"/>
                    <a:gd name="T34" fmla="*/ 2147483647 w 35"/>
                    <a:gd name="T35" fmla="*/ 2147483647 h 24"/>
                    <a:gd name="T36" fmla="*/ 0 w 35"/>
                    <a:gd name="T37" fmla="*/ 2147483647 h 24"/>
                    <a:gd name="T38" fmla="*/ 0 w 35"/>
                    <a:gd name="T39" fmla="*/ 2147483647 h 24"/>
                    <a:gd name="T40" fmla="*/ 0 w 35"/>
                    <a:gd name="T41" fmla="*/ 2147483647 h 24"/>
                    <a:gd name="T42" fmla="*/ 0 w 35"/>
                    <a:gd name="T43" fmla="*/ 2147483647 h 24"/>
                    <a:gd name="T44" fmla="*/ 2147483647 w 35"/>
                    <a:gd name="T45" fmla="*/ 2147483647 h 24"/>
                    <a:gd name="T46" fmla="*/ 2147483647 w 35"/>
                    <a:gd name="T47" fmla="*/ 2147483647 h 24"/>
                    <a:gd name="T48" fmla="*/ 2147483647 w 35"/>
                    <a:gd name="T49" fmla="*/ 2147483647 h 24"/>
                    <a:gd name="T50" fmla="*/ 2147483647 w 35"/>
                    <a:gd name="T51" fmla="*/ 2147483647 h 24"/>
                    <a:gd name="T52" fmla="*/ 2147483647 w 35"/>
                    <a:gd name="T53" fmla="*/ 2147483647 h 24"/>
                    <a:gd name="T54" fmla="*/ 2147483647 w 35"/>
                    <a:gd name="T55" fmla="*/ 2147483647 h 24"/>
                    <a:gd name="T56" fmla="*/ 2147483647 w 35"/>
                    <a:gd name="T57" fmla="*/ 2147483647 h 24"/>
                    <a:gd name="T58" fmla="*/ 2147483647 w 35"/>
                    <a:gd name="T59" fmla="*/ 2147483647 h 24"/>
                    <a:gd name="T60" fmla="*/ 2147483647 w 35"/>
                    <a:gd name="T61" fmla="*/ 2147483647 h 24"/>
                    <a:gd name="T62" fmla="*/ 2147483647 w 35"/>
                    <a:gd name="T63" fmla="*/ 2147483647 h 24"/>
                    <a:gd name="T64" fmla="*/ 2147483647 w 35"/>
                    <a:gd name="T65" fmla="*/ 2147483647 h 24"/>
                    <a:gd name="T66" fmla="*/ 2147483647 w 35"/>
                    <a:gd name="T67" fmla="*/ 2147483647 h 24"/>
                    <a:gd name="T68" fmla="*/ 2147483647 w 35"/>
                    <a:gd name="T69" fmla="*/ 2147483647 h 24"/>
                    <a:gd name="T70" fmla="*/ 2147483647 w 35"/>
                    <a:gd name="T71" fmla="*/ 2147483647 h 24"/>
                    <a:gd name="T72" fmla="*/ 2147483647 w 35"/>
                    <a:gd name="T73" fmla="*/ 2147483647 h 24"/>
                    <a:gd name="T74" fmla="*/ 2147483647 w 35"/>
                    <a:gd name="T75" fmla="*/ 2147483647 h 24"/>
                    <a:gd name="T76" fmla="*/ 2147483647 w 35"/>
                    <a:gd name="T77" fmla="*/ 2147483647 h 24"/>
                    <a:gd name="T78" fmla="*/ 2147483647 w 35"/>
                    <a:gd name="T79" fmla="*/ 2147483647 h 2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5"/>
                    <a:gd name="T121" fmla="*/ 0 h 24"/>
                    <a:gd name="T122" fmla="*/ 35 w 35"/>
                    <a:gd name="T123" fmla="*/ 24 h 2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5" h="24">
                      <a:moveTo>
                        <a:pt x="35" y="10"/>
                      </a:moveTo>
                      <a:lnTo>
                        <a:pt x="35" y="10"/>
                      </a:lnTo>
                      <a:lnTo>
                        <a:pt x="35" y="6"/>
                      </a:lnTo>
                      <a:lnTo>
                        <a:pt x="34" y="2"/>
                      </a:lnTo>
                      <a:lnTo>
                        <a:pt x="33" y="0"/>
                      </a:lnTo>
                      <a:lnTo>
                        <a:pt x="30" y="0"/>
                      </a:lnTo>
                      <a:lnTo>
                        <a:pt x="29" y="1"/>
                      </a:lnTo>
                      <a:lnTo>
                        <a:pt x="26" y="2"/>
                      </a:lnTo>
                      <a:lnTo>
                        <a:pt x="24" y="5"/>
                      </a:lnTo>
                      <a:lnTo>
                        <a:pt x="23" y="6"/>
                      </a:lnTo>
                      <a:lnTo>
                        <a:pt x="20" y="7"/>
                      </a:lnTo>
                      <a:lnTo>
                        <a:pt x="15" y="8"/>
                      </a:lnTo>
                      <a:lnTo>
                        <a:pt x="11" y="8"/>
                      </a:lnTo>
                      <a:lnTo>
                        <a:pt x="6" y="8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2" y="18"/>
                      </a:lnTo>
                      <a:lnTo>
                        <a:pt x="2" y="20"/>
                      </a:lnTo>
                      <a:lnTo>
                        <a:pt x="4" y="21"/>
                      </a:lnTo>
                      <a:lnTo>
                        <a:pt x="4" y="24"/>
                      </a:lnTo>
                      <a:lnTo>
                        <a:pt x="6" y="24"/>
                      </a:lnTo>
                      <a:lnTo>
                        <a:pt x="9" y="23"/>
                      </a:lnTo>
                      <a:lnTo>
                        <a:pt x="10" y="20"/>
                      </a:lnTo>
                      <a:lnTo>
                        <a:pt x="12" y="19"/>
                      </a:lnTo>
                      <a:lnTo>
                        <a:pt x="18" y="17"/>
                      </a:lnTo>
                      <a:lnTo>
                        <a:pt x="28" y="17"/>
                      </a:lnTo>
                      <a:lnTo>
                        <a:pt x="30" y="17"/>
                      </a:lnTo>
                      <a:lnTo>
                        <a:pt x="33" y="14"/>
                      </a:lnTo>
                      <a:lnTo>
                        <a:pt x="34" y="13"/>
                      </a:lnTo>
                      <a:lnTo>
                        <a:pt x="35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3" name="Freeform 408">
                  <a:extLst>
                    <a:ext uri="{FF2B5EF4-FFF2-40B4-BE49-F238E27FC236}">
                      <a16:creationId xmlns:a16="http://schemas.microsoft.com/office/drawing/2014/main" id="{AB382398-08F6-BB43-89A3-8273C8FA2A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2738" y="1821407"/>
                  <a:ext cx="244179" cy="179064"/>
                </a:xfrm>
                <a:custGeom>
                  <a:avLst/>
                  <a:gdLst>
                    <a:gd name="T0" fmla="*/ 2147483647 w 179"/>
                    <a:gd name="T1" fmla="*/ 2147483647 h 121"/>
                    <a:gd name="T2" fmla="*/ 2147483647 w 179"/>
                    <a:gd name="T3" fmla="*/ 2147483647 h 121"/>
                    <a:gd name="T4" fmla="*/ 2147483647 w 179"/>
                    <a:gd name="T5" fmla="*/ 2147483647 h 121"/>
                    <a:gd name="T6" fmla="*/ 2147483647 w 179"/>
                    <a:gd name="T7" fmla="*/ 2147483647 h 121"/>
                    <a:gd name="T8" fmla="*/ 2147483647 w 179"/>
                    <a:gd name="T9" fmla="*/ 2147483647 h 121"/>
                    <a:gd name="T10" fmla="*/ 2147483647 w 179"/>
                    <a:gd name="T11" fmla="*/ 2147483647 h 121"/>
                    <a:gd name="T12" fmla="*/ 2147483647 w 179"/>
                    <a:gd name="T13" fmla="*/ 2147483647 h 121"/>
                    <a:gd name="T14" fmla="*/ 2147483647 w 179"/>
                    <a:gd name="T15" fmla="*/ 2147483647 h 121"/>
                    <a:gd name="T16" fmla="*/ 2147483647 w 179"/>
                    <a:gd name="T17" fmla="*/ 2147483647 h 121"/>
                    <a:gd name="T18" fmla="*/ 2147483647 w 179"/>
                    <a:gd name="T19" fmla="*/ 2147483647 h 121"/>
                    <a:gd name="T20" fmla="*/ 2147483647 w 179"/>
                    <a:gd name="T21" fmla="*/ 2147483647 h 121"/>
                    <a:gd name="T22" fmla="*/ 2147483647 w 179"/>
                    <a:gd name="T23" fmla="*/ 2147483647 h 121"/>
                    <a:gd name="T24" fmla="*/ 2147483647 w 179"/>
                    <a:gd name="T25" fmla="*/ 2147483647 h 121"/>
                    <a:gd name="T26" fmla="*/ 2147483647 w 179"/>
                    <a:gd name="T27" fmla="*/ 2147483647 h 121"/>
                    <a:gd name="T28" fmla="*/ 2147483647 w 179"/>
                    <a:gd name="T29" fmla="*/ 2147483647 h 121"/>
                    <a:gd name="T30" fmla="*/ 2147483647 w 179"/>
                    <a:gd name="T31" fmla="*/ 2147483647 h 121"/>
                    <a:gd name="T32" fmla="*/ 2147483647 w 179"/>
                    <a:gd name="T33" fmla="*/ 2147483647 h 121"/>
                    <a:gd name="T34" fmla="*/ 2147483647 w 179"/>
                    <a:gd name="T35" fmla="*/ 2147483647 h 121"/>
                    <a:gd name="T36" fmla="*/ 2147483647 w 179"/>
                    <a:gd name="T37" fmla="*/ 2147483647 h 121"/>
                    <a:gd name="T38" fmla="*/ 2147483647 w 179"/>
                    <a:gd name="T39" fmla="*/ 2147483647 h 121"/>
                    <a:gd name="T40" fmla="*/ 2147483647 w 179"/>
                    <a:gd name="T41" fmla="*/ 2147483647 h 121"/>
                    <a:gd name="T42" fmla="*/ 0 w 179"/>
                    <a:gd name="T43" fmla="*/ 2147483647 h 121"/>
                    <a:gd name="T44" fmla="*/ 2147483647 w 179"/>
                    <a:gd name="T45" fmla="*/ 2147483647 h 121"/>
                    <a:gd name="T46" fmla="*/ 2147483647 w 179"/>
                    <a:gd name="T47" fmla="*/ 2147483647 h 121"/>
                    <a:gd name="T48" fmla="*/ 2147483647 w 179"/>
                    <a:gd name="T49" fmla="*/ 2147483647 h 121"/>
                    <a:gd name="T50" fmla="*/ 2147483647 w 179"/>
                    <a:gd name="T51" fmla="*/ 2147483647 h 121"/>
                    <a:gd name="T52" fmla="*/ 2147483647 w 179"/>
                    <a:gd name="T53" fmla="*/ 2147483647 h 121"/>
                    <a:gd name="T54" fmla="*/ 2147483647 w 179"/>
                    <a:gd name="T55" fmla="*/ 2147483647 h 121"/>
                    <a:gd name="T56" fmla="*/ 2147483647 w 179"/>
                    <a:gd name="T57" fmla="*/ 2147483647 h 121"/>
                    <a:gd name="T58" fmla="*/ 2147483647 w 179"/>
                    <a:gd name="T59" fmla="*/ 2147483647 h 121"/>
                    <a:gd name="T60" fmla="*/ 2147483647 w 179"/>
                    <a:gd name="T61" fmla="*/ 2147483647 h 121"/>
                    <a:gd name="T62" fmla="*/ 2147483647 w 179"/>
                    <a:gd name="T63" fmla="*/ 2147483647 h 121"/>
                    <a:gd name="T64" fmla="*/ 2147483647 w 179"/>
                    <a:gd name="T65" fmla="*/ 2147483647 h 121"/>
                    <a:gd name="T66" fmla="*/ 2147483647 w 179"/>
                    <a:gd name="T67" fmla="*/ 2147483647 h 121"/>
                    <a:gd name="T68" fmla="*/ 2147483647 w 179"/>
                    <a:gd name="T69" fmla="*/ 2147483647 h 121"/>
                    <a:gd name="T70" fmla="*/ 2147483647 w 179"/>
                    <a:gd name="T71" fmla="*/ 2147483647 h 121"/>
                    <a:gd name="T72" fmla="*/ 2147483647 w 179"/>
                    <a:gd name="T73" fmla="*/ 2147483647 h 121"/>
                    <a:gd name="T74" fmla="*/ 2147483647 w 179"/>
                    <a:gd name="T75" fmla="*/ 2147483647 h 121"/>
                    <a:gd name="T76" fmla="*/ 2147483647 w 179"/>
                    <a:gd name="T77" fmla="*/ 2147483647 h 121"/>
                    <a:gd name="T78" fmla="*/ 2147483647 w 179"/>
                    <a:gd name="T79" fmla="*/ 2147483647 h 121"/>
                    <a:gd name="T80" fmla="*/ 2147483647 w 179"/>
                    <a:gd name="T81" fmla="*/ 2147483647 h 121"/>
                    <a:gd name="T82" fmla="*/ 2147483647 w 179"/>
                    <a:gd name="T83" fmla="*/ 2147483647 h 121"/>
                    <a:gd name="T84" fmla="*/ 2147483647 w 179"/>
                    <a:gd name="T85" fmla="*/ 2147483647 h 121"/>
                    <a:gd name="T86" fmla="*/ 2147483647 w 179"/>
                    <a:gd name="T87" fmla="*/ 2147483647 h 121"/>
                    <a:gd name="T88" fmla="*/ 2147483647 w 179"/>
                    <a:gd name="T89" fmla="*/ 2147483647 h 121"/>
                    <a:gd name="T90" fmla="*/ 2147483647 w 179"/>
                    <a:gd name="T91" fmla="*/ 2147483647 h 121"/>
                    <a:gd name="T92" fmla="*/ 2147483647 w 179"/>
                    <a:gd name="T93" fmla="*/ 2147483647 h 121"/>
                    <a:gd name="T94" fmla="*/ 2147483647 w 179"/>
                    <a:gd name="T95" fmla="*/ 2147483647 h 121"/>
                    <a:gd name="T96" fmla="*/ 2147483647 w 179"/>
                    <a:gd name="T97" fmla="*/ 2147483647 h 121"/>
                    <a:gd name="T98" fmla="*/ 2147483647 w 179"/>
                    <a:gd name="T99" fmla="*/ 2147483647 h 121"/>
                    <a:gd name="T100" fmla="*/ 2147483647 w 179"/>
                    <a:gd name="T101" fmla="*/ 2147483647 h 121"/>
                    <a:gd name="T102" fmla="*/ 2147483647 w 179"/>
                    <a:gd name="T103" fmla="*/ 2147483647 h 121"/>
                    <a:gd name="T104" fmla="*/ 2147483647 w 179"/>
                    <a:gd name="T105" fmla="*/ 2147483647 h 121"/>
                    <a:gd name="T106" fmla="*/ 2147483647 w 179"/>
                    <a:gd name="T107" fmla="*/ 2147483647 h 121"/>
                    <a:gd name="T108" fmla="*/ 2147483647 w 179"/>
                    <a:gd name="T109" fmla="*/ 2147483647 h 121"/>
                    <a:gd name="T110" fmla="*/ 2147483647 w 179"/>
                    <a:gd name="T111" fmla="*/ 2147483647 h 121"/>
                    <a:gd name="T112" fmla="*/ 2147483647 w 179"/>
                    <a:gd name="T113" fmla="*/ 2147483647 h 121"/>
                    <a:gd name="T114" fmla="*/ 2147483647 w 179"/>
                    <a:gd name="T115" fmla="*/ 2147483647 h 121"/>
                    <a:gd name="T116" fmla="*/ 2147483647 w 179"/>
                    <a:gd name="T117" fmla="*/ 2147483647 h 121"/>
                    <a:gd name="T118" fmla="*/ 2147483647 w 179"/>
                    <a:gd name="T119" fmla="*/ 2147483647 h 12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79"/>
                    <a:gd name="T181" fmla="*/ 0 h 121"/>
                    <a:gd name="T182" fmla="*/ 179 w 179"/>
                    <a:gd name="T183" fmla="*/ 121 h 12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79" h="121">
                      <a:moveTo>
                        <a:pt x="158" y="31"/>
                      </a:moveTo>
                      <a:lnTo>
                        <a:pt x="152" y="31"/>
                      </a:lnTo>
                      <a:lnTo>
                        <a:pt x="147" y="31"/>
                      </a:lnTo>
                      <a:lnTo>
                        <a:pt x="142" y="29"/>
                      </a:lnTo>
                      <a:lnTo>
                        <a:pt x="137" y="27"/>
                      </a:lnTo>
                      <a:lnTo>
                        <a:pt x="133" y="23"/>
                      </a:lnTo>
                      <a:lnTo>
                        <a:pt x="129" y="21"/>
                      </a:lnTo>
                      <a:lnTo>
                        <a:pt x="127" y="21"/>
                      </a:lnTo>
                      <a:lnTo>
                        <a:pt x="124" y="21"/>
                      </a:lnTo>
                      <a:lnTo>
                        <a:pt x="123" y="21"/>
                      </a:lnTo>
                      <a:lnTo>
                        <a:pt x="119" y="20"/>
                      </a:lnTo>
                      <a:lnTo>
                        <a:pt x="117" y="19"/>
                      </a:lnTo>
                      <a:lnTo>
                        <a:pt x="115" y="18"/>
                      </a:lnTo>
                      <a:lnTo>
                        <a:pt x="114" y="13"/>
                      </a:lnTo>
                      <a:lnTo>
                        <a:pt x="113" y="8"/>
                      </a:lnTo>
                      <a:lnTo>
                        <a:pt x="113" y="7"/>
                      </a:lnTo>
                      <a:lnTo>
                        <a:pt x="110" y="6"/>
                      </a:lnTo>
                      <a:lnTo>
                        <a:pt x="103" y="2"/>
                      </a:lnTo>
                      <a:lnTo>
                        <a:pt x="99" y="1"/>
                      </a:lnTo>
                      <a:lnTo>
                        <a:pt x="95" y="0"/>
                      </a:lnTo>
                      <a:lnTo>
                        <a:pt x="92" y="1"/>
                      </a:lnTo>
                      <a:lnTo>
                        <a:pt x="91" y="1"/>
                      </a:lnTo>
                      <a:lnTo>
                        <a:pt x="87" y="5"/>
                      </a:lnTo>
                      <a:lnTo>
                        <a:pt x="85" y="9"/>
                      </a:lnTo>
                      <a:lnTo>
                        <a:pt x="85" y="14"/>
                      </a:lnTo>
                      <a:lnTo>
                        <a:pt x="87" y="19"/>
                      </a:lnTo>
                      <a:lnTo>
                        <a:pt x="91" y="22"/>
                      </a:lnTo>
                      <a:lnTo>
                        <a:pt x="95" y="27"/>
                      </a:lnTo>
                      <a:lnTo>
                        <a:pt x="95" y="28"/>
                      </a:lnTo>
                      <a:lnTo>
                        <a:pt x="94" y="31"/>
                      </a:lnTo>
                      <a:lnTo>
                        <a:pt x="91" y="32"/>
                      </a:lnTo>
                      <a:lnTo>
                        <a:pt x="87" y="32"/>
                      </a:lnTo>
                      <a:lnTo>
                        <a:pt x="84" y="31"/>
                      </a:lnTo>
                      <a:lnTo>
                        <a:pt x="82" y="29"/>
                      </a:lnTo>
                      <a:lnTo>
                        <a:pt x="78" y="18"/>
                      </a:lnTo>
                      <a:lnTo>
                        <a:pt x="76" y="13"/>
                      </a:lnTo>
                      <a:lnTo>
                        <a:pt x="72" y="8"/>
                      </a:lnTo>
                      <a:lnTo>
                        <a:pt x="70" y="8"/>
                      </a:lnTo>
                      <a:lnTo>
                        <a:pt x="68" y="9"/>
                      </a:lnTo>
                      <a:lnTo>
                        <a:pt x="65" y="14"/>
                      </a:lnTo>
                      <a:lnTo>
                        <a:pt x="63" y="14"/>
                      </a:lnTo>
                      <a:lnTo>
                        <a:pt x="62" y="14"/>
                      </a:lnTo>
                      <a:lnTo>
                        <a:pt x="58" y="14"/>
                      </a:lnTo>
                      <a:lnTo>
                        <a:pt x="57" y="15"/>
                      </a:lnTo>
                      <a:lnTo>
                        <a:pt x="56" y="18"/>
                      </a:lnTo>
                      <a:lnTo>
                        <a:pt x="56" y="20"/>
                      </a:lnTo>
                      <a:lnTo>
                        <a:pt x="54" y="21"/>
                      </a:lnTo>
                      <a:lnTo>
                        <a:pt x="51" y="21"/>
                      </a:lnTo>
                      <a:lnTo>
                        <a:pt x="48" y="21"/>
                      </a:lnTo>
                      <a:lnTo>
                        <a:pt x="44" y="19"/>
                      </a:lnTo>
                      <a:lnTo>
                        <a:pt x="42" y="16"/>
                      </a:lnTo>
                      <a:lnTo>
                        <a:pt x="40" y="15"/>
                      </a:lnTo>
                      <a:lnTo>
                        <a:pt x="40" y="14"/>
                      </a:lnTo>
                      <a:lnTo>
                        <a:pt x="43" y="12"/>
                      </a:lnTo>
                      <a:lnTo>
                        <a:pt x="49" y="10"/>
                      </a:lnTo>
                      <a:lnTo>
                        <a:pt x="49" y="9"/>
                      </a:lnTo>
                      <a:lnTo>
                        <a:pt x="49" y="8"/>
                      </a:lnTo>
                      <a:lnTo>
                        <a:pt x="48" y="7"/>
                      </a:lnTo>
                      <a:lnTo>
                        <a:pt x="35" y="8"/>
                      </a:lnTo>
                      <a:lnTo>
                        <a:pt x="23" y="8"/>
                      </a:lnTo>
                      <a:lnTo>
                        <a:pt x="12" y="6"/>
                      </a:lnTo>
                      <a:lnTo>
                        <a:pt x="7" y="6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0" y="19"/>
                      </a:lnTo>
                      <a:lnTo>
                        <a:pt x="2" y="27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3"/>
                      </a:lnTo>
                      <a:lnTo>
                        <a:pt x="9" y="31"/>
                      </a:lnTo>
                      <a:lnTo>
                        <a:pt x="11" y="29"/>
                      </a:lnTo>
                      <a:lnTo>
                        <a:pt x="12" y="29"/>
                      </a:lnTo>
                      <a:lnTo>
                        <a:pt x="14" y="31"/>
                      </a:lnTo>
                      <a:lnTo>
                        <a:pt x="15" y="34"/>
                      </a:lnTo>
                      <a:lnTo>
                        <a:pt x="15" y="45"/>
                      </a:lnTo>
                      <a:lnTo>
                        <a:pt x="15" y="47"/>
                      </a:lnTo>
                      <a:lnTo>
                        <a:pt x="16" y="50"/>
                      </a:lnTo>
                      <a:lnTo>
                        <a:pt x="21" y="51"/>
                      </a:lnTo>
                      <a:lnTo>
                        <a:pt x="26" y="52"/>
                      </a:lnTo>
                      <a:lnTo>
                        <a:pt x="30" y="53"/>
                      </a:lnTo>
                      <a:lnTo>
                        <a:pt x="31" y="56"/>
                      </a:lnTo>
                      <a:lnTo>
                        <a:pt x="34" y="57"/>
                      </a:lnTo>
                      <a:lnTo>
                        <a:pt x="44" y="60"/>
                      </a:lnTo>
                      <a:lnTo>
                        <a:pt x="49" y="61"/>
                      </a:lnTo>
                      <a:lnTo>
                        <a:pt x="54" y="60"/>
                      </a:lnTo>
                      <a:lnTo>
                        <a:pt x="56" y="59"/>
                      </a:lnTo>
                      <a:lnTo>
                        <a:pt x="57" y="56"/>
                      </a:lnTo>
                      <a:lnTo>
                        <a:pt x="59" y="48"/>
                      </a:lnTo>
                      <a:lnTo>
                        <a:pt x="59" y="46"/>
                      </a:lnTo>
                      <a:lnTo>
                        <a:pt x="61" y="46"/>
                      </a:lnTo>
                      <a:lnTo>
                        <a:pt x="65" y="45"/>
                      </a:lnTo>
                      <a:lnTo>
                        <a:pt x="67" y="44"/>
                      </a:lnTo>
                      <a:lnTo>
                        <a:pt x="70" y="42"/>
                      </a:lnTo>
                      <a:lnTo>
                        <a:pt x="71" y="39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8" y="38"/>
                      </a:lnTo>
                      <a:lnTo>
                        <a:pt x="80" y="40"/>
                      </a:lnTo>
                      <a:lnTo>
                        <a:pt x="80" y="42"/>
                      </a:lnTo>
                      <a:lnTo>
                        <a:pt x="78" y="44"/>
                      </a:lnTo>
                      <a:lnTo>
                        <a:pt x="77" y="46"/>
                      </a:lnTo>
                      <a:lnTo>
                        <a:pt x="76" y="47"/>
                      </a:lnTo>
                      <a:lnTo>
                        <a:pt x="76" y="48"/>
                      </a:lnTo>
                      <a:lnTo>
                        <a:pt x="77" y="51"/>
                      </a:lnTo>
                      <a:lnTo>
                        <a:pt x="80" y="52"/>
                      </a:lnTo>
                      <a:lnTo>
                        <a:pt x="85" y="52"/>
                      </a:lnTo>
                      <a:lnTo>
                        <a:pt x="90" y="52"/>
                      </a:lnTo>
                      <a:lnTo>
                        <a:pt x="92" y="52"/>
                      </a:lnTo>
                      <a:lnTo>
                        <a:pt x="92" y="53"/>
                      </a:lnTo>
                      <a:lnTo>
                        <a:pt x="91" y="57"/>
                      </a:lnTo>
                      <a:lnTo>
                        <a:pt x="89" y="59"/>
                      </a:lnTo>
                      <a:lnTo>
                        <a:pt x="86" y="61"/>
                      </a:lnTo>
                      <a:lnTo>
                        <a:pt x="81" y="63"/>
                      </a:lnTo>
                      <a:lnTo>
                        <a:pt x="70" y="65"/>
                      </a:lnTo>
                      <a:lnTo>
                        <a:pt x="57" y="66"/>
                      </a:lnTo>
                      <a:lnTo>
                        <a:pt x="53" y="69"/>
                      </a:lnTo>
                      <a:lnTo>
                        <a:pt x="53" y="70"/>
                      </a:lnTo>
                      <a:lnTo>
                        <a:pt x="53" y="71"/>
                      </a:lnTo>
                      <a:lnTo>
                        <a:pt x="57" y="73"/>
                      </a:lnTo>
                      <a:lnTo>
                        <a:pt x="61" y="73"/>
                      </a:lnTo>
                      <a:lnTo>
                        <a:pt x="68" y="73"/>
                      </a:lnTo>
                      <a:lnTo>
                        <a:pt x="84" y="71"/>
                      </a:lnTo>
                      <a:lnTo>
                        <a:pt x="89" y="71"/>
                      </a:lnTo>
                      <a:lnTo>
                        <a:pt x="92" y="72"/>
                      </a:lnTo>
                      <a:lnTo>
                        <a:pt x="92" y="73"/>
                      </a:lnTo>
                      <a:lnTo>
                        <a:pt x="90" y="74"/>
                      </a:lnTo>
                      <a:lnTo>
                        <a:pt x="85" y="74"/>
                      </a:lnTo>
                      <a:lnTo>
                        <a:pt x="82" y="74"/>
                      </a:lnTo>
                      <a:lnTo>
                        <a:pt x="81" y="76"/>
                      </a:lnTo>
                      <a:lnTo>
                        <a:pt x="81" y="77"/>
                      </a:lnTo>
                      <a:lnTo>
                        <a:pt x="82" y="79"/>
                      </a:lnTo>
                      <a:lnTo>
                        <a:pt x="85" y="79"/>
                      </a:lnTo>
                      <a:lnTo>
                        <a:pt x="86" y="80"/>
                      </a:lnTo>
                      <a:lnTo>
                        <a:pt x="86" y="82"/>
                      </a:lnTo>
                      <a:lnTo>
                        <a:pt x="81" y="85"/>
                      </a:lnTo>
                      <a:lnTo>
                        <a:pt x="76" y="86"/>
                      </a:lnTo>
                      <a:lnTo>
                        <a:pt x="70" y="86"/>
                      </a:lnTo>
                      <a:lnTo>
                        <a:pt x="63" y="85"/>
                      </a:lnTo>
                      <a:lnTo>
                        <a:pt x="61" y="86"/>
                      </a:lnTo>
                      <a:lnTo>
                        <a:pt x="59" y="89"/>
                      </a:lnTo>
                      <a:lnTo>
                        <a:pt x="59" y="91"/>
                      </a:lnTo>
                      <a:lnTo>
                        <a:pt x="61" y="93"/>
                      </a:lnTo>
                      <a:lnTo>
                        <a:pt x="70" y="98"/>
                      </a:lnTo>
                      <a:lnTo>
                        <a:pt x="77" y="102"/>
                      </a:lnTo>
                      <a:lnTo>
                        <a:pt x="85" y="108"/>
                      </a:lnTo>
                      <a:lnTo>
                        <a:pt x="92" y="115"/>
                      </a:lnTo>
                      <a:lnTo>
                        <a:pt x="98" y="120"/>
                      </a:lnTo>
                      <a:lnTo>
                        <a:pt x="100" y="121"/>
                      </a:lnTo>
                      <a:lnTo>
                        <a:pt x="104" y="121"/>
                      </a:lnTo>
                      <a:lnTo>
                        <a:pt x="105" y="120"/>
                      </a:lnTo>
                      <a:lnTo>
                        <a:pt x="106" y="116"/>
                      </a:lnTo>
                      <a:lnTo>
                        <a:pt x="106" y="112"/>
                      </a:lnTo>
                      <a:lnTo>
                        <a:pt x="108" y="110"/>
                      </a:lnTo>
                      <a:lnTo>
                        <a:pt x="115" y="99"/>
                      </a:lnTo>
                      <a:lnTo>
                        <a:pt x="122" y="91"/>
                      </a:lnTo>
                      <a:lnTo>
                        <a:pt x="127" y="82"/>
                      </a:lnTo>
                      <a:lnTo>
                        <a:pt x="132" y="69"/>
                      </a:lnTo>
                      <a:lnTo>
                        <a:pt x="134" y="67"/>
                      </a:lnTo>
                      <a:lnTo>
                        <a:pt x="137" y="67"/>
                      </a:lnTo>
                      <a:lnTo>
                        <a:pt x="138" y="66"/>
                      </a:lnTo>
                      <a:lnTo>
                        <a:pt x="141" y="65"/>
                      </a:lnTo>
                      <a:lnTo>
                        <a:pt x="142" y="59"/>
                      </a:lnTo>
                      <a:lnTo>
                        <a:pt x="142" y="57"/>
                      </a:lnTo>
                      <a:lnTo>
                        <a:pt x="143" y="54"/>
                      </a:lnTo>
                      <a:lnTo>
                        <a:pt x="147" y="52"/>
                      </a:lnTo>
                      <a:lnTo>
                        <a:pt x="152" y="52"/>
                      </a:lnTo>
                      <a:lnTo>
                        <a:pt x="157" y="51"/>
                      </a:lnTo>
                      <a:lnTo>
                        <a:pt x="161" y="50"/>
                      </a:lnTo>
                      <a:lnTo>
                        <a:pt x="169" y="45"/>
                      </a:lnTo>
                      <a:lnTo>
                        <a:pt x="176" y="42"/>
                      </a:lnTo>
                      <a:lnTo>
                        <a:pt x="178" y="41"/>
                      </a:lnTo>
                      <a:lnTo>
                        <a:pt x="179" y="40"/>
                      </a:lnTo>
                      <a:lnTo>
                        <a:pt x="172" y="39"/>
                      </a:lnTo>
                      <a:lnTo>
                        <a:pt x="167" y="38"/>
                      </a:lnTo>
                      <a:lnTo>
                        <a:pt x="166" y="37"/>
                      </a:lnTo>
                      <a:lnTo>
                        <a:pt x="167" y="35"/>
                      </a:lnTo>
                      <a:lnTo>
                        <a:pt x="169" y="33"/>
                      </a:lnTo>
                      <a:lnTo>
                        <a:pt x="167" y="32"/>
                      </a:lnTo>
                      <a:lnTo>
                        <a:pt x="164" y="32"/>
                      </a:lnTo>
                      <a:lnTo>
                        <a:pt x="158" y="3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4" name="Freeform 409">
                  <a:extLst>
                    <a:ext uri="{FF2B5EF4-FFF2-40B4-BE49-F238E27FC236}">
                      <a16:creationId xmlns:a16="http://schemas.microsoft.com/office/drawing/2014/main" id="{20D39D4F-A701-CF4B-8E6E-369C5F2021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4122" y="2086299"/>
                  <a:ext cx="28117" cy="29598"/>
                </a:xfrm>
                <a:custGeom>
                  <a:avLst/>
                  <a:gdLst>
                    <a:gd name="T0" fmla="*/ 2147483647 w 21"/>
                    <a:gd name="T1" fmla="*/ 2147483647 h 20"/>
                    <a:gd name="T2" fmla="*/ 2147483647 w 21"/>
                    <a:gd name="T3" fmla="*/ 2147483647 h 20"/>
                    <a:gd name="T4" fmla="*/ 2147483647 w 21"/>
                    <a:gd name="T5" fmla="*/ 2147483647 h 20"/>
                    <a:gd name="T6" fmla="*/ 2147483647 w 21"/>
                    <a:gd name="T7" fmla="*/ 2147483647 h 20"/>
                    <a:gd name="T8" fmla="*/ 2147483647 w 21"/>
                    <a:gd name="T9" fmla="*/ 2147483647 h 20"/>
                    <a:gd name="T10" fmla="*/ 2147483647 w 21"/>
                    <a:gd name="T11" fmla="*/ 2147483647 h 20"/>
                    <a:gd name="T12" fmla="*/ 2147483647 w 21"/>
                    <a:gd name="T13" fmla="*/ 2147483647 h 20"/>
                    <a:gd name="T14" fmla="*/ 2147483647 w 21"/>
                    <a:gd name="T15" fmla="*/ 2147483647 h 20"/>
                    <a:gd name="T16" fmla="*/ 2147483647 w 21"/>
                    <a:gd name="T17" fmla="*/ 2147483647 h 20"/>
                    <a:gd name="T18" fmla="*/ 2147483647 w 21"/>
                    <a:gd name="T19" fmla="*/ 2147483647 h 20"/>
                    <a:gd name="T20" fmla="*/ 2147483647 w 21"/>
                    <a:gd name="T21" fmla="*/ 2147483647 h 20"/>
                    <a:gd name="T22" fmla="*/ 0 w 21"/>
                    <a:gd name="T23" fmla="*/ 2147483647 h 20"/>
                    <a:gd name="T24" fmla="*/ 2147483647 w 21"/>
                    <a:gd name="T25" fmla="*/ 2147483647 h 20"/>
                    <a:gd name="T26" fmla="*/ 2147483647 w 21"/>
                    <a:gd name="T27" fmla="*/ 2147483647 h 20"/>
                    <a:gd name="T28" fmla="*/ 2147483647 w 21"/>
                    <a:gd name="T29" fmla="*/ 2147483647 h 20"/>
                    <a:gd name="T30" fmla="*/ 2147483647 w 21"/>
                    <a:gd name="T31" fmla="*/ 2147483647 h 20"/>
                    <a:gd name="T32" fmla="*/ 2147483647 w 21"/>
                    <a:gd name="T33" fmla="*/ 0 h 20"/>
                    <a:gd name="T34" fmla="*/ 2147483647 w 21"/>
                    <a:gd name="T35" fmla="*/ 2147483647 h 20"/>
                    <a:gd name="T36" fmla="*/ 2147483647 w 21"/>
                    <a:gd name="T37" fmla="*/ 2147483647 h 20"/>
                    <a:gd name="T38" fmla="*/ 2147483647 w 21"/>
                    <a:gd name="T39" fmla="*/ 2147483647 h 20"/>
                    <a:gd name="T40" fmla="*/ 2147483647 w 21"/>
                    <a:gd name="T41" fmla="*/ 2147483647 h 2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1"/>
                    <a:gd name="T64" fmla="*/ 0 h 20"/>
                    <a:gd name="T65" fmla="*/ 21 w 21"/>
                    <a:gd name="T66" fmla="*/ 20 h 2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1" h="20">
                      <a:moveTo>
                        <a:pt x="17" y="8"/>
                      </a:moveTo>
                      <a:lnTo>
                        <a:pt x="16" y="9"/>
                      </a:lnTo>
                      <a:lnTo>
                        <a:pt x="16" y="12"/>
                      </a:lnTo>
                      <a:lnTo>
                        <a:pt x="16" y="14"/>
                      </a:lnTo>
                      <a:lnTo>
                        <a:pt x="15" y="16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6" y="19"/>
                      </a:lnTo>
                      <a:lnTo>
                        <a:pt x="4" y="20"/>
                      </a:lnTo>
                      <a:lnTo>
                        <a:pt x="2" y="19"/>
                      </a:lnTo>
                      <a:lnTo>
                        <a:pt x="1" y="18"/>
                      </a:lnTo>
                      <a:lnTo>
                        <a:pt x="0" y="15"/>
                      </a:lnTo>
                      <a:lnTo>
                        <a:pt x="1" y="10"/>
                      </a:lnTo>
                      <a:lnTo>
                        <a:pt x="5" y="7"/>
                      </a:lnTo>
                      <a:lnTo>
                        <a:pt x="9" y="3"/>
                      </a:lnTo>
                      <a:lnTo>
                        <a:pt x="14" y="1"/>
                      </a:lnTo>
                      <a:lnTo>
                        <a:pt x="17" y="0"/>
                      </a:lnTo>
                      <a:lnTo>
                        <a:pt x="20" y="1"/>
                      </a:lnTo>
                      <a:lnTo>
                        <a:pt x="21" y="2"/>
                      </a:lnTo>
                      <a:lnTo>
                        <a:pt x="20" y="5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5" name="Freeform 410">
                  <a:extLst>
                    <a:ext uri="{FF2B5EF4-FFF2-40B4-BE49-F238E27FC236}">
                      <a16:creationId xmlns:a16="http://schemas.microsoft.com/office/drawing/2014/main" id="{FFC6636C-3661-2E47-B6A0-8AE8F51C3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9779" y="1819923"/>
                  <a:ext cx="245659" cy="179065"/>
                </a:xfrm>
                <a:custGeom>
                  <a:avLst/>
                  <a:gdLst>
                    <a:gd name="T0" fmla="*/ 2147483647 w 180"/>
                    <a:gd name="T1" fmla="*/ 2147483647 h 121"/>
                    <a:gd name="T2" fmla="*/ 2147483647 w 180"/>
                    <a:gd name="T3" fmla="*/ 2147483647 h 121"/>
                    <a:gd name="T4" fmla="*/ 2147483647 w 180"/>
                    <a:gd name="T5" fmla="*/ 2147483647 h 121"/>
                    <a:gd name="T6" fmla="*/ 2147483647 w 180"/>
                    <a:gd name="T7" fmla="*/ 2147483647 h 121"/>
                    <a:gd name="T8" fmla="*/ 2147483647 w 180"/>
                    <a:gd name="T9" fmla="*/ 2147483647 h 121"/>
                    <a:gd name="T10" fmla="*/ 2147483647 w 180"/>
                    <a:gd name="T11" fmla="*/ 2147483647 h 121"/>
                    <a:gd name="T12" fmla="*/ 2147483647 w 180"/>
                    <a:gd name="T13" fmla="*/ 2147483647 h 121"/>
                    <a:gd name="T14" fmla="*/ 2147483647 w 180"/>
                    <a:gd name="T15" fmla="*/ 2147483647 h 121"/>
                    <a:gd name="T16" fmla="*/ 2147483647 w 180"/>
                    <a:gd name="T17" fmla="*/ 2147483647 h 121"/>
                    <a:gd name="T18" fmla="*/ 2147483647 w 180"/>
                    <a:gd name="T19" fmla="*/ 2147483647 h 121"/>
                    <a:gd name="T20" fmla="*/ 2147483647 w 180"/>
                    <a:gd name="T21" fmla="*/ 2147483647 h 121"/>
                    <a:gd name="T22" fmla="*/ 2147483647 w 180"/>
                    <a:gd name="T23" fmla="*/ 2147483647 h 121"/>
                    <a:gd name="T24" fmla="*/ 2147483647 w 180"/>
                    <a:gd name="T25" fmla="*/ 2147483647 h 121"/>
                    <a:gd name="T26" fmla="*/ 2147483647 w 180"/>
                    <a:gd name="T27" fmla="*/ 2147483647 h 121"/>
                    <a:gd name="T28" fmla="*/ 2147483647 w 180"/>
                    <a:gd name="T29" fmla="*/ 2147483647 h 121"/>
                    <a:gd name="T30" fmla="*/ 2147483647 w 180"/>
                    <a:gd name="T31" fmla="*/ 2147483647 h 121"/>
                    <a:gd name="T32" fmla="*/ 2147483647 w 180"/>
                    <a:gd name="T33" fmla="*/ 2147483647 h 121"/>
                    <a:gd name="T34" fmla="*/ 2147483647 w 180"/>
                    <a:gd name="T35" fmla="*/ 2147483647 h 121"/>
                    <a:gd name="T36" fmla="*/ 2147483647 w 180"/>
                    <a:gd name="T37" fmla="*/ 2147483647 h 121"/>
                    <a:gd name="T38" fmla="*/ 2147483647 w 180"/>
                    <a:gd name="T39" fmla="*/ 2147483647 h 121"/>
                    <a:gd name="T40" fmla="*/ 0 w 180"/>
                    <a:gd name="T41" fmla="*/ 2147483647 h 121"/>
                    <a:gd name="T42" fmla="*/ 2147483647 w 180"/>
                    <a:gd name="T43" fmla="*/ 2147483647 h 121"/>
                    <a:gd name="T44" fmla="*/ 2147483647 w 180"/>
                    <a:gd name="T45" fmla="*/ 2147483647 h 121"/>
                    <a:gd name="T46" fmla="*/ 2147483647 w 180"/>
                    <a:gd name="T47" fmla="*/ 2147483647 h 121"/>
                    <a:gd name="T48" fmla="*/ 2147483647 w 180"/>
                    <a:gd name="T49" fmla="*/ 2147483647 h 121"/>
                    <a:gd name="T50" fmla="*/ 2147483647 w 180"/>
                    <a:gd name="T51" fmla="*/ 2147483647 h 121"/>
                    <a:gd name="T52" fmla="*/ 2147483647 w 180"/>
                    <a:gd name="T53" fmla="*/ 2147483647 h 121"/>
                    <a:gd name="T54" fmla="*/ 2147483647 w 180"/>
                    <a:gd name="T55" fmla="*/ 2147483647 h 121"/>
                    <a:gd name="T56" fmla="*/ 2147483647 w 180"/>
                    <a:gd name="T57" fmla="*/ 2147483647 h 121"/>
                    <a:gd name="T58" fmla="*/ 2147483647 w 180"/>
                    <a:gd name="T59" fmla="*/ 2147483647 h 121"/>
                    <a:gd name="T60" fmla="*/ 2147483647 w 180"/>
                    <a:gd name="T61" fmla="*/ 2147483647 h 121"/>
                    <a:gd name="T62" fmla="*/ 2147483647 w 180"/>
                    <a:gd name="T63" fmla="*/ 2147483647 h 121"/>
                    <a:gd name="T64" fmla="*/ 2147483647 w 180"/>
                    <a:gd name="T65" fmla="*/ 2147483647 h 121"/>
                    <a:gd name="T66" fmla="*/ 2147483647 w 180"/>
                    <a:gd name="T67" fmla="*/ 2147483647 h 121"/>
                    <a:gd name="T68" fmla="*/ 2147483647 w 180"/>
                    <a:gd name="T69" fmla="*/ 2147483647 h 121"/>
                    <a:gd name="T70" fmla="*/ 2147483647 w 180"/>
                    <a:gd name="T71" fmla="*/ 2147483647 h 121"/>
                    <a:gd name="T72" fmla="*/ 2147483647 w 180"/>
                    <a:gd name="T73" fmla="*/ 2147483647 h 121"/>
                    <a:gd name="T74" fmla="*/ 2147483647 w 180"/>
                    <a:gd name="T75" fmla="*/ 2147483647 h 121"/>
                    <a:gd name="T76" fmla="*/ 2147483647 w 180"/>
                    <a:gd name="T77" fmla="*/ 2147483647 h 121"/>
                    <a:gd name="T78" fmla="*/ 2147483647 w 180"/>
                    <a:gd name="T79" fmla="*/ 2147483647 h 121"/>
                    <a:gd name="T80" fmla="*/ 2147483647 w 180"/>
                    <a:gd name="T81" fmla="*/ 2147483647 h 121"/>
                    <a:gd name="T82" fmla="*/ 2147483647 w 180"/>
                    <a:gd name="T83" fmla="*/ 2147483647 h 121"/>
                    <a:gd name="T84" fmla="*/ 2147483647 w 180"/>
                    <a:gd name="T85" fmla="*/ 2147483647 h 121"/>
                    <a:gd name="T86" fmla="*/ 2147483647 w 180"/>
                    <a:gd name="T87" fmla="*/ 2147483647 h 121"/>
                    <a:gd name="T88" fmla="*/ 2147483647 w 180"/>
                    <a:gd name="T89" fmla="*/ 2147483647 h 121"/>
                    <a:gd name="T90" fmla="*/ 2147483647 w 180"/>
                    <a:gd name="T91" fmla="*/ 2147483647 h 121"/>
                    <a:gd name="T92" fmla="*/ 2147483647 w 180"/>
                    <a:gd name="T93" fmla="*/ 2147483647 h 121"/>
                    <a:gd name="T94" fmla="*/ 2147483647 w 180"/>
                    <a:gd name="T95" fmla="*/ 2147483647 h 121"/>
                    <a:gd name="T96" fmla="*/ 2147483647 w 180"/>
                    <a:gd name="T97" fmla="*/ 2147483647 h 121"/>
                    <a:gd name="T98" fmla="*/ 2147483647 w 180"/>
                    <a:gd name="T99" fmla="*/ 2147483647 h 121"/>
                    <a:gd name="T100" fmla="*/ 2147483647 w 180"/>
                    <a:gd name="T101" fmla="*/ 2147483647 h 121"/>
                    <a:gd name="T102" fmla="*/ 2147483647 w 180"/>
                    <a:gd name="T103" fmla="*/ 2147483647 h 121"/>
                    <a:gd name="T104" fmla="*/ 2147483647 w 180"/>
                    <a:gd name="T105" fmla="*/ 2147483647 h 121"/>
                    <a:gd name="T106" fmla="*/ 2147483647 w 180"/>
                    <a:gd name="T107" fmla="*/ 2147483647 h 121"/>
                    <a:gd name="T108" fmla="*/ 2147483647 w 180"/>
                    <a:gd name="T109" fmla="*/ 2147483647 h 121"/>
                    <a:gd name="T110" fmla="*/ 2147483647 w 180"/>
                    <a:gd name="T111" fmla="*/ 2147483647 h 121"/>
                    <a:gd name="T112" fmla="*/ 2147483647 w 180"/>
                    <a:gd name="T113" fmla="*/ 2147483647 h 121"/>
                    <a:gd name="T114" fmla="*/ 2147483647 w 180"/>
                    <a:gd name="T115" fmla="*/ 2147483647 h 12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80"/>
                    <a:gd name="T175" fmla="*/ 0 h 121"/>
                    <a:gd name="T176" fmla="*/ 180 w 180"/>
                    <a:gd name="T177" fmla="*/ 121 h 12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80" h="121">
                      <a:moveTo>
                        <a:pt x="159" y="30"/>
                      </a:moveTo>
                      <a:lnTo>
                        <a:pt x="159" y="30"/>
                      </a:lnTo>
                      <a:lnTo>
                        <a:pt x="153" y="30"/>
                      </a:lnTo>
                      <a:lnTo>
                        <a:pt x="148" y="30"/>
                      </a:lnTo>
                      <a:lnTo>
                        <a:pt x="143" y="29"/>
                      </a:lnTo>
                      <a:lnTo>
                        <a:pt x="138" y="27"/>
                      </a:lnTo>
                      <a:lnTo>
                        <a:pt x="134" y="23"/>
                      </a:lnTo>
                      <a:lnTo>
                        <a:pt x="130" y="21"/>
                      </a:lnTo>
                      <a:lnTo>
                        <a:pt x="127" y="21"/>
                      </a:lnTo>
                      <a:lnTo>
                        <a:pt x="125" y="21"/>
                      </a:lnTo>
                      <a:lnTo>
                        <a:pt x="124" y="21"/>
                      </a:lnTo>
                      <a:lnTo>
                        <a:pt x="120" y="20"/>
                      </a:lnTo>
                      <a:lnTo>
                        <a:pt x="117" y="19"/>
                      </a:lnTo>
                      <a:lnTo>
                        <a:pt x="116" y="17"/>
                      </a:lnTo>
                      <a:lnTo>
                        <a:pt x="115" y="13"/>
                      </a:lnTo>
                      <a:lnTo>
                        <a:pt x="113" y="8"/>
                      </a:lnTo>
                      <a:lnTo>
                        <a:pt x="113" y="7"/>
                      </a:lnTo>
                      <a:lnTo>
                        <a:pt x="111" y="6"/>
                      </a:lnTo>
                      <a:lnTo>
                        <a:pt x="103" y="2"/>
                      </a:lnTo>
                      <a:lnTo>
                        <a:pt x="100" y="1"/>
                      </a:lnTo>
                      <a:lnTo>
                        <a:pt x="96" y="0"/>
                      </a:lnTo>
                      <a:lnTo>
                        <a:pt x="93" y="1"/>
                      </a:lnTo>
                      <a:lnTo>
                        <a:pt x="92" y="1"/>
                      </a:lnTo>
                      <a:lnTo>
                        <a:pt x="88" y="4"/>
                      </a:lnTo>
                      <a:lnTo>
                        <a:pt x="86" y="9"/>
                      </a:lnTo>
                      <a:lnTo>
                        <a:pt x="86" y="14"/>
                      </a:lnTo>
                      <a:lnTo>
                        <a:pt x="88" y="19"/>
                      </a:lnTo>
                      <a:lnTo>
                        <a:pt x="92" y="22"/>
                      </a:lnTo>
                      <a:lnTo>
                        <a:pt x="96" y="27"/>
                      </a:lnTo>
                      <a:lnTo>
                        <a:pt x="96" y="28"/>
                      </a:lnTo>
                      <a:lnTo>
                        <a:pt x="94" y="30"/>
                      </a:lnTo>
                      <a:lnTo>
                        <a:pt x="92" y="32"/>
                      </a:lnTo>
                      <a:lnTo>
                        <a:pt x="88" y="32"/>
                      </a:lnTo>
                      <a:lnTo>
                        <a:pt x="84" y="30"/>
                      </a:lnTo>
                      <a:lnTo>
                        <a:pt x="83" y="29"/>
                      </a:lnTo>
                      <a:lnTo>
                        <a:pt x="79" y="17"/>
                      </a:lnTo>
                      <a:lnTo>
                        <a:pt x="77" y="13"/>
                      </a:lnTo>
                      <a:lnTo>
                        <a:pt x="73" y="8"/>
                      </a:lnTo>
                      <a:lnTo>
                        <a:pt x="70" y="8"/>
                      </a:lnTo>
                      <a:lnTo>
                        <a:pt x="69" y="9"/>
                      </a:lnTo>
                      <a:lnTo>
                        <a:pt x="65" y="14"/>
                      </a:lnTo>
                      <a:lnTo>
                        <a:pt x="64" y="14"/>
                      </a:lnTo>
                      <a:lnTo>
                        <a:pt x="63" y="14"/>
                      </a:lnTo>
                      <a:lnTo>
                        <a:pt x="59" y="14"/>
                      </a:lnTo>
                      <a:lnTo>
                        <a:pt x="58" y="15"/>
                      </a:lnTo>
                      <a:lnTo>
                        <a:pt x="56" y="17"/>
                      </a:lnTo>
                      <a:lnTo>
                        <a:pt x="56" y="20"/>
                      </a:lnTo>
                      <a:lnTo>
                        <a:pt x="55" y="21"/>
                      </a:lnTo>
                      <a:lnTo>
                        <a:pt x="51" y="21"/>
                      </a:lnTo>
                      <a:lnTo>
                        <a:pt x="49" y="21"/>
                      </a:lnTo>
                      <a:lnTo>
                        <a:pt x="45" y="19"/>
                      </a:lnTo>
                      <a:lnTo>
                        <a:pt x="42" y="16"/>
                      </a:lnTo>
                      <a:lnTo>
                        <a:pt x="41" y="15"/>
                      </a:lnTo>
                      <a:lnTo>
                        <a:pt x="41" y="14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0" y="9"/>
                      </a:lnTo>
                      <a:lnTo>
                        <a:pt x="50" y="8"/>
                      </a:lnTo>
                      <a:lnTo>
                        <a:pt x="49" y="7"/>
                      </a:lnTo>
                      <a:lnTo>
                        <a:pt x="36" y="8"/>
                      </a:lnTo>
                      <a:lnTo>
                        <a:pt x="23" y="8"/>
                      </a:lnTo>
                      <a:lnTo>
                        <a:pt x="13" y="6"/>
                      </a:lnTo>
                      <a:lnTo>
                        <a:pt x="8" y="6"/>
                      </a:lnTo>
                      <a:lnTo>
                        <a:pt x="4" y="7"/>
                      </a:lnTo>
                      <a:lnTo>
                        <a:pt x="2" y="8"/>
                      </a:lnTo>
                      <a:lnTo>
                        <a:pt x="0" y="11"/>
                      </a:lnTo>
                      <a:lnTo>
                        <a:pt x="0" y="19"/>
                      </a:lnTo>
                      <a:lnTo>
                        <a:pt x="3" y="27"/>
                      </a:lnTo>
                      <a:lnTo>
                        <a:pt x="6" y="34"/>
                      </a:lnTo>
                      <a:lnTo>
                        <a:pt x="7" y="34"/>
                      </a:lnTo>
                      <a:lnTo>
                        <a:pt x="8" y="33"/>
                      </a:lnTo>
                      <a:lnTo>
                        <a:pt x="9" y="30"/>
                      </a:lnTo>
                      <a:lnTo>
                        <a:pt x="12" y="29"/>
                      </a:lnTo>
                      <a:lnTo>
                        <a:pt x="13" y="29"/>
                      </a:lnTo>
                      <a:lnTo>
                        <a:pt x="14" y="30"/>
                      </a:lnTo>
                      <a:lnTo>
                        <a:pt x="16" y="34"/>
                      </a:lnTo>
                      <a:lnTo>
                        <a:pt x="16" y="45"/>
                      </a:lnTo>
                      <a:lnTo>
                        <a:pt x="16" y="47"/>
                      </a:lnTo>
                      <a:lnTo>
                        <a:pt x="17" y="49"/>
                      </a:lnTo>
                      <a:lnTo>
                        <a:pt x="22" y="51"/>
                      </a:lnTo>
                      <a:lnTo>
                        <a:pt x="27" y="52"/>
                      </a:lnTo>
                      <a:lnTo>
                        <a:pt x="31" y="53"/>
                      </a:lnTo>
                      <a:lnTo>
                        <a:pt x="32" y="55"/>
                      </a:lnTo>
                      <a:lnTo>
                        <a:pt x="35" y="57"/>
                      </a:lnTo>
                      <a:lnTo>
                        <a:pt x="45" y="60"/>
                      </a:lnTo>
                      <a:lnTo>
                        <a:pt x="50" y="61"/>
                      </a:lnTo>
                      <a:lnTo>
                        <a:pt x="55" y="60"/>
                      </a:lnTo>
                      <a:lnTo>
                        <a:pt x="56" y="59"/>
                      </a:lnTo>
                      <a:lnTo>
                        <a:pt x="58" y="55"/>
                      </a:lnTo>
                      <a:lnTo>
                        <a:pt x="60" y="48"/>
                      </a:lnTo>
                      <a:lnTo>
                        <a:pt x="60" y="46"/>
                      </a:lnTo>
                      <a:lnTo>
                        <a:pt x="61" y="46"/>
                      </a:lnTo>
                      <a:lnTo>
                        <a:pt x="65" y="45"/>
                      </a:lnTo>
                      <a:lnTo>
                        <a:pt x="68" y="43"/>
                      </a:lnTo>
                      <a:lnTo>
                        <a:pt x="70" y="42"/>
                      </a:lnTo>
                      <a:lnTo>
                        <a:pt x="72" y="39"/>
                      </a:lnTo>
                      <a:lnTo>
                        <a:pt x="75" y="38"/>
                      </a:lnTo>
                      <a:lnTo>
                        <a:pt x="77" y="38"/>
                      </a:lnTo>
                      <a:lnTo>
                        <a:pt x="79" y="38"/>
                      </a:lnTo>
                      <a:lnTo>
                        <a:pt x="80" y="40"/>
                      </a:lnTo>
                      <a:lnTo>
                        <a:pt x="80" y="42"/>
                      </a:lnTo>
                      <a:lnTo>
                        <a:pt x="79" y="43"/>
                      </a:lnTo>
                      <a:lnTo>
                        <a:pt x="78" y="46"/>
                      </a:lnTo>
                      <a:lnTo>
                        <a:pt x="77" y="47"/>
                      </a:lnTo>
                      <a:lnTo>
                        <a:pt x="77" y="48"/>
                      </a:lnTo>
                      <a:lnTo>
                        <a:pt x="78" y="51"/>
                      </a:lnTo>
                      <a:lnTo>
                        <a:pt x="80" y="52"/>
                      </a:lnTo>
                      <a:lnTo>
                        <a:pt x="86" y="52"/>
                      </a:lnTo>
                      <a:lnTo>
                        <a:pt x="91" y="52"/>
                      </a:lnTo>
                      <a:lnTo>
                        <a:pt x="93" y="52"/>
                      </a:lnTo>
                      <a:lnTo>
                        <a:pt x="93" y="53"/>
                      </a:lnTo>
                      <a:lnTo>
                        <a:pt x="92" y="57"/>
                      </a:lnTo>
                      <a:lnTo>
                        <a:pt x="89" y="59"/>
                      </a:lnTo>
                      <a:lnTo>
                        <a:pt x="87" y="61"/>
                      </a:lnTo>
                      <a:lnTo>
                        <a:pt x="82" y="62"/>
                      </a:lnTo>
                      <a:lnTo>
                        <a:pt x="70" y="65"/>
                      </a:lnTo>
                      <a:lnTo>
                        <a:pt x="58" y="66"/>
                      </a:lnTo>
                      <a:lnTo>
                        <a:pt x="54" y="68"/>
                      </a:lnTo>
                      <a:lnTo>
                        <a:pt x="54" y="70"/>
                      </a:lnTo>
                      <a:lnTo>
                        <a:pt x="54" y="71"/>
                      </a:lnTo>
                      <a:lnTo>
                        <a:pt x="58" y="73"/>
                      </a:lnTo>
                      <a:lnTo>
                        <a:pt x="61" y="73"/>
                      </a:lnTo>
                      <a:lnTo>
                        <a:pt x="69" y="73"/>
                      </a:lnTo>
                      <a:lnTo>
                        <a:pt x="84" y="71"/>
                      </a:lnTo>
                      <a:lnTo>
                        <a:pt x="89" y="71"/>
                      </a:lnTo>
                      <a:lnTo>
                        <a:pt x="93" y="72"/>
                      </a:lnTo>
                      <a:lnTo>
                        <a:pt x="93" y="73"/>
                      </a:lnTo>
                      <a:lnTo>
                        <a:pt x="91" y="74"/>
                      </a:lnTo>
                      <a:lnTo>
                        <a:pt x="86" y="74"/>
                      </a:lnTo>
                      <a:lnTo>
                        <a:pt x="83" y="74"/>
                      </a:lnTo>
                      <a:lnTo>
                        <a:pt x="82" y="75"/>
                      </a:lnTo>
                      <a:lnTo>
                        <a:pt x="82" y="77"/>
                      </a:lnTo>
                      <a:lnTo>
                        <a:pt x="83" y="79"/>
                      </a:lnTo>
                      <a:lnTo>
                        <a:pt x="86" y="79"/>
                      </a:lnTo>
                      <a:lnTo>
                        <a:pt x="87" y="80"/>
                      </a:lnTo>
                      <a:lnTo>
                        <a:pt x="87" y="81"/>
                      </a:lnTo>
                      <a:lnTo>
                        <a:pt x="82" y="85"/>
                      </a:lnTo>
                      <a:lnTo>
                        <a:pt x="77" y="86"/>
                      </a:lnTo>
                      <a:lnTo>
                        <a:pt x="70" y="86"/>
                      </a:lnTo>
                      <a:lnTo>
                        <a:pt x="64" y="85"/>
                      </a:lnTo>
                      <a:lnTo>
                        <a:pt x="61" y="86"/>
                      </a:lnTo>
                      <a:lnTo>
                        <a:pt x="60" y="89"/>
                      </a:lnTo>
                      <a:lnTo>
                        <a:pt x="60" y="91"/>
                      </a:lnTo>
                      <a:lnTo>
                        <a:pt x="61" y="93"/>
                      </a:lnTo>
                      <a:lnTo>
                        <a:pt x="70" y="98"/>
                      </a:lnTo>
                      <a:lnTo>
                        <a:pt x="78" y="102"/>
                      </a:lnTo>
                      <a:lnTo>
                        <a:pt x="86" y="107"/>
                      </a:lnTo>
                      <a:lnTo>
                        <a:pt x="93" y="115"/>
                      </a:lnTo>
                      <a:lnTo>
                        <a:pt x="98" y="119"/>
                      </a:lnTo>
                      <a:lnTo>
                        <a:pt x="101" y="121"/>
                      </a:lnTo>
                      <a:lnTo>
                        <a:pt x="105" y="121"/>
                      </a:lnTo>
                      <a:lnTo>
                        <a:pt x="106" y="119"/>
                      </a:lnTo>
                      <a:lnTo>
                        <a:pt x="107" y="116"/>
                      </a:lnTo>
                      <a:lnTo>
                        <a:pt x="107" y="112"/>
                      </a:lnTo>
                      <a:lnTo>
                        <a:pt x="108" y="110"/>
                      </a:lnTo>
                      <a:lnTo>
                        <a:pt x="116" y="99"/>
                      </a:lnTo>
                      <a:lnTo>
                        <a:pt x="122" y="91"/>
                      </a:lnTo>
                      <a:lnTo>
                        <a:pt x="127" y="81"/>
                      </a:lnTo>
                      <a:lnTo>
                        <a:pt x="133" y="68"/>
                      </a:lnTo>
                      <a:lnTo>
                        <a:pt x="135" y="67"/>
                      </a:lnTo>
                      <a:lnTo>
                        <a:pt x="138" y="67"/>
                      </a:lnTo>
                      <a:lnTo>
                        <a:pt x="139" y="66"/>
                      </a:lnTo>
                      <a:lnTo>
                        <a:pt x="141" y="65"/>
                      </a:lnTo>
                      <a:lnTo>
                        <a:pt x="143" y="59"/>
                      </a:lnTo>
                      <a:lnTo>
                        <a:pt x="143" y="57"/>
                      </a:lnTo>
                      <a:lnTo>
                        <a:pt x="144" y="54"/>
                      </a:lnTo>
                      <a:lnTo>
                        <a:pt x="148" y="52"/>
                      </a:lnTo>
                      <a:lnTo>
                        <a:pt x="153" y="52"/>
                      </a:lnTo>
                      <a:lnTo>
                        <a:pt x="158" y="51"/>
                      </a:lnTo>
                      <a:lnTo>
                        <a:pt x="162" y="49"/>
                      </a:lnTo>
                      <a:lnTo>
                        <a:pt x="169" y="45"/>
                      </a:lnTo>
                      <a:lnTo>
                        <a:pt x="177" y="42"/>
                      </a:lnTo>
                      <a:lnTo>
                        <a:pt x="178" y="41"/>
                      </a:lnTo>
                      <a:lnTo>
                        <a:pt x="180" y="40"/>
                      </a:lnTo>
                      <a:lnTo>
                        <a:pt x="173" y="39"/>
                      </a:lnTo>
                      <a:lnTo>
                        <a:pt x="168" y="38"/>
                      </a:lnTo>
                      <a:lnTo>
                        <a:pt x="167" y="36"/>
                      </a:lnTo>
                      <a:lnTo>
                        <a:pt x="168" y="35"/>
                      </a:lnTo>
                      <a:lnTo>
                        <a:pt x="169" y="33"/>
                      </a:lnTo>
                      <a:lnTo>
                        <a:pt x="168" y="32"/>
                      </a:lnTo>
                      <a:lnTo>
                        <a:pt x="164" y="32"/>
                      </a:lnTo>
                      <a:lnTo>
                        <a:pt x="159" y="3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6" name="Freeform 411">
                  <a:extLst>
                    <a:ext uri="{FF2B5EF4-FFF2-40B4-BE49-F238E27FC236}">
                      <a16:creationId xmlns:a16="http://schemas.microsoft.com/office/drawing/2014/main" id="{CBFD4952-7942-1F42-B7B0-B48B7CBA24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1163" y="2084820"/>
                  <a:ext cx="29597" cy="29598"/>
                </a:xfrm>
                <a:custGeom>
                  <a:avLst/>
                  <a:gdLst>
                    <a:gd name="T0" fmla="*/ 2147483647 w 22"/>
                    <a:gd name="T1" fmla="*/ 2147483647 h 20"/>
                    <a:gd name="T2" fmla="*/ 2147483647 w 22"/>
                    <a:gd name="T3" fmla="*/ 2147483647 h 20"/>
                    <a:gd name="T4" fmla="*/ 2147483647 w 22"/>
                    <a:gd name="T5" fmla="*/ 2147483647 h 20"/>
                    <a:gd name="T6" fmla="*/ 2147483647 w 22"/>
                    <a:gd name="T7" fmla="*/ 2147483647 h 20"/>
                    <a:gd name="T8" fmla="*/ 2147483647 w 22"/>
                    <a:gd name="T9" fmla="*/ 2147483647 h 20"/>
                    <a:gd name="T10" fmla="*/ 2147483647 w 22"/>
                    <a:gd name="T11" fmla="*/ 2147483647 h 20"/>
                    <a:gd name="T12" fmla="*/ 2147483647 w 22"/>
                    <a:gd name="T13" fmla="*/ 2147483647 h 20"/>
                    <a:gd name="T14" fmla="*/ 2147483647 w 22"/>
                    <a:gd name="T15" fmla="*/ 2147483647 h 20"/>
                    <a:gd name="T16" fmla="*/ 2147483647 w 22"/>
                    <a:gd name="T17" fmla="*/ 2147483647 h 20"/>
                    <a:gd name="T18" fmla="*/ 2147483647 w 22"/>
                    <a:gd name="T19" fmla="*/ 2147483647 h 20"/>
                    <a:gd name="T20" fmla="*/ 2147483647 w 22"/>
                    <a:gd name="T21" fmla="*/ 2147483647 h 20"/>
                    <a:gd name="T22" fmla="*/ 2147483647 w 22"/>
                    <a:gd name="T23" fmla="*/ 2147483647 h 20"/>
                    <a:gd name="T24" fmla="*/ 2147483647 w 22"/>
                    <a:gd name="T25" fmla="*/ 2147483647 h 20"/>
                    <a:gd name="T26" fmla="*/ 2147483647 w 22"/>
                    <a:gd name="T27" fmla="*/ 2147483647 h 20"/>
                    <a:gd name="T28" fmla="*/ 2147483647 w 22"/>
                    <a:gd name="T29" fmla="*/ 2147483647 h 20"/>
                    <a:gd name="T30" fmla="*/ 0 w 22"/>
                    <a:gd name="T31" fmla="*/ 2147483647 h 20"/>
                    <a:gd name="T32" fmla="*/ 2147483647 w 22"/>
                    <a:gd name="T33" fmla="*/ 2147483647 h 20"/>
                    <a:gd name="T34" fmla="*/ 2147483647 w 22"/>
                    <a:gd name="T35" fmla="*/ 2147483647 h 20"/>
                    <a:gd name="T36" fmla="*/ 2147483647 w 22"/>
                    <a:gd name="T37" fmla="*/ 2147483647 h 20"/>
                    <a:gd name="T38" fmla="*/ 2147483647 w 22"/>
                    <a:gd name="T39" fmla="*/ 2147483647 h 20"/>
                    <a:gd name="T40" fmla="*/ 2147483647 w 22"/>
                    <a:gd name="T41" fmla="*/ 2147483647 h 20"/>
                    <a:gd name="T42" fmla="*/ 2147483647 w 22"/>
                    <a:gd name="T43" fmla="*/ 0 h 20"/>
                    <a:gd name="T44" fmla="*/ 2147483647 w 22"/>
                    <a:gd name="T45" fmla="*/ 2147483647 h 20"/>
                    <a:gd name="T46" fmla="*/ 2147483647 w 22"/>
                    <a:gd name="T47" fmla="*/ 2147483647 h 20"/>
                    <a:gd name="T48" fmla="*/ 2147483647 w 22"/>
                    <a:gd name="T49" fmla="*/ 2147483647 h 20"/>
                    <a:gd name="T50" fmla="*/ 2147483647 w 22"/>
                    <a:gd name="T51" fmla="*/ 2147483647 h 20"/>
                    <a:gd name="T52" fmla="*/ 2147483647 w 22"/>
                    <a:gd name="T53" fmla="*/ 2147483647 h 20"/>
                    <a:gd name="T54" fmla="*/ 2147483647 w 22"/>
                    <a:gd name="T55" fmla="*/ 2147483647 h 2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2"/>
                    <a:gd name="T85" fmla="*/ 0 h 20"/>
                    <a:gd name="T86" fmla="*/ 22 w 22"/>
                    <a:gd name="T87" fmla="*/ 20 h 2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2" h="20">
                      <a:moveTo>
                        <a:pt x="18" y="8"/>
                      </a:moveTo>
                      <a:lnTo>
                        <a:pt x="18" y="8"/>
                      </a:lnTo>
                      <a:lnTo>
                        <a:pt x="17" y="9"/>
                      </a:lnTo>
                      <a:lnTo>
                        <a:pt x="17" y="11"/>
                      </a:lnTo>
                      <a:lnTo>
                        <a:pt x="17" y="14"/>
                      </a:lnTo>
                      <a:lnTo>
                        <a:pt x="16" y="16"/>
                      </a:lnTo>
                      <a:lnTo>
                        <a:pt x="13" y="16"/>
                      </a:lnTo>
                      <a:lnTo>
                        <a:pt x="11" y="16"/>
                      </a:lnTo>
                      <a:lnTo>
                        <a:pt x="7" y="19"/>
                      </a:lnTo>
                      <a:lnTo>
                        <a:pt x="4" y="20"/>
                      </a:lnTo>
                      <a:lnTo>
                        <a:pt x="3" y="19"/>
                      </a:lnTo>
                      <a:lnTo>
                        <a:pt x="2" y="17"/>
                      </a:lnTo>
                      <a:lnTo>
                        <a:pt x="0" y="15"/>
                      </a:lnTo>
                      <a:lnTo>
                        <a:pt x="2" y="10"/>
                      </a:lnTo>
                      <a:lnTo>
                        <a:pt x="6" y="7"/>
                      </a:lnTo>
                      <a:lnTo>
                        <a:pt x="9" y="3"/>
                      </a:lnTo>
                      <a:lnTo>
                        <a:pt x="14" y="1"/>
                      </a:lnTo>
                      <a:lnTo>
                        <a:pt x="18" y="0"/>
                      </a:lnTo>
                      <a:lnTo>
                        <a:pt x="21" y="1"/>
                      </a:lnTo>
                      <a:lnTo>
                        <a:pt x="22" y="2"/>
                      </a:lnTo>
                      <a:lnTo>
                        <a:pt x="21" y="4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7" name="Freeform 412">
                  <a:extLst>
                    <a:ext uri="{FF2B5EF4-FFF2-40B4-BE49-F238E27FC236}">
                      <a16:creationId xmlns:a16="http://schemas.microsoft.com/office/drawing/2014/main" id="{B9B47149-969F-D047-B0FB-EE82E573B5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03363" y="2266845"/>
                  <a:ext cx="39957" cy="31078"/>
                </a:xfrm>
                <a:custGeom>
                  <a:avLst/>
                  <a:gdLst>
                    <a:gd name="T0" fmla="*/ 2147483647 w 29"/>
                    <a:gd name="T1" fmla="*/ 2147483647 h 21"/>
                    <a:gd name="T2" fmla="*/ 2147483647 w 29"/>
                    <a:gd name="T3" fmla="*/ 2147483647 h 21"/>
                    <a:gd name="T4" fmla="*/ 2147483647 w 29"/>
                    <a:gd name="T5" fmla="*/ 2147483647 h 21"/>
                    <a:gd name="T6" fmla="*/ 2147483647 w 29"/>
                    <a:gd name="T7" fmla="*/ 2147483647 h 21"/>
                    <a:gd name="T8" fmla="*/ 2147483647 w 29"/>
                    <a:gd name="T9" fmla="*/ 0 h 21"/>
                    <a:gd name="T10" fmla="*/ 2147483647 w 29"/>
                    <a:gd name="T11" fmla="*/ 0 h 21"/>
                    <a:gd name="T12" fmla="*/ 2147483647 w 29"/>
                    <a:gd name="T13" fmla="*/ 2147483647 h 21"/>
                    <a:gd name="T14" fmla="*/ 2147483647 w 29"/>
                    <a:gd name="T15" fmla="*/ 2147483647 h 21"/>
                    <a:gd name="T16" fmla="*/ 2147483647 w 29"/>
                    <a:gd name="T17" fmla="*/ 2147483647 h 21"/>
                    <a:gd name="T18" fmla="*/ 0 w 29"/>
                    <a:gd name="T19" fmla="*/ 2147483647 h 21"/>
                    <a:gd name="T20" fmla="*/ 2147483647 w 29"/>
                    <a:gd name="T21" fmla="*/ 2147483647 h 21"/>
                    <a:gd name="T22" fmla="*/ 2147483647 w 29"/>
                    <a:gd name="T23" fmla="*/ 2147483647 h 21"/>
                    <a:gd name="T24" fmla="*/ 2147483647 w 29"/>
                    <a:gd name="T25" fmla="*/ 2147483647 h 21"/>
                    <a:gd name="T26" fmla="*/ 2147483647 w 29"/>
                    <a:gd name="T27" fmla="*/ 2147483647 h 21"/>
                    <a:gd name="T28" fmla="*/ 2147483647 w 29"/>
                    <a:gd name="T29" fmla="*/ 2147483647 h 21"/>
                    <a:gd name="T30" fmla="*/ 2147483647 w 29"/>
                    <a:gd name="T31" fmla="*/ 2147483647 h 21"/>
                    <a:gd name="T32" fmla="*/ 2147483647 w 29"/>
                    <a:gd name="T33" fmla="*/ 2147483647 h 21"/>
                    <a:gd name="T34" fmla="*/ 2147483647 w 29"/>
                    <a:gd name="T35" fmla="*/ 2147483647 h 21"/>
                    <a:gd name="T36" fmla="*/ 2147483647 w 29"/>
                    <a:gd name="T37" fmla="*/ 2147483647 h 21"/>
                    <a:gd name="T38" fmla="*/ 2147483647 w 29"/>
                    <a:gd name="T39" fmla="*/ 2147483647 h 21"/>
                    <a:gd name="T40" fmla="*/ 2147483647 w 29"/>
                    <a:gd name="T41" fmla="*/ 2147483647 h 21"/>
                    <a:gd name="T42" fmla="*/ 2147483647 w 29"/>
                    <a:gd name="T43" fmla="*/ 2147483647 h 21"/>
                    <a:gd name="T44" fmla="*/ 2147483647 w 29"/>
                    <a:gd name="T45" fmla="*/ 2147483647 h 2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9"/>
                    <a:gd name="T70" fmla="*/ 0 h 21"/>
                    <a:gd name="T71" fmla="*/ 29 w 29"/>
                    <a:gd name="T72" fmla="*/ 21 h 2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9" h="21">
                      <a:moveTo>
                        <a:pt x="28" y="11"/>
                      </a:moveTo>
                      <a:lnTo>
                        <a:pt x="24" y="9"/>
                      </a:lnTo>
                      <a:lnTo>
                        <a:pt x="21" y="8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3" y="1"/>
                      </a:lnTo>
                      <a:lnTo>
                        <a:pt x="2" y="3"/>
                      </a:lnTo>
                      <a:lnTo>
                        <a:pt x="1" y="7"/>
                      </a:lnTo>
                      <a:lnTo>
                        <a:pt x="0" y="11"/>
                      </a:lnTo>
                      <a:lnTo>
                        <a:pt x="1" y="12"/>
                      </a:lnTo>
                      <a:lnTo>
                        <a:pt x="2" y="12"/>
                      </a:lnTo>
                      <a:lnTo>
                        <a:pt x="7" y="13"/>
                      </a:lnTo>
                      <a:lnTo>
                        <a:pt x="11" y="15"/>
                      </a:lnTo>
                      <a:lnTo>
                        <a:pt x="14" y="18"/>
                      </a:lnTo>
                      <a:lnTo>
                        <a:pt x="17" y="21"/>
                      </a:lnTo>
                      <a:lnTo>
                        <a:pt x="19" y="21"/>
                      </a:lnTo>
                      <a:lnTo>
                        <a:pt x="20" y="20"/>
                      </a:lnTo>
                      <a:lnTo>
                        <a:pt x="24" y="17"/>
                      </a:lnTo>
                      <a:lnTo>
                        <a:pt x="29" y="13"/>
                      </a:lnTo>
                      <a:lnTo>
                        <a:pt x="29" y="12"/>
                      </a:lnTo>
                      <a:lnTo>
                        <a:pt x="29" y="11"/>
                      </a:lnTo>
                      <a:lnTo>
                        <a:pt x="28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8" name="Freeform 413">
                  <a:extLst>
                    <a:ext uri="{FF2B5EF4-FFF2-40B4-BE49-F238E27FC236}">
                      <a16:creationId xmlns:a16="http://schemas.microsoft.com/office/drawing/2014/main" id="{DFA1B3B2-5B5B-E140-B291-315C32873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5657" y="2123299"/>
                  <a:ext cx="29597" cy="22198"/>
                </a:xfrm>
                <a:custGeom>
                  <a:avLst/>
                  <a:gdLst>
                    <a:gd name="T0" fmla="*/ 2147483647 w 22"/>
                    <a:gd name="T1" fmla="*/ 2147483647 h 15"/>
                    <a:gd name="T2" fmla="*/ 2147483647 w 22"/>
                    <a:gd name="T3" fmla="*/ 2147483647 h 15"/>
                    <a:gd name="T4" fmla="*/ 2147483647 w 22"/>
                    <a:gd name="T5" fmla="*/ 2147483647 h 15"/>
                    <a:gd name="T6" fmla="*/ 2147483647 w 22"/>
                    <a:gd name="T7" fmla="*/ 2147483647 h 15"/>
                    <a:gd name="T8" fmla="*/ 0 w 22"/>
                    <a:gd name="T9" fmla="*/ 2147483647 h 15"/>
                    <a:gd name="T10" fmla="*/ 2147483647 w 22"/>
                    <a:gd name="T11" fmla="*/ 2147483647 h 15"/>
                    <a:gd name="T12" fmla="*/ 2147483647 w 22"/>
                    <a:gd name="T13" fmla="*/ 2147483647 h 15"/>
                    <a:gd name="T14" fmla="*/ 2147483647 w 22"/>
                    <a:gd name="T15" fmla="*/ 2147483647 h 15"/>
                    <a:gd name="T16" fmla="*/ 2147483647 w 22"/>
                    <a:gd name="T17" fmla="*/ 0 h 15"/>
                    <a:gd name="T18" fmla="*/ 2147483647 w 22"/>
                    <a:gd name="T19" fmla="*/ 2147483647 h 15"/>
                    <a:gd name="T20" fmla="*/ 2147483647 w 22"/>
                    <a:gd name="T21" fmla="*/ 2147483647 h 15"/>
                    <a:gd name="T22" fmla="*/ 2147483647 w 22"/>
                    <a:gd name="T23" fmla="*/ 2147483647 h 15"/>
                    <a:gd name="T24" fmla="*/ 2147483647 w 22"/>
                    <a:gd name="T25" fmla="*/ 2147483647 h 15"/>
                    <a:gd name="T26" fmla="*/ 2147483647 w 22"/>
                    <a:gd name="T27" fmla="*/ 2147483647 h 15"/>
                    <a:gd name="T28" fmla="*/ 2147483647 w 22"/>
                    <a:gd name="T29" fmla="*/ 2147483647 h 15"/>
                    <a:gd name="T30" fmla="*/ 2147483647 w 22"/>
                    <a:gd name="T31" fmla="*/ 2147483647 h 1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2"/>
                    <a:gd name="T49" fmla="*/ 0 h 15"/>
                    <a:gd name="T50" fmla="*/ 22 w 22"/>
                    <a:gd name="T51" fmla="*/ 15 h 1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2" h="15">
                      <a:moveTo>
                        <a:pt x="14" y="15"/>
                      </a:moveTo>
                      <a:lnTo>
                        <a:pt x="9" y="14"/>
                      </a:lnTo>
                      <a:lnTo>
                        <a:pt x="5" y="14"/>
                      </a:lnTo>
                      <a:lnTo>
                        <a:pt x="1" y="14"/>
                      </a:lnTo>
                      <a:lnTo>
                        <a:pt x="0" y="14"/>
                      </a:lnTo>
                      <a:lnTo>
                        <a:pt x="1" y="13"/>
                      </a:lnTo>
                      <a:lnTo>
                        <a:pt x="5" y="4"/>
                      </a:lnTo>
                      <a:lnTo>
                        <a:pt x="9" y="1"/>
                      </a:lnTo>
                      <a:lnTo>
                        <a:pt x="14" y="0"/>
                      </a:lnTo>
                      <a:lnTo>
                        <a:pt x="17" y="1"/>
                      </a:lnTo>
                      <a:lnTo>
                        <a:pt x="20" y="4"/>
                      </a:lnTo>
                      <a:lnTo>
                        <a:pt x="22" y="9"/>
                      </a:lnTo>
                      <a:lnTo>
                        <a:pt x="20" y="14"/>
                      </a:lnTo>
                      <a:lnTo>
                        <a:pt x="19" y="15"/>
                      </a:lnTo>
                      <a:lnTo>
                        <a:pt x="18" y="15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9" name="Freeform 414">
                  <a:extLst>
                    <a:ext uri="{FF2B5EF4-FFF2-40B4-BE49-F238E27FC236}">
                      <a16:creationId xmlns:a16="http://schemas.microsoft.com/office/drawing/2014/main" id="{8D2AD993-82F4-FD40-9F34-F9ACDAC464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00400" y="2265366"/>
                  <a:ext cx="41436" cy="31077"/>
                </a:xfrm>
                <a:custGeom>
                  <a:avLst/>
                  <a:gdLst>
                    <a:gd name="T0" fmla="*/ 2147483647 w 30"/>
                    <a:gd name="T1" fmla="*/ 2147483647 h 21"/>
                    <a:gd name="T2" fmla="*/ 2147483647 w 30"/>
                    <a:gd name="T3" fmla="*/ 2147483647 h 21"/>
                    <a:gd name="T4" fmla="*/ 2147483647 w 30"/>
                    <a:gd name="T5" fmla="*/ 2147483647 h 21"/>
                    <a:gd name="T6" fmla="*/ 2147483647 w 30"/>
                    <a:gd name="T7" fmla="*/ 2147483647 h 21"/>
                    <a:gd name="T8" fmla="*/ 2147483647 w 30"/>
                    <a:gd name="T9" fmla="*/ 2147483647 h 21"/>
                    <a:gd name="T10" fmla="*/ 2147483647 w 30"/>
                    <a:gd name="T11" fmla="*/ 2147483647 h 21"/>
                    <a:gd name="T12" fmla="*/ 2147483647 w 30"/>
                    <a:gd name="T13" fmla="*/ 0 h 21"/>
                    <a:gd name="T14" fmla="*/ 2147483647 w 30"/>
                    <a:gd name="T15" fmla="*/ 0 h 21"/>
                    <a:gd name="T16" fmla="*/ 2147483647 w 30"/>
                    <a:gd name="T17" fmla="*/ 2147483647 h 21"/>
                    <a:gd name="T18" fmla="*/ 2147483647 w 30"/>
                    <a:gd name="T19" fmla="*/ 2147483647 h 21"/>
                    <a:gd name="T20" fmla="*/ 2147483647 w 30"/>
                    <a:gd name="T21" fmla="*/ 2147483647 h 21"/>
                    <a:gd name="T22" fmla="*/ 2147483647 w 30"/>
                    <a:gd name="T23" fmla="*/ 2147483647 h 21"/>
                    <a:gd name="T24" fmla="*/ 0 w 30"/>
                    <a:gd name="T25" fmla="*/ 2147483647 h 21"/>
                    <a:gd name="T26" fmla="*/ 2147483647 w 30"/>
                    <a:gd name="T27" fmla="*/ 2147483647 h 21"/>
                    <a:gd name="T28" fmla="*/ 2147483647 w 30"/>
                    <a:gd name="T29" fmla="*/ 2147483647 h 21"/>
                    <a:gd name="T30" fmla="*/ 2147483647 w 30"/>
                    <a:gd name="T31" fmla="*/ 2147483647 h 21"/>
                    <a:gd name="T32" fmla="*/ 2147483647 w 30"/>
                    <a:gd name="T33" fmla="*/ 2147483647 h 21"/>
                    <a:gd name="T34" fmla="*/ 2147483647 w 30"/>
                    <a:gd name="T35" fmla="*/ 2147483647 h 21"/>
                    <a:gd name="T36" fmla="*/ 2147483647 w 30"/>
                    <a:gd name="T37" fmla="*/ 2147483647 h 21"/>
                    <a:gd name="T38" fmla="*/ 2147483647 w 30"/>
                    <a:gd name="T39" fmla="*/ 2147483647 h 21"/>
                    <a:gd name="T40" fmla="*/ 2147483647 w 30"/>
                    <a:gd name="T41" fmla="*/ 2147483647 h 21"/>
                    <a:gd name="T42" fmla="*/ 2147483647 w 30"/>
                    <a:gd name="T43" fmla="*/ 2147483647 h 21"/>
                    <a:gd name="T44" fmla="*/ 2147483647 w 30"/>
                    <a:gd name="T45" fmla="*/ 2147483647 h 21"/>
                    <a:gd name="T46" fmla="*/ 2147483647 w 30"/>
                    <a:gd name="T47" fmla="*/ 2147483647 h 21"/>
                    <a:gd name="T48" fmla="*/ 2147483647 w 30"/>
                    <a:gd name="T49" fmla="*/ 2147483647 h 21"/>
                    <a:gd name="T50" fmla="*/ 2147483647 w 30"/>
                    <a:gd name="T51" fmla="*/ 2147483647 h 21"/>
                    <a:gd name="T52" fmla="*/ 2147483647 w 30"/>
                    <a:gd name="T53" fmla="*/ 2147483647 h 21"/>
                    <a:gd name="T54" fmla="*/ 2147483647 w 30"/>
                    <a:gd name="T55" fmla="*/ 2147483647 h 21"/>
                    <a:gd name="T56" fmla="*/ 2147483647 w 30"/>
                    <a:gd name="T57" fmla="*/ 2147483647 h 21"/>
                    <a:gd name="T58" fmla="*/ 2147483647 w 30"/>
                    <a:gd name="T59" fmla="*/ 2147483647 h 21"/>
                    <a:gd name="T60" fmla="*/ 2147483647 w 30"/>
                    <a:gd name="T61" fmla="*/ 2147483647 h 21"/>
                    <a:gd name="T62" fmla="*/ 2147483647 w 30"/>
                    <a:gd name="T63" fmla="*/ 2147483647 h 2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0"/>
                    <a:gd name="T97" fmla="*/ 0 h 21"/>
                    <a:gd name="T98" fmla="*/ 30 w 30"/>
                    <a:gd name="T99" fmla="*/ 21 h 2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0" h="21">
                      <a:moveTo>
                        <a:pt x="28" y="10"/>
                      </a:moveTo>
                      <a:lnTo>
                        <a:pt x="28" y="10"/>
                      </a:lnTo>
                      <a:lnTo>
                        <a:pt x="25" y="9"/>
                      </a:lnTo>
                      <a:lnTo>
                        <a:pt x="22" y="8"/>
                      </a:lnTo>
                      <a:lnTo>
                        <a:pt x="13" y="2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4" y="1"/>
                      </a:lnTo>
                      <a:lnTo>
                        <a:pt x="3" y="3"/>
                      </a:lnTo>
                      <a:lnTo>
                        <a:pt x="2" y="7"/>
                      </a:lnTo>
                      <a:lnTo>
                        <a:pt x="0" y="10"/>
                      </a:lnTo>
                      <a:lnTo>
                        <a:pt x="2" y="12"/>
                      </a:lnTo>
                      <a:lnTo>
                        <a:pt x="3" y="12"/>
                      </a:lnTo>
                      <a:lnTo>
                        <a:pt x="8" y="13"/>
                      </a:lnTo>
                      <a:lnTo>
                        <a:pt x="12" y="15"/>
                      </a:lnTo>
                      <a:lnTo>
                        <a:pt x="14" y="18"/>
                      </a:lnTo>
                      <a:lnTo>
                        <a:pt x="18" y="21"/>
                      </a:lnTo>
                      <a:lnTo>
                        <a:pt x="19" y="21"/>
                      </a:lnTo>
                      <a:lnTo>
                        <a:pt x="21" y="20"/>
                      </a:lnTo>
                      <a:lnTo>
                        <a:pt x="25" y="16"/>
                      </a:lnTo>
                      <a:lnTo>
                        <a:pt x="30" y="13"/>
                      </a:lnTo>
                      <a:lnTo>
                        <a:pt x="30" y="12"/>
                      </a:lnTo>
                      <a:lnTo>
                        <a:pt x="30" y="10"/>
                      </a:lnTo>
                      <a:lnTo>
                        <a:pt x="28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0" name="Freeform 415">
                  <a:extLst>
                    <a:ext uri="{FF2B5EF4-FFF2-40B4-BE49-F238E27FC236}">
                      <a16:creationId xmlns:a16="http://schemas.microsoft.com/office/drawing/2014/main" id="{C6A93F4A-579A-6B4D-85C3-DADA7B1693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4177" y="2121821"/>
                  <a:ext cx="28117" cy="22199"/>
                </a:xfrm>
                <a:custGeom>
                  <a:avLst/>
                  <a:gdLst>
                    <a:gd name="T0" fmla="*/ 2147483647 w 21"/>
                    <a:gd name="T1" fmla="*/ 2147483647 h 15"/>
                    <a:gd name="T2" fmla="*/ 2147483647 w 21"/>
                    <a:gd name="T3" fmla="*/ 2147483647 h 15"/>
                    <a:gd name="T4" fmla="*/ 2147483647 w 21"/>
                    <a:gd name="T5" fmla="*/ 2147483647 h 15"/>
                    <a:gd name="T6" fmla="*/ 2147483647 w 21"/>
                    <a:gd name="T7" fmla="*/ 2147483647 h 15"/>
                    <a:gd name="T8" fmla="*/ 2147483647 w 21"/>
                    <a:gd name="T9" fmla="*/ 2147483647 h 15"/>
                    <a:gd name="T10" fmla="*/ 0 w 21"/>
                    <a:gd name="T11" fmla="*/ 2147483647 h 15"/>
                    <a:gd name="T12" fmla="*/ 2147483647 w 21"/>
                    <a:gd name="T13" fmla="*/ 2147483647 h 15"/>
                    <a:gd name="T14" fmla="*/ 2147483647 w 21"/>
                    <a:gd name="T15" fmla="*/ 2147483647 h 15"/>
                    <a:gd name="T16" fmla="*/ 2147483647 w 21"/>
                    <a:gd name="T17" fmla="*/ 2147483647 h 15"/>
                    <a:gd name="T18" fmla="*/ 2147483647 w 21"/>
                    <a:gd name="T19" fmla="*/ 2147483647 h 15"/>
                    <a:gd name="T20" fmla="*/ 2147483647 w 21"/>
                    <a:gd name="T21" fmla="*/ 0 h 15"/>
                    <a:gd name="T22" fmla="*/ 2147483647 w 21"/>
                    <a:gd name="T23" fmla="*/ 0 h 15"/>
                    <a:gd name="T24" fmla="*/ 2147483647 w 21"/>
                    <a:gd name="T25" fmla="*/ 2147483647 h 15"/>
                    <a:gd name="T26" fmla="*/ 2147483647 w 21"/>
                    <a:gd name="T27" fmla="*/ 2147483647 h 15"/>
                    <a:gd name="T28" fmla="*/ 2147483647 w 21"/>
                    <a:gd name="T29" fmla="*/ 2147483647 h 15"/>
                    <a:gd name="T30" fmla="*/ 2147483647 w 21"/>
                    <a:gd name="T31" fmla="*/ 2147483647 h 15"/>
                    <a:gd name="T32" fmla="*/ 2147483647 w 21"/>
                    <a:gd name="T33" fmla="*/ 2147483647 h 15"/>
                    <a:gd name="T34" fmla="*/ 2147483647 w 21"/>
                    <a:gd name="T35" fmla="*/ 2147483647 h 15"/>
                    <a:gd name="T36" fmla="*/ 2147483647 w 21"/>
                    <a:gd name="T37" fmla="*/ 2147483647 h 15"/>
                    <a:gd name="T38" fmla="*/ 2147483647 w 21"/>
                    <a:gd name="T39" fmla="*/ 2147483647 h 1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1"/>
                    <a:gd name="T61" fmla="*/ 0 h 15"/>
                    <a:gd name="T62" fmla="*/ 21 w 21"/>
                    <a:gd name="T63" fmla="*/ 15 h 1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1" h="15">
                      <a:moveTo>
                        <a:pt x="14" y="15"/>
                      </a:moveTo>
                      <a:lnTo>
                        <a:pt x="14" y="15"/>
                      </a:lnTo>
                      <a:lnTo>
                        <a:pt x="9" y="14"/>
                      </a:lnTo>
                      <a:lnTo>
                        <a:pt x="5" y="14"/>
                      </a:lnTo>
                      <a:lnTo>
                        <a:pt x="1" y="14"/>
                      </a:lnTo>
                      <a:lnTo>
                        <a:pt x="0" y="14"/>
                      </a:lnTo>
                      <a:lnTo>
                        <a:pt x="1" y="13"/>
                      </a:lnTo>
                      <a:lnTo>
                        <a:pt x="5" y="4"/>
                      </a:lnTo>
                      <a:lnTo>
                        <a:pt x="9" y="1"/>
                      </a:lnTo>
                      <a:lnTo>
                        <a:pt x="14" y="0"/>
                      </a:lnTo>
                      <a:lnTo>
                        <a:pt x="16" y="1"/>
                      </a:lnTo>
                      <a:lnTo>
                        <a:pt x="20" y="4"/>
                      </a:lnTo>
                      <a:lnTo>
                        <a:pt x="21" y="9"/>
                      </a:lnTo>
                      <a:lnTo>
                        <a:pt x="20" y="14"/>
                      </a:lnTo>
                      <a:lnTo>
                        <a:pt x="19" y="15"/>
                      </a:lnTo>
                      <a:lnTo>
                        <a:pt x="18" y="15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1" name="Freeform 416">
                  <a:extLst>
                    <a:ext uri="{FF2B5EF4-FFF2-40B4-BE49-F238E27FC236}">
                      <a16:creationId xmlns:a16="http://schemas.microsoft.com/office/drawing/2014/main" id="{2E8D21B1-3AFF-7C4B-B184-5CFF314D75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3491" y="4249874"/>
                  <a:ext cx="29597" cy="19239"/>
                </a:xfrm>
                <a:custGeom>
                  <a:avLst/>
                  <a:gdLst>
                    <a:gd name="T0" fmla="*/ 2147483647 w 22"/>
                    <a:gd name="T1" fmla="*/ 2147483647 h 13"/>
                    <a:gd name="T2" fmla="*/ 2147483647 w 22"/>
                    <a:gd name="T3" fmla="*/ 2147483647 h 13"/>
                    <a:gd name="T4" fmla="*/ 2147483647 w 22"/>
                    <a:gd name="T5" fmla="*/ 2147483647 h 13"/>
                    <a:gd name="T6" fmla="*/ 2147483647 w 22"/>
                    <a:gd name="T7" fmla="*/ 2147483647 h 13"/>
                    <a:gd name="T8" fmla="*/ 2147483647 w 22"/>
                    <a:gd name="T9" fmla="*/ 2147483647 h 13"/>
                    <a:gd name="T10" fmla="*/ 2147483647 w 22"/>
                    <a:gd name="T11" fmla="*/ 2147483647 h 13"/>
                    <a:gd name="T12" fmla="*/ 2147483647 w 22"/>
                    <a:gd name="T13" fmla="*/ 2147483647 h 13"/>
                    <a:gd name="T14" fmla="*/ 2147483647 w 22"/>
                    <a:gd name="T15" fmla="*/ 2147483647 h 13"/>
                    <a:gd name="T16" fmla="*/ 2147483647 w 22"/>
                    <a:gd name="T17" fmla="*/ 2147483647 h 13"/>
                    <a:gd name="T18" fmla="*/ 2147483647 w 22"/>
                    <a:gd name="T19" fmla="*/ 2147483647 h 13"/>
                    <a:gd name="T20" fmla="*/ 0 w 22"/>
                    <a:gd name="T21" fmla="*/ 2147483647 h 13"/>
                    <a:gd name="T22" fmla="*/ 0 w 22"/>
                    <a:gd name="T23" fmla="*/ 2147483647 h 13"/>
                    <a:gd name="T24" fmla="*/ 2147483647 w 22"/>
                    <a:gd name="T25" fmla="*/ 2147483647 h 13"/>
                    <a:gd name="T26" fmla="*/ 2147483647 w 22"/>
                    <a:gd name="T27" fmla="*/ 2147483647 h 13"/>
                    <a:gd name="T28" fmla="*/ 2147483647 w 22"/>
                    <a:gd name="T29" fmla="*/ 0 h 13"/>
                    <a:gd name="T30" fmla="*/ 2147483647 w 22"/>
                    <a:gd name="T31" fmla="*/ 2147483647 h 13"/>
                    <a:gd name="T32" fmla="*/ 2147483647 w 22"/>
                    <a:gd name="T33" fmla="*/ 2147483647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13"/>
                    <a:gd name="T53" fmla="*/ 22 w 22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13">
                      <a:moveTo>
                        <a:pt x="17" y="2"/>
                      </a:moveTo>
                      <a:lnTo>
                        <a:pt x="19" y="3"/>
                      </a:lnTo>
                      <a:lnTo>
                        <a:pt x="22" y="3"/>
                      </a:lnTo>
                      <a:lnTo>
                        <a:pt x="22" y="6"/>
                      </a:lnTo>
                      <a:lnTo>
                        <a:pt x="22" y="7"/>
                      </a:lnTo>
                      <a:lnTo>
                        <a:pt x="22" y="8"/>
                      </a:lnTo>
                      <a:lnTo>
                        <a:pt x="19" y="10"/>
                      </a:lnTo>
                      <a:lnTo>
                        <a:pt x="15" y="11"/>
                      </a:lnTo>
                      <a:lnTo>
                        <a:pt x="10" y="13"/>
                      </a:lnTo>
                      <a:lnTo>
                        <a:pt x="3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10" y="1"/>
                      </a:lnTo>
                      <a:lnTo>
                        <a:pt x="17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2" name="Freeform 417">
                  <a:extLst>
                    <a:ext uri="{FF2B5EF4-FFF2-40B4-BE49-F238E27FC236}">
                      <a16:creationId xmlns:a16="http://schemas.microsoft.com/office/drawing/2014/main" id="{C59F1443-728F-4E48-9D02-152B9E0811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8570" y="3561737"/>
                  <a:ext cx="11839" cy="7399"/>
                </a:xfrm>
                <a:custGeom>
                  <a:avLst/>
                  <a:gdLst>
                    <a:gd name="T0" fmla="*/ 2147483647 w 9"/>
                    <a:gd name="T1" fmla="*/ 0 h 5"/>
                    <a:gd name="T2" fmla="*/ 2147483647 w 9"/>
                    <a:gd name="T3" fmla="*/ 2147483647 h 5"/>
                    <a:gd name="T4" fmla="*/ 2147483647 w 9"/>
                    <a:gd name="T5" fmla="*/ 2147483647 h 5"/>
                    <a:gd name="T6" fmla="*/ 2147483647 w 9"/>
                    <a:gd name="T7" fmla="*/ 2147483647 h 5"/>
                    <a:gd name="T8" fmla="*/ 2147483647 w 9"/>
                    <a:gd name="T9" fmla="*/ 2147483647 h 5"/>
                    <a:gd name="T10" fmla="*/ 2147483647 w 9"/>
                    <a:gd name="T11" fmla="*/ 2147483647 h 5"/>
                    <a:gd name="T12" fmla="*/ 2147483647 w 9"/>
                    <a:gd name="T13" fmla="*/ 2147483647 h 5"/>
                    <a:gd name="T14" fmla="*/ 0 w 9"/>
                    <a:gd name="T15" fmla="*/ 2147483647 h 5"/>
                    <a:gd name="T16" fmla="*/ 2147483647 w 9"/>
                    <a:gd name="T17" fmla="*/ 0 h 5"/>
                    <a:gd name="T18" fmla="*/ 2147483647 w 9"/>
                    <a:gd name="T19" fmla="*/ 0 h 5"/>
                    <a:gd name="T20" fmla="*/ 2147483647 w 9"/>
                    <a:gd name="T21" fmla="*/ 0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5"/>
                    <a:gd name="T35" fmla="*/ 9 w 9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5">
                      <a:moveTo>
                        <a:pt x="7" y="0"/>
                      </a:move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8" y="2"/>
                      </a:lnTo>
                      <a:lnTo>
                        <a:pt x="7" y="3"/>
                      </a:ln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3" name="Freeform 418">
                  <a:extLst>
                    <a:ext uri="{FF2B5EF4-FFF2-40B4-BE49-F238E27FC236}">
                      <a16:creationId xmlns:a16="http://schemas.microsoft.com/office/drawing/2014/main" id="{815D2889-6D6A-9F40-913C-5353551BB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2014" y="4246915"/>
                  <a:ext cx="28118" cy="19239"/>
                </a:xfrm>
                <a:custGeom>
                  <a:avLst/>
                  <a:gdLst>
                    <a:gd name="T0" fmla="*/ 2147483647 w 21"/>
                    <a:gd name="T1" fmla="*/ 2147483647 h 13"/>
                    <a:gd name="T2" fmla="*/ 2147483647 w 21"/>
                    <a:gd name="T3" fmla="*/ 2147483647 h 13"/>
                    <a:gd name="T4" fmla="*/ 2147483647 w 21"/>
                    <a:gd name="T5" fmla="*/ 2147483647 h 13"/>
                    <a:gd name="T6" fmla="*/ 2147483647 w 21"/>
                    <a:gd name="T7" fmla="*/ 2147483647 h 13"/>
                    <a:gd name="T8" fmla="*/ 2147483647 w 21"/>
                    <a:gd name="T9" fmla="*/ 2147483647 h 13"/>
                    <a:gd name="T10" fmla="*/ 2147483647 w 21"/>
                    <a:gd name="T11" fmla="*/ 2147483647 h 13"/>
                    <a:gd name="T12" fmla="*/ 2147483647 w 21"/>
                    <a:gd name="T13" fmla="*/ 2147483647 h 13"/>
                    <a:gd name="T14" fmla="*/ 2147483647 w 21"/>
                    <a:gd name="T15" fmla="*/ 2147483647 h 13"/>
                    <a:gd name="T16" fmla="*/ 2147483647 w 21"/>
                    <a:gd name="T17" fmla="*/ 2147483647 h 13"/>
                    <a:gd name="T18" fmla="*/ 2147483647 w 21"/>
                    <a:gd name="T19" fmla="*/ 2147483647 h 13"/>
                    <a:gd name="T20" fmla="*/ 2147483647 w 21"/>
                    <a:gd name="T21" fmla="*/ 2147483647 h 13"/>
                    <a:gd name="T22" fmla="*/ 2147483647 w 21"/>
                    <a:gd name="T23" fmla="*/ 2147483647 h 13"/>
                    <a:gd name="T24" fmla="*/ 2147483647 w 21"/>
                    <a:gd name="T25" fmla="*/ 2147483647 h 13"/>
                    <a:gd name="T26" fmla="*/ 2147483647 w 21"/>
                    <a:gd name="T27" fmla="*/ 2147483647 h 13"/>
                    <a:gd name="T28" fmla="*/ 0 w 21"/>
                    <a:gd name="T29" fmla="*/ 2147483647 h 13"/>
                    <a:gd name="T30" fmla="*/ 0 w 21"/>
                    <a:gd name="T31" fmla="*/ 2147483647 h 13"/>
                    <a:gd name="T32" fmla="*/ 2147483647 w 21"/>
                    <a:gd name="T33" fmla="*/ 2147483647 h 13"/>
                    <a:gd name="T34" fmla="*/ 2147483647 w 21"/>
                    <a:gd name="T35" fmla="*/ 2147483647 h 13"/>
                    <a:gd name="T36" fmla="*/ 2147483647 w 21"/>
                    <a:gd name="T37" fmla="*/ 2147483647 h 13"/>
                    <a:gd name="T38" fmla="*/ 2147483647 w 21"/>
                    <a:gd name="T39" fmla="*/ 0 h 13"/>
                    <a:gd name="T40" fmla="*/ 2147483647 w 21"/>
                    <a:gd name="T41" fmla="*/ 2147483647 h 13"/>
                    <a:gd name="T42" fmla="*/ 2147483647 w 21"/>
                    <a:gd name="T43" fmla="*/ 2147483647 h 13"/>
                    <a:gd name="T44" fmla="*/ 2147483647 w 21"/>
                    <a:gd name="T45" fmla="*/ 2147483647 h 1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1"/>
                    <a:gd name="T70" fmla="*/ 0 h 13"/>
                    <a:gd name="T71" fmla="*/ 21 w 21"/>
                    <a:gd name="T72" fmla="*/ 13 h 1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1" h="13">
                      <a:moveTo>
                        <a:pt x="16" y="3"/>
                      </a:moveTo>
                      <a:lnTo>
                        <a:pt x="16" y="3"/>
                      </a:lnTo>
                      <a:lnTo>
                        <a:pt x="19" y="4"/>
                      </a:lnTo>
                      <a:lnTo>
                        <a:pt x="21" y="4"/>
                      </a:lnTo>
                      <a:lnTo>
                        <a:pt x="21" y="6"/>
                      </a:lnTo>
                      <a:lnTo>
                        <a:pt x="21" y="8"/>
                      </a:lnTo>
                      <a:lnTo>
                        <a:pt x="21" y="9"/>
                      </a:lnTo>
                      <a:lnTo>
                        <a:pt x="19" y="11"/>
                      </a:lnTo>
                      <a:lnTo>
                        <a:pt x="15" y="12"/>
                      </a:lnTo>
                      <a:lnTo>
                        <a:pt x="10" y="13"/>
                      </a:lnTo>
                      <a:lnTo>
                        <a:pt x="2" y="11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3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10" y="2"/>
                      </a:lnTo>
                      <a:lnTo>
                        <a:pt x="1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4" name="Freeform 419">
                  <a:extLst>
                    <a:ext uri="{FF2B5EF4-FFF2-40B4-BE49-F238E27FC236}">
                      <a16:creationId xmlns:a16="http://schemas.microsoft.com/office/drawing/2014/main" id="{D4D1F7C8-AEFE-744C-BBB9-AB6945C40D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7091" y="3560253"/>
                  <a:ext cx="11839" cy="5919"/>
                </a:xfrm>
                <a:custGeom>
                  <a:avLst/>
                  <a:gdLst>
                    <a:gd name="T0" fmla="*/ 2147483647 w 9"/>
                    <a:gd name="T1" fmla="*/ 0 h 4"/>
                    <a:gd name="T2" fmla="*/ 2147483647 w 9"/>
                    <a:gd name="T3" fmla="*/ 0 h 4"/>
                    <a:gd name="T4" fmla="*/ 2147483647 w 9"/>
                    <a:gd name="T5" fmla="*/ 2147483647 h 4"/>
                    <a:gd name="T6" fmla="*/ 2147483647 w 9"/>
                    <a:gd name="T7" fmla="*/ 2147483647 h 4"/>
                    <a:gd name="T8" fmla="*/ 2147483647 w 9"/>
                    <a:gd name="T9" fmla="*/ 2147483647 h 4"/>
                    <a:gd name="T10" fmla="*/ 2147483647 w 9"/>
                    <a:gd name="T11" fmla="*/ 2147483647 h 4"/>
                    <a:gd name="T12" fmla="*/ 2147483647 w 9"/>
                    <a:gd name="T13" fmla="*/ 2147483647 h 4"/>
                    <a:gd name="T14" fmla="*/ 2147483647 w 9"/>
                    <a:gd name="T15" fmla="*/ 2147483647 h 4"/>
                    <a:gd name="T16" fmla="*/ 2147483647 w 9"/>
                    <a:gd name="T17" fmla="*/ 2147483647 h 4"/>
                    <a:gd name="T18" fmla="*/ 0 w 9"/>
                    <a:gd name="T19" fmla="*/ 2147483647 h 4"/>
                    <a:gd name="T20" fmla="*/ 0 w 9"/>
                    <a:gd name="T21" fmla="*/ 2147483647 h 4"/>
                    <a:gd name="T22" fmla="*/ 2147483647 w 9"/>
                    <a:gd name="T23" fmla="*/ 0 h 4"/>
                    <a:gd name="T24" fmla="*/ 2147483647 w 9"/>
                    <a:gd name="T25" fmla="*/ 0 h 4"/>
                    <a:gd name="T26" fmla="*/ 2147483647 w 9"/>
                    <a:gd name="T27" fmla="*/ 0 h 4"/>
                    <a:gd name="T28" fmla="*/ 2147483647 w 9"/>
                    <a:gd name="T29" fmla="*/ 0 h 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4"/>
                    <a:gd name="T47" fmla="*/ 9 w 9"/>
                    <a:gd name="T48" fmla="*/ 4 h 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4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5" name="Freeform 420">
                  <a:extLst>
                    <a:ext uri="{FF2B5EF4-FFF2-40B4-BE49-F238E27FC236}">
                      <a16:creationId xmlns:a16="http://schemas.microsoft.com/office/drawing/2014/main" id="{AC65A807-7DA0-4145-8978-241FE38793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4416" y="3555816"/>
                  <a:ext cx="65114" cy="42916"/>
                </a:xfrm>
                <a:custGeom>
                  <a:avLst/>
                  <a:gdLst>
                    <a:gd name="T0" fmla="*/ 2147483647 w 47"/>
                    <a:gd name="T1" fmla="*/ 2147483647 h 29"/>
                    <a:gd name="T2" fmla="*/ 2147483647 w 47"/>
                    <a:gd name="T3" fmla="*/ 2147483647 h 29"/>
                    <a:gd name="T4" fmla="*/ 2147483647 w 47"/>
                    <a:gd name="T5" fmla="*/ 2147483647 h 29"/>
                    <a:gd name="T6" fmla="*/ 2147483647 w 47"/>
                    <a:gd name="T7" fmla="*/ 2147483647 h 29"/>
                    <a:gd name="T8" fmla="*/ 2147483647 w 47"/>
                    <a:gd name="T9" fmla="*/ 2147483647 h 29"/>
                    <a:gd name="T10" fmla="*/ 2147483647 w 47"/>
                    <a:gd name="T11" fmla="*/ 2147483647 h 29"/>
                    <a:gd name="T12" fmla="*/ 2147483647 w 47"/>
                    <a:gd name="T13" fmla="*/ 2147483647 h 29"/>
                    <a:gd name="T14" fmla="*/ 2147483647 w 47"/>
                    <a:gd name="T15" fmla="*/ 2147483647 h 29"/>
                    <a:gd name="T16" fmla="*/ 2147483647 w 47"/>
                    <a:gd name="T17" fmla="*/ 2147483647 h 29"/>
                    <a:gd name="T18" fmla="*/ 2147483647 w 47"/>
                    <a:gd name="T19" fmla="*/ 2147483647 h 29"/>
                    <a:gd name="T20" fmla="*/ 2147483647 w 47"/>
                    <a:gd name="T21" fmla="*/ 2147483647 h 29"/>
                    <a:gd name="T22" fmla="*/ 2147483647 w 47"/>
                    <a:gd name="T23" fmla="*/ 2147483647 h 29"/>
                    <a:gd name="T24" fmla="*/ 2147483647 w 47"/>
                    <a:gd name="T25" fmla="*/ 2147483647 h 29"/>
                    <a:gd name="T26" fmla="*/ 2147483647 w 47"/>
                    <a:gd name="T27" fmla="*/ 2147483647 h 29"/>
                    <a:gd name="T28" fmla="*/ 0 w 47"/>
                    <a:gd name="T29" fmla="*/ 2147483647 h 29"/>
                    <a:gd name="T30" fmla="*/ 2147483647 w 47"/>
                    <a:gd name="T31" fmla="*/ 2147483647 h 29"/>
                    <a:gd name="T32" fmla="*/ 2147483647 w 47"/>
                    <a:gd name="T33" fmla="*/ 2147483647 h 29"/>
                    <a:gd name="T34" fmla="*/ 2147483647 w 47"/>
                    <a:gd name="T35" fmla="*/ 2147483647 h 29"/>
                    <a:gd name="T36" fmla="*/ 2147483647 w 47"/>
                    <a:gd name="T37" fmla="*/ 2147483647 h 29"/>
                    <a:gd name="T38" fmla="*/ 2147483647 w 47"/>
                    <a:gd name="T39" fmla="*/ 2147483647 h 29"/>
                    <a:gd name="T40" fmla="*/ 2147483647 w 47"/>
                    <a:gd name="T41" fmla="*/ 2147483647 h 29"/>
                    <a:gd name="T42" fmla="*/ 2147483647 w 47"/>
                    <a:gd name="T43" fmla="*/ 2147483647 h 29"/>
                    <a:gd name="T44" fmla="*/ 2147483647 w 47"/>
                    <a:gd name="T45" fmla="*/ 2147483647 h 29"/>
                    <a:gd name="T46" fmla="*/ 2147483647 w 47"/>
                    <a:gd name="T47" fmla="*/ 2147483647 h 29"/>
                    <a:gd name="T48" fmla="*/ 2147483647 w 47"/>
                    <a:gd name="T49" fmla="*/ 2147483647 h 29"/>
                    <a:gd name="T50" fmla="*/ 2147483647 w 47"/>
                    <a:gd name="T51" fmla="*/ 0 h 29"/>
                    <a:gd name="T52" fmla="*/ 2147483647 w 47"/>
                    <a:gd name="T53" fmla="*/ 0 h 29"/>
                    <a:gd name="T54" fmla="*/ 2147483647 w 47"/>
                    <a:gd name="T55" fmla="*/ 2147483647 h 29"/>
                    <a:gd name="T56" fmla="*/ 2147483647 w 47"/>
                    <a:gd name="T57" fmla="*/ 2147483647 h 29"/>
                    <a:gd name="T58" fmla="*/ 2147483647 w 47"/>
                    <a:gd name="T59" fmla="*/ 2147483647 h 29"/>
                    <a:gd name="T60" fmla="*/ 2147483647 w 47"/>
                    <a:gd name="T61" fmla="*/ 2147483647 h 29"/>
                    <a:gd name="T62" fmla="*/ 2147483647 w 47"/>
                    <a:gd name="T63" fmla="*/ 2147483647 h 29"/>
                    <a:gd name="T64" fmla="*/ 2147483647 w 47"/>
                    <a:gd name="T65" fmla="*/ 2147483647 h 2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47"/>
                    <a:gd name="T100" fmla="*/ 0 h 29"/>
                    <a:gd name="T101" fmla="*/ 47 w 47"/>
                    <a:gd name="T102" fmla="*/ 29 h 2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47" h="29">
                      <a:moveTo>
                        <a:pt x="32" y="22"/>
                      </a:moveTo>
                      <a:lnTo>
                        <a:pt x="30" y="23"/>
                      </a:lnTo>
                      <a:lnTo>
                        <a:pt x="29" y="23"/>
                      </a:lnTo>
                      <a:lnTo>
                        <a:pt x="25" y="23"/>
                      </a:lnTo>
                      <a:lnTo>
                        <a:pt x="24" y="24"/>
                      </a:lnTo>
                      <a:lnTo>
                        <a:pt x="23" y="24"/>
                      </a:lnTo>
                      <a:lnTo>
                        <a:pt x="20" y="28"/>
                      </a:lnTo>
                      <a:lnTo>
                        <a:pt x="17" y="29"/>
                      </a:lnTo>
                      <a:lnTo>
                        <a:pt x="13" y="29"/>
                      </a:lnTo>
                      <a:lnTo>
                        <a:pt x="10" y="26"/>
                      </a:lnTo>
                      <a:lnTo>
                        <a:pt x="8" y="23"/>
                      </a:lnTo>
                      <a:lnTo>
                        <a:pt x="6" y="20"/>
                      </a:lnTo>
                      <a:lnTo>
                        <a:pt x="4" y="17"/>
                      </a:lnTo>
                      <a:lnTo>
                        <a:pt x="1" y="13"/>
                      </a:lnTo>
                      <a:lnTo>
                        <a:pt x="0" y="12"/>
                      </a:lnTo>
                      <a:lnTo>
                        <a:pt x="1" y="11"/>
                      </a:lnTo>
                      <a:lnTo>
                        <a:pt x="5" y="10"/>
                      </a:lnTo>
                      <a:lnTo>
                        <a:pt x="10" y="11"/>
                      </a:lnTo>
                      <a:lnTo>
                        <a:pt x="15" y="12"/>
                      </a:lnTo>
                      <a:lnTo>
                        <a:pt x="20" y="11"/>
                      </a:lnTo>
                      <a:lnTo>
                        <a:pt x="27" y="10"/>
                      </a:lnTo>
                      <a:lnTo>
                        <a:pt x="34" y="9"/>
                      </a:lnTo>
                      <a:lnTo>
                        <a:pt x="37" y="7"/>
                      </a:lnTo>
                      <a:lnTo>
                        <a:pt x="39" y="6"/>
                      </a:lnTo>
                      <a:lnTo>
                        <a:pt x="42" y="1"/>
                      </a:lnTo>
                      <a:lnTo>
                        <a:pt x="44" y="0"/>
                      </a:lnTo>
                      <a:lnTo>
                        <a:pt x="47" y="0"/>
                      </a:lnTo>
                      <a:lnTo>
                        <a:pt x="46" y="4"/>
                      </a:lnTo>
                      <a:lnTo>
                        <a:pt x="43" y="7"/>
                      </a:lnTo>
                      <a:lnTo>
                        <a:pt x="39" y="13"/>
                      </a:lnTo>
                      <a:lnTo>
                        <a:pt x="36" y="17"/>
                      </a:lnTo>
                      <a:lnTo>
                        <a:pt x="33" y="19"/>
                      </a:lnTo>
                      <a:lnTo>
                        <a:pt x="32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6" name="Freeform 421">
                  <a:extLst>
                    <a:ext uri="{FF2B5EF4-FFF2-40B4-BE49-F238E27FC236}">
                      <a16:creationId xmlns:a16="http://schemas.microsoft.com/office/drawing/2014/main" id="{1BAFBC4A-CE10-1B48-A1F7-CDD0330C83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6408" y="4754513"/>
                  <a:ext cx="1183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0 w 9"/>
                    <a:gd name="T5" fmla="*/ 2147483647 h 10"/>
                    <a:gd name="T6" fmla="*/ 2147483647 w 9"/>
                    <a:gd name="T7" fmla="*/ 0 h 10"/>
                    <a:gd name="T8" fmla="*/ 2147483647 w 9"/>
                    <a:gd name="T9" fmla="*/ 0 h 10"/>
                    <a:gd name="T10" fmla="*/ 2147483647 w 9"/>
                    <a:gd name="T11" fmla="*/ 0 h 10"/>
                    <a:gd name="T12" fmla="*/ 2147483647 w 9"/>
                    <a:gd name="T13" fmla="*/ 2147483647 h 10"/>
                    <a:gd name="T14" fmla="*/ 2147483647 w 9"/>
                    <a:gd name="T15" fmla="*/ 2147483647 h 10"/>
                    <a:gd name="T16" fmla="*/ 2147483647 w 9"/>
                    <a:gd name="T17" fmla="*/ 2147483647 h 10"/>
                    <a:gd name="T18" fmla="*/ 2147483647 w 9"/>
                    <a:gd name="T19" fmla="*/ 2147483647 h 10"/>
                    <a:gd name="T20" fmla="*/ 2147483647 w 9"/>
                    <a:gd name="T21" fmla="*/ 2147483647 h 10"/>
                    <a:gd name="T22" fmla="*/ 2147483647 w 9"/>
                    <a:gd name="T23" fmla="*/ 2147483647 h 10"/>
                    <a:gd name="T24" fmla="*/ 2147483647 w 9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10"/>
                    <a:gd name="T41" fmla="*/ 9 w 9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10">
                      <a:moveTo>
                        <a:pt x="2" y="5"/>
                      </a:moveTo>
                      <a:lnTo>
                        <a:pt x="1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9" y="5"/>
                      </a:lnTo>
                      <a:lnTo>
                        <a:pt x="9" y="8"/>
                      </a:lnTo>
                      <a:lnTo>
                        <a:pt x="6" y="10"/>
                      </a:lnTo>
                      <a:lnTo>
                        <a:pt x="2" y="8"/>
                      </a:lnTo>
                      <a:lnTo>
                        <a:pt x="2" y="7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7" name="Freeform 422">
                  <a:extLst>
                    <a:ext uri="{FF2B5EF4-FFF2-40B4-BE49-F238E27FC236}">
                      <a16:creationId xmlns:a16="http://schemas.microsoft.com/office/drawing/2014/main" id="{8349973C-5DA6-AB4B-8E6A-4EA40781A1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2936" y="3554333"/>
                  <a:ext cx="65114" cy="42918"/>
                </a:xfrm>
                <a:custGeom>
                  <a:avLst/>
                  <a:gdLst>
                    <a:gd name="T0" fmla="*/ 2147483647 w 47"/>
                    <a:gd name="T1" fmla="*/ 2147483647 h 29"/>
                    <a:gd name="T2" fmla="*/ 2147483647 w 47"/>
                    <a:gd name="T3" fmla="*/ 2147483647 h 29"/>
                    <a:gd name="T4" fmla="*/ 2147483647 w 47"/>
                    <a:gd name="T5" fmla="*/ 2147483647 h 29"/>
                    <a:gd name="T6" fmla="*/ 2147483647 w 47"/>
                    <a:gd name="T7" fmla="*/ 2147483647 h 29"/>
                    <a:gd name="T8" fmla="*/ 2147483647 w 47"/>
                    <a:gd name="T9" fmla="*/ 2147483647 h 29"/>
                    <a:gd name="T10" fmla="*/ 2147483647 w 47"/>
                    <a:gd name="T11" fmla="*/ 2147483647 h 29"/>
                    <a:gd name="T12" fmla="*/ 2147483647 w 47"/>
                    <a:gd name="T13" fmla="*/ 2147483647 h 29"/>
                    <a:gd name="T14" fmla="*/ 2147483647 w 47"/>
                    <a:gd name="T15" fmla="*/ 2147483647 h 29"/>
                    <a:gd name="T16" fmla="*/ 2147483647 w 47"/>
                    <a:gd name="T17" fmla="*/ 2147483647 h 29"/>
                    <a:gd name="T18" fmla="*/ 2147483647 w 47"/>
                    <a:gd name="T19" fmla="*/ 2147483647 h 29"/>
                    <a:gd name="T20" fmla="*/ 2147483647 w 47"/>
                    <a:gd name="T21" fmla="*/ 2147483647 h 29"/>
                    <a:gd name="T22" fmla="*/ 2147483647 w 47"/>
                    <a:gd name="T23" fmla="*/ 2147483647 h 29"/>
                    <a:gd name="T24" fmla="*/ 2147483647 w 47"/>
                    <a:gd name="T25" fmla="*/ 2147483647 h 29"/>
                    <a:gd name="T26" fmla="*/ 2147483647 w 47"/>
                    <a:gd name="T27" fmla="*/ 2147483647 h 29"/>
                    <a:gd name="T28" fmla="*/ 2147483647 w 47"/>
                    <a:gd name="T29" fmla="*/ 2147483647 h 29"/>
                    <a:gd name="T30" fmla="*/ 2147483647 w 47"/>
                    <a:gd name="T31" fmla="*/ 2147483647 h 29"/>
                    <a:gd name="T32" fmla="*/ 2147483647 w 47"/>
                    <a:gd name="T33" fmla="*/ 2147483647 h 29"/>
                    <a:gd name="T34" fmla="*/ 2147483647 w 47"/>
                    <a:gd name="T35" fmla="*/ 2147483647 h 29"/>
                    <a:gd name="T36" fmla="*/ 2147483647 w 47"/>
                    <a:gd name="T37" fmla="*/ 2147483647 h 29"/>
                    <a:gd name="T38" fmla="*/ 0 w 47"/>
                    <a:gd name="T39" fmla="*/ 2147483647 h 29"/>
                    <a:gd name="T40" fmla="*/ 2147483647 w 47"/>
                    <a:gd name="T41" fmla="*/ 2147483647 h 29"/>
                    <a:gd name="T42" fmla="*/ 2147483647 w 47"/>
                    <a:gd name="T43" fmla="*/ 2147483647 h 29"/>
                    <a:gd name="T44" fmla="*/ 2147483647 w 47"/>
                    <a:gd name="T45" fmla="*/ 2147483647 h 29"/>
                    <a:gd name="T46" fmla="*/ 2147483647 w 47"/>
                    <a:gd name="T47" fmla="*/ 2147483647 h 29"/>
                    <a:gd name="T48" fmla="*/ 2147483647 w 47"/>
                    <a:gd name="T49" fmla="*/ 2147483647 h 29"/>
                    <a:gd name="T50" fmla="*/ 2147483647 w 47"/>
                    <a:gd name="T51" fmla="*/ 2147483647 h 29"/>
                    <a:gd name="T52" fmla="*/ 2147483647 w 47"/>
                    <a:gd name="T53" fmla="*/ 2147483647 h 29"/>
                    <a:gd name="T54" fmla="*/ 2147483647 w 47"/>
                    <a:gd name="T55" fmla="*/ 2147483647 h 29"/>
                    <a:gd name="T56" fmla="*/ 2147483647 w 47"/>
                    <a:gd name="T57" fmla="*/ 2147483647 h 29"/>
                    <a:gd name="T58" fmla="*/ 2147483647 w 47"/>
                    <a:gd name="T59" fmla="*/ 2147483647 h 29"/>
                    <a:gd name="T60" fmla="*/ 2147483647 w 47"/>
                    <a:gd name="T61" fmla="*/ 2147483647 h 29"/>
                    <a:gd name="T62" fmla="*/ 2147483647 w 47"/>
                    <a:gd name="T63" fmla="*/ 2147483647 h 29"/>
                    <a:gd name="T64" fmla="*/ 2147483647 w 47"/>
                    <a:gd name="T65" fmla="*/ 2147483647 h 29"/>
                    <a:gd name="T66" fmla="*/ 2147483647 w 47"/>
                    <a:gd name="T67" fmla="*/ 2147483647 h 29"/>
                    <a:gd name="T68" fmla="*/ 2147483647 w 47"/>
                    <a:gd name="T69" fmla="*/ 0 h 29"/>
                    <a:gd name="T70" fmla="*/ 2147483647 w 47"/>
                    <a:gd name="T71" fmla="*/ 0 h 29"/>
                    <a:gd name="T72" fmla="*/ 2147483647 w 47"/>
                    <a:gd name="T73" fmla="*/ 0 h 29"/>
                    <a:gd name="T74" fmla="*/ 2147483647 w 47"/>
                    <a:gd name="T75" fmla="*/ 2147483647 h 29"/>
                    <a:gd name="T76" fmla="*/ 2147483647 w 47"/>
                    <a:gd name="T77" fmla="*/ 2147483647 h 29"/>
                    <a:gd name="T78" fmla="*/ 2147483647 w 47"/>
                    <a:gd name="T79" fmla="*/ 2147483647 h 29"/>
                    <a:gd name="T80" fmla="*/ 2147483647 w 47"/>
                    <a:gd name="T81" fmla="*/ 2147483647 h 29"/>
                    <a:gd name="T82" fmla="*/ 2147483647 w 47"/>
                    <a:gd name="T83" fmla="*/ 2147483647 h 29"/>
                    <a:gd name="T84" fmla="*/ 2147483647 w 47"/>
                    <a:gd name="T85" fmla="*/ 2147483647 h 29"/>
                    <a:gd name="T86" fmla="*/ 2147483647 w 47"/>
                    <a:gd name="T87" fmla="*/ 2147483647 h 29"/>
                    <a:gd name="T88" fmla="*/ 2147483647 w 47"/>
                    <a:gd name="T89" fmla="*/ 2147483647 h 29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7"/>
                    <a:gd name="T136" fmla="*/ 0 h 29"/>
                    <a:gd name="T137" fmla="*/ 47 w 47"/>
                    <a:gd name="T138" fmla="*/ 29 h 29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7" h="29">
                      <a:moveTo>
                        <a:pt x="31" y="21"/>
                      </a:moveTo>
                      <a:lnTo>
                        <a:pt x="31" y="21"/>
                      </a:lnTo>
                      <a:lnTo>
                        <a:pt x="30" y="23"/>
                      </a:lnTo>
                      <a:lnTo>
                        <a:pt x="29" y="23"/>
                      </a:lnTo>
                      <a:lnTo>
                        <a:pt x="25" y="23"/>
                      </a:lnTo>
                      <a:lnTo>
                        <a:pt x="24" y="24"/>
                      </a:lnTo>
                      <a:lnTo>
                        <a:pt x="23" y="24"/>
                      </a:lnTo>
                      <a:lnTo>
                        <a:pt x="20" y="27"/>
                      </a:lnTo>
                      <a:lnTo>
                        <a:pt x="16" y="29"/>
                      </a:lnTo>
                      <a:lnTo>
                        <a:pt x="12" y="29"/>
                      </a:lnTo>
                      <a:lnTo>
                        <a:pt x="10" y="26"/>
                      </a:lnTo>
                      <a:lnTo>
                        <a:pt x="7" y="23"/>
                      </a:lnTo>
                      <a:lnTo>
                        <a:pt x="6" y="20"/>
                      </a:lnTo>
                      <a:lnTo>
                        <a:pt x="4" y="17"/>
                      </a:lnTo>
                      <a:lnTo>
                        <a:pt x="1" y="13"/>
                      </a:lnTo>
                      <a:lnTo>
                        <a:pt x="0" y="12"/>
                      </a:lnTo>
                      <a:lnTo>
                        <a:pt x="1" y="11"/>
                      </a:lnTo>
                      <a:lnTo>
                        <a:pt x="5" y="10"/>
                      </a:lnTo>
                      <a:lnTo>
                        <a:pt x="10" y="11"/>
                      </a:lnTo>
                      <a:lnTo>
                        <a:pt x="15" y="12"/>
                      </a:lnTo>
                      <a:lnTo>
                        <a:pt x="20" y="11"/>
                      </a:lnTo>
                      <a:lnTo>
                        <a:pt x="26" y="10"/>
                      </a:lnTo>
                      <a:lnTo>
                        <a:pt x="34" y="8"/>
                      </a:lnTo>
                      <a:lnTo>
                        <a:pt x="37" y="7"/>
                      </a:lnTo>
                      <a:lnTo>
                        <a:pt x="39" y="6"/>
                      </a:lnTo>
                      <a:lnTo>
                        <a:pt x="42" y="1"/>
                      </a:lnTo>
                      <a:lnTo>
                        <a:pt x="44" y="0"/>
                      </a:lnTo>
                      <a:lnTo>
                        <a:pt x="47" y="0"/>
                      </a:lnTo>
                      <a:lnTo>
                        <a:pt x="45" y="4"/>
                      </a:lnTo>
                      <a:lnTo>
                        <a:pt x="43" y="7"/>
                      </a:lnTo>
                      <a:lnTo>
                        <a:pt x="39" y="13"/>
                      </a:lnTo>
                      <a:lnTo>
                        <a:pt x="35" y="17"/>
                      </a:lnTo>
                      <a:lnTo>
                        <a:pt x="33" y="19"/>
                      </a:lnTo>
                      <a:lnTo>
                        <a:pt x="31" y="2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8" name="Freeform 423">
                  <a:extLst>
                    <a:ext uri="{FF2B5EF4-FFF2-40B4-BE49-F238E27FC236}">
                      <a16:creationId xmlns:a16="http://schemas.microsoft.com/office/drawing/2014/main" id="{7002C332-8DB3-864A-9639-8340849F3D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4927" y="4753029"/>
                  <a:ext cx="11839" cy="13319"/>
                </a:xfrm>
                <a:custGeom>
                  <a:avLst/>
                  <a:gdLst>
                    <a:gd name="T0" fmla="*/ 2147483647 w 8"/>
                    <a:gd name="T1" fmla="*/ 2147483647 h 9"/>
                    <a:gd name="T2" fmla="*/ 2147483647 w 8"/>
                    <a:gd name="T3" fmla="*/ 2147483647 h 9"/>
                    <a:gd name="T4" fmla="*/ 2147483647 w 8"/>
                    <a:gd name="T5" fmla="*/ 2147483647 h 9"/>
                    <a:gd name="T6" fmla="*/ 0 w 8"/>
                    <a:gd name="T7" fmla="*/ 2147483647 h 9"/>
                    <a:gd name="T8" fmla="*/ 2147483647 w 8"/>
                    <a:gd name="T9" fmla="*/ 0 h 9"/>
                    <a:gd name="T10" fmla="*/ 2147483647 w 8"/>
                    <a:gd name="T11" fmla="*/ 0 h 9"/>
                    <a:gd name="T12" fmla="*/ 2147483647 w 8"/>
                    <a:gd name="T13" fmla="*/ 0 h 9"/>
                    <a:gd name="T14" fmla="*/ 2147483647 w 8"/>
                    <a:gd name="T15" fmla="*/ 0 h 9"/>
                    <a:gd name="T16" fmla="*/ 2147483647 w 8"/>
                    <a:gd name="T17" fmla="*/ 2147483647 h 9"/>
                    <a:gd name="T18" fmla="*/ 2147483647 w 8"/>
                    <a:gd name="T19" fmla="*/ 2147483647 h 9"/>
                    <a:gd name="T20" fmla="*/ 2147483647 w 8"/>
                    <a:gd name="T21" fmla="*/ 2147483647 h 9"/>
                    <a:gd name="T22" fmla="*/ 2147483647 w 8"/>
                    <a:gd name="T23" fmla="*/ 2147483647 h 9"/>
                    <a:gd name="T24" fmla="*/ 2147483647 w 8"/>
                    <a:gd name="T25" fmla="*/ 2147483647 h 9"/>
                    <a:gd name="T26" fmla="*/ 2147483647 w 8"/>
                    <a:gd name="T27" fmla="*/ 2147483647 h 9"/>
                    <a:gd name="T28" fmla="*/ 2147483647 w 8"/>
                    <a:gd name="T29" fmla="*/ 2147483647 h 9"/>
                    <a:gd name="T30" fmla="*/ 2147483647 w 8"/>
                    <a:gd name="T31" fmla="*/ 2147483647 h 9"/>
                    <a:gd name="T32" fmla="*/ 2147483647 w 8"/>
                    <a:gd name="T33" fmla="*/ 2147483647 h 9"/>
                    <a:gd name="T34" fmla="*/ 2147483647 w 8"/>
                    <a:gd name="T35" fmla="*/ 2147483647 h 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"/>
                    <a:gd name="T55" fmla="*/ 0 h 9"/>
                    <a:gd name="T56" fmla="*/ 8 w 8"/>
                    <a:gd name="T57" fmla="*/ 9 h 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" h="9">
                      <a:moveTo>
                        <a:pt x="2" y="5"/>
                      </a:moveTo>
                      <a:lnTo>
                        <a:pt x="2" y="5"/>
                      </a:lnTo>
                      <a:lnTo>
                        <a:pt x="1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5"/>
                      </a:lnTo>
                      <a:lnTo>
                        <a:pt x="8" y="8"/>
                      </a:lnTo>
                      <a:lnTo>
                        <a:pt x="6" y="9"/>
                      </a:lnTo>
                      <a:lnTo>
                        <a:pt x="2" y="8"/>
                      </a:lnTo>
                      <a:lnTo>
                        <a:pt x="2" y="7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9" name="Freeform 424">
                  <a:extLst>
                    <a:ext uri="{FF2B5EF4-FFF2-40B4-BE49-F238E27FC236}">
                      <a16:creationId xmlns:a16="http://schemas.microsoft.com/office/drawing/2014/main" id="{9719BBA0-839D-904C-9753-7CA469B8C0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39726" y="4753032"/>
                  <a:ext cx="5919" cy="4440"/>
                </a:xfrm>
                <a:custGeom>
                  <a:avLst/>
                  <a:gdLst>
                    <a:gd name="T0" fmla="*/ 2147483647 w 4"/>
                    <a:gd name="T1" fmla="*/ 2147483647 h 3"/>
                    <a:gd name="T2" fmla="*/ 2147483647 w 4"/>
                    <a:gd name="T3" fmla="*/ 2147483647 h 3"/>
                    <a:gd name="T4" fmla="*/ 2147483647 w 4"/>
                    <a:gd name="T5" fmla="*/ 2147483647 h 3"/>
                    <a:gd name="T6" fmla="*/ 0 w 4"/>
                    <a:gd name="T7" fmla="*/ 2147483647 h 3"/>
                    <a:gd name="T8" fmla="*/ 2147483647 w 4"/>
                    <a:gd name="T9" fmla="*/ 0 h 3"/>
                    <a:gd name="T10" fmla="*/ 2147483647 w 4"/>
                    <a:gd name="T11" fmla="*/ 0 h 3"/>
                    <a:gd name="T12" fmla="*/ 2147483647 w 4"/>
                    <a:gd name="T13" fmla="*/ 2147483647 h 3"/>
                    <a:gd name="T14" fmla="*/ 2147483647 w 4"/>
                    <a:gd name="T15" fmla="*/ 2147483647 h 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"/>
                    <a:gd name="T25" fmla="*/ 0 h 3"/>
                    <a:gd name="T26" fmla="*/ 4 w 4"/>
                    <a:gd name="T27" fmla="*/ 3 h 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" h="3">
                      <a:moveTo>
                        <a:pt x="3" y="3"/>
                      </a:move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0" name="Freeform 425">
                  <a:extLst>
                    <a:ext uri="{FF2B5EF4-FFF2-40B4-BE49-F238E27FC236}">
                      <a16:creationId xmlns:a16="http://schemas.microsoft.com/office/drawing/2014/main" id="{2402A3E0-B427-DB43-BE8F-70410C640E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1704" y="4800389"/>
                  <a:ext cx="7400" cy="4440"/>
                </a:xfrm>
                <a:custGeom>
                  <a:avLst/>
                  <a:gdLst>
                    <a:gd name="T0" fmla="*/ 2147483647 w 5"/>
                    <a:gd name="T1" fmla="*/ 0 h 3"/>
                    <a:gd name="T2" fmla="*/ 2147483647 w 5"/>
                    <a:gd name="T3" fmla="*/ 2147483647 h 3"/>
                    <a:gd name="T4" fmla="*/ 2147483647 w 5"/>
                    <a:gd name="T5" fmla="*/ 2147483647 h 3"/>
                    <a:gd name="T6" fmla="*/ 2147483647 w 5"/>
                    <a:gd name="T7" fmla="*/ 2147483647 h 3"/>
                    <a:gd name="T8" fmla="*/ 0 w 5"/>
                    <a:gd name="T9" fmla="*/ 2147483647 h 3"/>
                    <a:gd name="T10" fmla="*/ 0 w 5"/>
                    <a:gd name="T11" fmla="*/ 2147483647 h 3"/>
                    <a:gd name="T12" fmla="*/ 0 w 5"/>
                    <a:gd name="T13" fmla="*/ 0 h 3"/>
                    <a:gd name="T14" fmla="*/ 2147483647 w 5"/>
                    <a:gd name="T15" fmla="*/ 0 h 3"/>
                    <a:gd name="T16" fmla="*/ 2147483647 w 5"/>
                    <a:gd name="T17" fmla="*/ 0 h 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3"/>
                    <a:gd name="T29" fmla="*/ 5 w 5"/>
                    <a:gd name="T30" fmla="*/ 3 h 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3">
                      <a:moveTo>
                        <a:pt x="4" y="0"/>
                      </a:move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1" name="Freeform 426">
                  <a:extLst>
                    <a:ext uri="{FF2B5EF4-FFF2-40B4-BE49-F238E27FC236}">
                      <a16:creationId xmlns:a16="http://schemas.microsoft.com/office/drawing/2014/main" id="{9048C4D2-B476-1747-AE7F-B3A81A7B8E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38246" y="4751550"/>
                  <a:ext cx="5919" cy="4439"/>
                </a:xfrm>
                <a:custGeom>
                  <a:avLst/>
                  <a:gdLst>
                    <a:gd name="T0" fmla="*/ 2147483647 w 4"/>
                    <a:gd name="T1" fmla="*/ 2147483647 h 3"/>
                    <a:gd name="T2" fmla="*/ 2147483647 w 4"/>
                    <a:gd name="T3" fmla="*/ 2147483647 h 3"/>
                    <a:gd name="T4" fmla="*/ 2147483647 w 4"/>
                    <a:gd name="T5" fmla="*/ 2147483647 h 3"/>
                    <a:gd name="T6" fmla="*/ 2147483647 w 4"/>
                    <a:gd name="T7" fmla="*/ 2147483647 h 3"/>
                    <a:gd name="T8" fmla="*/ 0 w 4"/>
                    <a:gd name="T9" fmla="*/ 2147483647 h 3"/>
                    <a:gd name="T10" fmla="*/ 0 w 4"/>
                    <a:gd name="T11" fmla="*/ 2147483647 h 3"/>
                    <a:gd name="T12" fmla="*/ 2147483647 w 4"/>
                    <a:gd name="T13" fmla="*/ 0 h 3"/>
                    <a:gd name="T14" fmla="*/ 2147483647 w 4"/>
                    <a:gd name="T15" fmla="*/ 0 h 3"/>
                    <a:gd name="T16" fmla="*/ 2147483647 w 4"/>
                    <a:gd name="T17" fmla="*/ 0 h 3"/>
                    <a:gd name="T18" fmla="*/ 2147483647 w 4"/>
                    <a:gd name="T19" fmla="*/ 2147483647 h 3"/>
                    <a:gd name="T20" fmla="*/ 2147483647 w 4"/>
                    <a:gd name="T21" fmla="*/ 2147483647 h 3"/>
                    <a:gd name="T22" fmla="*/ 2147483647 w 4"/>
                    <a:gd name="T23" fmla="*/ 2147483647 h 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"/>
                    <a:gd name="T37" fmla="*/ 0 h 3"/>
                    <a:gd name="T38" fmla="*/ 4 w 4"/>
                    <a:gd name="T39" fmla="*/ 3 h 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" h="3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2" name="Freeform 427">
                  <a:extLst>
                    <a:ext uri="{FF2B5EF4-FFF2-40B4-BE49-F238E27FC236}">
                      <a16:creationId xmlns:a16="http://schemas.microsoft.com/office/drawing/2014/main" id="{E91A8294-C8F4-4B45-AE6C-4760C1B517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1705" y="4798907"/>
                  <a:ext cx="5919" cy="4439"/>
                </a:xfrm>
                <a:custGeom>
                  <a:avLst/>
                  <a:gdLst>
                    <a:gd name="T0" fmla="*/ 2147483647 w 5"/>
                    <a:gd name="T1" fmla="*/ 0 h 3"/>
                    <a:gd name="T2" fmla="*/ 2147483647 w 5"/>
                    <a:gd name="T3" fmla="*/ 0 h 3"/>
                    <a:gd name="T4" fmla="*/ 2147483647 w 5"/>
                    <a:gd name="T5" fmla="*/ 2147483647 h 3"/>
                    <a:gd name="T6" fmla="*/ 2147483647 w 5"/>
                    <a:gd name="T7" fmla="*/ 2147483647 h 3"/>
                    <a:gd name="T8" fmla="*/ 2147483647 w 5"/>
                    <a:gd name="T9" fmla="*/ 2147483647 h 3"/>
                    <a:gd name="T10" fmla="*/ 2147483647 w 5"/>
                    <a:gd name="T11" fmla="*/ 2147483647 h 3"/>
                    <a:gd name="T12" fmla="*/ 2147483647 w 5"/>
                    <a:gd name="T13" fmla="*/ 2147483647 h 3"/>
                    <a:gd name="T14" fmla="*/ 0 w 5"/>
                    <a:gd name="T15" fmla="*/ 2147483647 h 3"/>
                    <a:gd name="T16" fmla="*/ 0 w 5"/>
                    <a:gd name="T17" fmla="*/ 2147483647 h 3"/>
                    <a:gd name="T18" fmla="*/ 0 w 5"/>
                    <a:gd name="T19" fmla="*/ 2147483647 h 3"/>
                    <a:gd name="T20" fmla="*/ 0 w 5"/>
                    <a:gd name="T21" fmla="*/ 0 h 3"/>
                    <a:gd name="T22" fmla="*/ 0 w 5"/>
                    <a:gd name="T23" fmla="*/ 0 h 3"/>
                    <a:gd name="T24" fmla="*/ 2147483647 w 5"/>
                    <a:gd name="T25" fmla="*/ 0 h 3"/>
                    <a:gd name="T26" fmla="*/ 2147483647 w 5"/>
                    <a:gd name="T27" fmla="*/ 0 h 3"/>
                    <a:gd name="T28" fmla="*/ 2147483647 w 5"/>
                    <a:gd name="T29" fmla="*/ 0 h 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3"/>
                    <a:gd name="T47" fmla="*/ 5 w 5"/>
                    <a:gd name="T48" fmla="*/ 3 h 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3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3" name="Freeform 428">
                  <a:extLst>
                    <a:ext uri="{FF2B5EF4-FFF2-40B4-BE49-F238E27FC236}">
                      <a16:creationId xmlns:a16="http://schemas.microsoft.com/office/drawing/2014/main" id="{46259437-8685-A343-9A93-799782D313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0586" y="4519213"/>
                  <a:ext cx="16279" cy="20718"/>
                </a:xfrm>
                <a:custGeom>
                  <a:avLst/>
                  <a:gdLst>
                    <a:gd name="T0" fmla="*/ 2147483647 w 12"/>
                    <a:gd name="T1" fmla="*/ 2147483647 h 14"/>
                    <a:gd name="T2" fmla="*/ 2147483647 w 12"/>
                    <a:gd name="T3" fmla="*/ 2147483647 h 14"/>
                    <a:gd name="T4" fmla="*/ 2147483647 w 12"/>
                    <a:gd name="T5" fmla="*/ 2147483647 h 14"/>
                    <a:gd name="T6" fmla="*/ 2147483647 w 12"/>
                    <a:gd name="T7" fmla="*/ 2147483647 h 14"/>
                    <a:gd name="T8" fmla="*/ 2147483647 w 12"/>
                    <a:gd name="T9" fmla="*/ 2147483647 h 14"/>
                    <a:gd name="T10" fmla="*/ 2147483647 w 12"/>
                    <a:gd name="T11" fmla="*/ 2147483647 h 14"/>
                    <a:gd name="T12" fmla="*/ 2147483647 w 12"/>
                    <a:gd name="T13" fmla="*/ 2147483647 h 14"/>
                    <a:gd name="T14" fmla="*/ 0 w 12"/>
                    <a:gd name="T15" fmla="*/ 2147483647 h 14"/>
                    <a:gd name="T16" fmla="*/ 2147483647 w 12"/>
                    <a:gd name="T17" fmla="*/ 2147483647 h 14"/>
                    <a:gd name="T18" fmla="*/ 2147483647 w 12"/>
                    <a:gd name="T19" fmla="*/ 2147483647 h 14"/>
                    <a:gd name="T20" fmla="*/ 2147483647 w 12"/>
                    <a:gd name="T21" fmla="*/ 0 h 14"/>
                    <a:gd name="T22" fmla="*/ 2147483647 w 12"/>
                    <a:gd name="T23" fmla="*/ 0 h 14"/>
                    <a:gd name="T24" fmla="*/ 2147483647 w 12"/>
                    <a:gd name="T25" fmla="*/ 0 h 14"/>
                    <a:gd name="T26" fmla="*/ 2147483647 w 12"/>
                    <a:gd name="T27" fmla="*/ 2147483647 h 14"/>
                    <a:gd name="T28" fmla="*/ 2147483647 w 12"/>
                    <a:gd name="T29" fmla="*/ 2147483647 h 14"/>
                    <a:gd name="T30" fmla="*/ 2147483647 w 12"/>
                    <a:gd name="T31" fmla="*/ 2147483647 h 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2"/>
                    <a:gd name="T49" fmla="*/ 0 h 14"/>
                    <a:gd name="T50" fmla="*/ 12 w 12"/>
                    <a:gd name="T51" fmla="*/ 14 h 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2" h="14">
                      <a:moveTo>
                        <a:pt x="12" y="7"/>
                      </a:moveTo>
                      <a:lnTo>
                        <a:pt x="12" y="10"/>
                      </a:lnTo>
                      <a:lnTo>
                        <a:pt x="12" y="11"/>
                      </a:lnTo>
                      <a:lnTo>
                        <a:pt x="9" y="13"/>
                      </a:lnTo>
                      <a:lnTo>
                        <a:pt x="5" y="14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0" y="8"/>
                      </a:lnTo>
                      <a:lnTo>
                        <a:pt x="2" y="4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0" y="4"/>
                      </a:lnTo>
                      <a:lnTo>
                        <a:pt x="12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4" name="Freeform 429">
                  <a:extLst>
                    <a:ext uri="{FF2B5EF4-FFF2-40B4-BE49-F238E27FC236}">
                      <a16:creationId xmlns:a16="http://schemas.microsoft.com/office/drawing/2014/main" id="{F0719409-B93A-D54A-B700-34A6507DDE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8791" y="4605043"/>
                  <a:ext cx="13318" cy="19239"/>
                </a:xfrm>
                <a:custGeom>
                  <a:avLst/>
                  <a:gdLst>
                    <a:gd name="T0" fmla="*/ 2147483647 w 10"/>
                    <a:gd name="T1" fmla="*/ 2147483647 h 13"/>
                    <a:gd name="T2" fmla="*/ 2147483647 w 10"/>
                    <a:gd name="T3" fmla="*/ 2147483647 h 13"/>
                    <a:gd name="T4" fmla="*/ 2147483647 w 10"/>
                    <a:gd name="T5" fmla="*/ 2147483647 h 13"/>
                    <a:gd name="T6" fmla="*/ 2147483647 w 10"/>
                    <a:gd name="T7" fmla="*/ 0 h 13"/>
                    <a:gd name="T8" fmla="*/ 2147483647 w 10"/>
                    <a:gd name="T9" fmla="*/ 0 h 13"/>
                    <a:gd name="T10" fmla="*/ 0 w 10"/>
                    <a:gd name="T11" fmla="*/ 2147483647 h 13"/>
                    <a:gd name="T12" fmla="*/ 0 w 10"/>
                    <a:gd name="T13" fmla="*/ 2147483647 h 13"/>
                    <a:gd name="T14" fmla="*/ 0 w 10"/>
                    <a:gd name="T15" fmla="*/ 2147483647 h 13"/>
                    <a:gd name="T16" fmla="*/ 2147483647 w 10"/>
                    <a:gd name="T17" fmla="*/ 2147483647 h 13"/>
                    <a:gd name="T18" fmla="*/ 2147483647 w 10"/>
                    <a:gd name="T19" fmla="*/ 2147483647 h 13"/>
                    <a:gd name="T20" fmla="*/ 2147483647 w 10"/>
                    <a:gd name="T21" fmla="*/ 2147483647 h 13"/>
                    <a:gd name="T22" fmla="*/ 2147483647 w 10"/>
                    <a:gd name="T23" fmla="*/ 2147483647 h 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"/>
                    <a:gd name="T37" fmla="*/ 0 h 13"/>
                    <a:gd name="T38" fmla="*/ 10 w 10"/>
                    <a:gd name="T39" fmla="*/ 13 h 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" h="13">
                      <a:moveTo>
                        <a:pt x="9" y="7"/>
                      </a:moveTo>
                      <a:lnTo>
                        <a:pt x="10" y="5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3" y="13"/>
                      </a:lnTo>
                      <a:lnTo>
                        <a:pt x="5" y="12"/>
                      </a:lnTo>
                      <a:lnTo>
                        <a:pt x="9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5" name="Freeform 430">
                  <a:extLst>
                    <a:ext uri="{FF2B5EF4-FFF2-40B4-BE49-F238E27FC236}">
                      <a16:creationId xmlns:a16="http://schemas.microsoft.com/office/drawing/2014/main" id="{78845F95-1B84-1A40-81D9-65DD849273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9105" y="4517735"/>
                  <a:ext cx="14799" cy="20718"/>
                </a:xfrm>
                <a:custGeom>
                  <a:avLst/>
                  <a:gdLst>
                    <a:gd name="T0" fmla="*/ 2147483647 w 11"/>
                    <a:gd name="T1" fmla="*/ 2147483647 h 14"/>
                    <a:gd name="T2" fmla="*/ 2147483647 w 11"/>
                    <a:gd name="T3" fmla="*/ 2147483647 h 14"/>
                    <a:gd name="T4" fmla="*/ 2147483647 w 11"/>
                    <a:gd name="T5" fmla="*/ 2147483647 h 14"/>
                    <a:gd name="T6" fmla="*/ 2147483647 w 11"/>
                    <a:gd name="T7" fmla="*/ 2147483647 h 14"/>
                    <a:gd name="T8" fmla="*/ 2147483647 w 11"/>
                    <a:gd name="T9" fmla="*/ 2147483647 h 14"/>
                    <a:gd name="T10" fmla="*/ 2147483647 w 11"/>
                    <a:gd name="T11" fmla="*/ 2147483647 h 14"/>
                    <a:gd name="T12" fmla="*/ 2147483647 w 11"/>
                    <a:gd name="T13" fmla="*/ 2147483647 h 14"/>
                    <a:gd name="T14" fmla="*/ 2147483647 w 11"/>
                    <a:gd name="T15" fmla="*/ 2147483647 h 14"/>
                    <a:gd name="T16" fmla="*/ 2147483647 w 11"/>
                    <a:gd name="T17" fmla="*/ 2147483647 h 14"/>
                    <a:gd name="T18" fmla="*/ 0 w 11"/>
                    <a:gd name="T19" fmla="*/ 2147483647 h 14"/>
                    <a:gd name="T20" fmla="*/ 2147483647 w 11"/>
                    <a:gd name="T21" fmla="*/ 2147483647 h 14"/>
                    <a:gd name="T22" fmla="*/ 2147483647 w 11"/>
                    <a:gd name="T23" fmla="*/ 2147483647 h 14"/>
                    <a:gd name="T24" fmla="*/ 2147483647 w 11"/>
                    <a:gd name="T25" fmla="*/ 0 h 14"/>
                    <a:gd name="T26" fmla="*/ 2147483647 w 11"/>
                    <a:gd name="T27" fmla="*/ 0 h 14"/>
                    <a:gd name="T28" fmla="*/ 2147483647 w 11"/>
                    <a:gd name="T29" fmla="*/ 0 h 14"/>
                    <a:gd name="T30" fmla="*/ 2147483647 w 11"/>
                    <a:gd name="T31" fmla="*/ 0 h 14"/>
                    <a:gd name="T32" fmla="*/ 2147483647 w 11"/>
                    <a:gd name="T33" fmla="*/ 2147483647 h 14"/>
                    <a:gd name="T34" fmla="*/ 2147483647 w 11"/>
                    <a:gd name="T35" fmla="*/ 2147483647 h 14"/>
                    <a:gd name="T36" fmla="*/ 2147483647 w 11"/>
                    <a:gd name="T37" fmla="*/ 2147483647 h 14"/>
                    <a:gd name="T38" fmla="*/ 2147483647 w 11"/>
                    <a:gd name="T39" fmla="*/ 2147483647 h 1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1"/>
                    <a:gd name="T61" fmla="*/ 0 h 14"/>
                    <a:gd name="T62" fmla="*/ 11 w 11"/>
                    <a:gd name="T63" fmla="*/ 14 h 1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1" h="14">
                      <a:moveTo>
                        <a:pt x="11" y="7"/>
                      </a:moveTo>
                      <a:lnTo>
                        <a:pt x="11" y="7"/>
                      </a:lnTo>
                      <a:lnTo>
                        <a:pt x="11" y="9"/>
                      </a:lnTo>
                      <a:lnTo>
                        <a:pt x="11" y="11"/>
                      </a:lnTo>
                      <a:lnTo>
                        <a:pt x="9" y="13"/>
                      </a:lnTo>
                      <a:lnTo>
                        <a:pt x="5" y="14"/>
                      </a:lnTo>
                      <a:lnTo>
                        <a:pt x="3" y="13"/>
                      </a:lnTo>
                      <a:lnTo>
                        <a:pt x="1" y="11"/>
                      </a:lnTo>
                      <a:lnTo>
                        <a:pt x="0" y="8"/>
                      </a:lnTo>
                      <a:lnTo>
                        <a:pt x="1" y="4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0" y="4"/>
                      </a:ln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6" name="Freeform 431">
                  <a:extLst>
                    <a:ext uri="{FF2B5EF4-FFF2-40B4-BE49-F238E27FC236}">
                      <a16:creationId xmlns:a16="http://schemas.microsoft.com/office/drawing/2014/main" id="{AA0AF49F-8156-EA4F-B8C5-84AADA98C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7308" y="4603563"/>
                  <a:ext cx="13319" cy="19238"/>
                </a:xfrm>
                <a:custGeom>
                  <a:avLst/>
                  <a:gdLst>
                    <a:gd name="T0" fmla="*/ 2147483647 w 10"/>
                    <a:gd name="T1" fmla="*/ 2147483647 h 13"/>
                    <a:gd name="T2" fmla="*/ 2147483647 w 10"/>
                    <a:gd name="T3" fmla="*/ 2147483647 h 13"/>
                    <a:gd name="T4" fmla="*/ 2147483647 w 10"/>
                    <a:gd name="T5" fmla="*/ 2147483647 h 13"/>
                    <a:gd name="T6" fmla="*/ 2147483647 w 10"/>
                    <a:gd name="T7" fmla="*/ 2147483647 h 13"/>
                    <a:gd name="T8" fmla="*/ 2147483647 w 10"/>
                    <a:gd name="T9" fmla="*/ 0 h 13"/>
                    <a:gd name="T10" fmla="*/ 2147483647 w 10"/>
                    <a:gd name="T11" fmla="*/ 0 h 13"/>
                    <a:gd name="T12" fmla="*/ 2147483647 w 10"/>
                    <a:gd name="T13" fmla="*/ 0 h 13"/>
                    <a:gd name="T14" fmla="*/ 0 w 10"/>
                    <a:gd name="T15" fmla="*/ 2147483647 h 13"/>
                    <a:gd name="T16" fmla="*/ 0 w 10"/>
                    <a:gd name="T17" fmla="*/ 2147483647 h 13"/>
                    <a:gd name="T18" fmla="*/ 0 w 10"/>
                    <a:gd name="T19" fmla="*/ 2147483647 h 13"/>
                    <a:gd name="T20" fmla="*/ 2147483647 w 10"/>
                    <a:gd name="T21" fmla="*/ 2147483647 h 13"/>
                    <a:gd name="T22" fmla="*/ 2147483647 w 10"/>
                    <a:gd name="T23" fmla="*/ 2147483647 h 13"/>
                    <a:gd name="T24" fmla="*/ 2147483647 w 10"/>
                    <a:gd name="T25" fmla="*/ 2147483647 h 13"/>
                    <a:gd name="T26" fmla="*/ 2147483647 w 10"/>
                    <a:gd name="T27" fmla="*/ 2147483647 h 13"/>
                    <a:gd name="T28" fmla="*/ 2147483647 w 10"/>
                    <a:gd name="T29" fmla="*/ 2147483647 h 13"/>
                    <a:gd name="T30" fmla="*/ 2147483647 w 10"/>
                    <a:gd name="T31" fmla="*/ 2147483647 h 13"/>
                    <a:gd name="T32" fmla="*/ 2147483647 w 10"/>
                    <a:gd name="T33" fmla="*/ 2147483647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"/>
                    <a:gd name="T52" fmla="*/ 0 h 13"/>
                    <a:gd name="T53" fmla="*/ 10 w 10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" h="13">
                      <a:moveTo>
                        <a:pt x="9" y="7"/>
                      </a:moveTo>
                      <a:lnTo>
                        <a:pt x="9" y="7"/>
                      </a:lnTo>
                      <a:lnTo>
                        <a:pt x="10" y="5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2" y="13"/>
                      </a:lnTo>
                      <a:lnTo>
                        <a:pt x="5" y="12"/>
                      </a:lnTo>
                      <a:lnTo>
                        <a:pt x="9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7" name="Freeform 432">
                  <a:extLst>
                    <a:ext uri="{FF2B5EF4-FFF2-40B4-BE49-F238E27FC236}">
                      <a16:creationId xmlns:a16="http://schemas.microsoft.com/office/drawing/2014/main" id="{4FA3B89B-FCAD-E643-AD19-5B5F4A9584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4787" y="4892137"/>
                  <a:ext cx="8879" cy="7400"/>
                </a:xfrm>
                <a:custGeom>
                  <a:avLst/>
                  <a:gdLst>
                    <a:gd name="T0" fmla="*/ 2147483647 w 6"/>
                    <a:gd name="T1" fmla="*/ 2147483647 h 5"/>
                    <a:gd name="T2" fmla="*/ 2147483647 w 6"/>
                    <a:gd name="T3" fmla="*/ 2147483647 h 5"/>
                    <a:gd name="T4" fmla="*/ 2147483647 w 6"/>
                    <a:gd name="T5" fmla="*/ 2147483647 h 5"/>
                    <a:gd name="T6" fmla="*/ 2147483647 w 6"/>
                    <a:gd name="T7" fmla="*/ 2147483647 h 5"/>
                    <a:gd name="T8" fmla="*/ 2147483647 w 6"/>
                    <a:gd name="T9" fmla="*/ 2147483647 h 5"/>
                    <a:gd name="T10" fmla="*/ 0 w 6"/>
                    <a:gd name="T11" fmla="*/ 2147483647 h 5"/>
                    <a:gd name="T12" fmla="*/ 0 w 6"/>
                    <a:gd name="T13" fmla="*/ 2147483647 h 5"/>
                    <a:gd name="T14" fmla="*/ 2147483647 w 6"/>
                    <a:gd name="T15" fmla="*/ 0 h 5"/>
                    <a:gd name="T16" fmla="*/ 2147483647 w 6"/>
                    <a:gd name="T17" fmla="*/ 0 h 5"/>
                    <a:gd name="T18" fmla="*/ 2147483647 w 6"/>
                    <a:gd name="T19" fmla="*/ 2147483647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5"/>
                    <a:gd name="T32" fmla="*/ 6 w 6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5">
                      <a:moveTo>
                        <a:pt x="5" y="1"/>
                      </a:moveTo>
                      <a:lnTo>
                        <a:pt x="6" y="3"/>
                      </a:lnTo>
                      <a:lnTo>
                        <a:pt x="5" y="4"/>
                      </a:lnTo>
                      <a:lnTo>
                        <a:pt x="2" y="5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8" name="Freeform 433">
                  <a:extLst>
                    <a:ext uri="{FF2B5EF4-FFF2-40B4-BE49-F238E27FC236}">
                      <a16:creationId xmlns:a16="http://schemas.microsoft.com/office/drawing/2014/main" id="{C784CC21-4894-854B-A1A9-B7A93BC679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5950" y="4975010"/>
                  <a:ext cx="591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0 w 5"/>
                    <a:gd name="T9" fmla="*/ 2147483647 h 8"/>
                    <a:gd name="T10" fmla="*/ 0 w 5"/>
                    <a:gd name="T11" fmla="*/ 2147483647 h 8"/>
                    <a:gd name="T12" fmla="*/ 2147483647 w 5"/>
                    <a:gd name="T13" fmla="*/ 0 h 8"/>
                    <a:gd name="T14" fmla="*/ 2147483647 w 5"/>
                    <a:gd name="T15" fmla="*/ 0 h 8"/>
                    <a:gd name="T16" fmla="*/ 2147483647 w 5"/>
                    <a:gd name="T17" fmla="*/ 2147483647 h 8"/>
                    <a:gd name="T18" fmla="*/ 2147483647 w 5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8"/>
                    <a:gd name="T32" fmla="*/ 5 w 5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8">
                      <a:moveTo>
                        <a:pt x="5" y="4"/>
                      </a:moveTo>
                      <a:lnTo>
                        <a:pt x="5" y="6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9" name="Freeform 434">
                  <a:extLst>
                    <a:ext uri="{FF2B5EF4-FFF2-40B4-BE49-F238E27FC236}">
                      <a16:creationId xmlns:a16="http://schemas.microsoft.com/office/drawing/2014/main" id="{890721BA-43C4-094C-9CA4-B4F8938F04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3307" y="4889182"/>
                  <a:ext cx="887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2147483647 w 6"/>
                    <a:gd name="T5" fmla="*/ 2147483647 h 6"/>
                    <a:gd name="T6" fmla="*/ 2147483647 w 6"/>
                    <a:gd name="T7" fmla="*/ 2147483647 h 6"/>
                    <a:gd name="T8" fmla="*/ 2147483647 w 6"/>
                    <a:gd name="T9" fmla="*/ 2147483647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0 w 6"/>
                    <a:gd name="T15" fmla="*/ 2147483647 h 6"/>
                    <a:gd name="T16" fmla="*/ 0 w 6"/>
                    <a:gd name="T17" fmla="*/ 2147483647 h 6"/>
                    <a:gd name="T18" fmla="*/ 0 w 6"/>
                    <a:gd name="T19" fmla="*/ 2147483647 h 6"/>
                    <a:gd name="T20" fmla="*/ 2147483647 w 6"/>
                    <a:gd name="T21" fmla="*/ 0 h 6"/>
                    <a:gd name="T22" fmla="*/ 2147483647 w 6"/>
                    <a:gd name="T23" fmla="*/ 0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6"/>
                    <a:gd name="T44" fmla="*/ 6 w 6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6" y="4"/>
                      </a:lnTo>
                      <a:lnTo>
                        <a:pt x="5" y="5"/>
                      </a:lnTo>
                      <a:lnTo>
                        <a:pt x="2" y="6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0" name="Freeform 435">
                  <a:extLst>
                    <a:ext uri="{FF2B5EF4-FFF2-40B4-BE49-F238E27FC236}">
                      <a16:creationId xmlns:a16="http://schemas.microsoft.com/office/drawing/2014/main" id="{B9D06859-2B30-8743-9A31-C2CE60C56C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4474" y="4973535"/>
                  <a:ext cx="7399" cy="10359"/>
                </a:xfrm>
                <a:custGeom>
                  <a:avLst/>
                  <a:gdLst>
                    <a:gd name="T0" fmla="*/ 2147483647 w 5"/>
                    <a:gd name="T1" fmla="*/ 2147483647 h 7"/>
                    <a:gd name="T2" fmla="*/ 2147483647 w 5"/>
                    <a:gd name="T3" fmla="*/ 2147483647 h 7"/>
                    <a:gd name="T4" fmla="*/ 2147483647 w 5"/>
                    <a:gd name="T5" fmla="*/ 2147483647 h 7"/>
                    <a:gd name="T6" fmla="*/ 2147483647 w 5"/>
                    <a:gd name="T7" fmla="*/ 2147483647 h 7"/>
                    <a:gd name="T8" fmla="*/ 2147483647 w 5"/>
                    <a:gd name="T9" fmla="*/ 2147483647 h 7"/>
                    <a:gd name="T10" fmla="*/ 2147483647 w 5"/>
                    <a:gd name="T11" fmla="*/ 2147483647 h 7"/>
                    <a:gd name="T12" fmla="*/ 0 w 5"/>
                    <a:gd name="T13" fmla="*/ 2147483647 h 7"/>
                    <a:gd name="T14" fmla="*/ 0 w 5"/>
                    <a:gd name="T15" fmla="*/ 2147483647 h 7"/>
                    <a:gd name="T16" fmla="*/ 2147483647 w 5"/>
                    <a:gd name="T17" fmla="*/ 0 h 7"/>
                    <a:gd name="T18" fmla="*/ 2147483647 w 5"/>
                    <a:gd name="T19" fmla="*/ 0 h 7"/>
                    <a:gd name="T20" fmla="*/ 2147483647 w 5"/>
                    <a:gd name="T21" fmla="*/ 0 h 7"/>
                    <a:gd name="T22" fmla="*/ 2147483647 w 5"/>
                    <a:gd name="T23" fmla="*/ 2147483647 h 7"/>
                    <a:gd name="T24" fmla="*/ 2147483647 w 5"/>
                    <a:gd name="T25" fmla="*/ 2147483647 h 7"/>
                    <a:gd name="T26" fmla="*/ 2147483647 w 5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7"/>
                    <a:gd name="T44" fmla="*/ 5 w 5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7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1" name="Freeform 436">
                  <a:extLst>
                    <a:ext uri="{FF2B5EF4-FFF2-40B4-BE49-F238E27FC236}">
                      <a16:creationId xmlns:a16="http://schemas.microsoft.com/office/drawing/2014/main" id="{00CD3140-78B5-ED4D-AE29-B43FD0FF19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5231" y="4951332"/>
                  <a:ext cx="7400" cy="13319"/>
                </a:xfrm>
                <a:custGeom>
                  <a:avLst/>
                  <a:gdLst>
                    <a:gd name="T0" fmla="*/ 2147483647 w 5"/>
                    <a:gd name="T1" fmla="*/ 2147483647 h 9"/>
                    <a:gd name="T2" fmla="*/ 2147483647 w 5"/>
                    <a:gd name="T3" fmla="*/ 2147483647 h 9"/>
                    <a:gd name="T4" fmla="*/ 2147483647 w 5"/>
                    <a:gd name="T5" fmla="*/ 2147483647 h 9"/>
                    <a:gd name="T6" fmla="*/ 2147483647 w 5"/>
                    <a:gd name="T7" fmla="*/ 2147483647 h 9"/>
                    <a:gd name="T8" fmla="*/ 2147483647 w 5"/>
                    <a:gd name="T9" fmla="*/ 0 h 9"/>
                    <a:gd name="T10" fmla="*/ 2147483647 w 5"/>
                    <a:gd name="T11" fmla="*/ 2147483647 h 9"/>
                    <a:gd name="T12" fmla="*/ 0 w 5"/>
                    <a:gd name="T13" fmla="*/ 2147483647 h 9"/>
                    <a:gd name="T14" fmla="*/ 0 w 5"/>
                    <a:gd name="T15" fmla="*/ 2147483647 h 9"/>
                    <a:gd name="T16" fmla="*/ 2147483647 w 5"/>
                    <a:gd name="T17" fmla="*/ 2147483647 h 9"/>
                    <a:gd name="T18" fmla="*/ 2147483647 w 5"/>
                    <a:gd name="T19" fmla="*/ 2147483647 h 9"/>
                    <a:gd name="T20" fmla="*/ 2147483647 w 5"/>
                    <a:gd name="T21" fmla="*/ 2147483647 h 9"/>
                    <a:gd name="T22" fmla="*/ 2147483647 w 5"/>
                    <a:gd name="T23" fmla="*/ 2147483647 h 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"/>
                    <a:gd name="T37" fmla="*/ 0 h 9"/>
                    <a:gd name="T38" fmla="*/ 5 w 5"/>
                    <a:gd name="T39" fmla="*/ 9 h 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" h="9">
                      <a:moveTo>
                        <a:pt x="4" y="6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8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5" y="7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2" name="Freeform 437">
                  <a:extLst>
                    <a:ext uri="{FF2B5EF4-FFF2-40B4-BE49-F238E27FC236}">
                      <a16:creationId xmlns:a16="http://schemas.microsoft.com/office/drawing/2014/main" id="{796086BF-2470-A84E-8639-183A307D3C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1969" y="5232509"/>
                  <a:ext cx="19238" cy="13319"/>
                </a:xfrm>
                <a:custGeom>
                  <a:avLst/>
                  <a:gdLst>
                    <a:gd name="T0" fmla="*/ 2147483647 w 14"/>
                    <a:gd name="T1" fmla="*/ 2147483647 h 9"/>
                    <a:gd name="T2" fmla="*/ 2147483647 w 14"/>
                    <a:gd name="T3" fmla="*/ 2147483647 h 9"/>
                    <a:gd name="T4" fmla="*/ 2147483647 w 14"/>
                    <a:gd name="T5" fmla="*/ 2147483647 h 9"/>
                    <a:gd name="T6" fmla="*/ 2147483647 w 14"/>
                    <a:gd name="T7" fmla="*/ 2147483647 h 9"/>
                    <a:gd name="T8" fmla="*/ 2147483647 w 14"/>
                    <a:gd name="T9" fmla="*/ 2147483647 h 9"/>
                    <a:gd name="T10" fmla="*/ 2147483647 w 14"/>
                    <a:gd name="T11" fmla="*/ 2147483647 h 9"/>
                    <a:gd name="T12" fmla="*/ 2147483647 w 14"/>
                    <a:gd name="T13" fmla="*/ 2147483647 h 9"/>
                    <a:gd name="T14" fmla="*/ 2147483647 w 14"/>
                    <a:gd name="T15" fmla="*/ 2147483647 h 9"/>
                    <a:gd name="T16" fmla="*/ 0 w 14"/>
                    <a:gd name="T17" fmla="*/ 2147483647 h 9"/>
                    <a:gd name="T18" fmla="*/ 0 w 14"/>
                    <a:gd name="T19" fmla="*/ 2147483647 h 9"/>
                    <a:gd name="T20" fmla="*/ 2147483647 w 14"/>
                    <a:gd name="T21" fmla="*/ 0 h 9"/>
                    <a:gd name="T22" fmla="*/ 2147483647 w 14"/>
                    <a:gd name="T23" fmla="*/ 0 h 9"/>
                    <a:gd name="T24" fmla="*/ 2147483647 w 14"/>
                    <a:gd name="T25" fmla="*/ 0 h 9"/>
                    <a:gd name="T26" fmla="*/ 2147483647 w 14"/>
                    <a:gd name="T27" fmla="*/ 2147483647 h 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4"/>
                    <a:gd name="T43" fmla="*/ 0 h 9"/>
                    <a:gd name="T44" fmla="*/ 14 w 14"/>
                    <a:gd name="T45" fmla="*/ 9 h 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4" h="9">
                      <a:moveTo>
                        <a:pt x="12" y="3"/>
                      </a:moveTo>
                      <a:lnTo>
                        <a:pt x="14" y="5"/>
                      </a:lnTo>
                      <a:lnTo>
                        <a:pt x="14" y="7"/>
                      </a:lnTo>
                      <a:lnTo>
                        <a:pt x="14" y="8"/>
                      </a:lnTo>
                      <a:lnTo>
                        <a:pt x="12" y="9"/>
                      </a:lnTo>
                      <a:lnTo>
                        <a:pt x="9" y="9"/>
                      </a:lnTo>
                      <a:lnTo>
                        <a:pt x="5" y="9"/>
                      </a:lnTo>
                      <a:lnTo>
                        <a:pt x="3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2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3" name="Freeform 438">
                  <a:extLst>
                    <a:ext uri="{FF2B5EF4-FFF2-40B4-BE49-F238E27FC236}">
                      <a16:creationId xmlns:a16="http://schemas.microsoft.com/office/drawing/2014/main" id="{9D94B861-AFC4-FF44-BFA0-C5CED6AECA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3755" y="4949857"/>
                  <a:ext cx="7399" cy="13319"/>
                </a:xfrm>
                <a:custGeom>
                  <a:avLst/>
                  <a:gdLst>
                    <a:gd name="T0" fmla="*/ 2147483647 w 5"/>
                    <a:gd name="T1" fmla="*/ 2147483647 h 9"/>
                    <a:gd name="T2" fmla="*/ 2147483647 w 5"/>
                    <a:gd name="T3" fmla="*/ 2147483647 h 9"/>
                    <a:gd name="T4" fmla="*/ 2147483647 w 5"/>
                    <a:gd name="T5" fmla="*/ 2147483647 h 9"/>
                    <a:gd name="T6" fmla="*/ 2147483647 w 5"/>
                    <a:gd name="T7" fmla="*/ 2147483647 h 9"/>
                    <a:gd name="T8" fmla="*/ 2147483647 w 5"/>
                    <a:gd name="T9" fmla="*/ 2147483647 h 9"/>
                    <a:gd name="T10" fmla="*/ 2147483647 w 5"/>
                    <a:gd name="T11" fmla="*/ 2147483647 h 9"/>
                    <a:gd name="T12" fmla="*/ 2147483647 w 5"/>
                    <a:gd name="T13" fmla="*/ 2147483647 h 9"/>
                    <a:gd name="T14" fmla="*/ 2147483647 w 5"/>
                    <a:gd name="T15" fmla="*/ 0 h 9"/>
                    <a:gd name="T16" fmla="*/ 2147483647 w 5"/>
                    <a:gd name="T17" fmla="*/ 0 h 9"/>
                    <a:gd name="T18" fmla="*/ 2147483647 w 5"/>
                    <a:gd name="T19" fmla="*/ 2147483647 h 9"/>
                    <a:gd name="T20" fmla="*/ 0 w 5"/>
                    <a:gd name="T21" fmla="*/ 2147483647 h 9"/>
                    <a:gd name="T22" fmla="*/ 0 w 5"/>
                    <a:gd name="T23" fmla="*/ 2147483647 h 9"/>
                    <a:gd name="T24" fmla="*/ 0 w 5"/>
                    <a:gd name="T25" fmla="*/ 2147483647 h 9"/>
                    <a:gd name="T26" fmla="*/ 2147483647 w 5"/>
                    <a:gd name="T27" fmla="*/ 2147483647 h 9"/>
                    <a:gd name="T28" fmla="*/ 2147483647 w 5"/>
                    <a:gd name="T29" fmla="*/ 2147483647 h 9"/>
                    <a:gd name="T30" fmla="*/ 2147483647 w 5"/>
                    <a:gd name="T31" fmla="*/ 2147483647 h 9"/>
                    <a:gd name="T32" fmla="*/ 2147483647 w 5"/>
                    <a:gd name="T33" fmla="*/ 2147483647 h 9"/>
                    <a:gd name="T34" fmla="*/ 2147483647 w 5"/>
                    <a:gd name="T35" fmla="*/ 2147483647 h 9"/>
                    <a:gd name="T36" fmla="*/ 2147483647 w 5"/>
                    <a:gd name="T37" fmla="*/ 2147483647 h 9"/>
                    <a:gd name="T38" fmla="*/ 2147483647 w 5"/>
                    <a:gd name="T39" fmla="*/ 2147483647 h 9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5"/>
                    <a:gd name="T61" fmla="*/ 0 h 9"/>
                    <a:gd name="T62" fmla="*/ 5 w 5"/>
                    <a:gd name="T63" fmla="*/ 9 h 9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5" h="9">
                      <a:moveTo>
                        <a:pt x="4" y="6"/>
                      </a:moveTo>
                      <a:lnTo>
                        <a:pt x="4" y="6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8"/>
                      </a:ln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5" y="7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4" name="Freeform 439">
                  <a:extLst>
                    <a:ext uri="{FF2B5EF4-FFF2-40B4-BE49-F238E27FC236}">
                      <a16:creationId xmlns:a16="http://schemas.microsoft.com/office/drawing/2014/main" id="{31044148-297C-9146-9F01-0083649D03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0489" y="5229549"/>
                  <a:ext cx="19239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2147483647 h 10"/>
                    <a:gd name="T6" fmla="*/ 2147483647 w 14"/>
                    <a:gd name="T7" fmla="*/ 2147483647 h 10"/>
                    <a:gd name="T8" fmla="*/ 2147483647 w 14"/>
                    <a:gd name="T9" fmla="*/ 2147483647 h 10"/>
                    <a:gd name="T10" fmla="*/ 2147483647 w 14"/>
                    <a:gd name="T11" fmla="*/ 2147483647 h 10"/>
                    <a:gd name="T12" fmla="*/ 2147483647 w 14"/>
                    <a:gd name="T13" fmla="*/ 2147483647 h 10"/>
                    <a:gd name="T14" fmla="*/ 2147483647 w 14"/>
                    <a:gd name="T15" fmla="*/ 2147483647 h 10"/>
                    <a:gd name="T16" fmla="*/ 2147483647 w 14"/>
                    <a:gd name="T17" fmla="*/ 2147483647 h 10"/>
                    <a:gd name="T18" fmla="*/ 2147483647 w 14"/>
                    <a:gd name="T19" fmla="*/ 2147483647 h 10"/>
                    <a:gd name="T20" fmla="*/ 2147483647 w 14"/>
                    <a:gd name="T21" fmla="*/ 2147483647 h 10"/>
                    <a:gd name="T22" fmla="*/ 0 w 14"/>
                    <a:gd name="T23" fmla="*/ 2147483647 h 10"/>
                    <a:gd name="T24" fmla="*/ 0 w 14"/>
                    <a:gd name="T25" fmla="*/ 2147483647 h 10"/>
                    <a:gd name="T26" fmla="*/ 2147483647 w 14"/>
                    <a:gd name="T27" fmla="*/ 0 h 10"/>
                    <a:gd name="T28" fmla="*/ 2147483647 w 14"/>
                    <a:gd name="T29" fmla="*/ 0 h 10"/>
                    <a:gd name="T30" fmla="*/ 2147483647 w 14"/>
                    <a:gd name="T31" fmla="*/ 0 h 10"/>
                    <a:gd name="T32" fmla="*/ 2147483647 w 14"/>
                    <a:gd name="T33" fmla="*/ 0 h 10"/>
                    <a:gd name="T34" fmla="*/ 2147483647 w 14"/>
                    <a:gd name="T35" fmla="*/ 2147483647 h 10"/>
                    <a:gd name="T36" fmla="*/ 2147483647 w 14"/>
                    <a:gd name="T37" fmla="*/ 2147483647 h 1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"/>
                    <a:gd name="T58" fmla="*/ 0 h 10"/>
                    <a:gd name="T59" fmla="*/ 14 w 14"/>
                    <a:gd name="T60" fmla="*/ 10 h 1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" h="10">
                      <a:moveTo>
                        <a:pt x="11" y="4"/>
                      </a:moveTo>
                      <a:lnTo>
                        <a:pt x="11" y="4"/>
                      </a:lnTo>
                      <a:lnTo>
                        <a:pt x="14" y="6"/>
                      </a:lnTo>
                      <a:lnTo>
                        <a:pt x="14" y="7"/>
                      </a:lnTo>
                      <a:lnTo>
                        <a:pt x="14" y="9"/>
                      </a:lnTo>
                      <a:lnTo>
                        <a:pt x="11" y="10"/>
                      </a:lnTo>
                      <a:lnTo>
                        <a:pt x="9" y="10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11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5" name="Freeform 440">
                  <a:extLst>
                    <a:ext uri="{FF2B5EF4-FFF2-40B4-BE49-F238E27FC236}">
                      <a16:creationId xmlns:a16="http://schemas.microsoft.com/office/drawing/2014/main" id="{7AF86CA7-BC05-9A48-97F6-87C9E31113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4886" y="5205874"/>
                  <a:ext cx="16279" cy="14799"/>
                </a:xfrm>
                <a:custGeom>
                  <a:avLst/>
                  <a:gdLst>
                    <a:gd name="T0" fmla="*/ 2147483647 w 12"/>
                    <a:gd name="T1" fmla="*/ 2147483647 h 10"/>
                    <a:gd name="T2" fmla="*/ 2147483647 w 12"/>
                    <a:gd name="T3" fmla="*/ 2147483647 h 10"/>
                    <a:gd name="T4" fmla="*/ 2147483647 w 12"/>
                    <a:gd name="T5" fmla="*/ 2147483647 h 10"/>
                    <a:gd name="T6" fmla="*/ 2147483647 w 12"/>
                    <a:gd name="T7" fmla="*/ 2147483647 h 10"/>
                    <a:gd name="T8" fmla="*/ 2147483647 w 12"/>
                    <a:gd name="T9" fmla="*/ 2147483647 h 10"/>
                    <a:gd name="T10" fmla="*/ 0 w 12"/>
                    <a:gd name="T11" fmla="*/ 2147483647 h 10"/>
                    <a:gd name="T12" fmla="*/ 2147483647 w 12"/>
                    <a:gd name="T13" fmla="*/ 2147483647 h 10"/>
                    <a:gd name="T14" fmla="*/ 2147483647 w 12"/>
                    <a:gd name="T15" fmla="*/ 2147483647 h 10"/>
                    <a:gd name="T16" fmla="*/ 2147483647 w 12"/>
                    <a:gd name="T17" fmla="*/ 0 h 10"/>
                    <a:gd name="T18" fmla="*/ 2147483647 w 12"/>
                    <a:gd name="T19" fmla="*/ 0 h 10"/>
                    <a:gd name="T20" fmla="*/ 2147483647 w 12"/>
                    <a:gd name="T21" fmla="*/ 0 h 10"/>
                    <a:gd name="T22" fmla="*/ 2147483647 w 12"/>
                    <a:gd name="T23" fmla="*/ 2147483647 h 10"/>
                    <a:gd name="T24" fmla="*/ 2147483647 w 12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"/>
                    <a:gd name="T40" fmla="*/ 0 h 10"/>
                    <a:gd name="T41" fmla="*/ 12 w 12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" h="10">
                      <a:moveTo>
                        <a:pt x="12" y="4"/>
                      </a:moveTo>
                      <a:lnTo>
                        <a:pt x="11" y="8"/>
                      </a:lnTo>
                      <a:lnTo>
                        <a:pt x="7" y="10"/>
                      </a:lnTo>
                      <a:lnTo>
                        <a:pt x="4" y="10"/>
                      </a:lnTo>
                      <a:lnTo>
                        <a:pt x="1" y="8"/>
                      </a:lnTo>
                      <a:lnTo>
                        <a:pt x="0" y="6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11" y="2"/>
                      </a:lnTo>
                      <a:lnTo>
                        <a:pt x="1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6" name="Freeform 441">
                  <a:extLst>
                    <a:ext uri="{FF2B5EF4-FFF2-40B4-BE49-F238E27FC236}">
                      <a16:creationId xmlns:a16="http://schemas.microsoft.com/office/drawing/2014/main" id="{0A0E9D44-B3CC-144D-8A4E-850355CF1C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3755" y="4973534"/>
                  <a:ext cx="174625" cy="402525"/>
                </a:xfrm>
                <a:custGeom>
                  <a:avLst/>
                  <a:gdLst>
                    <a:gd name="T0" fmla="*/ 2147483647 w 128"/>
                    <a:gd name="T1" fmla="*/ 2147483647 h 272"/>
                    <a:gd name="T2" fmla="*/ 2147483647 w 128"/>
                    <a:gd name="T3" fmla="*/ 2147483647 h 272"/>
                    <a:gd name="T4" fmla="*/ 2147483647 w 128"/>
                    <a:gd name="T5" fmla="*/ 2147483647 h 272"/>
                    <a:gd name="T6" fmla="*/ 2147483647 w 128"/>
                    <a:gd name="T7" fmla="*/ 2147483647 h 272"/>
                    <a:gd name="T8" fmla="*/ 2147483647 w 128"/>
                    <a:gd name="T9" fmla="*/ 2147483647 h 272"/>
                    <a:gd name="T10" fmla="*/ 2147483647 w 128"/>
                    <a:gd name="T11" fmla="*/ 2147483647 h 272"/>
                    <a:gd name="T12" fmla="*/ 2147483647 w 128"/>
                    <a:gd name="T13" fmla="*/ 2147483647 h 272"/>
                    <a:gd name="T14" fmla="*/ 2147483647 w 128"/>
                    <a:gd name="T15" fmla="*/ 2147483647 h 272"/>
                    <a:gd name="T16" fmla="*/ 2147483647 w 128"/>
                    <a:gd name="T17" fmla="*/ 0 h 272"/>
                    <a:gd name="T18" fmla="*/ 2147483647 w 128"/>
                    <a:gd name="T19" fmla="*/ 2147483647 h 272"/>
                    <a:gd name="T20" fmla="*/ 2147483647 w 128"/>
                    <a:gd name="T21" fmla="*/ 2147483647 h 272"/>
                    <a:gd name="T22" fmla="*/ 2147483647 w 128"/>
                    <a:gd name="T23" fmla="*/ 2147483647 h 272"/>
                    <a:gd name="T24" fmla="*/ 2147483647 w 128"/>
                    <a:gd name="T25" fmla="*/ 2147483647 h 272"/>
                    <a:gd name="T26" fmla="*/ 2147483647 w 128"/>
                    <a:gd name="T27" fmla="*/ 2147483647 h 272"/>
                    <a:gd name="T28" fmla="*/ 2147483647 w 128"/>
                    <a:gd name="T29" fmla="*/ 2147483647 h 272"/>
                    <a:gd name="T30" fmla="*/ 2147483647 w 128"/>
                    <a:gd name="T31" fmla="*/ 2147483647 h 272"/>
                    <a:gd name="T32" fmla="*/ 2147483647 w 128"/>
                    <a:gd name="T33" fmla="*/ 2147483647 h 272"/>
                    <a:gd name="T34" fmla="*/ 2147483647 w 128"/>
                    <a:gd name="T35" fmla="*/ 2147483647 h 272"/>
                    <a:gd name="T36" fmla="*/ 2147483647 w 128"/>
                    <a:gd name="T37" fmla="*/ 2147483647 h 272"/>
                    <a:gd name="T38" fmla="*/ 2147483647 w 128"/>
                    <a:gd name="T39" fmla="*/ 2147483647 h 272"/>
                    <a:gd name="T40" fmla="*/ 2147483647 w 128"/>
                    <a:gd name="T41" fmla="*/ 2147483647 h 272"/>
                    <a:gd name="T42" fmla="*/ 2147483647 w 128"/>
                    <a:gd name="T43" fmla="*/ 2147483647 h 272"/>
                    <a:gd name="T44" fmla="*/ 2147483647 w 128"/>
                    <a:gd name="T45" fmla="*/ 2147483647 h 272"/>
                    <a:gd name="T46" fmla="*/ 2147483647 w 128"/>
                    <a:gd name="T47" fmla="*/ 2147483647 h 272"/>
                    <a:gd name="T48" fmla="*/ 0 w 128"/>
                    <a:gd name="T49" fmla="*/ 2147483647 h 272"/>
                    <a:gd name="T50" fmla="*/ 2147483647 w 128"/>
                    <a:gd name="T51" fmla="*/ 2147483647 h 272"/>
                    <a:gd name="T52" fmla="*/ 2147483647 w 128"/>
                    <a:gd name="T53" fmla="*/ 2147483647 h 272"/>
                    <a:gd name="T54" fmla="*/ 2147483647 w 128"/>
                    <a:gd name="T55" fmla="*/ 2147483647 h 272"/>
                    <a:gd name="T56" fmla="*/ 2147483647 w 128"/>
                    <a:gd name="T57" fmla="*/ 2147483647 h 272"/>
                    <a:gd name="T58" fmla="*/ 2147483647 w 128"/>
                    <a:gd name="T59" fmla="*/ 2147483647 h 272"/>
                    <a:gd name="T60" fmla="*/ 2147483647 w 128"/>
                    <a:gd name="T61" fmla="*/ 2147483647 h 272"/>
                    <a:gd name="T62" fmla="*/ 2147483647 w 128"/>
                    <a:gd name="T63" fmla="*/ 2147483647 h 272"/>
                    <a:gd name="T64" fmla="*/ 2147483647 w 128"/>
                    <a:gd name="T65" fmla="*/ 2147483647 h 272"/>
                    <a:gd name="T66" fmla="*/ 2147483647 w 128"/>
                    <a:gd name="T67" fmla="*/ 2147483647 h 272"/>
                    <a:gd name="T68" fmla="*/ 2147483647 w 128"/>
                    <a:gd name="T69" fmla="*/ 2147483647 h 272"/>
                    <a:gd name="T70" fmla="*/ 2147483647 w 128"/>
                    <a:gd name="T71" fmla="*/ 2147483647 h 272"/>
                    <a:gd name="T72" fmla="*/ 2147483647 w 128"/>
                    <a:gd name="T73" fmla="*/ 2147483647 h 272"/>
                    <a:gd name="T74" fmla="*/ 2147483647 w 128"/>
                    <a:gd name="T75" fmla="*/ 2147483647 h 272"/>
                    <a:gd name="T76" fmla="*/ 2147483647 w 128"/>
                    <a:gd name="T77" fmla="*/ 2147483647 h 272"/>
                    <a:gd name="T78" fmla="*/ 2147483647 w 128"/>
                    <a:gd name="T79" fmla="*/ 2147483647 h 272"/>
                    <a:gd name="T80" fmla="*/ 2147483647 w 128"/>
                    <a:gd name="T81" fmla="*/ 2147483647 h 272"/>
                    <a:gd name="T82" fmla="*/ 2147483647 w 128"/>
                    <a:gd name="T83" fmla="*/ 2147483647 h 272"/>
                    <a:gd name="T84" fmla="*/ 2147483647 w 128"/>
                    <a:gd name="T85" fmla="*/ 2147483647 h 27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8"/>
                    <a:gd name="T130" fmla="*/ 0 h 272"/>
                    <a:gd name="T131" fmla="*/ 128 w 128"/>
                    <a:gd name="T132" fmla="*/ 272 h 27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8" h="272">
                      <a:moveTo>
                        <a:pt x="110" y="95"/>
                      </a:moveTo>
                      <a:lnTo>
                        <a:pt x="113" y="92"/>
                      </a:lnTo>
                      <a:lnTo>
                        <a:pt x="113" y="88"/>
                      </a:lnTo>
                      <a:lnTo>
                        <a:pt x="113" y="82"/>
                      </a:lnTo>
                      <a:lnTo>
                        <a:pt x="109" y="69"/>
                      </a:lnTo>
                      <a:lnTo>
                        <a:pt x="109" y="64"/>
                      </a:lnTo>
                      <a:lnTo>
                        <a:pt x="109" y="62"/>
                      </a:lnTo>
                      <a:lnTo>
                        <a:pt x="112" y="63"/>
                      </a:lnTo>
                      <a:lnTo>
                        <a:pt x="113" y="65"/>
                      </a:lnTo>
                      <a:lnTo>
                        <a:pt x="114" y="69"/>
                      </a:lnTo>
                      <a:lnTo>
                        <a:pt x="115" y="76"/>
                      </a:lnTo>
                      <a:lnTo>
                        <a:pt x="117" y="78"/>
                      </a:lnTo>
                      <a:lnTo>
                        <a:pt x="119" y="80"/>
                      </a:lnTo>
                      <a:lnTo>
                        <a:pt x="122" y="78"/>
                      </a:lnTo>
                      <a:lnTo>
                        <a:pt x="123" y="77"/>
                      </a:lnTo>
                      <a:lnTo>
                        <a:pt x="127" y="68"/>
                      </a:lnTo>
                      <a:lnTo>
                        <a:pt x="128" y="58"/>
                      </a:lnTo>
                      <a:lnTo>
                        <a:pt x="127" y="49"/>
                      </a:lnTo>
                      <a:lnTo>
                        <a:pt x="123" y="39"/>
                      </a:lnTo>
                      <a:lnTo>
                        <a:pt x="117" y="28"/>
                      </a:lnTo>
                      <a:lnTo>
                        <a:pt x="112" y="16"/>
                      </a:lnTo>
                      <a:lnTo>
                        <a:pt x="109" y="13"/>
                      </a:lnTo>
                      <a:lnTo>
                        <a:pt x="109" y="10"/>
                      </a:lnTo>
                      <a:lnTo>
                        <a:pt x="109" y="7"/>
                      </a:lnTo>
                      <a:lnTo>
                        <a:pt x="110" y="4"/>
                      </a:lnTo>
                      <a:lnTo>
                        <a:pt x="109" y="1"/>
                      </a:lnTo>
                      <a:lnTo>
                        <a:pt x="106" y="0"/>
                      </a:lnTo>
                      <a:lnTo>
                        <a:pt x="104" y="3"/>
                      </a:lnTo>
                      <a:lnTo>
                        <a:pt x="103" y="5"/>
                      </a:lnTo>
                      <a:lnTo>
                        <a:pt x="101" y="7"/>
                      </a:lnTo>
                      <a:lnTo>
                        <a:pt x="99" y="16"/>
                      </a:lnTo>
                      <a:lnTo>
                        <a:pt x="96" y="24"/>
                      </a:lnTo>
                      <a:lnTo>
                        <a:pt x="93" y="30"/>
                      </a:lnTo>
                      <a:lnTo>
                        <a:pt x="90" y="33"/>
                      </a:lnTo>
                      <a:lnTo>
                        <a:pt x="86" y="35"/>
                      </a:lnTo>
                      <a:lnTo>
                        <a:pt x="85" y="36"/>
                      </a:lnTo>
                      <a:lnTo>
                        <a:pt x="85" y="38"/>
                      </a:lnTo>
                      <a:lnTo>
                        <a:pt x="85" y="42"/>
                      </a:lnTo>
                      <a:lnTo>
                        <a:pt x="85" y="43"/>
                      </a:lnTo>
                      <a:lnTo>
                        <a:pt x="79" y="52"/>
                      </a:lnTo>
                      <a:lnTo>
                        <a:pt x="72" y="60"/>
                      </a:lnTo>
                      <a:lnTo>
                        <a:pt x="57" y="74"/>
                      </a:lnTo>
                      <a:lnTo>
                        <a:pt x="54" y="75"/>
                      </a:lnTo>
                      <a:lnTo>
                        <a:pt x="51" y="75"/>
                      </a:lnTo>
                      <a:lnTo>
                        <a:pt x="47" y="75"/>
                      </a:lnTo>
                      <a:lnTo>
                        <a:pt x="42" y="75"/>
                      </a:lnTo>
                      <a:lnTo>
                        <a:pt x="37" y="78"/>
                      </a:lnTo>
                      <a:lnTo>
                        <a:pt x="26" y="81"/>
                      </a:lnTo>
                      <a:lnTo>
                        <a:pt x="23" y="83"/>
                      </a:lnTo>
                      <a:lnTo>
                        <a:pt x="20" y="87"/>
                      </a:lnTo>
                      <a:lnTo>
                        <a:pt x="16" y="95"/>
                      </a:lnTo>
                      <a:lnTo>
                        <a:pt x="11" y="102"/>
                      </a:lnTo>
                      <a:lnTo>
                        <a:pt x="10" y="105"/>
                      </a:lnTo>
                      <a:lnTo>
                        <a:pt x="10" y="106"/>
                      </a:lnTo>
                      <a:lnTo>
                        <a:pt x="13" y="111"/>
                      </a:lnTo>
                      <a:lnTo>
                        <a:pt x="14" y="114"/>
                      </a:lnTo>
                      <a:lnTo>
                        <a:pt x="15" y="116"/>
                      </a:lnTo>
                      <a:lnTo>
                        <a:pt x="14" y="118"/>
                      </a:lnTo>
                      <a:lnTo>
                        <a:pt x="14" y="122"/>
                      </a:lnTo>
                      <a:lnTo>
                        <a:pt x="14" y="126"/>
                      </a:lnTo>
                      <a:lnTo>
                        <a:pt x="15" y="133"/>
                      </a:lnTo>
                      <a:lnTo>
                        <a:pt x="19" y="140"/>
                      </a:lnTo>
                      <a:lnTo>
                        <a:pt x="23" y="147"/>
                      </a:lnTo>
                      <a:lnTo>
                        <a:pt x="24" y="151"/>
                      </a:lnTo>
                      <a:lnTo>
                        <a:pt x="24" y="154"/>
                      </a:lnTo>
                      <a:lnTo>
                        <a:pt x="24" y="158"/>
                      </a:lnTo>
                      <a:lnTo>
                        <a:pt x="21" y="161"/>
                      </a:lnTo>
                      <a:lnTo>
                        <a:pt x="15" y="169"/>
                      </a:lnTo>
                      <a:lnTo>
                        <a:pt x="10" y="176"/>
                      </a:lnTo>
                      <a:lnTo>
                        <a:pt x="10" y="178"/>
                      </a:lnTo>
                      <a:lnTo>
                        <a:pt x="9" y="182"/>
                      </a:lnTo>
                      <a:lnTo>
                        <a:pt x="4" y="189"/>
                      </a:lnTo>
                      <a:lnTo>
                        <a:pt x="1" y="192"/>
                      </a:lnTo>
                      <a:lnTo>
                        <a:pt x="0" y="198"/>
                      </a:lnTo>
                      <a:lnTo>
                        <a:pt x="0" y="201"/>
                      </a:lnTo>
                      <a:lnTo>
                        <a:pt x="0" y="203"/>
                      </a:lnTo>
                      <a:lnTo>
                        <a:pt x="6" y="216"/>
                      </a:lnTo>
                      <a:lnTo>
                        <a:pt x="7" y="218"/>
                      </a:lnTo>
                      <a:lnTo>
                        <a:pt x="6" y="221"/>
                      </a:lnTo>
                      <a:lnTo>
                        <a:pt x="5" y="223"/>
                      </a:lnTo>
                      <a:lnTo>
                        <a:pt x="5" y="226"/>
                      </a:lnTo>
                      <a:lnTo>
                        <a:pt x="4" y="231"/>
                      </a:lnTo>
                      <a:lnTo>
                        <a:pt x="5" y="241"/>
                      </a:lnTo>
                      <a:lnTo>
                        <a:pt x="6" y="247"/>
                      </a:lnTo>
                      <a:lnTo>
                        <a:pt x="10" y="252"/>
                      </a:lnTo>
                      <a:lnTo>
                        <a:pt x="14" y="256"/>
                      </a:lnTo>
                      <a:lnTo>
                        <a:pt x="19" y="260"/>
                      </a:lnTo>
                      <a:lnTo>
                        <a:pt x="24" y="263"/>
                      </a:lnTo>
                      <a:lnTo>
                        <a:pt x="28" y="268"/>
                      </a:lnTo>
                      <a:lnTo>
                        <a:pt x="30" y="271"/>
                      </a:lnTo>
                      <a:lnTo>
                        <a:pt x="34" y="272"/>
                      </a:lnTo>
                      <a:lnTo>
                        <a:pt x="37" y="272"/>
                      </a:lnTo>
                      <a:lnTo>
                        <a:pt x="40" y="271"/>
                      </a:lnTo>
                      <a:lnTo>
                        <a:pt x="47" y="267"/>
                      </a:lnTo>
                      <a:lnTo>
                        <a:pt x="52" y="262"/>
                      </a:lnTo>
                      <a:lnTo>
                        <a:pt x="54" y="261"/>
                      </a:lnTo>
                      <a:lnTo>
                        <a:pt x="56" y="261"/>
                      </a:lnTo>
                      <a:lnTo>
                        <a:pt x="58" y="262"/>
                      </a:lnTo>
                      <a:lnTo>
                        <a:pt x="61" y="261"/>
                      </a:lnTo>
                      <a:lnTo>
                        <a:pt x="68" y="256"/>
                      </a:lnTo>
                      <a:lnTo>
                        <a:pt x="72" y="254"/>
                      </a:lnTo>
                      <a:lnTo>
                        <a:pt x="75" y="250"/>
                      </a:lnTo>
                      <a:lnTo>
                        <a:pt x="75" y="247"/>
                      </a:lnTo>
                      <a:lnTo>
                        <a:pt x="73" y="243"/>
                      </a:lnTo>
                      <a:lnTo>
                        <a:pt x="73" y="241"/>
                      </a:lnTo>
                      <a:lnTo>
                        <a:pt x="73" y="239"/>
                      </a:lnTo>
                      <a:lnTo>
                        <a:pt x="77" y="235"/>
                      </a:lnTo>
                      <a:lnTo>
                        <a:pt x="80" y="231"/>
                      </a:lnTo>
                      <a:lnTo>
                        <a:pt x="82" y="223"/>
                      </a:lnTo>
                      <a:lnTo>
                        <a:pt x="85" y="207"/>
                      </a:lnTo>
                      <a:lnTo>
                        <a:pt x="87" y="202"/>
                      </a:lnTo>
                      <a:lnTo>
                        <a:pt x="86" y="198"/>
                      </a:lnTo>
                      <a:lnTo>
                        <a:pt x="86" y="197"/>
                      </a:lnTo>
                      <a:lnTo>
                        <a:pt x="90" y="192"/>
                      </a:lnTo>
                      <a:lnTo>
                        <a:pt x="93" y="189"/>
                      </a:lnTo>
                      <a:lnTo>
                        <a:pt x="93" y="184"/>
                      </a:lnTo>
                      <a:lnTo>
                        <a:pt x="93" y="178"/>
                      </a:lnTo>
                      <a:lnTo>
                        <a:pt x="93" y="169"/>
                      </a:lnTo>
                      <a:lnTo>
                        <a:pt x="93" y="163"/>
                      </a:lnTo>
                      <a:lnTo>
                        <a:pt x="94" y="159"/>
                      </a:lnTo>
                      <a:lnTo>
                        <a:pt x="99" y="151"/>
                      </a:lnTo>
                      <a:lnTo>
                        <a:pt x="101" y="143"/>
                      </a:lnTo>
                      <a:lnTo>
                        <a:pt x="105" y="132"/>
                      </a:lnTo>
                      <a:lnTo>
                        <a:pt x="106" y="121"/>
                      </a:lnTo>
                      <a:lnTo>
                        <a:pt x="106" y="113"/>
                      </a:lnTo>
                      <a:lnTo>
                        <a:pt x="106" y="108"/>
                      </a:lnTo>
                      <a:lnTo>
                        <a:pt x="108" y="105"/>
                      </a:lnTo>
                      <a:lnTo>
                        <a:pt x="109" y="100"/>
                      </a:lnTo>
                      <a:lnTo>
                        <a:pt x="110" y="97"/>
                      </a:lnTo>
                      <a:lnTo>
                        <a:pt x="112" y="96"/>
                      </a:lnTo>
                      <a:lnTo>
                        <a:pt x="110" y="9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7" name="Freeform 442">
                  <a:extLst>
                    <a:ext uri="{FF2B5EF4-FFF2-40B4-BE49-F238E27FC236}">
                      <a16:creationId xmlns:a16="http://schemas.microsoft.com/office/drawing/2014/main" id="{9ED3751E-E2B4-5049-8913-6C707F7406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1924" y="5204392"/>
                  <a:ext cx="17758" cy="14799"/>
                </a:xfrm>
                <a:custGeom>
                  <a:avLst/>
                  <a:gdLst>
                    <a:gd name="T0" fmla="*/ 2147483647 w 13"/>
                    <a:gd name="T1" fmla="*/ 2147483647 h 10"/>
                    <a:gd name="T2" fmla="*/ 2147483647 w 13"/>
                    <a:gd name="T3" fmla="*/ 2147483647 h 10"/>
                    <a:gd name="T4" fmla="*/ 2147483647 w 13"/>
                    <a:gd name="T5" fmla="*/ 2147483647 h 10"/>
                    <a:gd name="T6" fmla="*/ 2147483647 w 13"/>
                    <a:gd name="T7" fmla="*/ 2147483647 h 10"/>
                    <a:gd name="T8" fmla="*/ 2147483647 w 13"/>
                    <a:gd name="T9" fmla="*/ 2147483647 h 10"/>
                    <a:gd name="T10" fmla="*/ 2147483647 w 13"/>
                    <a:gd name="T11" fmla="*/ 2147483647 h 10"/>
                    <a:gd name="T12" fmla="*/ 2147483647 w 13"/>
                    <a:gd name="T13" fmla="*/ 2147483647 h 10"/>
                    <a:gd name="T14" fmla="*/ 0 w 13"/>
                    <a:gd name="T15" fmla="*/ 2147483647 h 10"/>
                    <a:gd name="T16" fmla="*/ 2147483647 w 13"/>
                    <a:gd name="T17" fmla="*/ 2147483647 h 10"/>
                    <a:gd name="T18" fmla="*/ 2147483647 w 13"/>
                    <a:gd name="T19" fmla="*/ 2147483647 h 10"/>
                    <a:gd name="T20" fmla="*/ 2147483647 w 13"/>
                    <a:gd name="T21" fmla="*/ 2147483647 h 10"/>
                    <a:gd name="T22" fmla="*/ 2147483647 w 13"/>
                    <a:gd name="T23" fmla="*/ 0 h 10"/>
                    <a:gd name="T24" fmla="*/ 2147483647 w 13"/>
                    <a:gd name="T25" fmla="*/ 0 h 10"/>
                    <a:gd name="T26" fmla="*/ 2147483647 w 13"/>
                    <a:gd name="T27" fmla="*/ 0 h 10"/>
                    <a:gd name="T28" fmla="*/ 2147483647 w 13"/>
                    <a:gd name="T29" fmla="*/ 0 h 10"/>
                    <a:gd name="T30" fmla="*/ 2147483647 w 13"/>
                    <a:gd name="T31" fmla="*/ 2147483647 h 10"/>
                    <a:gd name="T32" fmla="*/ 2147483647 w 13"/>
                    <a:gd name="T33" fmla="*/ 2147483647 h 10"/>
                    <a:gd name="T34" fmla="*/ 2147483647 w 13"/>
                    <a:gd name="T35" fmla="*/ 2147483647 h 1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10"/>
                    <a:gd name="T56" fmla="*/ 13 w 13"/>
                    <a:gd name="T57" fmla="*/ 10 h 1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10">
                      <a:moveTo>
                        <a:pt x="13" y="4"/>
                      </a:moveTo>
                      <a:lnTo>
                        <a:pt x="13" y="4"/>
                      </a:lnTo>
                      <a:lnTo>
                        <a:pt x="12" y="8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8"/>
                      </a:lnTo>
                      <a:lnTo>
                        <a:pt x="0" y="5"/>
                      </a:ln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11" y="0"/>
                      </a:lnTo>
                      <a:lnTo>
                        <a:pt x="12" y="2"/>
                      </a:lnTo>
                      <a:lnTo>
                        <a:pt x="13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8" name="Freeform 444">
                  <a:extLst>
                    <a:ext uri="{FF2B5EF4-FFF2-40B4-BE49-F238E27FC236}">
                      <a16:creationId xmlns:a16="http://schemas.microsoft.com/office/drawing/2014/main" id="{8E9BB0D6-3E46-694B-8CF0-45C54A530A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4905" y="5472248"/>
                  <a:ext cx="50316" cy="50315"/>
                </a:xfrm>
                <a:custGeom>
                  <a:avLst/>
                  <a:gdLst>
                    <a:gd name="T0" fmla="*/ 2147483647 w 36"/>
                    <a:gd name="T1" fmla="*/ 2147483647 h 34"/>
                    <a:gd name="T2" fmla="*/ 2147483647 w 36"/>
                    <a:gd name="T3" fmla="*/ 2147483647 h 34"/>
                    <a:gd name="T4" fmla="*/ 2147483647 w 36"/>
                    <a:gd name="T5" fmla="*/ 2147483647 h 34"/>
                    <a:gd name="T6" fmla="*/ 2147483647 w 36"/>
                    <a:gd name="T7" fmla="*/ 2147483647 h 34"/>
                    <a:gd name="T8" fmla="*/ 2147483647 w 36"/>
                    <a:gd name="T9" fmla="*/ 2147483647 h 34"/>
                    <a:gd name="T10" fmla="*/ 2147483647 w 36"/>
                    <a:gd name="T11" fmla="*/ 2147483647 h 34"/>
                    <a:gd name="T12" fmla="*/ 2147483647 w 36"/>
                    <a:gd name="T13" fmla="*/ 2147483647 h 34"/>
                    <a:gd name="T14" fmla="*/ 2147483647 w 36"/>
                    <a:gd name="T15" fmla="*/ 0 h 34"/>
                    <a:gd name="T16" fmla="*/ 2147483647 w 36"/>
                    <a:gd name="T17" fmla="*/ 2147483647 h 34"/>
                    <a:gd name="T18" fmla="*/ 2147483647 w 36"/>
                    <a:gd name="T19" fmla="*/ 2147483647 h 34"/>
                    <a:gd name="T20" fmla="*/ 2147483647 w 36"/>
                    <a:gd name="T21" fmla="*/ 2147483647 h 34"/>
                    <a:gd name="T22" fmla="*/ 2147483647 w 36"/>
                    <a:gd name="T23" fmla="*/ 2147483647 h 34"/>
                    <a:gd name="T24" fmla="*/ 0 w 36"/>
                    <a:gd name="T25" fmla="*/ 2147483647 h 34"/>
                    <a:gd name="T26" fmla="*/ 0 w 36"/>
                    <a:gd name="T27" fmla="*/ 2147483647 h 34"/>
                    <a:gd name="T28" fmla="*/ 0 w 36"/>
                    <a:gd name="T29" fmla="*/ 2147483647 h 34"/>
                    <a:gd name="T30" fmla="*/ 2147483647 w 36"/>
                    <a:gd name="T31" fmla="*/ 2147483647 h 34"/>
                    <a:gd name="T32" fmla="*/ 2147483647 w 36"/>
                    <a:gd name="T33" fmla="*/ 2147483647 h 34"/>
                    <a:gd name="T34" fmla="*/ 2147483647 w 36"/>
                    <a:gd name="T35" fmla="*/ 2147483647 h 34"/>
                    <a:gd name="T36" fmla="*/ 2147483647 w 36"/>
                    <a:gd name="T37" fmla="*/ 2147483647 h 34"/>
                    <a:gd name="T38" fmla="*/ 2147483647 w 36"/>
                    <a:gd name="T39" fmla="*/ 2147483647 h 34"/>
                    <a:gd name="T40" fmla="*/ 2147483647 w 36"/>
                    <a:gd name="T41" fmla="*/ 2147483647 h 34"/>
                    <a:gd name="T42" fmla="*/ 2147483647 w 36"/>
                    <a:gd name="T43" fmla="*/ 2147483647 h 34"/>
                    <a:gd name="T44" fmla="*/ 2147483647 w 36"/>
                    <a:gd name="T45" fmla="*/ 2147483647 h 34"/>
                    <a:gd name="T46" fmla="*/ 2147483647 w 36"/>
                    <a:gd name="T47" fmla="*/ 2147483647 h 34"/>
                    <a:gd name="T48" fmla="*/ 2147483647 w 36"/>
                    <a:gd name="T49" fmla="*/ 2147483647 h 34"/>
                    <a:gd name="T50" fmla="*/ 2147483647 w 36"/>
                    <a:gd name="T51" fmla="*/ 2147483647 h 34"/>
                    <a:gd name="T52" fmla="*/ 2147483647 w 36"/>
                    <a:gd name="T53" fmla="*/ 2147483647 h 3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36"/>
                    <a:gd name="T82" fmla="*/ 0 h 34"/>
                    <a:gd name="T83" fmla="*/ 36 w 36"/>
                    <a:gd name="T84" fmla="*/ 34 h 3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36" h="34">
                      <a:moveTo>
                        <a:pt x="30" y="14"/>
                      </a:moveTo>
                      <a:lnTo>
                        <a:pt x="33" y="13"/>
                      </a:lnTo>
                      <a:lnTo>
                        <a:pt x="36" y="11"/>
                      </a:lnTo>
                      <a:lnTo>
                        <a:pt x="36" y="9"/>
                      </a:lnTo>
                      <a:lnTo>
                        <a:pt x="36" y="8"/>
                      </a:lnTo>
                      <a:lnTo>
                        <a:pt x="33" y="6"/>
                      </a:lnTo>
                      <a:lnTo>
                        <a:pt x="27" y="1"/>
                      </a:lnTo>
                      <a:lnTo>
                        <a:pt x="24" y="0"/>
                      </a:lnTo>
                      <a:lnTo>
                        <a:pt x="20" y="1"/>
                      </a:lnTo>
                      <a:lnTo>
                        <a:pt x="15" y="6"/>
                      </a:lnTo>
                      <a:lnTo>
                        <a:pt x="9" y="8"/>
                      </a:lnTo>
                      <a:lnTo>
                        <a:pt x="4" y="12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1" y="28"/>
                      </a:lnTo>
                      <a:lnTo>
                        <a:pt x="4" y="31"/>
                      </a:lnTo>
                      <a:lnTo>
                        <a:pt x="5" y="33"/>
                      </a:lnTo>
                      <a:lnTo>
                        <a:pt x="8" y="34"/>
                      </a:lnTo>
                      <a:lnTo>
                        <a:pt x="11" y="34"/>
                      </a:lnTo>
                      <a:lnTo>
                        <a:pt x="15" y="32"/>
                      </a:lnTo>
                      <a:lnTo>
                        <a:pt x="18" y="30"/>
                      </a:lnTo>
                      <a:lnTo>
                        <a:pt x="24" y="25"/>
                      </a:lnTo>
                      <a:lnTo>
                        <a:pt x="25" y="22"/>
                      </a:lnTo>
                      <a:lnTo>
                        <a:pt x="27" y="20"/>
                      </a:lnTo>
                      <a:lnTo>
                        <a:pt x="28" y="17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9" name="Freeform 445">
                  <a:extLst>
                    <a:ext uri="{FF2B5EF4-FFF2-40B4-BE49-F238E27FC236}">
                      <a16:creationId xmlns:a16="http://schemas.microsoft.com/office/drawing/2014/main" id="{A7C1DB91-6A7B-1846-9BD3-54F1BE97E7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5851" y="4902501"/>
                  <a:ext cx="47356" cy="143547"/>
                </a:xfrm>
                <a:custGeom>
                  <a:avLst/>
                  <a:gdLst>
                    <a:gd name="T0" fmla="*/ 2147483647 w 35"/>
                    <a:gd name="T1" fmla="*/ 0 h 97"/>
                    <a:gd name="T2" fmla="*/ 0 w 35"/>
                    <a:gd name="T3" fmla="*/ 2147483647 h 97"/>
                    <a:gd name="T4" fmla="*/ 0 w 35"/>
                    <a:gd name="T5" fmla="*/ 2147483647 h 97"/>
                    <a:gd name="T6" fmla="*/ 0 w 35"/>
                    <a:gd name="T7" fmla="*/ 2147483647 h 97"/>
                    <a:gd name="T8" fmla="*/ 2147483647 w 35"/>
                    <a:gd name="T9" fmla="*/ 2147483647 h 97"/>
                    <a:gd name="T10" fmla="*/ 2147483647 w 35"/>
                    <a:gd name="T11" fmla="*/ 2147483647 h 97"/>
                    <a:gd name="T12" fmla="*/ 2147483647 w 35"/>
                    <a:gd name="T13" fmla="*/ 2147483647 h 97"/>
                    <a:gd name="T14" fmla="*/ 2147483647 w 35"/>
                    <a:gd name="T15" fmla="*/ 2147483647 h 97"/>
                    <a:gd name="T16" fmla="*/ 2147483647 w 35"/>
                    <a:gd name="T17" fmla="*/ 2147483647 h 97"/>
                    <a:gd name="T18" fmla="*/ 2147483647 w 35"/>
                    <a:gd name="T19" fmla="*/ 2147483647 h 97"/>
                    <a:gd name="T20" fmla="*/ 2147483647 w 35"/>
                    <a:gd name="T21" fmla="*/ 2147483647 h 97"/>
                    <a:gd name="T22" fmla="*/ 2147483647 w 35"/>
                    <a:gd name="T23" fmla="*/ 2147483647 h 97"/>
                    <a:gd name="T24" fmla="*/ 2147483647 w 35"/>
                    <a:gd name="T25" fmla="*/ 2147483647 h 97"/>
                    <a:gd name="T26" fmla="*/ 2147483647 w 35"/>
                    <a:gd name="T27" fmla="*/ 2147483647 h 97"/>
                    <a:gd name="T28" fmla="*/ 2147483647 w 35"/>
                    <a:gd name="T29" fmla="*/ 2147483647 h 97"/>
                    <a:gd name="T30" fmla="*/ 2147483647 w 35"/>
                    <a:gd name="T31" fmla="*/ 2147483647 h 97"/>
                    <a:gd name="T32" fmla="*/ 2147483647 w 35"/>
                    <a:gd name="T33" fmla="*/ 2147483647 h 97"/>
                    <a:gd name="T34" fmla="*/ 2147483647 w 35"/>
                    <a:gd name="T35" fmla="*/ 2147483647 h 97"/>
                    <a:gd name="T36" fmla="*/ 2147483647 w 35"/>
                    <a:gd name="T37" fmla="*/ 2147483647 h 97"/>
                    <a:gd name="T38" fmla="*/ 2147483647 w 35"/>
                    <a:gd name="T39" fmla="*/ 2147483647 h 97"/>
                    <a:gd name="T40" fmla="*/ 2147483647 w 35"/>
                    <a:gd name="T41" fmla="*/ 2147483647 h 97"/>
                    <a:gd name="T42" fmla="*/ 2147483647 w 35"/>
                    <a:gd name="T43" fmla="*/ 2147483647 h 97"/>
                    <a:gd name="T44" fmla="*/ 2147483647 w 35"/>
                    <a:gd name="T45" fmla="*/ 2147483647 h 97"/>
                    <a:gd name="T46" fmla="*/ 2147483647 w 35"/>
                    <a:gd name="T47" fmla="*/ 2147483647 h 97"/>
                    <a:gd name="T48" fmla="*/ 2147483647 w 35"/>
                    <a:gd name="T49" fmla="*/ 2147483647 h 97"/>
                    <a:gd name="T50" fmla="*/ 2147483647 w 35"/>
                    <a:gd name="T51" fmla="*/ 2147483647 h 97"/>
                    <a:gd name="T52" fmla="*/ 2147483647 w 35"/>
                    <a:gd name="T53" fmla="*/ 2147483647 h 97"/>
                    <a:gd name="T54" fmla="*/ 2147483647 w 35"/>
                    <a:gd name="T55" fmla="*/ 2147483647 h 97"/>
                    <a:gd name="T56" fmla="*/ 2147483647 w 35"/>
                    <a:gd name="T57" fmla="*/ 2147483647 h 97"/>
                    <a:gd name="T58" fmla="*/ 2147483647 w 35"/>
                    <a:gd name="T59" fmla="*/ 2147483647 h 97"/>
                    <a:gd name="T60" fmla="*/ 2147483647 w 35"/>
                    <a:gd name="T61" fmla="*/ 2147483647 h 97"/>
                    <a:gd name="T62" fmla="*/ 2147483647 w 35"/>
                    <a:gd name="T63" fmla="*/ 2147483647 h 97"/>
                    <a:gd name="T64" fmla="*/ 2147483647 w 35"/>
                    <a:gd name="T65" fmla="*/ 0 h 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5"/>
                    <a:gd name="T100" fmla="*/ 0 h 97"/>
                    <a:gd name="T101" fmla="*/ 35 w 35"/>
                    <a:gd name="T102" fmla="*/ 97 h 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5" h="97">
                      <a:moveTo>
                        <a:pt x="3" y="0"/>
                      </a:move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4" y="13"/>
                      </a:lnTo>
                      <a:lnTo>
                        <a:pt x="7" y="17"/>
                      </a:lnTo>
                      <a:lnTo>
                        <a:pt x="9" y="22"/>
                      </a:lnTo>
                      <a:lnTo>
                        <a:pt x="11" y="27"/>
                      </a:lnTo>
                      <a:lnTo>
                        <a:pt x="11" y="33"/>
                      </a:lnTo>
                      <a:lnTo>
                        <a:pt x="9" y="38"/>
                      </a:lnTo>
                      <a:lnTo>
                        <a:pt x="8" y="42"/>
                      </a:lnTo>
                      <a:lnTo>
                        <a:pt x="6" y="47"/>
                      </a:lnTo>
                      <a:lnTo>
                        <a:pt x="4" y="49"/>
                      </a:lnTo>
                      <a:lnTo>
                        <a:pt x="4" y="52"/>
                      </a:lnTo>
                      <a:lnTo>
                        <a:pt x="7" y="57"/>
                      </a:lnTo>
                      <a:lnTo>
                        <a:pt x="11" y="65"/>
                      </a:lnTo>
                      <a:lnTo>
                        <a:pt x="13" y="73"/>
                      </a:lnTo>
                      <a:lnTo>
                        <a:pt x="16" y="83"/>
                      </a:lnTo>
                      <a:lnTo>
                        <a:pt x="18" y="91"/>
                      </a:lnTo>
                      <a:lnTo>
                        <a:pt x="20" y="93"/>
                      </a:lnTo>
                      <a:lnTo>
                        <a:pt x="22" y="96"/>
                      </a:lnTo>
                      <a:lnTo>
                        <a:pt x="25" y="97"/>
                      </a:lnTo>
                      <a:lnTo>
                        <a:pt x="28" y="97"/>
                      </a:lnTo>
                      <a:lnTo>
                        <a:pt x="31" y="94"/>
                      </a:lnTo>
                      <a:lnTo>
                        <a:pt x="33" y="92"/>
                      </a:lnTo>
                      <a:lnTo>
                        <a:pt x="35" y="89"/>
                      </a:lnTo>
                      <a:lnTo>
                        <a:pt x="35" y="86"/>
                      </a:lnTo>
                      <a:lnTo>
                        <a:pt x="33" y="83"/>
                      </a:lnTo>
                      <a:lnTo>
                        <a:pt x="30" y="81"/>
                      </a:lnTo>
                      <a:lnTo>
                        <a:pt x="27" y="79"/>
                      </a:lnTo>
                      <a:lnTo>
                        <a:pt x="26" y="76"/>
                      </a:lnTo>
                      <a:lnTo>
                        <a:pt x="25" y="7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0" name="Freeform 446">
                  <a:extLst>
                    <a:ext uri="{FF2B5EF4-FFF2-40B4-BE49-F238E27FC236}">
                      <a16:creationId xmlns:a16="http://schemas.microsoft.com/office/drawing/2014/main" id="{6504BFB0-0679-DB4F-9AEA-772D4F3B33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8050" y="4960215"/>
                  <a:ext cx="11839" cy="50315"/>
                </a:xfrm>
                <a:custGeom>
                  <a:avLst/>
                  <a:gdLst>
                    <a:gd name="T0" fmla="*/ 2147483647 w 9"/>
                    <a:gd name="T1" fmla="*/ 2147483647 h 34"/>
                    <a:gd name="T2" fmla="*/ 2147483647 w 9"/>
                    <a:gd name="T3" fmla="*/ 2147483647 h 34"/>
                    <a:gd name="T4" fmla="*/ 2147483647 w 9"/>
                    <a:gd name="T5" fmla="*/ 2147483647 h 34"/>
                    <a:gd name="T6" fmla="*/ 0 w 9"/>
                    <a:gd name="T7" fmla="*/ 2147483647 h 34"/>
                    <a:gd name="T8" fmla="*/ 2147483647 w 9"/>
                    <a:gd name="T9" fmla="*/ 2147483647 h 34"/>
                    <a:gd name="T10" fmla="*/ 2147483647 w 9"/>
                    <a:gd name="T11" fmla="*/ 2147483647 h 34"/>
                    <a:gd name="T12" fmla="*/ 2147483647 w 9"/>
                    <a:gd name="T13" fmla="*/ 2147483647 h 34"/>
                    <a:gd name="T14" fmla="*/ 2147483647 w 9"/>
                    <a:gd name="T15" fmla="*/ 2147483647 h 34"/>
                    <a:gd name="T16" fmla="*/ 2147483647 w 9"/>
                    <a:gd name="T17" fmla="*/ 0 h 34"/>
                    <a:gd name="T18" fmla="*/ 2147483647 w 9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"/>
                    <a:gd name="T31" fmla="*/ 0 h 34"/>
                    <a:gd name="T32" fmla="*/ 9 w 9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" h="34">
                      <a:moveTo>
                        <a:pt x="9" y="34"/>
                      </a:moveTo>
                      <a:lnTo>
                        <a:pt x="6" y="27"/>
                      </a:lnTo>
                      <a:lnTo>
                        <a:pt x="1" y="20"/>
                      </a:lnTo>
                      <a:lnTo>
                        <a:pt x="0" y="18"/>
                      </a:lnTo>
                      <a:lnTo>
                        <a:pt x="1" y="15"/>
                      </a:lnTo>
                      <a:lnTo>
                        <a:pt x="4" y="10"/>
                      </a:lnTo>
                      <a:lnTo>
                        <a:pt x="5" y="7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9" y="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1" name="Freeform 447">
                  <a:extLst>
                    <a:ext uri="{FF2B5EF4-FFF2-40B4-BE49-F238E27FC236}">
                      <a16:creationId xmlns:a16="http://schemas.microsoft.com/office/drawing/2014/main" id="{3EF8606A-3E5F-0A44-A939-A6BA6422F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3424" y="5470771"/>
                  <a:ext cx="48836" cy="50315"/>
                </a:xfrm>
                <a:custGeom>
                  <a:avLst/>
                  <a:gdLst>
                    <a:gd name="T0" fmla="*/ 2147483647 w 35"/>
                    <a:gd name="T1" fmla="*/ 2147483647 h 34"/>
                    <a:gd name="T2" fmla="*/ 2147483647 w 35"/>
                    <a:gd name="T3" fmla="*/ 2147483647 h 34"/>
                    <a:gd name="T4" fmla="*/ 2147483647 w 35"/>
                    <a:gd name="T5" fmla="*/ 2147483647 h 34"/>
                    <a:gd name="T6" fmla="*/ 2147483647 w 35"/>
                    <a:gd name="T7" fmla="*/ 2147483647 h 34"/>
                    <a:gd name="T8" fmla="*/ 2147483647 w 35"/>
                    <a:gd name="T9" fmla="*/ 2147483647 h 34"/>
                    <a:gd name="T10" fmla="*/ 2147483647 w 35"/>
                    <a:gd name="T11" fmla="*/ 2147483647 h 34"/>
                    <a:gd name="T12" fmla="*/ 2147483647 w 35"/>
                    <a:gd name="T13" fmla="*/ 2147483647 h 34"/>
                    <a:gd name="T14" fmla="*/ 2147483647 w 35"/>
                    <a:gd name="T15" fmla="*/ 2147483647 h 34"/>
                    <a:gd name="T16" fmla="*/ 2147483647 w 35"/>
                    <a:gd name="T17" fmla="*/ 2147483647 h 34"/>
                    <a:gd name="T18" fmla="*/ 2147483647 w 35"/>
                    <a:gd name="T19" fmla="*/ 2147483647 h 34"/>
                    <a:gd name="T20" fmla="*/ 2147483647 w 35"/>
                    <a:gd name="T21" fmla="*/ 0 h 34"/>
                    <a:gd name="T22" fmla="*/ 2147483647 w 35"/>
                    <a:gd name="T23" fmla="*/ 2147483647 h 34"/>
                    <a:gd name="T24" fmla="*/ 2147483647 w 35"/>
                    <a:gd name="T25" fmla="*/ 2147483647 h 34"/>
                    <a:gd name="T26" fmla="*/ 2147483647 w 35"/>
                    <a:gd name="T27" fmla="*/ 2147483647 h 34"/>
                    <a:gd name="T28" fmla="*/ 2147483647 w 35"/>
                    <a:gd name="T29" fmla="*/ 2147483647 h 34"/>
                    <a:gd name="T30" fmla="*/ 2147483647 w 35"/>
                    <a:gd name="T31" fmla="*/ 2147483647 h 34"/>
                    <a:gd name="T32" fmla="*/ 0 w 35"/>
                    <a:gd name="T33" fmla="*/ 2147483647 h 34"/>
                    <a:gd name="T34" fmla="*/ 0 w 35"/>
                    <a:gd name="T35" fmla="*/ 2147483647 h 34"/>
                    <a:gd name="T36" fmla="*/ 0 w 35"/>
                    <a:gd name="T37" fmla="*/ 2147483647 h 34"/>
                    <a:gd name="T38" fmla="*/ 0 w 35"/>
                    <a:gd name="T39" fmla="*/ 2147483647 h 34"/>
                    <a:gd name="T40" fmla="*/ 2147483647 w 35"/>
                    <a:gd name="T41" fmla="*/ 2147483647 h 34"/>
                    <a:gd name="T42" fmla="*/ 2147483647 w 35"/>
                    <a:gd name="T43" fmla="*/ 2147483647 h 34"/>
                    <a:gd name="T44" fmla="*/ 2147483647 w 35"/>
                    <a:gd name="T45" fmla="*/ 2147483647 h 34"/>
                    <a:gd name="T46" fmla="*/ 2147483647 w 35"/>
                    <a:gd name="T47" fmla="*/ 2147483647 h 34"/>
                    <a:gd name="T48" fmla="*/ 2147483647 w 35"/>
                    <a:gd name="T49" fmla="*/ 2147483647 h 34"/>
                    <a:gd name="T50" fmla="*/ 2147483647 w 35"/>
                    <a:gd name="T51" fmla="*/ 2147483647 h 34"/>
                    <a:gd name="T52" fmla="*/ 2147483647 w 35"/>
                    <a:gd name="T53" fmla="*/ 2147483647 h 34"/>
                    <a:gd name="T54" fmla="*/ 2147483647 w 35"/>
                    <a:gd name="T55" fmla="*/ 2147483647 h 34"/>
                    <a:gd name="T56" fmla="*/ 2147483647 w 35"/>
                    <a:gd name="T57" fmla="*/ 2147483647 h 34"/>
                    <a:gd name="T58" fmla="*/ 2147483647 w 35"/>
                    <a:gd name="T59" fmla="*/ 2147483647 h 34"/>
                    <a:gd name="T60" fmla="*/ 2147483647 w 35"/>
                    <a:gd name="T61" fmla="*/ 2147483647 h 34"/>
                    <a:gd name="T62" fmla="*/ 2147483647 w 35"/>
                    <a:gd name="T63" fmla="*/ 2147483647 h 34"/>
                    <a:gd name="T64" fmla="*/ 2147483647 w 35"/>
                    <a:gd name="T65" fmla="*/ 2147483647 h 34"/>
                    <a:gd name="T66" fmla="*/ 2147483647 w 35"/>
                    <a:gd name="T67" fmla="*/ 2147483647 h 34"/>
                    <a:gd name="T68" fmla="*/ 2147483647 w 35"/>
                    <a:gd name="T69" fmla="*/ 2147483647 h 3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35"/>
                    <a:gd name="T106" fmla="*/ 0 h 34"/>
                    <a:gd name="T107" fmla="*/ 35 w 35"/>
                    <a:gd name="T108" fmla="*/ 34 h 3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35" h="34">
                      <a:moveTo>
                        <a:pt x="30" y="14"/>
                      </a:moveTo>
                      <a:lnTo>
                        <a:pt x="30" y="14"/>
                      </a:lnTo>
                      <a:lnTo>
                        <a:pt x="33" y="13"/>
                      </a:lnTo>
                      <a:lnTo>
                        <a:pt x="35" y="10"/>
                      </a:lnTo>
                      <a:lnTo>
                        <a:pt x="35" y="9"/>
                      </a:lnTo>
                      <a:lnTo>
                        <a:pt x="35" y="8"/>
                      </a:lnTo>
                      <a:lnTo>
                        <a:pt x="33" y="6"/>
                      </a:lnTo>
                      <a:lnTo>
                        <a:pt x="26" y="1"/>
                      </a:lnTo>
                      <a:lnTo>
                        <a:pt x="24" y="0"/>
                      </a:lnTo>
                      <a:lnTo>
                        <a:pt x="20" y="1"/>
                      </a:lnTo>
                      <a:lnTo>
                        <a:pt x="15" y="6"/>
                      </a:lnTo>
                      <a:lnTo>
                        <a:pt x="9" y="8"/>
                      </a:lnTo>
                      <a:lnTo>
                        <a:pt x="4" y="12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1" y="28"/>
                      </a:lnTo>
                      <a:lnTo>
                        <a:pt x="4" y="31"/>
                      </a:lnTo>
                      <a:lnTo>
                        <a:pt x="5" y="33"/>
                      </a:lnTo>
                      <a:lnTo>
                        <a:pt x="7" y="34"/>
                      </a:lnTo>
                      <a:lnTo>
                        <a:pt x="11" y="34"/>
                      </a:lnTo>
                      <a:lnTo>
                        <a:pt x="15" y="32"/>
                      </a:lnTo>
                      <a:lnTo>
                        <a:pt x="18" y="29"/>
                      </a:lnTo>
                      <a:lnTo>
                        <a:pt x="24" y="25"/>
                      </a:lnTo>
                      <a:lnTo>
                        <a:pt x="25" y="22"/>
                      </a:lnTo>
                      <a:lnTo>
                        <a:pt x="26" y="20"/>
                      </a:lnTo>
                      <a:lnTo>
                        <a:pt x="28" y="16"/>
                      </a:lnTo>
                      <a:lnTo>
                        <a:pt x="30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2" name="Freeform 448">
                  <a:extLst>
                    <a:ext uri="{FF2B5EF4-FFF2-40B4-BE49-F238E27FC236}">
                      <a16:creationId xmlns:a16="http://schemas.microsoft.com/office/drawing/2014/main" id="{76EC298F-3AA5-2142-A662-1C3968CCD1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5089" y="4958733"/>
                  <a:ext cx="11839" cy="50315"/>
                </a:xfrm>
                <a:custGeom>
                  <a:avLst/>
                  <a:gdLst>
                    <a:gd name="T0" fmla="*/ 2147483647 w 9"/>
                    <a:gd name="T1" fmla="*/ 2147483647 h 34"/>
                    <a:gd name="T2" fmla="*/ 2147483647 w 9"/>
                    <a:gd name="T3" fmla="*/ 2147483647 h 34"/>
                    <a:gd name="T4" fmla="*/ 2147483647 w 9"/>
                    <a:gd name="T5" fmla="*/ 2147483647 h 34"/>
                    <a:gd name="T6" fmla="*/ 2147483647 w 9"/>
                    <a:gd name="T7" fmla="*/ 2147483647 h 34"/>
                    <a:gd name="T8" fmla="*/ 2147483647 w 9"/>
                    <a:gd name="T9" fmla="*/ 2147483647 h 34"/>
                    <a:gd name="T10" fmla="*/ 0 w 9"/>
                    <a:gd name="T11" fmla="*/ 2147483647 h 34"/>
                    <a:gd name="T12" fmla="*/ 2147483647 w 9"/>
                    <a:gd name="T13" fmla="*/ 2147483647 h 34"/>
                    <a:gd name="T14" fmla="*/ 2147483647 w 9"/>
                    <a:gd name="T15" fmla="*/ 2147483647 h 34"/>
                    <a:gd name="T16" fmla="*/ 2147483647 w 9"/>
                    <a:gd name="T17" fmla="*/ 2147483647 h 34"/>
                    <a:gd name="T18" fmla="*/ 2147483647 w 9"/>
                    <a:gd name="T19" fmla="*/ 2147483647 h 34"/>
                    <a:gd name="T20" fmla="*/ 2147483647 w 9"/>
                    <a:gd name="T21" fmla="*/ 2147483647 h 34"/>
                    <a:gd name="T22" fmla="*/ 2147483647 w 9"/>
                    <a:gd name="T23" fmla="*/ 2147483647 h 34"/>
                    <a:gd name="T24" fmla="*/ 2147483647 w 9"/>
                    <a:gd name="T25" fmla="*/ 0 h 3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34"/>
                    <a:gd name="T41" fmla="*/ 9 w 9"/>
                    <a:gd name="T42" fmla="*/ 34 h 3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34">
                      <a:moveTo>
                        <a:pt x="9" y="34"/>
                      </a:moveTo>
                      <a:lnTo>
                        <a:pt x="9" y="34"/>
                      </a:lnTo>
                      <a:lnTo>
                        <a:pt x="7" y="27"/>
                      </a:lnTo>
                      <a:lnTo>
                        <a:pt x="2" y="20"/>
                      </a:lnTo>
                      <a:lnTo>
                        <a:pt x="0" y="17"/>
                      </a:lnTo>
                      <a:lnTo>
                        <a:pt x="2" y="15"/>
                      </a:lnTo>
                      <a:lnTo>
                        <a:pt x="4" y="10"/>
                      </a:lnTo>
                      <a:lnTo>
                        <a:pt x="6" y="7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3" name="Freeform 449">
                  <a:extLst>
                    <a:ext uri="{FF2B5EF4-FFF2-40B4-BE49-F238E27FC236}">
                      <a16:creationId xmlns:a16="http://schemas.microsoft.com/office/drawing/2014/main" id="{B869F395-2C96-D848-A260-9E0934E7F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24711" y="5186633"/>
                  <a:ext cx="26637" cy="14799"/>
                </a:xfrm>
                <a:custGeom>
                  <a:avLst/>
                  <a:gdLst>
                    <a:gd name="T0" fmla="*/ 2147483647 w 20"/>
                    <a:gd name="T1" fmla="*/ 2147483647 h 10"/>
                    <a:gd name="T2" fmla="*/ 2147483647 w 20"/>
                    <a:gd name="T3" fmla="*/ 2147483647 h 10"/>
                    <a:gd name="T4" fmla="*/ 2147483647 w 20"/>
                    <a:gd name="T5" fmla="*/ 2147483647 h 10"/>
                    <a:gd name="T6" fmla="*/ 2147483647 w 20"/>
                    <a:gd name="T7" fmla="*/ 2147483647 h 10"/>
                    <a:gd name="T8" fmla="*/ 0 w 20"/>
                    <a:gd name="T9" fmla="*/ 2147483647 h 10"/>
                    <a:gd name="T10" fmla="*/ 2147483647 w 20"/>
                    <a:gd name="T11" fmla="*/ 2147483647 h 10"/>
                    <a:gd name="T12" fmla="*/ 2147483647 w 20"/>
                    <a:gd name="T13" fmla="*/ 2147483647 h 10"/>
                    <a:gd name="T14" fmla="*/ 2147483647 w 20"/>
                    <a:gd name="T15" fmla="*/ 2147483647 h 10"/>
                    <a:gd name="T16" fmla="*/ 2147483647 w 20"/>
                    <a:gd name="T17" fmla="*/ 0 h 10"/>
                    <a:gd name="T18" fmla="*/ 2147483647 w 20"/>
                    <a:gd name="T19" fmla="*/ 2147483647 h 10"/>
                    <a:gd name="T20" fmla="*/ 2147483647 w 20"/>
                    <a:gd name="T21" fmla="*/ 2147483647 h 10"/>
                    <a:gd name="T22" fmla="*/ 2147483647 w 20"/>
                    <a:gd name="T23" fmla="*/ 2147483647 h 10"/>
                    <a:gd name="T24" fmla="*/ 2147483647 w 20"/>
                    <a:gd name="T25" fmla="*/ 2147483647 h 10"/>
                    <a:gd name="T26" fmla="*/ 2147483647 w 20"/>
                    <a:gd name="T27" fmla="*/ 2147483647 h 10"/>
                    <a:gd name="T28" fmla="*/ 2147483647 w 20"/>
                    <a:gd name="T29" fmla="*/ 2147483647 h 10"/>
                    <a:gd name="T30" fmla="*/ 2147483647 w 20"/>
                    <a:gd name="T31" fmla="*/ 2147483647 h 1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"/>
                    <a:gd name="T49" fmla="*/ 0 h 10"/>
                    <a:gd name="T50" fmla="*/ 20 w 20"/>
                    <a:gd name="T51" fmla="*/ 10 h 1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" h="10">
                      <a:moveTo>
                        <a:pt x="11" y="9"/>
                      </a:moveTo>
                      <a:lnTo>
                        <a:pt x="7" y="10"/>
                      </a:lnTo>
                      <a:lnTo>
                        <a:pt x="3" y="9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2"/>
                      </a:lnTo>
                      <a:lnTo>
                        <a:pt x="19" y="4"/>
                      </a:lnTo>
                      <a:lnTo>
                        <a:pt x="20" y="6"/>
                      </a:lnTo>
                      <a:lnTo>
                        <a:pt x="20" y="7"/>
                      </a:lnTo>
                      <a:lnTo>
                        <a:pt x="17" y="8"/>
                      </a:lnTo>
                      <a:lnTo>
                        <a:pt x="11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4" name="Freeform 450">
                  <a:extLst>
                    <a:ext uri="{FF2B5EF4-FFF2-40B4-BE49-F238E27FC236}">
                      <a16:creationId xmlns:a16="http://schemas.microsoft.com/office/drawing/2014/main" id="{C3AAE458-5BA3-DA4E-A761-B608BC14BA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3478" y="3640168"/>
                  <a:ext cx="23678" cy="14799"/>
                </a:xfrm>
                <a:custGeom>
                  <a:avLst/>
                  <a:gdLst>
                    <a:gd name="T0" fmla="*/ 2147483647 w 18"/>
                    <a:gd name="T1" fmla="*/ 2147483647 h 10"/>
                    <a:gd name="T2" fmla="*/ 2147483647 w 18"/>
                    <a:gd name="T3" fmla="*/ 2147483647 h 10"/>
                    <a:gd name="T4" fmla="*/ 2147483647 w 18"/>
                    <a:gd name="T5" fmla="*/ 2147483647 h 10"/>
                    <a:gd name="T6" fmla="*/ 2147483647 w 18"/>
                    <a:gd name="T7" fmla="*/ 2147483647 h 10"/>
                    <a:gd name="T8" fmla="*/ 2147483647 w 18"/>
                    <a:gd name="T9" fmla="*/ 2147483647 h 10"/>
                    <a:gd name="T10" fmla="*/ 2147483647 w 18"/>
                    <a:gd name="T11" fmla="*/ 2147483647 h 10"/>
                    <a:gd name="T12" fmla="*/ 2147483647 w 18"/>
                    <a:gd name="T13" fmla="*/ 2147483647 h 10"/>
                    <a:gd name="T14" fmla="*/ 2147483647 w 18"/>
                    <a:gd name="T15" fmla="*/ 2147483647 h 10"/>
                    <a:gd name="T16" fmla="*/ 2147483647 w 18"/>
                    <a:gd name="T17" fmla="*/ 2147483647 h 10"/>
                    <a:gd name="T18" fmla="*/ 0 w 18"/>
                    <a:gd name="T19" fmla="*/ 2147483647 h 10"/>
                    <a:gd name="T20" fmla="*/ 0 w 18"/>
                    <a:gd name="T21" fmla="*/ 2147483647 h 10"/>
                    <a:gd name="T22" fmla="*/ 0 w 18"/>
                    <a:gd name="T23" fmla="*/ 2147483647 h 10"/>
                    <a:gd name="T24" fmla="*/ 2147483647 w 18"/>
                    <a:gd name="T25" fmla="*/ 0 h 10"/>
                    <a:gd name="T26" fmla="*/ 2147483647 w 18"/>
                    <a:gd name="T27" fmla="*/ 0 h 10"/>
                    <a:gd name="T28" fmla="*/ 2147483647 w 18"/>
                    <a:gd name="T29" fmla="*/ 2147483647 h 10"/>
                    <a:gd name="T30" fmla="*/ 2147483647 w 18"/>
                    <a:gd name="T31" fmla="*/ 2147483647 h 10"/>
                    <a:gd name="T32" fmla="*/ 2147483647 w 18"/>
                    <a:gd name="T33" fmla="*/ 2147483647 h 1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"/>
                    <a:gd name="T52" fmla="*/ 0 h 10"/>
                    <a:gd name="T53" fmla="*/ 18 w 18"/>
                    <a:gd name="T54" fmla="*/ 10 h 1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" h="10">
                      <a:moveTo>
                        <a:pt x="12" y="4"/>
                      </a:moveTo>
                      <a:lnTo>
                        <a:pt x="17" y="4"/>
                      </a:lnTo>
                      <a:lnTo>
                        <a:pt x="18" y="4"/>
                      </a:lnTo>
                      <a:lnTo>
                        <a:pt x="18" y="6"/>
                      </a:lnTo>
                      <a:lnTo>
                        <a:pt x="17" y="7"/>
                      </a:lnTo>
                      <a:lnTo>
                        <a:pt x="15" y="10"/>
                      </a:lnTo>
                      <a:lnTo>
                        <a:pt x="10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9" y="3"/>
                      </a:lnTo>
                      <a:lnTo>
                        <a:pt x="1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5" name="Freeform 451">
                  <a:extLst>
                    <a:ext uri="{FF2B5EF4-FFF2-40B4-BE49-F238E27FC236}">
                      <a16:creationId xmlns:a16="http://schemas.microsoft.com/office/drawing/2014/main" id="{84344335-F675-A349-8D37-9D1DA1B1CF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21750" y="5185156"/>
                  <a:ext cx="29597" cy="14799"/>
                </a:xfrm>
                <a:custGeom>
                  <a:avLst/>
                  <a:gdLst>
                    <a:gd name="T0" fmla="*/ 2147483647 w 21"/>
                    <a:gd name="T1" fmla="*/ 2147483647 h 10"/>
                    <a:gd name="T2" fmla="*/ 2147483647 w 21"/>
                    <a:gd name="T3" fmla="*/ 2147483647 h 10"/>
                    <a:gd name="T4" fmla="*/ 2147483647 w 21"/>
                    <a:gd name="T5" fmla="*/ 2147483647 h 10"/>
                    <a:gd name="T6" fmla="*/ 2147483647 w 21"/>
                    <a:gd name="T7" fmla="*/ 2147483647 h 10"/>
                    <a:gd name="T8" fmla="*/ 2147483647 w 21"/>
                    <a:gd name="T9" fmla="*/ 2147483647 h 10"/>
                    <a:gd name="T10" fmla="*/ 0 w 21"/>
                    <a:gd name="T11" fmla="*/ 2147483647 h 10"/>
                    <a:gd name="T12" fmla="*/ 2147483647 w 21"/>
                    <a:gd name="T13" fmla="*/ 2147483647 h 10"/>
                    <a:gd name="T14" fmla="*/ 2147483647 w 21"/>
                    <a:gd name="T15" fmla="*/ 2147483647 h 10"/>
                    <a:gd name="T16" fmla="*/ 2147483647 w 21"/>
                    <a:gd name="T17" fmla="*/ 2147483647 h 10"/>
                    <a:gd name="T18" fmla="*/ 2147483647 w 21"/>
                    <a:gd name="T19" fmla="*/ 2147483647 h 10"/>
                    <a:gd name="T20" fmla="*/ 2147483647 w 21"/>
                    <a:gd name="T21" fmla="*/ 0 h 10"/>
                    <a:gd name="T22" fmla="*/ 2147483647 w 21"/>
                    <a:gd name="T23" fmla="*/ 2147483647 h 10"/>
                    <a:gd name="T24" fmla="*/ 2147483647 w 21"/>
                    <a:gd name="T25" fmla="*/ 2147483647 h 10"/>
                    <a:gd name="T26" fmla="*/ 2147483647 w 21"/>
                    <a:gd name="T27" fmla="*/ 2147483647 h 10"/>
                    <a:gd name="T28" fmla="*/ 2147483647 w 21"/>
                    <a:gd name="T29" fmla="*/ 2147483647 h 10"/>
                    <a:gd name="T30" fmla="*/ 2147483647 w 21"/>
                    <a:gd name="T31" fmla="*/ 2147483647 h 10"/>
                    <a:gd name="T32" fmla="*/ 2147483647 w 21"/>
                    <a:gd name="T33" fmla="*/ 2147483647 h 10"/>
                    <a:gd name="T34" fmla="*/ 2147483647 w 21"/>
                    <a:gd name="T35" fmla="*/ 2147483647 h 10"/>
                    <a:gd name="T36" fmla="*/ 2147483647 w 21"/>
                    <a:gd name="T37" fmla="*/ 2147483647 h 10"/>
                    <a:gd name="T38" fmla="*/ 2147483647 w 21"/>
                    <a:gd name="T39" fmla="*/ 2147483647 h 1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1"/>
                    <a:gd name="T61" fmla="*/ 0 h 10"/>
                    <a:gd name="T62" fmla="*/ 21 w 21"/>
                    <a:gd name="T63" fmla="*/ 10 h 1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1" h="10">
                      <a:moveTo>
                        <a:pt x="12" y="9"/>
                      </a:moveTo>
                      <a:lnTo>
                        <a:pt x="12" y="9"/>
                      </a:lnTo>
                      <a:lnTo>
                        <a:pt x="8" y="10"/>
                      </a:lnTo>
                      <a:lnTo>
                        <a:pt x="4" y="9"/>
                      </a:lnTo>
                      <a:lnTo>
                        <a:pt x="2" y="8"/>
                      </a:lnTo>
                      <a:lnTo>
                        <a:pt x="0" y="7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16" y="1"/>
                      </a:lnTo>
                      <a:lnTo>
                        <a:pt x="18" y="2"/>
                      </a:lnTo>
                      <a:lnTo>
                        <a:pt x="19" y="4"/>
                      </a:lnTo>
                      <a:lnTo>
                        <a:pt x="21" y="5"/>
                      </a:lnTo>
                      <a:lnTo>
                        <a:pt x="21" y="7"/>
                      </a:lnTo>
                      <a:lnTo>
                        <a:pt x="18" y="8"/>
                      </a:lnTo>
                      <a:lnTo>
                        <a:pt x="12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6" name="Freeform 452">
                  <a:extLst>
                    <a:ext uri="{FF2B5EF4-FFF2-40B4-BE49-F238E27FC236}">
                      <a16:creationId xmlns:a16="http://schemas.microsoft.com/office/drawing/2014/main" id="{30B6D504-C500-2F49-91A4-D5A70211EE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1998" y="3638690"/>
                  <a:ext cx="23678" cy="14799"/>
                </a:xfrm>
                <a:custGeom>
                  <a:avLst/>
                  <a:gdLst>
                    <a:gd name="T0" fmla="*/ 2147483647 w 18"/>
                    <a:gd name="T1" fmla="*/ 2147483647 h 10"/>
                    <a:gd name="T2" fmla="*/ 2147483647 w 18"/>
                    <a:gd name="T3" fmla="*/ 2147483647 h 10"/>
                    <a:gd name="T4" fmla="*/ 2147483647 w 18"/>
                    <a:gd name="T5" fmla="*/ 2147483647 h 10"/>
                    <a:gd name="T6" fmla="*/ 2147483647 w 18"/>
                    <a:gd name="T7" fmla="*/ 2147483647 h 10"/>
                    <a:gd name="T8" fmla="*/ 2147483647 w 18"/>
                    <a:gd name="T9" fmla="*/ 2147483647 h 10"/>
                    <a:gd name="T10" fmla="*/ 2147483647 w 18"/>
                    <a:gd name="T11" fmla="*/ 2147483647 h 10"/>
                    <a:gd name="T12" fmla="*/ 2147483647 w 18"/>
                    <a:gd name="T13" fmla="*/ 2147483647 h 10"/>
                    <a:gd name="T14" fmla="*/ 2147483647 w 18"/>
                    <a:gd name="T15" fmla="*/ 2147483647 h 10"/>
                    <a:gd name="T16" fmla="*/ 2147483647 w 18"/>
                    <a:gd name="T17" fmla="*/ 2147483647 h 10"/>
                    <a:gd name="T18" fmla="*/ 2147483647 w 18"/>
                    <a:gd name="T19" fmla="*/ 2147483647 h 10"/>
                    <a:gd name="T20" fmla="*/ 2147483647 w 18"/>
                    <a:gd name="T21" fmla="*/ 2147483647 h 10"/>
                    <a:gd name="T22" fmla="*/ 2147483647 w 18"/>
                    <a:gd name="T23" fmla="*/ 2147483647 h 10"/>
                    <a:gd name="T24" fmla="*/ 0 w 18"/>
                    <a:gd name="T25" fmla="*/ 2147483647 h 10"/>
                    <a:gd name="T26" fmla="*/ 0 w 18"/>
                    <a:gd name="T27" fmla="*/ 2147483647 h 10"/>
                    <a:gd name="T28" fmla="*/ 0 w 18"/>
                    <a:gd name="T29" fmla="*/ 2147483647 h 10"/>
                    <a:gd name="T30" fmla="*/ 0 w 18"/>
                    <a:gd name="T31" fmla="*/ 2147483647 h 10"/>
                    <a:gd name="T32" fmla="*/ 2147483647 w 18"/>
                    <a:gd name="T33" fmla="*/ 0 h 10"/>
                    <a:gd name="T34" fmla="*/ 2147483647 w 18"/>
                    <a:gd name="T35" fmla="*/ 0 h 10"/>
                    <a:gd name="T36" fmla="*/ 2147483647 w 18"/>
                    <a:gd name="T37" fmla="*/ 2147483647 h 10"/>
                    <a:gd name="T38" fmla="*/ 2147483647 w 18"/>
                    <a:gd name="T39" fmla="*/ 2147483647 h 10"/>
                    <a:gd name="T40" fmla="*/ 2147483647 w 18"/>
                    <a:gd name="T41" fmla="*/ 2147483647 h 10"/>
                    <a:gd name="T42" fmla="*/ 2147483647 w 18"/>
                    <a:gd name="T43" fmla="*/ 2147483647 h 1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8"/>
                    <a:gd name="T67" fmla="*/ 0 h 10"/>
                    <a:gd name="T68" fmla="*/ 18 w 18"/>
                    <a:gd name="T69" fmla="*/ 10 h 1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8" h="10">
                      <a:moveTo>
                        <a:pt x="11" y="4"/>
                      </a:moveTo>
                      <a:lnTo>
                        <a:pt x="11" y="4"/>
                      </a:lnTo>
                      <a:lnTo>
                        <a:pt x="16" y="4"/>
                      </a:lnTo>
                      <a:lnTo>
                        <a:pt x="18" y="4"/>
                      </a:lnTo>
                      <a:lnTo>
                        <a:pt x="18" y="6"/>
                      </a:lnTo>
                      <a:lnTo>
                        <a:pt x="16" y="7"/>
                      </a:lnTo>
                      <a:lnTo>
                        <a:pt x="15" y="10"/>
                      </a:lnTo>
                      <a:lnTo>
                        <a:pt x="10" y="10"/>
                      </a:lnTo>
                      <a:lnTo>
                        <a:pt x="5" y="10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9" y="2"/>
                      </a:lnTo>
                      <a:lnTo>
                        <a:pt x="11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7" name="Freeform 453">
                  <a:extLst>
                    <a:ext uri="{FF2B5EF4-FFF2-40B4-BE49-F238E27FC236}">
                      <a16:creationId xmlns:a16="http://schemas.microsoft.com/office/drawing/2014/main" id="{491B62CC-456F-5545-9D1E-F43DA10D1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6709" y="3755598"/>
                  <a:ext cx="14799" cy="13319"/>
                </a:xfrm>
                <a:custGeom>
                  <a:avLst/>
                  <a:gdLst>
                    <a:gd name="T0" fmla="*/ 2147483647 w 10"/>
                    <a:gd name="T1" fmla="*/ 2147483647 h 9"/>
                    <a:gd name="T2" fmla="*/ 2147483647 w 10"/>
                    <a:gd name="T3" fmla="*/ 0 h 9"/>
                    <a:gd name="T4" fmla="*/ 2147483647 w 10"/>
                    <a:gd name="T5" fmla="*/ 0 h 9"/>
                    <a:gd name="T6" fmla="*/ 2147483647 w 10"/>
                    <a:gd name="T7" fmla="*/ 2147483647 h 9"/>
                    <a:gd name="T8" fmla="*/ 2147483647 w 10"/>
                    <a:gd name="T9" fmla="*/ 2147483647 h 9"/>
                    <a:gd name="T10" fmla="*/ 2147483647 w 10"/>
                    <a:gd name="T11" fmla="*/ 2147483647 h 9"/>
                    <a:gd name="T12" fmla="*/ 2147483647 w 10"/>
                    <a:gd name="T13" fmla="*/ 2147483647 h 9"/>
                    <a:gd name="T14" fmla="*/ 2147483647 w 10"/>
                    <a:gd name="T15" fmla="*/ 2147483647 h 9"/>
                    <a:gd name="T16" fmla="*/ 0 w 10"/>
                    <a:gd name="T17" fmla="*/ 2147483647 h 9"/>
                    <a:gd name="T18" fmla="*/ 0 w 10"/>
                    <a:gd name="T19" fmla="*/ 2147483647 h 9"/>
                    <a:gd name="T20" fmla="*/ 2147483647 w 10"/>
                    <a:gd name="T21" fmla="*/ 2147483647 h 9"/>
                    <a:gd name="T22" fmla="*/ 2147483647 w 10"/>
                    <a:gd name="T23" fmla="*/ 2147483647 h 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"/>
                    <a:gd name="T37" fmla="*/ 0 h 9"/>
                    <a:gd name="T38" fmla="*/ 10 w 10"/>
                    <a:gd name="T39" fmla="*/ 9 h 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" h="9">
                      <a:moveTo>
                        <a:pt x="5" y="2"/>
                      </a:move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2"/>
                      </a:lnTo>
                      <a:lnTo>
                        <a:pt x="10" y="3"/>
                      </a:lnTo>
                      <a:lnTo>
                        <a:pt x="9" y="4"/>
                      </a:lnTo>
                      <a:lnTo>
                        <a:pt x="5" y="8"/>
                      </a:lnTo>
                      <a:lnTo>
                        <a:pt x="2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8" name="Freeform 454">
                  <a:extLst>
                    <a:ext uri="{FF2B5EF4-FFF2-40B4-BE49-F238E27FC236}">
                      <a16:creationId xmlns:a16="http://schemas.microsoft.com/office/drawing/2014/main" id="{4B182810-4387-F748-8C2D-64FECF5B30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1552" y="3777795"/>
                  <a:ext cx="19238" cy="22198"/>
                </a:xfrm>
                <a:custGeom>
                  <a:avLst/>
                  <a:gdLst>
                    <a:gd name="T0" fmla="*/ 2147483647 w 14"/>
                    <a:gd name="T1" fmla="*/ 2147483647 h 15"/>
                    <a:gd name="T2" fmla="*/ 2147483647 w 14"/>
                    <a:gd name="T3" fmla="*/ 2147483647 h 15"/>
                    <a:gd name="T4" fmla="*/ 2147483647 w 14"/>
                    <a:gd name="T5" fmla="*/ 2147483647 h 15"/>
                    <a:gd name="T6" fmla="*/ 2147483647 w 14"/>
                    <a:gd name="T7" fmla="*/ 2147483647 h 15"/>
                    <a:gd name="T8" fmla="*/ 0 w 14"/>
                    <a:gd name="T9" fmla="*/ 2147483647 h 15"/>
                    <a:gd name="T10" fmla="*/ 0 w 14"/>
                    <a:gd name="T11" fmla="*/ 2147483647 h 15"/>
                    <a:gd name="T12" fmla="*/ 0 w 14"/>
                    <a:gd name="T13" fmla="*/ 2147483647 h 15"/>
                    <a:gd name="T14" fmla="*/ 2147483647 w 14"/>
                    <a:gd name="T15" fmla="*/ 2147483647 h 15"/>
                    <a:gd name="T16" fmla="*/ 2147483647 w 14"/>
                    <a:gd name="T17" fmla="*/ 2147483647 h 15"/>
                    <a:gd name="T18" fmla="*/ 2147483647 w 14"/>
                    <a:gd name="T19" fmla="*/ 0 h 15"/>
                    <a:gd name="T20" fmla="*/ 2147483647 w 14"/>
                    <a:gd name="T21" fmla="*/ 0 h 15"/>
                    <a:gd name="T22" fmla="*/ 2147483647 w 14"/>
                    <a:gd name="T23" fmla="*/ 2147483647 h 15"/>
                    <a:gd name="T24" fmla="*/ 2147483647 w 14"/>
                    <a:gd name="T25" fmla="*/ 2147483647 h 15"/>
                    <a:gd name="T26" fmla="*/ 2147483647 w 14"/>
                    <a:gd name="T27" fmla="*/ 2147483647 h 15"/>
                    <a:gd name="T28" fmla="*/ 2147483647 w 14"/>
                    <a:gd name="T29" fmla="*/ 2147483647 h 15"/>
                    <a:gd name="T30" fmla="*/ 2147483647 w 14"/>
                    <a:gd name="T31" fmla="*/ 2147483647 h 1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"/>
                    <a:gd name="T49" fmla="*/ 0 h 15"/>
                    <a:gd name="T50" fmla="*/ 14 w 14"/>
                    <a:gd name="T51" fmla="*/ 15 h 1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" h="15">
                      <a:moveTo>
                        <a:pt x="10" y="10"/>
                      </a:moveTo>
                      <a:lnTo>
                        <a:pt x="7" y="14"/>
                      </a:lnTo>
                      <a:lnTo>
                        <a:pt x="5" y="15"/>
                      </a:lnTo>
                      <a:lnTo>
                        <a:pt x="2" y="15"/>
                      </a:ln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4" y="7"/>
                      </a:lnTo>
                      <a:lnTo>
                        <a:pt x="6" y="2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1"/>
                      </a:lnTo>
                      <a:lnTo>
                        <a:pt x="14" y="2"/>
                      </a:lnTo>
                      <a:lnTo>
                        <a:pt x="12" y="4"/>
                      </a:lnTo>
                      <a:lnTo>
                        <a:pt x="10" y="8"/>
                      </a:lnTo>
                      <a:lnTo>
                        <a:pt x="10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9" name="Freeform 455">
                  <a:extLst>
                    <a:ext uri="{FF2B5EF4-FFF2-40B4-BE49-F238E27FC236}">
                      <a16:creationId xmlns:a16="http://schemas.microsoft.com/office/drawing/2014/main" id="{05051289-CB04-854D-BAB7-5F2F3A2757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6709" y="3754117"/>
                  <a:ext cx="13319" cy="13319"/>
                </a:xfrm>
                <a:custGeom>
                  <a:avLst/>
                  <a:gdLst>
                    <a:gd name="T0" fmla="*/ 2147483647 w 10"/>
                    <a:gd name="T1" fmla="*/ 2147483647 h 9"/>
                    <a:gd name="T2" fmla="*/ 2147483647 w 10"/>
                    <a:gd name="T3" fmla="*/ 2147483647 h 9"/>
                    <a:gd name="T4" fmla="*/ 2147483647 w 10"/>
                    <a:gd name="T5" fmla="*/ 0 h 9"/>
                    <a:gd name="T6" fmla="*/ 2147483647 w 10"/>
                    <a:gd name="T7" fmla="*/ 0 h 9"/>
                    <a:gd name="T8" fmla="*/ 2147483647 w 10"/>
                    <a:gd name="T9" fmla="*/ 0 h 9"/>
                    <a:gd name="T10" fmla="*/ 2147483647 w 10"/>
                    <a:gd name="T11" fmla="*/ 2147483647 h 9"/>
                    <a:gd name="T12" fmla="*/ 2147483647 w 10"/>
                    <a:gd name="T13" fmla="*/ 2147483647 h 9"/>
                    <a:gd name="T14" fmla="*/ 2147483647 w 10"/>
                    <a:gd name="T15" fmla="*/ 2147483647 h 9"/>
                    <a:gd name="T16" fmla="*/ 2147483647 w 10"/>
                    <a:gd name="T17" fmla="*/ 2147483647 h 9"/>
                    <a:gd name="T18" fmla="*/ 2147483647 w 10"/>
                    <a:gd name="T19" fmla="*/ 2147483647 h 9"/>
                    <a:gd name="T20" fmla="*/ 2147483647 w 10"/>
                    <a:gd name="T21" fmla="*/ 2147483647 h 9"/>
                    <a:gd name="T22" fmla="*/ 0 w 10"/>
                    <a:gd name="T23" fmla="*/ 2147483647 h 9"/>
                    <a:gd name="T24" fmla="*/ 0 w 10"/>
                    <a:gd name="T25" fmla="*/ 2147483647 h 9"/>
                    <a:gd name="T26" fmla="*/ 0 w 10"/>
                    <a:gd name="T27" fmla="*/ 2147483647 h 9"/>
                    <a:gd name="T28" fmla="*/ 2147483647 w 10"/>
                    <a:gd name="T29" fmla="*/ 2147483647 h 9"/>
                    <a:gd name="T30" fmla="*/ 2147483647 w 10"/>
                    <a:gd name="T31" fmla="*/ 2147483647 h 9"/>
                    <a:gd name="T32" fmla="*/ 2147483647 w 10"/>
                    <a:gd name="T33" fmla="*/ 2147483647 h 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"/>
                    <a:gd name="T52" fmla="*/ 0 h 9"/>
                    <a:gd name="T53" fmla="*/ 10 w 10"/>
                    <a:gd name="T54" fmla="*/ 9 h 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" h="9">
                      <a:moveTo>
                        <a:pt x="5" y="1"/>
                      </a:move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10" y="3"/>
                      </a:lnTo>
                      <a:lnTo>
                        <a:pt x="8" y="4"/>
                      </a:lnTo>
                      <a:lnTo>
                        <a:pt x="5" y="7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0" name="Freeform 456">
                  <a:extLst>
                    <a:ext uri="{FF2B5EF4-FFF2-40B4-BE49-F238E27FC236}">
                      <a16:creationId xmlns:a16="http://schemas.microsoft.com/office/drawing/2014/main" id="{DCF18D72-823A-874B-B874-C9BEA9416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8592" y="3776318"/>
                  <a:ext cx="19238" cy="22199"/>
                </a:xfrm>
                <a:custGeom>
                  <a:avLst/>
                  <a:gdLst>
                    <a:gd name="T0" fmla="*/ 2147483647 w 14"/>
                    <a:gd name="T1" fmla="*/ 2147483647 h 15"/>
                    <a:gd name="T2" fmla="*/ 2147483647 w 14"/>
                    <a:gd name="T3" fmla="*/ 2147483647 h 15"/>
                    <a:gd name="T4" fmla="*/ 2147483647 w 14"/>
                    <a:gd name="T5" fmla="*/ 2147483647 h 15"/>
                    <a:gd name="T6" fmla="*/ 2147483647 w 14"/>
                    <a:gd name="T7" fmla="*/ 2147483647 h 15"/>
                    <a:gd name="T8" fmla="*/ 2147483647 w 14"/>
                    <a:gd name="T9" fmla="*/ 2147483647 h 15"/>
                    <a:gd name="T10" fmla="*/ 0 w 14"/>
                    <a:gd name="T11" fmla="*/ 2147483647 h 15"/>
                    <a:gd name="T12" fmla="*/ 0 w 14"/>
                    <a:gd name="T13" fmla="*/ 2147483647 h 15"/>
                    <a:gd name="T14" fmla="*/ 0 w 14"/>
                    <a:gd name="T15" fmla="*/ 2147483647 h 15"/>
                    <a:gd name="T16" fmla="*/ 0 w 14"/>
                    <a:gd name="T17" fmla="*/ 2147483647 h 15"/>
                    <a:gd name="T18" fmla="*/ 0 w 14"/>
                    <a:gd name="T19" fmla="*/ 2147483647 h 15"/>
                    <a:gd name="T20" fmla="*/ 2147483647 w 14"/>
                    <a:gd name="T21" fmla="*/ 2147483647 h 15"/>
                    <a:gd name="T22" fmla="*/ 2147483647 w 14"/>
                    <a:gd name="T23" fmla="*/ 2147483647 h 15"/>
                    <a:gd name="T24" fmla="*/ 2147483647 w 14"/>
                    <a:gd name="T25" fmla="*/ 0 h 15"/>
                    <a:gd name="T26" fmla="*/ 2147483647 w 14"/>
                    <a:gd name="T27" fmla="*/ 0 h 15"/>
                    <a:gd name="T28" fmla="*/ 2147483647 w 14"/>
                    <a:gd name="T29" fmla="*/ 2147483647 h 15"/>
                    <a:gd name="T30" fmla="*/ 2147483647 w 14"/>
                    <a:gd name="T31" fmla="*/ 2147483647 h 15"/>
                    <a:gd name="T32" fmla="*/ 2147483647 w 14"/>
                    <a:gd name="T33" fmla="*/ 2147483647 h 15"/>
                    <a:gd name="T34" fmla="*/ 2147483647 w 14"/>
                    <a:gd name="T35" fmla="*/ 2147483647 h 15"/>
                    <a:gd name="T36" fmla="*/ 2147483647 w 14"/>
                    <a:gd name="T37" fmla="*/ 2147483647 h 15"/>
                    <a:gd name="T38" fmla="*/ 2147483647 w 14"/>
                    <a:gd name="T39" fmla="*/ 2147483647 h 15"/>
                    <a:gd name="T40" fmla="*/ 2147483647 w 14"/>
                    <a:gd name="T41" fmla="*/ 2147483647 h 1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"/>
                    <a:gd name="T64" fmla="*/ 0 h 15"/>
                    <a:gd name="T65" fmla="*/ 14 w 14"/>
                    <a:gd name="T66" fmla="*/ 15 h 1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" h="15">
                      <a:moveTo>
                        <a:pt x="11" y="10"/>
                      </a:moveTo>
                      <a:lnTo>
                        <a:pt x="11" y="10"/>
                      </a:lnTo>
                      <a:lnTo>
                        <a:pt x="8" y="14"/>
                      </a:lnTo>
                      <a:lnTo>
                        <a:pt x="6" y="15"/>
                      </a:lnTo>
                      <a:lnTo>
                        <a:pt x="3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10"/>
                      </a:lnTo>
                      <a:lnTo>
                        <a:pt x="4" y="7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12" y="0"/>
                      </a:lnTo>
                      <a:lnTo>
                        <a:pt x="14" y="1"/>
                      </a:lnTo>
                      <a:lnTo>
                        <a:pt x="14" y="2"/>
                      </a:lnTo>
                      <a:lnTo>
                        <a:pt x="13" y="4"/>
                      </a:lnTo>
                      <a:lnTo>
                        <a:pt x="11" y="8"/>
                      </a:lnTo>
                      <a:lnTo>
                        <a:pt x="11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1" name="Freeform 457">
                  <a:extLst>
                    <a:ext uri="{FF2B5EF4-FFF2-40B4-BE49-F238E27FC236}">
                      <a16:creationId xmlns:a16="http://schemas.microsoft.com/office/drawing/2014/main" id="{FC6C639A-B5D4-0948-A8B8-FD83FB9A3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8682" y="3770395"/>
                  <a:ext cx="739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0 w 6"/>
                    <a:gd name="T11" fmla="*/ 2147483647 h 7"/>
                    <a:gd name="T12" fmla="*/ 2147483647 w 6"/>
                    <a:gd name="T13" fmla="*/ 0 h 7"/>
                    <a:gd name="T14" fmla="*/ 2147483647 w 6"/>
                    <a:gd name="T15" fmla="*/ 0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7"/>
                    <a:gd name="T35" fmla="*/ 6 w 6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7">
                      <a:moveTo>
                        <a:pt x="6" y="5"/>
                      </a:move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2" y="7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2" name="Freeform 458">
                  <a:extLst>
                    <a:ext uri="{FF2B5EF4-FFF2-40B4-BE49-F238E27FC236}">
                      <a16:creationId xmlns:a16="http://schemas.microsoft.com/office/drawing/2014/main" id="{06D73CF2-95F4-5F44-980F-F539CE5F06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1954" y="3791116"/>
                  <a:ext cx="17758" cy="19239"/>
                </a:xfrm>
                <a:custGeom>
                  <a:avLst/>
                  <a:gdLst>
                    <a:gd name="T0" fmla="*/ 2147483647 w 13"/>
                    <a:gd name="T1" fmla="*/ 2147483647 h 13"/>
                    <a:gd name="T2" fmla="*/ 2147483647 w 13"/>
                    <a:gd name="T3" fmla="*/ 2147483647 h 13"/>
                    <a:gd name="T4" fmla="*/ 2147483647 w 13"/>
                    <a:gd name="T5" fmla="*/ 2147483647 h 13"/>
                    <a:gd name="T6" fmla="*/ 2147483647 w 13"/>
                    <a:gd name="T7" fmla="*/ 2147483647 h 13"/>
                    <a:gd name="T8" fmla="*/ 2147483647 w 13"/>
                    <a:gd name="T9" fmla="*/ 2147483647 h 13"/>
                    <a:gd name="T10" fmla="*/ 2147483647 w 13"/>
                    <a:gd name="T11" fmla="*/ 2147483647 h 13"/>
                    <a:gd name="T12" fmla="*/ 0 w 13"/>
                    <a:gd name="T13" fmla="*/ 2147483647 h 13"/>
                    <a:gd name="T14" fmla="*/ 0 w 13"/>
                    <a:gd name="T15" fmla="*/ 2147483647 h 13"/>
                    <a:gd name="T16" fmla="*/ 2147483647 w 13"/>
                    <a:gd name="T17" fmla="*/ 2147483647 h 13"/>
                    <a:gd name="T18" fmla="*/ 2147483647 w 13"/>
                    <a:gd name="T19" fmla="*/ 2147483647 h 13"/>
                    <a:gd name="T20" fmla="*/ 2147483647 w 13"/>
                    <a:gd name="T21" fmla="*/ 0 h 13"/>
                    <a:gd name="T22" fmla="*/ 2147483647 w 13"/>
                    <a:gd name="T23" fmla="*/ 0 h 13"/>
                    <a:gd name="T24" fmla="*/ 2147483647 w 13"/>
                    <a:gd name="T25" fmla="*/ 2147483647 h 13"/>
                    <a:gd name="T26" fmla="*/ 2147483647 w 13"/>
                    <a:gd name="T27" fmla="*/ 2147483647 h 13"/>
                    <a:gd name="T28" fmla="*/ 2147483647 w 13"/>
                    <a:gd name="T29" fmla="*/ 2147483647 h 1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"/>
                    <a:gd name="T46" fmla="*/ 0 h 13"/>
                    <a:gd name="T47" fmla="*/ 13 w 13"/>
                    <a:gd name="T48" fmla="*/ 13 h 1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" h="13">
                      <a:moveTo>
                        <a:pt x="12" y="10"/>
                      </a:moveTo>
                      <a:lnTo>
                        <a:pt x="10" y="12"/>
                      </a:lnTo>
                      <a:lnTo>
                        <a:pt x="8" y="13"/>
                      </a:lnTo>
                      <a:lnTo>
                        <a:pt x="5" y="13"/>
                      </a:lnTo>
                      <a:lnTo>
                        <a:pt x="3" y="12"/>
                      </a:lnTo>
                      <a:lnTo>
                        <a:pt x="1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13" y="4"/>
                      </a:lnTo>
                      <a:lnTo>
                        <a:pt x="12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3" name="Freeform 459">
                  <a:extLst>
                    <a:ext uri="{FF2B5EF4-FFF2-40B4-BE49-F238E27FC236}">
                      <a16:creationId xmlns:a16="http://schemas.microsoft.com/office/drawing/2014/main" id="{BE021648-76D5-D94B-B217-175600D9C7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7198" y="3768918"/>
                  <a:ext cx="7400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0 h 7"/>
                    <a:gd name="T18" fmla="*/ 2147483647 w 6"/>
                    <a:gd name="T19" fmla="*/ 0 h 7"/>
                    <a:gd name="T20" fmla="*/ 2147483647 w 6"/>
                    <a:gd name="T21" fmla="*/ 0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6" y="5"/>
                      </a:move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2" y="7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4" name="Freeform 460">
                  <a:extLst>
                    <a:ext uri="{FF2B5EF4-FFF2-40B4-BE49-F238E27FC236}">
                      <a16:creationId xmlns:a16="http://schemas.microsoft.com/office/drawing/2014/main" id="{317616F0-FC76-7C40-8A0E-3F469522B9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473" y="3789637"/>
                  <a:ext cx="17758" cy="19238"/>
                </a:xfrm>
                <a:custGeom>
                  <a:avLst/>
                  <a:gdLst>
                    <a:gd name="T0" fmla="*/ 2147483647 w 13"/>
                    <a:gd name="T1" fmla="*/ 2147483647 h 13"/>
                    <a:gd name="T2" fmla="*/ 2147483647 w 13"/>
                    <a:gd name="T3" fmla="*/ 2147483647 h 13"/>
                    <a:gd name="T4" fmla="*/ 2147483647 w 13"/>
                    <a:gd name="T5" fmla="*/ 2147483647 h 13"/>
                    <a:gd name="T6" fmla="*/ 2147483647 w 13"/>
                    <a:gd name="T7" fmla="*/ 2147483647 h 13"/>
                    <a:gd name="T8" fmla="*/ 2147483647 w 13"/>
                    <a:gd name="T9" fmla="*/ 2147483647 h 13"/>
                    <a:gd name="T10" fmla="*/ 2147483647 w 13"/>
                    <a:gd name="T11" fmla="*/ 2147483647 h 13"/>
                    <a:gd name="T12" fmla="*/ 2147483647 w 13"/>
                    <a:gd name="T13" fmla="*/ 2147483647 h 13"/>
                    <a:gd name="T14" fmla="*/ 2147483647 w 13"/>
                    <a:gd name="T15" fmla="*/ 2147483647 h 13"/>
                    <a:gd name="T16" fmla="*/ 0 w 13"/>
                    <a:gd name="T17" fmla="*/ 2147483647 h 13"/>
                    <a:gd name="T18" fmla="*/ 0 w 13"/>
                    <a:gd name="T19" fmla="*/ 2147483647 h 13"/>
                    <a:gd name="T20" fmla="*/ 2147483647 w 13"/>
                    <a:gd name="T21" fmla="*/ 2147483647 h 13"/>
                    <a:gd name="T22" fmla="*/ 2147483647 w 13"/>
                    <a:gd name="T23" fmla="*/ 2147483647 h 13"/>
                    <a:gd name="T24" fmla="*/ 2147483647 w 13"/>
                    <a:gd name="T25" fmla="*/ 0 h 13"/>
                    <a:gd name="T26" fmla="*/ 2147483647 w 13"/>
                    <a:gd name="T27" fmla="*/ 0 h 13"/>
                    <a:gd name="T28" fmla="*/ 2147483647 w 13"/>
                    <a:gd name="T29" fmla="*/ 0 h 13"/>
                    <a:gd name="T30" fmla="*/ 2147483647 w 13"/>
                    <a:gd name="T31" fmla="*/ 2147483647 h 13"/>
                    <a:gd name="T32" fmla="*/ 2147483647 w 13"/>
                    <a:gd name="T33" fmla="*/ 2147483647 h 13"/>
                    <a:gd name="T34" fmla="*/ 2147483647 w 13"/>
                    <a:gd name="T35" fmla="*/ 2147483647 h 13"/>
                    <a:gd name="T36" fmla="*/ 2147483647 w 13"/>
                    <a:gd name="T37" fmla="*/ 2147483647 h 13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"/>
                    <a:gd name="T58" fmla="*/ 0 h 13"/>
                    <a:gd name="T59" fmla="*/ 13 w 13"/>
                    <a:gd name="T60" fmla="*/ 13 h 13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" h="13">
                      <a:moveTo>
                        <a:pt x="11" y="9"/>
                      </a:moveTo>
                      <a:lnTo>
                        <a:pt x="11" y="9"/>
                      </a:lnTo>
                      <a:lnTo>
                        <a:pt x="10" y="12"/>
                      </a:lnTo>
                      <a:lnTo>
                        <a:pt x="8" y="13"/>
                      </a:lnTo>
                      <a:lnTo>
                        <a:pt x="5" y="13"/>
                      </a:lnTo>
                      <a:lnTo>
                        <a:pt x="2" y="12"/>
                      </a:lnTo>
                      <a:lnTo>
                        <a:pt x="1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13" y="4"/>
                      </a:lnTo>
                      <a:lnTo>
                        <a:pt x="11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5" name="Freeform 461">
                  <a:extLst>
                    <a:ext uri="{FF2B5EF4-FFF2-40B4-BE49-F238E27FC236}">
                      <a16:creationId xmlns:a16="http://schemas.microsoft.com/office/drawing/2014/main" id="{3B2DAA30-7E4B-864D-B27F-E6FEBD1100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2356" y="3776314"/>
                  <a:ext cx="28117" cy="25158"/>
                </a:xfrm>
                <a:custGeom>
                  <a:avLst/>
                  <a:gdLst>
                    <a:gd name="T0" fmla="*/ 2147483647 w 20"/>
                    <a:gd name="T1" fmla="*/ 2147483647 h 17"/>
                    <a:gd name="T2" fmla="*/ 2147483647 w 20"/>
                    <a:gd name="T3" fmla="*/ 0 h 17"/>
                    <a:gd name="T4" fmla="*/ 2147483647 w 20"/>
                    <a:gd name="T5" fmla="*/ 2147483647 h 17"/>
                    <a:gd name="T6" fmla="*/ 2147483647 w 20"/>
                    <a:gd name="T7" fmla="*/ 2147483647 h 17"/>
                    <a:gd name="T8" fmla="*/ 2147483647 w 20"/>
                    <a:gd name="T9" fmla="*/ 2147483647 h 17"/>
                    <a:gd name="T10" fmla="*/ 2147483647 w 20"/>
                    <a:gd name="T11" fmla="*/ 2147483647 h 17"/>
                    <a:gd name="T12" fmla="*/ 2147483647 w 20"/>
                    <a:gd name="T13" fmla="*/ 2147483647 h 17"/>
                    <a:gd name="T14" fmla="*/ 2147483647 w 20"/>
                    <a:gd name="T15" fmla="*/ 2147483647 h 17"/>
                    <a:gd name="T16" fmla="*/ 2147483647 w 20"/>
                    <a:gd name="T17" fmla="*/ 2147483647 h 17"/>
                    <a:gd name="T18" fmla="*/ 2147483647 w 20"/>
                    <a:gd name="T19" fmla="*/ 2147483647 h 17"/>
                    <a:gd name="T20" fmla="*/ 2147483647 w 20"/>
                    <a:gd name="T21" fmla="*/ 2147483647 h 17"/>
                    <a:gd name="T22" fmla="*/ 2147483647 w 20"/>
                    <a:gd name="T23" fmla="*/ 2147483647 h 17"/>
                    <a:gd name="T24" fmla="*/ 0 w 20"/>
                    <a:gd name="T25" fmla="*/ 2147483647 h 17"/>
                    <a:gd name="T26" fmla="*/ 0 w 20"/>
                    <a:gd name="T27" fmla="*/ 2147483647 h 17"/>
                    <a:gd name="T28" fmla="*/ 2147483647 w 20"/>
                    <a:gd name="T29" fmla="*/ 2147483647 h 17"/>
                    <a:gd name="T30" fmla="*/ 2147483647 w 20"/>
                    <a:gd name="T31" fmla="*/ 2147483647 h 17"/>
                    <a:gd name="T32" fmla="*/ 2147483647 w 20"/>
                    <a:gd name="T33" fmla="*/ 2147483647 h 17"/>
                    <a:gd name="T34" fmla="*/ 2147483647 w 20"/>
                    <a:gd name="T35" fmla="*/ 2147483647 h 17"/>
                    <a:gd name="T36" fmla="*/ 2147483647 w 20"/>
                    <a:gd name="T37" fmla="*/ 2147483647 h 17"/>
                    <a:gd name="T38" fmla="*/ 2147483647 w 20"/>
                    <a:gd name="T39" fmla="*/ 2147483647 h 1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"/>
                    <a:gd name="T61" fmla="*/ 0 h 17"/>
                    <a:gd name="T62" fmla="*/ 20 w 20"/>
                    <a:gd name="T63" fmla="*/ 17 h 1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" h="17">
                      <a:moveTo>
                        <a:pt x="11" y="1"/>
                      </a:moveTo>
                      <a:lnTo>
                        <a:pt x="17" y="0"/>
                      </a:lnTo>
                      <a:lnTo>
                        <a:pt x="20" y="1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19" y="5"/>
                      </a:lnTo>
                      <a:lnTo>
                        <a:pt x="16" y="8"/>
                      </a:lnTo>
                      <a:lnTo>
                        <a:pt x="14" y="9"/>
                      </a:lnTo>
                      <a:lnTo>
                        <a:pt x="11" y="10"/>
                      </a:lnTo>
                      <a:lnTo>
                        <a:pt x="7" y="15"/>
                      </a:lnTo>
                      <a:lnTo>
                        <a:pt x="5" y="16"/>
                      </a:lnTo>
                      <a:lnTo>
                        <a:pt x="3" y="17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6" name="Freeform 462">
                  <a:extLst>
                    <a:ext uri="{FF2B5EF4-FFF2-40B4-BE49-F238E27FC236}">
                      <a16:creationId xmlns:a16="http://schemas.microsoft.com/office/drawing/2014/main" id="{5896AEAE-FAEA-3340-B748-1C0874FC45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5537" y="3490699"/>
                  <a:ext cx="20718" cy="11839"/>
                </a:xfrm>
                <a:custGeom>
                  <a:avLst/>
                  <a:gdLst>
                    <a:gd name="T0" fmla="*/ 2147483647 w 15"/>
                    <a:gd name="T1" fmla="*/ 0 h 8"/>
                    <a:gd name="T2" fmla="*/ 2147483647 w 15"/>
                    <a:gd name="T3" fmla="*/ 0 h 8"/>
                    <a:gd name="T4" fmla="*/ 2147483647 w 15"/>
                    <a:gd name="T5" fmla="*/ 2147483647 h 8"/>
                    <a:gd name="T6" fmla="*/ 2147483647 w 15"/>
                    <a:gd name="T7" fmla="*/ 2147483647 h 8"/>
                    <a:gd name="T8" fmla="*/ 2147483647 w 15"/>
                    <a:gd name="T9" fmla="*/ 2147483647 h 8"/>
                    <a:gd name="T10" fmla="*/ 2147483647 w 15"/>
                    <a:gd name="T11" fmla="*/ 2147483647 h 8"/>
                    <a:gd name="T12" fmla="*/ 2147483647 w 15"/>
                    <a:gd name="T13" fmla="*/ 2147483647 h 8"/>
                    <a:gd name="T14" fmla="*/ 2147483647 w 15"/>
                    <a:gd name="T15" fmla="*/ 2147483647 h 8"/>
                    <a:gd name="T16" fmla="*/ 0 w 15"/>
                    <a:gd name="T17" fmla="*/ 2147483647 h 8"/>
                    <a:gd name="T18" fmla="*/ 0 w 15"/>
                    <a:gd name="T19" fmla="*/ 2147483647 h 8"/>
                    <a:gd name="T20" fmla="*/ 0 w 15"/>
                    <a:gd name="T21" fmla="*/ 2147483647 h 8"/>
                    <a:gd name="T22" fmla="*/ 2147483647 w 15"/>
                    <a:gd name="T23" fmla="*/ 0 h 8"/>
                    <a:gd name="T24" fmla="*/ 2147483647 w 15"/>
                    <a:gd name="T25" fmla="*/ 0 h 8"/>
                    <a:gd name="T26" fmla="*/ 2147483647 w 15"/>
                    <a:gd name="T27" fmla="*/ 2147483647 h 8"/>
                    <a:gd name="T28" fmla="*/ 2147483647 w 15"/>
                    <a:gd name="T29" fmla="*/ 0 h 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5"/>
                    <a:gd name="T46" fmla="*/ 0 h 8"/>
                    <a:gd name="T47" fmla="*/ 15 w 15"/>
                    <a:gd name="T48" fmla="*/ 8 h 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5" h="8">
                      <a:moveTo>
                        <a:pt x="10" y="0"/>
                      </a:moveTo>
                      <a:lnTo>
                        <a:pt x="13" y="0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4" y="6"/>
                      </a:lnTo>
                      <a:lnTo>
                        <a:pt x="9" y="8"/>
                      </a:lnTo>
                      <a:lnTo>
                        <a:pt x="4" y="8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8" y="2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7" name="Freeform 463">
                  <a:extLst>
                    <a:ext uri="{FF2B5EF4-FFF2-40B4-BE49-F238E27FC236}">
                      <a16:creationId xmlns:a16="http://schemas.microsoft.com/office/drawing/2014/main" id="{E91B6813-D3FF-0947-B6E4-21F6650B20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9397" y="3773354"/>
                  <a:ext cx="29597" cy="26638"/>
                </a:xfrm>
                <a:custGeom>
                  <a:avLst/>
                  <a:gdLst>
                    <a:gd name="T0" fmla="*/ 2147483647 w 21"/>
                    <a:gd name="T1" fmla="*/ 2147483647 h 18"/>
                    <a:gd name="T2" fmla="*/ 2147483647 w 21"/>
                    <a:gd name="T3" fmla="*/ 2147483647 h 18"/>
                    <a:gd name="T4" fmla="*/ 2147483647 w 21"/>
                    <a:gd name="T5" fmla="*/ 0 h 18"/>
                    <a:gd name="T6" fmla="*/ 2147483647 w 21"/>
                    <a:gd name="T7" fmla="*/ 2147483647 h 18"/>
                    <a:gd name="T8" fmla="*/ 2147483647 w 21"/>
                    <a:gd name="T9" fmla="*/ 2147483647 h 18"/>
                    <a:gd name="T10" fmla="*/ 2147483647 w 21"/>
                    <a:gd name="T11" fmla="*/ 2147483647 h 18"/>
                    <a:gd name="T12" fmla="*/ 2147483647 w 21"/>
                    <a:gd name="T13" fmla="*/ 2147483647 h 18"/>
                    <a:gd name="T14" fmla="*/ 2147483647 w 21"/>
                    <a:gd name="T15" fmla="*/ 2147483647 h 18"/>
                    <a:gd name="T16" fmla="*/ 2147483647 w 21"/>
                    <a:gd name="T17" fmla="*/ 2147483647 h 18"/>
                    <a:gd name="T18" fmla="*/ 2147483647 w 21"/>
                    <a:gd name="T19" fmla="*/ 2147483647 h 18"/>
                    <a:gd name="T20" fmla="*/ 2147483647 w 21"/>
                    <a:gd name="T21" fmla="*/ 2147483647 h 18"/>
                    <a:gd name="T22" fmla="*/ 2147483647 w 21"/>
                    <a:gd name="T23" fmla="*/ 2147483647 h 18"/>
                    <a:gd name="T24" fmla="*/ 2147483647 w 21"/>
                    <a:gd name="T25" fmla="*/ 2147483647 h 18"/>
                    <a:gd name="T26" fmla="*/ 2147483647 w 21"/>
                    <a:gd name="T27" fmla="*/ 2147483647 h 18"/>
                    <a:gd name="T28" fmla="*/ 2147483647 w 21"/>
                    <a:gd name="T29" fmla="*/ 2147483647 h 18"/>
                    <a:gd name="T30" fmla="*/ 2147483647 w 21"/>
                    <a:gd name="T31" fmla="*/ 2147483647 h 18"/>
                    <a:gd name="T32" fmla="*/ 2147483647 w 21"/>
                    <a:gd name="T33" fmla="*/ 2147483647 h 18"/>
                    <a:gd name="T34" fmla="*/ 0 w 21"/>
                    <a:gd name="T35" fmla="*/ 2147483647 h 18"/>
                    <a:gd name="T36" fmla="*/ 0 w 21"/>
                    <a:gd name="T37" fmla="*/ 2147483647 h 18"/>
                    <a:gd name="T38" fmla="*/ 2147483647 w 21"/>
                    <a:gd name="T39" fmla="*/ 2147483647 h 18"/>
                    <a:gd name="T40" fmla="*/ 2147483647 w 21"/>
                    <a:gd name="T41" fmla="*/ 2147483647 h 18"/>
                    <a:gd name="T42" fmla="*/ 2147483647 w 21"/>
                    <a:gd name="T43" fmla="*/ 2147483647 h 18"/>
                    <a:gd name="T44" fmla="*/ 2147483647 w 21"/>
                    <a:gd name="T45" fmla="*/ 2147483647 h 18"/>
                    <a:gd name="T46" fmla="*/ 2147483647 w 21"/>
                    <a:gd name="T47" fmla="*/ 2147483647 h 18"/>
                    <a:gd name="T48" fmla="*/ 2147483647 w 21"/>
                    <a:gd name="T49" fmla="*/ 2147483647 h 18"/>
                    <a:gd name="T50" fmla="*/ 2147483647 w 21"/>
                    <a:gd name="T51" fmla="*/ 2147483647 h 18"/>
                    <a:gd name="T52" fmla="*/ 2147483647 w 21"/>
                    <a:gd name="T53" fmla="*/ 2147483647 h 1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1"/>
                    <a:gd name="T82" fmla="*/ 0 h 18"/>
                    <a:gd name="T83" fmla="*/ 21 w 21"/>
                    <a:gd name="T84" fmla="*/ 18 h 1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1" h="18"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8" y="0"/>
                      </a:lnTo>
                      <a:lnTo>
                        <a:pt x="21" y="2"/>
                      </a:lnTo>
                      <a:lnTo>
                        <a:pt x="21" y="3"/>
                      </a:lnTo>
                      <a:lnTo>
                        <a:pt x="21" y="4"/>
                      </a:lnTo>
                      <a:lnTo>
                        <a:pt x="19" y="6"/>
                      </a:lnTo>
                      <a:lnTo>
                        <a:pt x="17" y="9"/>
                      </a:lnTo>
                      <a:lnTo>
                        <a:pt x="14" y="10"/>
                      </a:lnTo>
                      <a:lnTo>
                        <a:pt x="12" y="11"/>
                      </a:lnTo>
                      <a:lnTo>
                        <a:pt x="8" y="16"/>
                      </a:lnTo>
                      <a:lnTo>
                        <a:pt x="5" y="17"/>
                      </a:lnTo>
                      <a:lnTo>
                        <a:pt x="4" y="18"/>
                      </a:lnTo>
                      <a:lnTo>
                        <a:pt x="0" y="17"/>
                      </a:lnTo>
                      <a:lnTo>
                        <a:pt x="0" y="13"/>
                      </a:lnTo>
                      <a:lnTo>
                        <a:pt x="2" y="6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8" name="Freeform 464">
                  <a:extLst>
                    <a:ext uri="{FF2B5EF4-FFF2-40B4-BE49-F238E27FC236}">
                      <a16:creationId xmlns:a16="http://schemas.microsoft.com/office/drawing/2014/main" id="{8576020B-0FEE-2549-BED8-D15DFCEC9E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4057" y="3489220"/>
                  <a:ext cx="20718" cy="10360"/>
                </a:xfrm>
                <a:custGeom>
                  <a:avLst/>
                  <a:gdLst>
                    <a:gd name="T0" fmla="*/ 2147483647 w 15"/>
                    <a:gd name="T1" fmla="*/ 0 h 7"/>
                    <a:gd name="T2" fmla="*/ 2147483647 w 15"/>
                    <a:gd name="T3" fmla="*/ 0 h 7"/>
                    <a:gd name="T4" fmla="*/ 2147483647 w 15"/>
                    <a:gd name="T5" fmla="*/ 0 h 7"/>
                    <a:gd name="T6" fmla="*/ 2147483647 w 15"/>
                    <a:gd name="T7" fmla="*/ 2147483647 h 7"/>
                    <a:gd name="T8" fmla="*/ 2147483647 w 15"/>
                    <a:gd name="T9" fmla="*/ 2147483647 h 7"/>
                    <a:gd name="T10" fmla="*/ 2147483647 w 15"/>
                    <a:gd name="T11" fmla="*/ 2147483647 h 7"/>
                    <a:gd name="T12" fmla="*/ 2147483647 w 15"/>
                    <a:gd name="T13" fmla="*/ 2147483647 h 7"/>
                    <a:gd name="T14" fmla="*/ 2147483647 w 15"/>
                    <a:gd name="T15" fmla="*/ 2147483647 h 7"/>
                    <a:gd name="T16" fmla="*/ 2147483647 w 15"/>
                    <a:gd name="T17" fmla="*/ 2147483647 h 7"/>
                    <a:gd name="T18" fmla="*/ 2147483647 w 15"/>
                    <a:gd name="T19" fmla="*/ 2147483647 h 7"/>
                    <a:gd name="T20" fmla="*/ 0 w 15"/>
                    <a:gd name="T21" fmla="*/ 2147483647 h 7"/>
                    <a:gd name="T22" fmla="*/ 0 w 15"/>
                    <a:gd name="T23" fmla="*/ 2147483647 h 7"/>
                    <a:gd name="T24" fmla="*/ 0 w 15"/>
                    <a:gd name="T25" fmla="*/ 2147483647 h 7"/>
                    <a:gd name="T26" fmla="*/ 0 w 15"/>
                    <a:gd name="T27" fmla="*/ 2147483647 h 7"/>
                    <a:gd name="T28" fmla="*/ 2147483647 w 15"/>
                    <a:gd name="T29" fmla="*/ 0 h 7"/>
                    <a:gd name="T30" fmla="*/ 2147483647 w 15"/>
                    <a:gd name="T31" fmla="*/ 0 h 7"/>
                    <a:gd name="T32" fmla="*/ 2147483647 w 15"/>
                    <a:gd name="T33" fmla="*/ 2147483647 h 7"/>
                    <a:gd name="T34" fmla="*/ 2147483647 w 15"/>
                    <a:gd name="T35" fmla="*/ 0 h 7"/>
                    <a:gd name="T36" fmla="*/ 2147483647 w 15"/>
                    <a:gd name="T37" fmla="*/ 0 h 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"/>
                    <a:gd name="T58" fmla="*/ 0 h 7"/>
                    <a:gd name="T59" fmla="*/ 15 w 15"/>
                    <a:gd name="T60" fmla="*/ 7 h 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" h="7">
                      <a:moveTo>
                        <a:pt x="10" y="0"/>
                      </a:moveTo>
                      <a:lnTo>
                        <a:pt x="10" y="0"/>
                      </a:lnTo>
                      <a:lnTo>
                        <a:pt x="13" y="0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4" y="6"/>
                      </a:lnTo>
                      <a:lnTo>
                        <a:pt x="9" y="7"/>
                      </a:lnTo>
                      <a:lnTo>
                        <a:pt x="4" y="7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9" name="Freeform 465">
                  <a:extLst>
                    <a:ext uri="{FF2B5EF4-FFF2-40B4-BE49-F238E27FC236}">
                      <a16:creationId xmlns:a16="http://schemas.microsoft.com/office/drawing/2014/main" id="{195A3C0B-0870-4740-A632-3796DFDD95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7056" y="3458146"/>
                  <a:ext cx="7400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0 w 6"/>
                    <a:gd name="T3" fmla="*/ 2147483647 h 6"/>
                    <a:gd name="T4" fmla="*/ 0 w 6"/>
                    <a:gd name="T5" fmla="*/ 0 h 6"/>
                    <a:gd name="T6" fmla="*/ 2147483647 w 6"/>
                    <a:gd name="T7" fmla="*/ 0 h 6"/>
                    <a:gd name="T8" fmla="*/ 2147483647 w 6"/>
                    <a:gd name="T9" fmla="*/ 2147483647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1" y="3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0" name="Freeform 466">
                  <a:extLst>
                    <a:ext uri="{FF2B5EF4-FFF2-40B4-BE49-F238E27FC236}">
                      <a16:creationId xmlns:a16="http://schemas.microsoft.com/office/drawing/2014/main" id="{DD1C2323-182A-D343-8B37-E18EF9C30E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7822" y="3461103"/>
                  <a:ext cx="7399" cy="10359"/>
                </a:xfrm>
                <a:custGeom>
                  <a:avLst/>
                  <a:gdLst>
                    <a:gd name="T0" fmla="*/ 0 w 6"/>
                    <a:gd name="T1" fmla="*/ 2147483647 h 7"/>
                    <a:gd name="T2" fmla="*/ 0 w 6"/>
                    <a:gd name="T3" fmla="*/ 2147483647 h 7"/>
                    <a:gd name="T4" fmla="*/ 0 w 6"/>
                    <a:gd name="T5" fmla="*/ 0 h 7"/>
                    <a:gd name="T6" fmla="*/ 2147483647 w 6"/>
                    <a:gd name="T7" fmla="*/ 0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0 w 6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7"/>
                    <a:gd name="T32" fmla="*/ 6 w 6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7">
                      <a:moveTo>
                        <a:pt x="0" y="5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3"/>
                      </a:lnTo>
                      <a:lnTo>
                        <a:pt x="6" y="5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1" name="Freeform 467">
                  <a:extLst>
                    <a:ext uri="{FF2B5EF4-FFF2-40B4-BE49-F238E27FC236}">
                      <a16:creationId xmlns:a16="http://schemas.microsoft.com/office/drawing/2014/main" id="{22606729-2047-8E40-8270-27BC75D4AE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580" y="3456665"/>
                  <a:ext cx="7399" cy="8879"/>
                </a:xfrm>
                <a:custGeom>
                  <a:avLst/>
                  <a:gdLst>
                    <a:gd name="T0" fmla="*/ 2147483647 w 6"/>
                    <a:gd name="T1" fmla="*/ 2147483647 h 6"/>
                    <a:gd name="T2" fmla="*/ 2147483647 w 6"/>
                    <a:gd name="T3" fmla="*/ 2147483647 h 6"/>
                    <a:gd name="T4" fmla="*/ 0 w 6"/>
                    <a:gd name="T5" fmla="*/ 2147483647 h 6"/>
                    <a:gd name="T6" fmla="*/ 0 w 6"/>
                    <a:gd name="T7" fmla="*/ 0 h 6"/>
                    <a:gd name="T8" fmla="*/ 0 w 6"/>
                    <a:gd name="T9" fmla="*/ 0 h 6"/>
                    <a:gd name="T10" fmla="*/ 2147483647 w 6"/>
                    <a:gd name="T11" fmla="*/ 0 h 6"/>
                    <a:gd name="T12" fmla="*/ 2147483647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2147483647 w 6"/>
                    <a:gd name="T21" fmla="*/ 2147483647 h 6"/>
                    <a:gd name="T22" fmla="*/ 2147483647 w 6"/>
                    <a:gd name="T23" fmla="*/ 2147483647 h 6"/>
                    <a:gd name="T24" fmla="*/ 2147483647 w 6"/>
                    <a:gd name="T25" fmla="*/ 2147483647 h 6"/>
                    <a:gd name="T26" fmla="*/ 2147483647 w 6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6"/>
                    <a:gd name="T44" fmla="*/ 6 w 6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6">
                      <a:moveTo>
                        <a:pt x="1" y="3"/>
                      </a:move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2" y="4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2" name="Freeform 468">
                  <a:extLst>
                    <a:ext uri="{FF2B5EF4-FFF2-40B4-BE49-F238E27FC236}">
                      <a16:creationId xmlns:a16="http://schemas.microsoft.com/office/drawing/2014/main" id="{A01158FA-26FC-0D4C-B8F9-F3C83A7BA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6338" y="3459625"/>
                  <a:ext cx="7400" cy="10360"/>
                </a:xfrm>
                <a:custGeom>
                  <a:avLst/>
                  <a:gdLst>
                    <a:gd name="T0" fmla="*/ 0 w 6"/>
                    <a:gd name="T1" fmla="*/ 2147483647 h 7"/>
                    <a:gd name="T2" fmla="*/ 0 w 6"/>
                    <a:gd name="T3" fmla="*/ 2147483647 h 7"/>
                    <a:gd name="T4" fmla="*/ 0 w 6"/>
                    <a:gd name="T5" fmla="*/ 2147483647 h 7"/>
                    <a:gd name="T6" fmla="*/ 0 w 6"/>
                    <a:gd name="T7" fmla="*/ 0 h 7"/>
                    <a:gd name="T8" fmla="*/ 0 w 6"/>
                    <a:gd name="T9" fmla="*/ 0 h 7"/>
                    <a:gd name="T10" fmla="*/ 2147483647 w 6"/>
                    <a:gd name="T11" fmla="*/ 0 h 7"/>
                    <a:gd name="T12" fmla="*/ 2147483647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2147483647 w 6"/>
                    <a:gd name="T23" fmla="*/ 2147483647 h 7"/>
                    <a:gd name="T24" fmla="*/ 0 w 6"/>
                    <a:gd name="T25" fmla="*/ 2147483647 h 7"/>
                    <a:gd name="T26" fmla="*/ 0 w 6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7"/>
                    <a:gd name="T44" fmla="*/ 6 w 6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7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lnTo>
                        <a:pt x="6" y="5"/>
                      </a:ln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3" name="Freeform 469">
                  <a:extLst>
                    <a:ext uri="{FF2B5EF4-FFF2-40B4-BE49-F238E27FC236}">
                      <a16:creationId xmlns:a16="http://schemas.microsoft.com/office/drawing/2014/main" id="{88177D9F-65D7-624A-80CC-E70F9AA384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8580" y="3467022"/>
                  <a:ext cx="19239" cy="11839"/>
                </a:xfrm>
                <a:custGeom>
                  <a:avLst/>
                  <a:gdLst>
                    <a:gd name="T0" fmla="*/ 2147483647 w 14"/>
                    <a:gd name="T1" fmla="*/ 2147483647 h 8"/>
                    <a:gd name="T2" fmla="*/ 2147483647 w 14"/>
                    <a:gd name="T3" fmla="*/ 2147483647 h 8"/>
                    <a:gd name="T4" fmla="*/ 2147483647 w 14"/>
                    <a:gd name="T5" fmla="*/ 2147483647 h 8"/>
                    <a:gd name="T6" fmla="*/ 2147483647 w 14"/>
                    <a:gd name="T7" fmla="*/ 2147483647 h 8"/>
                    <a:gd name="T8" fmla="*/ 2147483647 w 14"/>
                    <a:gd name="T9" fmla="*/ 2147483647 h 8"/>
                    <a:gd name="T10" fmla="*/ 2147483647 w 14"/>
                    <a:gd name="T11" fmla="*/ 2147483647 h 8"/>
                    <a:gd name="T12" fmla="*/ 2147483647 w 14"/>
                    <a:gd name="T13" fmla="*/ 2147483647 h 8"/>
                    <a:gd name="T14" fmla="*/ 2147483647 w 14"/>
                    <a:gd name="T15" fmla="*/ 2147483647 h 8"/>
                    <a:gd name="T16" fmla="*/ 0 w 14"/>
                    <a:gd name="T17" fmla="*/ 2147483647 h 8"/>
                    <a:gd name="T18" fmla="*/ 0 w 14"/>
                    <a:gd name="T19" fmla="*/ 2147483647 h 8"/>
                    <a:gd name="T20" fmla="*/ 2147483647 w 14"/>
                    <a:gd name="T21" fmla="*/ 0 h 8"/>
                    <a:gd name="T22" fmla="*/ 2147483647 w 14"/>
                    <a:gd name="T23" fmla="*/ 0 h 8"/>
                    <a:gd name="T24" fmla="*/ 2147483647 w 14"/>
                    <a:gd name="T25" fmla="*/ 2147483647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"/>
                    <a:gd name="T40" fmla="*/ 0 h 8"/>
                    <a:gd name="T41" fmla="*/ 14 w 14"/>
                    <a:gd name="T42" fmla="*/ 8 h 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" h="8">
                      <a:moveTo>
                        <a:pt x="9" y="1"/>
                      </a:moveTo>
                      <a:lnTo>
                        <a:pt x="11" y="2"/>
                      </a:lnTo>
                      <a:lnTo>
                        <a:pt x="14" y="5"/>
                      </a:lnTo>
                      <a:lnTo>
                        <a:pt x="14" y="6"/>
                      </a:lnTo>
                      <a:lnTo>
                        <a:pt x="13" y="8"/>
                      </a:lnTo>
                      <a:lnTo>
                        <a:pt x="9" y="8"/>
                      </a:lnTo>
                      <a:lnTo>
                        <a:pt x="4" y="7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9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4" name="Freeform 470">
                  <a:extLst>
                    <a:ext uri="{FF2B5EF4-FFF2-40B4-BE49-F238E27FC236}">
                      <a16:creationId xmlns:a16="http://schemas.microsoft.com/office/drawing/2014/main" id="{D0EF6F8E-5B91-F64C-92EF-B114FE27E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7013" y="4119645"/>
                  <a:ext cx="10359" cy="10360"/>
                </a:xfrm>
                <a:custGeom>
                  <a:avLst/>
                  <a:gdLst>
                    <a:gd name="T0" fmla="*/ 2147483647 w 7"/>
                    <a:gd name="T1" fmla="*/ 2147483647 h 7"/>
                    <a:gd name="T2" fmla="*/ 2147483647 w 7"/>
                    <a:gd name="T3" fmla="*/ 2147483647 h 7"/>
                    <a:gd name="T4" fmla="*/ 2147483647 w 7"/>
                    <a:gd name="T5" fmla="*/ 2147483647 h 7"/>
                    <a:gd name="T6" fmla="*/ 2147483647 w 7"/>
                    <a:gd name="T7" fmla="*/ 2147483647 h 7"/>
                    <a:gd name="T8" fmla="*/ 0 w 7"/>
                    <a:gd name="T9" fmla="*/ 2147483647 h 7"/>
                    <a:gd name="T10" fmla="*/ 0 w 7"/>
                    <a:gd name="T11" fmla="*/ 2147483647 h 7"/>
                    <a:gd name="T12" fmla="*/ 2147483647 w 7"/>
                    <a:gd name="T13" fmla="*/ 2147483647 h 7"/>
                    <a:gd name="T14" fmla="*/ 2147483647 w 7"/>
                    <a:gd name="T15" fmla="*/ 0 h 7"/>
                    <a:gd name="T16" fmla="*/ 2147483647 w 7"/>
                    <a:gd name="T17" fmla="*/ 2147483647 h 7"/>
                    <a:gd name="T18" fmla="*/ 2147483647 w 7"/>
                    <a:gd name="T19" fmla="*/ 2147483647 h 7"/>
                    <a:gd name="T20" fmla="*/ 2147483647 w 7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7"/>
                    <a:gd name="T35" fmla="*/ 7 w 7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7">
                      <a:moveTo>
                        <a:pt x="7" y="5"/>
                      </a:move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7" y="1"/>
                      </a:lnTo>
                      <a:lnTo>
                        <a:pt x="7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5" name="Freeform 471">
                  <a:extLst>
                    <a:ext uri="{FF2B5EF4-FFF2-40B4-BE49-F238E27FC236}">
                      <a16:creationId xmlns:a16="http://schemas.microsoft.com/office/drawing/2014/main" id="{B96242BE-F2E9-0647-98B5-109A4856B0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7103" y="3465540"/>
                  <a:ext cx="19238" cy="11839"/>
                </a:xfrm>
                <a:custGeom>
                  <a:avLst/>
                  <a:gdLst>
                    <a:gd name="T0" fmla="*/ 2147483647 w 14"/>
                    <a:gd name="T1" fmla="*/ 2147483647 h 8"/>
                    <a:gd name="T2" fmla="*/ 2147483647 w 14"/>
                    <a:gd name="T3" fmla="*/ 2147483647 h 8"/>
                    <a:gd name="T4" fmla="*/ 2147483647 w 14"/>
                    <a:gd name="T5" fmla="*/ 2147483647 h 8"/>
                    <a:gd name="T6" fmla="*/ 2147483647 w 14"/>
                    <a:gd name="T7" fmla="*/ 2147483647 h 8"/>
                    <a:gd name="T8" fmla="*/ 2147483647 w 14"/>
                    <a:gd name="T9" fmla="*/ 2147483647 h 8"/>
                    <a:gd name="T10" fmla="*/ 2147483647 w 14"/>
                    <a:gd name="T11" fmla="*/ 2147483647 h 8"/>
                    <a:gd name="T12" fmla="*/ 2147483647 w 14"/>
                    <a:gd name="T13" fmla="*/ 2147483647 h 8"/>
                    <a:gd name="T14" fmla="*/ 2147483647 w 14"/>
                    <a:gd name="T15" fmla="*/ 2147483647 h 8"/>
                    <a:gd name="T16" fmla="*/ 2147483647 w 14"/>
                    <a:gd name="T17" fmla="*/ 2147483647 h 8"/>
                    <a:gd name="T18" fmla="*/ 2147483647 w 14"/>
                    <a:gd name="T19" fmla="*/ 2147483647 h 8"/>
                    <a:gd name="T20" fmla="*/ 0 w 14"/>
                    <a:gd name="T21" fmla="*/ 2147483647 h 8"/>
                    <a:gd name="T22" fmla="*/ 0 w 14"/>
                    <a:gd name="T23" fmla="*/ 2147483647 h 8"/>
                    <a:gd name="T24" fmla="*/ 0 w 14"/>
                    <a:gd name="T25" fmla="*/ 2147483647 h 8"/>
                    <a:gd name="T26" fmla="*/ 2147483647 w 14"/>
                    <a:gd name="T27" fmla="*/ 0 h 8"/>
                    <a:gd name="T28" fmla="*/ 2147483647 w 14"/>
                    <a:gd name="T29" fmla="*/ 0 h 8"/>
                    <a:gd name="T30" fmla="*/ 2147483647 w 14"/>
                    <a:gd name="T31" fmla="*/ 2147483647 h 8"/>
                    <a:gd name="T32" fmla="*/ 2147483647 w 14"/>
                    <a:gd name="T33" fmla="*/ 2147483647 h 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4"/>
                    <a:gd name="T52" fmla="*/ 0 h 8"/>
                    <a:gd name="T53" fmla="*/ 14 w 14"/>
                    <a:gd name="T54" fmla="*/ 8 h 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4" h="8">
                      <a:moveTo>
                        <a:pt x="9" y="1"/>
                      </a:moveTo>
                      <a:lnTo>
                        <a:pt x="9" y="1"/>
                      </a:lnTo>
                      <a:lnTo>
                        <a:pt x="11" y="2"/>
                      </a:lnTo>
                      <a:lnTo>
                        <a:pt x="14" y="4"/>
                      </a:lnTo>
                      <a:lnTo>
                        <a:pt x="14" y="6"/>
                      </a:lnTo>
                      <a:lnTo>
                        <a:pt x="12" y="8"/>
                      </a:lnTo>
                      <a:lnTo>
                        <a:pt x="9" y="8"/>
                      </a:lnTo>
                      <a:lnTo>
                        <a:pt x="3" y="7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9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6" name="Freeform 472">
                  <a:extLst>
                    <a:ext uri="{FF2B5EF4-FFF2-40B4-BE49-F238E27FC236}">
                      <a16:creationId xmlns:a16="http://schemas.microsoft.com/office/drawing/2014/main" id="{18C64A10-5C8B-FD43-A938-EEF4ED6A8D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5534" y="4118168"/>
                  <a:ext cx="887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2147483647 h 7"/>
                    <a:gd name="T18" fmla="*/ 2147483647 w 6"/>
                    <a:gd name="T19" fmla="*/ 0 h 7"/>
                    <a:gd name="T20" fmla="*/ 2147483647 w 6"/>
                    <a:gd name="T21" fmla="*/ 0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7" name="Freeform 473">
                  <a:extLst>
                    <a:ext uri="{FF2B5EF4-FFF2-40B4-BE49-F238E27FC236}">
                      <a16:creationId xmlns:a16="http://schemas.microsoft.com/office/drawing/2014/main" id="{1CF22B41-FFC7-F64C-A5AB-F32DDEF053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0693" y="4138887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2147483647 w 7"/>
                    <a:gd name="T11" fmla="*/ 2147483647 h 6"/>
                    <a:gd name="T12" fmla="*/ 0 w 7"/>
                    <a:gd name="T13" fmla="*/ 2147483647 h 6"/>
                    <a:gd name="T14" fmla="*/ 2147483647 w 7"/>
                    <a:gd name="T15" fmla="*/ 0 h 6"/>
                    <a:gd name="T16" fmla="*/ 2147483647 w 7"/>
                    <a:gd name="T17" fmla="*/ 0 h 6"/>
                    <a:gd name="T18" fmla="*/ 2147483647 w 7"/>
                    <a:gd name="T19" fmla="*/ 0 h 6"/>
                    <a:gd name="T20" fmla="*/ 2147483647 w 7"/>
                    <a:gd name="T21" fmla="*/ 2147483647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6"/>
                    <a:gd name="T35" fmla="*/ 7 w 7"/>
                    <a:gd name="T36" fmla="*/ 6 h 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6">
                      <a:moveTo>
                        <a:pt x="7" y="1"/>
                      </a:moveTo>
                      <a:lnTo>
                        <a:pt x="7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2" y="6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8" name="Freeform 474">
                  <a:extLst>
                    <a:ext uri="{FF2B5EF4-FFF2-40B4-BE49-F238E27FC236}">
                      <a16:creationId xmlns:a16="http://schemas.microsoft.com/office/drawing/2014/main" id="{027AD113-976C-D44B-B12D-0F7CD71791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3252" y="4131489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0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1" y="4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9" name="Freeform 475">
                  <a:extLst>
                    <a:ext uri="{FF2B5EF4-FFF2-40B4-BE49-F238E27FC236}">
                      <a16:creationId xmlns:a16="http://schemas.microsoft.com/office/drawing/2014/main" id="{BD6FB419-EB50-D14E-95C2-021BE57AE7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9213" y="4137406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2147483647 w 7"/>
                    <a:gd name="T5" fmla="*/ 2147483647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2147483647 w 7"/>
                    <a:gd name="T11" fmla="*/ 2147483647 h 6"/>
                    <a:gd name="T12" fmla="*/ 2147483647 w 7"/>
                    <a:gd name="T13" fmla="*/ 2147483647 h 6"/>
                    <a:gd name="T14" fmla="*/ 2147483647 w 7"/>
                    <a:gd name="T15" fmla="*/ 2147483647 h 6"/>
                    <a:gd name="T16" fmla="*/ 0 w 7"/>
                    <a:gd name="T17" fmla="*/ 2147483647 h 6"/>
                    <a:gd name="T18" fmla="*/ 2147483647 w 7"/>
                    <a:gd name="T19" fmla="*/ 0 h 6"/>
                    <a:gd name="T20" fmla="*/ 2147483647 w 7"/>
                    <a:gd name="T21" fmla="*/ 0 h 6"/>
                    <a:gd name="T22" fmla="*/ 2147483647 w 7"/>
                    <a:gd name="T23" fmla="*/ 0 h 6"/>
                    <a:gd name="T24" fmla="*/ 2147483647 w 7"/>
                    <a:gd name="T25" fmla="*/ 0 h 6"/>
                    <a:gd name="T26" fmla="*/ 2147483647 w 7"/>
                    <a:gd name="T27" fmla="*/ 2147483647 h 6"/>
                    <a:gd name="T28" fmla="*/ 2147483647 w 7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"/>
                    <a:gd name="T46" fmla="*/ 0 h 6"/>
                    <a:gd name="T47" fmla="*/ 7 w 7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" h="6">
                      <a:moveTo>
                        <a:pt x="7" y="1"/>
                      </a:moveTo>
                      <a:lnTo>
                        <a:pt x="7" y="1"/>
                      </a:lnTo>
                      <a:lnTo>
                        <a:pt x="7" y="3"/>
                      </a:lnTo>
                      <a:lnTo>
                        <a:pt x="6" y="4"/>
                      </a:lnTo>
                      <a:lnTo>
                        <a:pt x="5" y="6"/>
                      </a:lnTo>
                      <a:lnTo>
                        <a:pt x="2" y="6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0" name="Freeform 476">
                  <a:extLst>
                    <a:ext uri="{FF2B5EF4-FFF2-40B4-BE49-F238E27FC236}">
                      <a16:creationId xmlns:a16="http://schemas.microsoft.com/office/drawing/2014/main" id="{0E5742E9-3877-C64D-A1AA-5B5F3484D7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1768" y="4130008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0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0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1" y="4"/>
                      </a:moveTo>
                      <a:lnTo>
                        <a:pt x="1" y="4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4" y="5"/>
                      </a:lnTo>
                      <a:lnTo>
                        <a:pt x="2" y="6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1" name="Freeform 477">
                  <a:extLst>
                    <a:ext uri="{FF2B5EF4-FFF2-40B4-BE49-F238E27FC236}">
                      <a16:creationId xmlns:a16="http://schemas.microsoft.com/office/drawing/2014/main" id="{54ECF847-7FE1-9F4F-A4C1-69B832E19B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4731" y="4152205"/>
                  <a:ext cx="8879" cy="8879"/>
                </a:xfrm>
                <a:custGeom>
                  <a:avLst/>
                  <a:gdLst>
                    <a:gd name="T0" fmla="*/ 0 w 7"/>
                    <a:gd name="T1" fmla="*/ 2147483647 h 6"/>
                    <a:gd name="T2" fmla="*/ 2147483647 w 7"/>
                    <a:gd name="T3" fmla="*/ 0 h 6"/>
                    <a:gd name="T4" fmla="*/ 2147483647 w 7"/>
                    <a:gd name="T5" fmla="*/ 0 h 6"/>
                    <a:gd name="T6" fmla="*/ 2147483647 w 7"/>
                    <a:gd name="T7" fmla="*/ 2147483647 h 6"/>
                    <a:gd name="T8" fmla="*/ 2147483647 w 7"/>
                    <a:gd name="T9" fmla="*/ 2147483647 h 6"/>
                    <a:gd name="T10" fmla="*/ 2147483647 w 7"/>
                    <a:gd name="T11" fmla="*/ 2147483647 h 6"/>
                    <a:gd name="T12" fmla="*/ 2147483647 w 7"/>
                    <a:gd name="T13" fmla="*/ 2147483647 h 6"/>
                    <a:gd name="T14" fmla="*/ 0 w 7"/>
                    <a:gd name="T15" fmla="*/ 2147483647 h 6"/>
                    <a:gd name="T16" fmla="*/ 0 w 7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"/>
                    <a:gd name="T28" fmla="*/ 0 h 6"/>
                    <a:gd name="T29" fmla="*/ 7 w 7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" h="6">
                      <a:moveTo>
                        <a:pt x="0" y="2"/>
                      </a:move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7" y="4"/>
                      </a:lnTo>
                      <a:lnTo>
                        <a:pt x="4" y="6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2" name="Freeform 478">
                  <a:extLst>
                    <a:ext uri="{FF2B5EF4-FFF2-40B4-BE49-F238E27FC236}">
                      <a16:creationId xmlns:a16="http://schemas.microsoft.com/office/drawing/2014/main" id="{4E1C7423-B7C6-3347-A6C4-B05A3B4894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8451" y="4183280"/>
                  <a:ext cx="8879" cy="13319"/>
                </a:xfrm>
                <a:custGeom>
                  <a:avLst/>
                  <a:gdLst>
                    <a:gd name="T0" fmla="*/ 0 w 7"/>
                    <a:gd name="T1" fmla="*/ 2147483647 h 9"/>
                    <a:gd name="T2" fmla="*/ 0 w 7"/>
                    <a:gd name="T3" fmla="*/ 0 h 9"/>
                    <a:gd name="T4" fmla="*/ 2147483647 w 7"/>
                    <a:gd name="T5" fmla="*/ 0 h 9"/>
                    <a:gd name="T6" fmla="*/ 2147483647 w 7"/>
                    <a:gd name="T7" fmla="*/ 0 h 9"/>
                    <a:gd name="T8" fmla="*/ 2147483647 w 7"/>
                    <a:gd name="T9" fmla="*/ 2147483647 h 9"/>
                    <a:gd name="T10" fmla="*/ 2147483647 w 7"/>
                    <a:gd name="T11" fmla="*/ 2147483647 h 9"/>
                    <a:gd name="T12" fmla="*/ 2147483647 w 7"/>
                    <a:gd name="T13" fmla="*/ 2147483647 h 9"/>
                    <a:gd name="T14" fmla="*/ 2147483647 w 7"/>
                    <a:gd name="T15" fmla="*/ 2147483647 h 9"/>
                    <a:gd name="T16" fmla="*/ 2147483647 w 7"/>
                    <a:gd name="T17" fmla="*/ 2147483647 h 9"/>
                    <a:gd name="T18" fmla="*/ 0 w 7"/>
                    <a:gd name="T19" fmla="*/ 2147483647 h 9"/>
                    <a:gd name="T20" fmla="*/ 0 w 7"/>
                    <a:gd name="T21" fmla="*/ 2147483647 h 9"/>
                    <a:gd name="T22" fmla="*/ 0 w 7"/>
                    <a:gd name="T23" fmla="*/ 2147483647 h 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"/>
                    <a:gd name="T37" fmla="*/ 0 h 9"/>
                    <a:gd name="T38" fmla="*/ 7 w 7"/>
                    <a:gd name="T39" fmla="*/ 9 h 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" h="9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7" y="5"/>
                      </a:lnTo>
                      <a:lnTo>
                        <a:pt x="6" y="7"/>
                      </a:lnTo>
                      <a:lnTo>
                        <a:pt x="5" y="8"/>
                      </a:lnTo>
                      <a:lnTo>
                        <a:pt x="2" y="9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3" name="Freeform 479">
                  <a:extLst>
                    <a:ext uri="{FF2B5EF4-FFF2-40B4-BE49-F238E27FC236}">
                      <a16:creationId xmlns:a16="http://schemas.microsoft.com/office/drawing/2014/main" id="{1C94CEEA-96D1-6246-82FF-F39BCFF7AE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3250" y="4150726"/>
                  <a:ext cx="8879" cy="8879"/>
                </a:xfrm>
                <a:custGeom>
                  <a:avLst/>
                  <a:gdLst>
                    <a:gd name="T0" fmla="*/ 0 w 6"/>
                    <a:gd name="T1" fmla="*/ 2147483647 h 6"/>
                    <a:gd name="T2" fmla="*/ 0 w 6"/>
                    <a:gd name="T3" fmla="*/ 2147483647 h 6"/>
                    <a:gd name="T4" fmla="*/ 2147483647 w 6"/>
                    <a:gd name="T5" fmla="*/ 0 h 6"/>
                    <a:gd name="T6" fmla="*/ 2147483647 w 6"/>
                    <a:gd name="T7" fmla="*/ 0 h 6"/>
                    <a:gd name="T8" fmla="*/ 2147483647 w 6"/>
                    <a:gd name="T9" fmla="*/ 0 h 6"/>
                    <a:gd name="T10" fmla="*/ 2147483647 w 6"/>
                    <a:gd name="T11" fmla="*/ 2147483647 h 6"/>
                    <a:gd name="T12" fmla="*/ 2147483647 w 6"/>
                    <a:gd name="T13" fmla="*/ 2147483647 h 6"/>
                    <a:gd name="T14" fmla="*/ 2147483647 w 6"/>
                    <a:gd name="T15" fmla="*/ 2147483647 h 6"/>
                    <a:gd name="T16" fmla="*/ 2147483647 w 6"/>
                    <a:gd name="T17" fmla="*/ 2147483647 h 6"/>
                    <a:gd name="T18" fmla="*/ 2147483647 w 6"/>
                    <a:gd name="T19" fmla="*/ 2147483647 h 6"/>
                    <a:gd name="T20" fmla="*/ 0 w 6"/>
                    <a:gd name="T21" fmla="*/ 2147483647 h 6"/>
                    <a:gd name="T22" fmla="*/ 0 w 6"/>
                    <a:gd name="T23" fmla="*/ 2147483647 h 6"/>
                    <a:gd name="T24" fmla="*/ 0 w 6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6"/>
                    <a:gd name="T41" fmla="*/ 6 w 6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6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4" name="Freeform 480">
                  <a:extLst>
                    <a:ext uri="{FF2B5EF4-FFF2-40B4-BE49-F238E27FC236}">
                      <a16:creationId xmlns:a16="http://schemas.microsoft.com/office/drawing/2014/main" id="{64F28557-B35C-034C-959C-63C9D47E3D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5490" y="4180323"/>
                  <a:ext cx="10359" cy="14799"/>
                </a:xfrm>
                <a:custGeom>
                  <a:avLst/>
                  <a:gdLst>
                    <a:gd name="T0" fmla="*/ 0 w 8"/>
                    <a:gd name="T1" fmla="*/ 2147483647 h 10"/>
                    <a:gd name="T2" fmla="*/ 0 w 8"/>
                    <a:gd name="T3" fmla="*/ 2147483647 h 10"/>
                    <a:gd name="T4" fmla="*/ 0 w 8"/>
                    <a:gd name="T5" fmla="*/ 0 h 10"/>
                    <a:gd name="T6" fmla="*/ 0 w 8"/>
                    <a:gd name="T7" fmla="*/ 0 h 10"/>
                    <a:gd name="T8" fmla="*/ 2147483647 w 8"/>
                    <a:gd name="T9" fmla="*/ 0 h 10"/>
                    <a:gd name="T10" fmla="*/ 2147483647 w 8"/>
                    <a:gd name="T11" fmla="*/ 0 h 10"/>
                    <a:gd name="T12" fmla="*/ 2147483647 w 8"/>
                    <a:gd name="T13" fmla="*/ 2147483647 h 10"/>
                    <a:gd name="T14" fmla="*/ 2147483647 w 8"/>
                    <a:gd name="T15" fmla="*/ 2147483647 h 10"/>
                    <a:gd name="T16" fmla="*/ 2147483647 w 8"/>
                    <a:gd name="T17" fmla="*/ 2147483647 h 10"/>
                    <a:gd name="T18" fmla="*/ 2147483647 w 8"/>
                    <a:gd name="T19" fmla="*/ 2147483647 h 10"/>
                    <a:gd name="T20" fmla="*/ 2147483647 w 8"/>
                    <a:gd name="T21" fmla="*/ 2147483647 h 10"/>
                    <a:gd name="T22" fmla="*/ 2147483647 w 8"/>
                    <a:gd name="T23" fmla="*/ 2147483647 h 10"/>
                    <a:gd name="T24" fmla="*/ 0 w 8"/>
                    <a:gd name="T25" fmla="*/ 2147483647 h 10"/>
                    <a:gd name="T26" fmla="*/ 0 w 8"/>
                    <a:gd name="T27" fmla="*/ 2147483647 h 10"/>
                    <a:gd name="T28" fmla="*/ 0 w 8"/>
                    <a:gd name="T29" fmla="*/ 2147483647 h 10"/>
                    <a:gd name="T30" fmla="*/ 0 w 8"/>
                    <a:gd name="T31" fmla="*/ 2147483647 h 1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"/>
                    <a:gd name="T49" fmla="*/ 0 h 10"/>
                    <a:gd name="T50" fmla="*/ 8 w 8"/>
                    <a:gd name="T51" fmla="*/ 10 h 1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" h="10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3"/>
                      </a:lnTo>
                      <a:lnTo>
                        <a:pt x="8" y="6"/>
                      </a:lnTo>
                      <a:lnTo>
                        <a:pt x="7" y="7"/>
                      </a:lnTo>
                      <a:lnTo>
                        <a:pt x="5" y="9"/>
                      </a:lnTo>
                      <a:lnTo>
                        <a:pt x="3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5" name="Freeform 481">
                  <a:extLst>
                    <a:ext uri="{FF2B5EF4-FFF2-40B4-BE49-F238E27FC236}">
                      <a16:creationId xmlns:a16="http://schemas.microsoft.com/office/drawing/2014/main" id="{19ACD3EC-357C-0A47-8D12-83AF9221FC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9211" y="4193639"/>
                  <a:ext cx="7400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0 w 5"/>
                    <a:gd name="T9" fmla="*/ 2147483647 h 8"/>
                    <a:gd name="T10" fmla="*/ 2147483647 w 5"/>
                    <a:gd name="T11" fmla="*/ 2147483647 h 8"/>
                    <a:gd name="T12" fmla="*/ 2147483647 w 5"/>
                    <a:gd name="T13" fmla="*/ 0 h 8"/>
                    <a:gd name="T14" fmla="*/ 2147483647 w 5"/>
                    <a:gd name="T15" fmla="*/ 0 h 8"/>
                    <a:gd name="T16" fmla="*/ 2147483647 w 5"/>
                    <a:gd name="T17" fmla="*/ 2147483647 h 8"/>
                    <a:gd name="T18" fmla="*/ 2147483647 w 5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8"/>
                    <a:gd name="T32" fmla="*/ 5 w 5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8">
                      <a:moveTo>
                        <a:pt x="5" y="6"/>
                      </a:moveTo>
                      <a:lnTo>
                        <a:pt x="3" y="8"/>
                      </a:lnTo>
                      <a:lnTo>
                        <a:pt x="2" y="8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6" name="Freeform 483">
                  <a:extLst>
                    <a:ext uri="{FF2B5EF4-FFF2-40B4-BE49-F238E27FC236}">
                      <a16:creationId xmlns:a16="http://schemas.microsoft.com/office/drawing/2014/main" id="{BBBCD6E6-154C-3143-A68F-35F92B575C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6251" y="4190680"/>
                  <a:ext cx="7400" cy="13319"/>
                </a:xfrm>
                <a:custGeom>
                  <a:avLst/>
                  <a:gdLst>
                    <a:gd name="T0" fmla="*/ 2147483647 w 5"/>
                    <a:gd name="T1" fmla="*/ 2147483647 h 9"/>
                    <a:gd name="T2" fmla="*/ 2147483647 w 5"/>
                    <a:gd name="T3" fmla="*/ 2147483647 h 9"/>
                    <a:gd name="T4" fmla="*/ 2147483647 w 5"/>
                    <a:gd name="T5" fmla="*/ 2147483647 h 9"/>
                    <a:gd name="T6" fmla="*/ 2147483647 w 5"/>
                    <a:gd name="T7" fmla="*/ 2147483647 h 9"/>
                    <a:gd name="T8" fmla="*/ 2147483647 w 5"/>
                    <a:gd name="T9" fmla="*/ 2147483647 h 9"/>
                    <a:gd name="T10" fmla="*/ 2147483647 w 5"/>
                    <a:gd name="T11" fmla="*/ 2147483647 h 9"/>
                    <a:gd name="T12" fmla="*/ 0 w 5"/>
                    <a:gd name="T13" fmla="*/ 2147483647 h 9"/>
                    <a:gd name="T14" fmla="*/ 2147483647 w 5"/>
                    <a:gd name="T15" fmla="*/ 2147483647 h 9"/>
                    <a:gd name="T16" fmla="*/ 2147483647 w 5"/>
                    <a:gd name="T17" fmla="*/ 0 h 9"/>
                    <a:gd name="T18" fmla="*/ 2147483647 w 5"/>
                    <a:gd name="T19" fmla="*/ 0 h 9"/>
                    <a:gd name="T20" fmla="*/ 2147483647 w 5"/>
                    <a:gd name="T21" fmla="*/ 0 h 9"/>
                    <a:gd name="T22" fmla="*/ 2147483647 w 5"/>
                    <a:gd name="T23" fmla="*/ 2147483647 h 9"/>
                    <a:gd name="T24" fmla="*/ 2147483647 w 5"/>
                    <a:gd name="T25" fmla="*/ 2147483647 h 9"/>
                    <a:gd name="T26" fmla="*/ 2147483647 w 5"/>
                    <a:gd name="T27" fmla="*/ 2147483647 h 9"/>
                    <a:gd name="T28" fmla="*/ 2147483647 w 5"/>
                    <a:gd name="T29" fmla="*/ 2147483647 h 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"/>
                    <a:gd name="T46" fmla="*/ 0 h 9"/>
                    <a:gd name="T47" fmla="*/ 5 w 5"/>
                    <a:gd name="T48" fmla="*/ 9 h 9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" h="9">
                      <a:moveTo>
                        <a:pt x="5" y="6"/>
                      </a:moveTo>
                      <a:lnTo>
                        <a:pt x="5" y="6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2" y="8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7" name="Freeform 501">
                  <a:extLst>
                    <a:ext uri="{FF2B5EF4-FFF2-40B4-BE49-F238E27FC236}">
                      <a16:creationId xmlns:a16="http://schemas.microsoft.com/office/drawing/2014/main" id="{46B67101-3C8F-FB4F-A9AA-A58F6093EF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7471" y="4864020"/>
                  <a:ext cx="10359" cy="11839"/>
                </a:xfrm>
                <a:custGeom>
                  <a:avLst/>
                  <a:gdLst>
                    <a:gd name="T0" fmla="*/ 2147483647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2147483647 h 8"/>
                    <a:gd name="T6" fmla="*/ 2147483647 w 8"/>
                    <a:gd name="T7" fmla="*/ 2147483647 h 8"/>
                    <a:gd name="T8" fmla="*/ 0 w 8"/>
                    <a:gd name="T9" fmla="*/ 2147483647 h 8"/>
                    <a:gd name="T10" fmla="*/ 2147483647 w 8"/>
                    <a:gd name="T11" fmla="*/ 2147483647 h 8"/>
                    <a:gd name="T12" fmla="*/ 2147483647 w 8"/>
                    <a:gd name="T13" fmla="*/ 0 h 8"/>
                    <a:gd name="T14" fmla="*/ 2147483647 w 8"/>
                    <a:gd name="T15" fmla="*/ 0 h 8"/>
                    <a:gd name="T16" fmla="*/ 2147483647 w 8"/>
                    <a:gd name="T17" fmla="*/ 0 h 8"/>
                    <a:gd name="T18" fmla="*/ 2147483647 w 8"/>
                    <a:gd name="T19" fmla="*/ 2147483647 h 8"/>
                    <a:gd name="T20" fmla="*/ 2147483647 w 8"/>
                    <a:gd name="T21" fmla="*/ 2147483647 h 8"/>
                    <a:gd name="T22" fmla="*/ 2147483647 w 8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"/>
                    <a:gd name="T37" fmla="*/ 0 h 8"/>
                    <a:gd name="T38" fmla="*/ 8 w 8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" h="8">
                      <a:moveTo>
                        <a:pt x="6" y="7"/>
                      </a:moveTo>
                      <a:lnTo>
                        <a:pt x="3" y="8"/>
                      </a:lnTo>
                      <a:lnTo>
                        <a:pt x="2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8" name="Freeform 502">
                  <a:extLst>
                    <a:ext uri="{FF2B5EF4-FFF2-40B4-BE49-F238E27FC236}">
                      <a16:creationId xmlns:a16="http://schemas.microsoft.com/office/drawing/2014/main" id="{2CA539FA-00BA-364D-B444-88D39DE216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6133" y="5091921"/>
                  <a:ext cx="11839" cy="11839"/>
                </a:xfrm>
                <a:custGeom>
                  <a:avLst/>
                  <a:gdLst>
                    <a:gd name="T0" fmla="*/ 2147483647 w 9"/>
                    <a:gd name="T1" fmla="*/ 2147483647 h 8"/>
                    <a:gd name="T2" fmla="*/ 2147483647 w 9"/>
                    <a:gd name="T3" fmla="*/ 2147483647 h 8"/>
                    <a:gd name="T4" fmla="*/ 2147483647 w 9"/>
                    <a:gd name="T5" fmla="*/ 2147483647 h 8"/>
                    <a:gd name="T6" fmla="*/ 2147483647 w 9"/>
                    <a:gd name="T7" fmla="*/ 2147483647 h 8"/>
                    <a:gd name="T8" fmla="*/ 2147483647 w 9"/>
                    <a:gd name="T9" fmla="*/ 2147483647 h 8"/>
                    <a:gd name="T10" fmla="*/ 2147483647 w 9"/>
                    <a:gd name="T11" fmla="*/ 2147483647 h 8"/>
                    <a:gd name="T12" fmla="*/ 0 w 9"/>
                    <a:gd name="T13" fmla="*/ 2147483647 h 8"/>
                    <a:gd name="T14" fmla="*/ 2147483647 w 9"/>
                    <a:gd name="T15" fmla="*/ 2147483647 h 8"/>
                    <a:gd name="T16" fmla="*/ 2147483647 w 9"/>
                    <a:gd name="T17" fmla="*/ 0 h 8"/>
                    <a:gd name="T18" fmla="*/ 2147483647 w 9"/>
                    <a:gd name="T19" fmla="*/ 0 h 8"/>
                    <a:gd name="T20" fmla="*/ 2147483647 w 9"/>
                    <a:gd name="T21" fmla="*/ 2147483647 h 8"/>
                    <a:gd name="T22" fmla="*/ 2147483647 w 9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9"/>
                    <a:gd name="T37" fmla="*/ 0 h 8"/>
                    <a:gd name="T38" fmla="*/ 9 w 9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9" h="8">
                      <a:moveTo>
                        <a:pt x="9" y="3"/>
                      </a:move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7" y="8"/>
                      </a:lnTo>
                      <a:lnTo>
                        <a:pt x="4" y="8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9" name="Freeform 503">
                  <a:extLst>
                    <a:ext uri="{FF2B5EF4-FFF2-40B4-BE49-F238E27FC236}">
                      <a16:creationId xmlns:a16="http://schemas.microsoft.com/office/drawing/2014/main" id="{7338A48E-E084-CF40-838F-904D25794F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4512" y="4861061"/>
                  <a:ext cx="11839" cy="13319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2147483647 h 9"/>
                    <a:gd name="T8" fmla="*/ 2147483647 w 9"/>
                    <a:gd name="T9" fmla="*/ 2147483647 h 9"/>
                    <a:gd name="T10" fmla="*/ 2147483647 w 9"/>
                    <a:gd name="T11" fmla="*/ 2147483647 h 9"/>
                    <a:gd name="T12" fmla="*/ 0 w 9"/>
                    <a:gd name="T13" fmla="*/ 2147483647 h 9"/>
                    <a:gd name="T14" fmla="*/ 2147483647 w 9"/>
                    <a:gd name="T15" fmla="*/ 2147483647 h 9"/>
                    <a:gd name="T16" fmla="*/ 2147483647 w 9"/>
                    <a:gd name="T17" fmla="*/ 0 h 9"/>
                    <a:gd name="T18" fmla="*/ 2147483647 w 9"/>
                    <a:gd name="T19" fmla="*/ 0 h 9"/>
                    <a:gd name="T20" fmla="*/ 2147483647 w 9"/>
                    <a:gd name="T21" fmla="*/ 0 h 9"/>
                    <a:gd name="T22" fmla="*/ 2147483647 w 9"/>
                    <a:gd name="T23" fmla="*/ 0 h 9"/>
                    <a:gd name="T24" fmla="*/ 2147483647 w 9"/>
                    <a:gd name="T25" fmla="*/ 2147483647 h 9"/>
                    <a:gd name="T26" fmla="*/ 2147483647 w 9"/>
                    <a:gd name="T27" fmla="*/ 2147483647 h 9"/>
                    <a:gd name="T28" fmla="*/ 2147483647 w 9"/>
                    <a:gd name="T29" fmla="*/ 2147483647 h 9"/>
                    <a:gd name="T30" fmla="*/ 2147483647 w 9"/>
                    <a:gd name="T31" fmla="*/ 2147483647 h 9"/>
                    <a:gd name="T32" fmla="*/ 2147483647 w 9"/>
                    <a:gd name="T33" fmla="*/ 2147483647 h 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9"/>
                    <a:gd name="T52" fmla="*/ 0 h 9"/>
                    <a:gd name="T53" fmla="*/ 9 w 9"/>
                    <a:gd name="T54" fmla="*/ 9 h 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9" h="9">
                      <a:moveTo>
                        <a:pt x="7" y="7"/>
                      </a:moveTo>
                      <a:lnTo>
                        <a:pt x="7" y="7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2" y="7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0" name="Freeform 504">
                  <a:extLst>
                    <a:ext uri="{FF2B5EF4-FFF2-40B4-BE49-F238E27FC236}">
                      <a16:creationId xmlns:a16="http://schemas.microsoft.com/office/drawing/2014/main" id="{80581F3A-E945-2441-B8A3-69D98E55BA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4653" y="5088965"/>
                  <a:ext cx="11839" cy="13319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2147483647 h 9"/>
                    <a:gd name="T8" fmla="*/ 2147483647 w 9"/>
                    <a:gd name="T9" fmla="*/ 2147483647 h 9"/>
                    <a:gd name="T10" fmla="*/ 2147483647 w 9"/>
                    <a:gd name="T11" fmla="*/ 2147483647 h 9"/>
                    <a:gd name="T12" fmla="*/ 2147483647 w 9"/>
                    <a:gd name="T13" fmla="*/ 2147483647 h 9"/>
                    <a:gd name="T14" fmla="*/ 2147483647 w 9"/>
                    <a:gd name="T15" fmla="*/ 2147483647 h 9"/>
                    <a:gd name="T16" fmla="*/ 0 w 9"/>
                    <a:gd name="T17" fmla="*/ 2147483647 h 9"/>
                    <a:gd name="T18" fmla="*/ 0 w 9"/>
                    <a:gd name="T19" fmla="*/ 2147483647 h 9"/>
                    <a:gd name="T20" fmla="*/ 2147483647 w 9"/>
                    <a:gd name="T21" fmla="*/ 2147483647 h 9"/>
                    <a:gd name="T22" fmla="*/ 2147483647 w 9"/>
                    <a:gd name="T23" fmla="*/ 0 h 9"/>
                    <a:gd name="T24" fmla="*/ 2147483647 w 9"/>
                    <a:gd name="T25" fmla="*/ 0 h 9"/>
                    <a:gd name="T26" fmla="*/ 2147483647 w 9"/>
                    <a:gd name="T27" fmla="*/ 0 h 9"/>
                    <a:gd name="T28" fmla="*/ 2147483647 w 9"/>
                    <a:gd name="T29" fmla="*/ 2147483647 h 9"/>
                    <a:gd name="T30" fmla="*/ 2147483647 w 9"/>
                    <a:gd name="T31" fmla="*/ 2147483647 h 9"/>
                    <a:gd name="T32" fmla="*/ 2147483647 w 9"/>
                    <a:gd name="T33" fmla="*/ 2147483647 h 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9"/>
                    <a:gd name="T52" fmla="*/ 0 h 9"/>
                    <a:gd name="T53" fmla="*/ 9 w 9"/>
                    <a:gd name="T54" fmla="*/ 9 h 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9" h="9">
                      <a:moveTo>
                        <a:pt x="9" y="4"/>
                      </a:move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9" y="8"/>
                      </a:lnTo>
                      <a:lnTo>
                        <a:pt x="6" y="9"/>
                      </a:lnTo>
                      <a:lnTo>
                        <a:pt x="4" y="9"/>
                      </a:ln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9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1" name="Freeform 505">
                  <a:extLst>
                    <a:ext uri="{FF2B5EF4-FFF2-40B4-BE49-F238E27FC236}">
                      <a16:creationId xmlns:a16="http://schemas.microsoft.com/office/drawing/2014/main" id="{6AEF6742-E763-D146-A434-0DC80FACE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1871" y="5768222"/>
                  <a:ext cx="7399" cy="10360"/>
                </a:xfrm>
                <a:custGeom>
                  <a:avLst/>
                  <a:gdLst>
                    <a:gd name="T0" fmla="*/ 0 w 5"/>
                    <a:gd name="T1" fmla="*/ 2147483647 h 7"/>
                    <a:gd name="T2" fmla="*/ 0 w 5"/>
                    <a:gd name="T3" fmla="*/ 2147483647 h 7"/>
                    <a:gd name="T4" fmla="*/ 2147483647 w 5"/>
                    <a:gd name="T5" fmla="*/ 0 h 7"/>
                    <a:gd name="T6" fmla="*/ 2147483647 w 5"/>
                    <a:gd name="T7" fmla="*/ 0 h 7"/>
                    <a:gd name="T8" fmla="*/ 2147483647 w 5"/>
                    <a:gd name="T9" fmla="*/ 2147483647 h 7"/>
                    <a:gd name="T10" fmla="*/ 2147483647 w 5"/>
                    <a:gd name="T11" fmla="*/ 2147483647 h 7"/>
                    <a:gd name="T12" fmla="*/ 2147483647 w 5"/>
                    <a:gd name="T13" fmla="*/ 2147483647 h 7"/>
                    <a:gd name="T14" fmla="*/ 2147483647 w 5"/>
                    <a:gd name="T15" fmla="*/ 2147483647 h 7"/>
                    <a:gd name="T16" fmla="*/ 0 w 5"/>
                    <a:gd name="T17" fmla="*/ 2147483647 h 7"/>
                    <a:gd name="T18" fmla="*/ 0 w 5"/>
                    <a:gd name="T19" fmla="*/ 2147483647 h 7"/>
                    <a:gd name="T20" fmla="*/ 0 w 5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"/>
                    <a:gd name="T34" fmla="*/ 0 h 7"/>
                    <a:gd name="T35" fmla="*/ 5 w 5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" h="7">
                      <a:moveTo>
                        <a:pt x="0" y="3"/>
                      </a:move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2" name="Freeform 507">
                  <a:extLst>
                    <a:ext uri="{FF2B5EF4-FFF2-40B4-BE49-F238E27FC236}">
                      <a16:creationId xmlns:a16="http://schemas.microsoft.com/office/drawing/2014/main" id="{26350A9B-51FC-0946-853A-10F6E8C25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8911" y="5766745"/>
                  <a:ext cx="7399" cy="10359"/>
                </a:xfrm>
                <a:custGeom>
                  <a:avLst/>
                  <a:gdLst>
                    <a:gd name="T0" fmla="*/ 0 w 5"/>
                    <a:gd name="T1" fmla="*/ 2147483647 h 7"/>
                    <a:gd name="T2" fmla="*/ 0 w 5"/>
                    <a:gd name="T3" fmla="*/ 2147483647 h 7"/>
                    <a:gd name="T4" fmla="*/ 0 w 5"/>
                    <a:gd name="T5" fmla="*/ 2147483647 h 7"/>
                    <a:gd name="T6" fmla="*/ 2147483647 w 5"/>
                    <a:gd name="T7" fmla="*/ 0 h 7"/>
                    <a:gd name="T8" fmla="*/ 2147483647 w 5"/>
                    <a:gd name="T9" fmla="*/ 0 h 7"/>
                    <a:gd name="T10" fmla="*/ 2147483647 w 5"/>
                    <a:gd name="T11" fmla="*/ 2147483647 h 7"/>
                    <a:gd name="T12" fmla="*/ 2147483647 w 5"/>
                    <a:gd name="T13" fmla="*/ 2147483647 h 7"/>
                    <a:gd name="T14" fmla="*/ 2147483647 w 5"/>
                    <a:gd name="T15" fmla="*/ 2147483647 h 7"/>
                    <a:gd name="T16" fmla="*/ 2147483647 w 5"/>
                    <a:gd name="T17" fmla="*/ 2147483647 h 7"/>
                    <a:gd name="T18" fmla="*/ 2147483647 w 5"/>
                    <a:gd name="T19" fmla="*/ 2147483647 h 7"/>
                    <a:gd name="T20" fmla="*/ 2147483647 w 5"/>
                    <a:gd name="T21" fmla="*/ 2147483647 h 7"/>
                    <a:gd name="T22" fmla="*/ 0 w 5"/>
                    <a:gd name="T23" fmla="*/ 2147483647 h 7"/>
                    <a:gd name="T24" fmla="*/ 0 w 5"/>
                    <a:gd name="T25" fmla="*/ 2147483647 h 7"/>
                    <a:gd name="T26" fmla="*/ 0 w 5"/>
                    <a:gd name="T27" fmla="*/ 2147483647 h 7"/>
                    <a:gd name="T28" fmla="*/ 0 w 5"/>
                    <a:gd name="T29" fmla="*/ 2147483647 h 7"/>
                    <a:gd name="T30" fmla="*/ 0 w 5"/>
                    <a:gd name="T31" fmla="*/ 2147483647 h 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"/>
                    <a:gd name="T49" fmla="*/ 0 h 7"/>
                    <a:gd name="T50" fmla="*/ 5 w 5"/>
                    <a:gd name="T51" fmla="*/ 7 h 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" h="7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3" name="Freeform 602">
                  <a:extLst>
                    <a:ext uri="{FF2B5EF4-FFF2-40B4-BE49-F238E27FC236}">
                      <a16:creationId xmlns:a16="http://schemas.microsoft.com/office/drawing/2014/main" id="{17D89AC8-A71A-0F45-8D57-3EA87551D6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2026" y="3450746"/>
                  <a:ext cx="90273" cy="133188"/>
                </a:xfrm>
                <a:custGeom>
                  <a:avLst/>
                  <a:gdLst>
                    <a:gd name="T0" fmla="*/ 2147483647 w 67"/>
                    <a:gd name="T1" fmla="*/ 2147483647 h 90"/>
                    <a:gd name="T2" fmla="*/ 2147483647 w 67"/>
                    <a:gd name="T3" fmla="*/ 2147483647 h 90"/>
                    <a:gd name="T4" fmla="*/ 2147483647 w 67"/>
                    <a:gd name="T5" fmla="*/ 2147483647 h 90"/>
                    <a:gd name="T6" fmla="*/ 2147483647 w 67"/>
                    <a:gd name="T7" fmla="*/ 2147483647 h 90"/>
                    <a:gd name="T8" fmla="*/ 2147483647 w 67"/>
                    <a:gd name="T9" fmla="*/ 2147483647 h 90"/>
                    <a:gd name="T10" fmla="*/ 2147483647 w 67"/>
                    <a:gd name="T11" fmla="*/ 2147483647 h 90"/>
                    <a:gd name="T12" fmla="*/ 2147483647 w 67"/>
                    <a:gd name="T13" fmla="*/ 2147483647 h 90"/>
                    <a:gd name="T14" fmla="*/ 2147483647 w 67"/>
                    <a:gd name="T15" fmla="*/ 2147483647 h 90"/>
                    <a:gd name="T16" fmla="*/ 2147483647 w 67"/>
                    <a:gd name="T17" fmla="*/ 2147483647 h 90"/>
                    <a:gd name="T18" fmla="*/ 2147483647 w 67"/>
                    <a:gd name="T19" fmla="*/ 2147483647 h 90"/>
                    <a:gd name="T20" fmla="*/ 2147483647 w 67"/>
                    <a:gd name="T21" fmla="*/ 2147483647 h 90"/>
                    <a:gd name="T22" fmla="*/ 2147483647 w 67"/>
                    <a:gd name="T23" fmla="*/ 2147483647 h 90"/>
                    <a:gd name="T24" fmla="*/ 2147483647 w 67"/>
                    <a:gd name="T25" fmla="*/ 2147483647 h 90"/>
                    <a:gd name="T26" fmla="*/ 2147483647 w 67"/>
                    <a:gd name="T27" fmla="*/ 2147483647 h 90"/>
                    <a:gd name="T28" fmla="*/ 2147483647 w 67"/>
                    <a:gd name="T29" fmla="*/ 2147483647 h 90"/>
                    <a:gd name="T30" fmla="*/ 2147483647 w 67"/>
                    <a:gd name="T31" fmla="*/ 2147483647 h 90"/>
                    <a:gd name="T32" fmla="*/ 2147483647 w 67"/>
                    <a:gd name="T33" fmla="*/ 2147483647 h 90"/>
                    <a:gd name="T34" fmla="*/ 2147483647 w 67"/>
                    <a:gd name="T35" fmla="*/ 2147483647 h 90"/>
                    <a:gd name="T36" fmla="*/ 2147483647 w 67"/>
                    <a:gd name="T37" fmla="*/ 2147483647 h 90"/>
                    <a:gd name="T38" fmla="*/ 2147483647 w 67"/>
                    <a:gd name="T39" fmla="*/ 2147483647 h 90"/>
                    <a:gd name="T40" fmla="*/ 2147483647 w 67"/>
                    <a:gd name="T41" fmla="*/ 2147483647 h 90"/>
                    <a:gd name="T42" fmla="*/ 2147483647 w 67"/>
                    <a:gd name="T43" fmla="*/ 2147483647 h 90"/>
                    <a:gd name="T44" fmla="*/ 2147483647 w 67"/>
                    <a:gd name="T45" fmla="*/ 2147483647 h 90"/>
                    <a:gd name="T46" fmla="*/ 2147483647 w 67"/>
                    <a:gd name="T47" fmla="*/ 2147483647 h 90"/>
                    <a:gd name="T48" fmla="*/ 2147483647 w 67"/>
                    <a:gd name="T49" fmla="*/ 2147483647 h 90"/>
                    <a:gd name="T50" fmla="*/ 2147483647 w 67"/>
                    <a:gd name="T51" fmla="*/ 2147483647 h 90"/>
                    <a:gd name="T52" fmla="*/ 0 w 67"/>
                    <a:gd name="T53" fmla="*/ 2147483647 h 90"/>
                    <a:gd name="T54" fmla="*/ 0 w 67"/>
                    <a:gd name="T55" fmla="*/ 2147483647 h 90"/>
                    <a:gd name="T56" fmla="*/ 2147483647 w 67"/>
                    <a:gd name="T57" fmla="*/ 2147483647 h 90"/>
                    <a:gd name="T58" fmla="*/ 2147483647 w 67"/>
                    <a:gd name="T59" fmla="*/ 2147483647 h 90"/>
                    <a:gd name="T60" fmla="*/ 2147483647 w 67"/>
                    <a:gd name="T61" fmla="*/ 2147483647 h 90"/>
                    <a:gd name="T62" fmla="*/ 2147483647 w 67"/>
                    <a:gd name="T63" fmla="*/ 2147483647 h 9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67"/>
                    <a:gd name="T97" fmla="*/ 0 h 90"/>
                    <a:gd name="T98" fmla="*/ 67 w 67"/>
                    <a:gd name="T99" fmla="*/ 90 h 9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67" h="90">
                      <a:moveTo>
                        <a:pt x="11" y="14"/>
                      </a:moveTo>
                      <a:lnTo>
                        <a:pt x="16" y="14"/>
                      </a:lnTo>
                      <a:lnTo>
                        <a:pt x="20" y="13"/>
                      </a:lnTo>
                      <a:lnTo>
                        <a:pt x="25" y="10"/>
                      </a:lnTo>
                      <a:lnTo>
                        <a:pt x="30" y="5"/>
                      </a:lnTo>
                      <a:lnTo>
                        <a:pt x="34" y="3"/>
                      </a:lnTo>
                      <a:lnTo>
                        <a:pt x="36" y="0"/>
                      </a:lnTo>
                      <a:lnTo>
                        <a:pt x="50" y="13"/>
                      </a:lnTo>
                      <a:lnTo>
                        <a:pt x="57" y="19"/>
                      </a:lnTo>
                      <a:lnTo>
                        <a:pt x="63" y="26"/>
                      </a:lnTo>
                      <a:lnTo>
                        <a:pt x="66" y="32"/>
                      </a:lnTo>
                      <a:lnTo>
                        <a:pt x="67" y="38"/>
                      </a:lnTo>
                      <a:lnTo>
                        <a:pt x="66" y="45"/>
                      </a:lnTo>
                      <a:lnTo>
                        <a:pt x="63" y="51"/>
                      </a:lnTo>
                      <a:lnTo>
                        <a:pt x="62" y="55"/>
                      </a:lnTo>
                      <a:lnTo>
                        <a:pt x="62" y="57"/>
                      </a:lnTo>
                      <a:lnTo>
                        <a:pt x="62" y="63"/>
                      </a:lnTo>
                      <a:lnTo>
                        <a:pt x="62" y="65"/>
                      </a:lnTo>
                      <a:lnTo>
                        <a:pt x="59" y="68"/>
                      </a:lnTo>
                      <a:lnTo>
                        <a:pt x="58" y="68"/>
                      </a:lnTo>
                      <a:lnTo>
                        <a:pt x="55" y="68"/>
                      </a:lnTo>
                      <a:lnTo>
                        <a:pt x="53" y="68"/>
                      </a:lnTo>
                      <a:lnTo>
                        <a:pt x="52" y="69"/>
                      </a:lnTo>
                      <a:lnTo>
                        <a:pt x="47" y="74"/>
                      </a:lnTo>
                      <a:lnTo>
                        <a:pt x="43" y="76"/>
                      </a:lnTo>
                      <a:lnTo>
                        <a:pt x="36" y="77"/>
                      </a:lnTo>
                      <a:lnTo>
                        <a:pt x="30" y="77"/>
                      </a:lnTo>
                      <a:lnTo>
                        <a:pt x="29" y="78"/>
                      </a:lnTo>
                      <a:lnTo>
                        <a:pt x="28" y="82"/>
                      </a:lnTo>
                      <a:lnTo>
                        <a:pt x="28" y="84"/>
                      </a:lnTo>
                      <a:lnTo>
                        <a:pt x="25" y="87"/>
                      </a:lnTo>
                      <a:lnTo>
                        <a:pt x="22" y="87"/>
                      </a:lnTo>
                      <a:lnTo>
                        <a:pt x="20" y="86"/>
                      </a:lnTo>
                      <a:lnTo>
                        <a:pt x="17" y="87"/>
                      </a:lnTo>
                      <a:lnTo>
                        <a:pt x="15" y="88"/>
                      </a:lnTo>
                      <a:lnTo>
                        <a:pt x="11" y="90"/>
                      </a:lnTo>
                      <a:lnTo>
                        <a:pt x="7" y="90"/>
                      </a:lnTo>
                      <a:lnTo>
                        <a:pt x="6" y="90"/>
                      </a:lnTo>
                      <a:lnTo>
                        <a:pt x="5" y="89"/>
                      </a:lnTo>
                      <a:lnTo>
                        <a:pt x="3" y="84"/>
                      </a:lnTo>
                      <a:lnTo>
                        <a:pt x="3" y="80"/>
                      </a:lnTo>
                      <a:lnTo>
                        <a:pt x="3" y="70"/>
                      </a:lnTo>
                      <a:lnTo>
                        <a:pt x="3" y="68"/>
                      </a:lnTo>
                      <a:lnTo>
                        <a:pt x="6" y="67"/>
                      </a:lnTo>
                      <a:lnTo>
                        <a:pt x="7" y="64"/>
                      </a:lnTo>
                      <a:lnTo>
                        <a:pt x="9" y="63"/>
                      </a:lnTo>
                      <a:lnTo>
                        <a:pt x="9" y="57"/>
                      </a:lnTo>
                      <a:lnTo>
                        <a:pt x="9" y="50"/>
                      </a:lnTo>
                      <a:lnTo>
                        <a:pt x="9" y="48"/>
                      </a:lnTo>
                      <a:lnTo>
                        <a:pt x="7" y="45"/>
                      </a:lnTo>
                      <a:lnTo>
                        <a:pt x="5" y="44"/>
                      </a:lnTo>
                      <a:lnTo>
                        <a:pt x="2" y="44"/>
                      </a:lnTo>
                      <a:lnTo>
                        <a:pt x="1" y="44"/>
                      </a:lnTo>
                      <a:lnTo>
                        <a:pt x="0" y="43"/>
                      </a:lnTo>
                      <a:lnTo>
                        <a:pt x="0" y="40"/>
                      </a:lnTo>
                      <a:lnTo>
                        <a:pt x="0" y="39"/>
                      </a:lnTo>
                      <a:lnTo>
                        <a:pt x="2" y="37"/>
                      </a:lnTo>
                      <a:lnTo>
                        <a:pt x="3" y="36"/>
                      </a:lnTo>
                      <a:lnTo>
                        <a:pt x="6" y="35"/>
                      </a:lnTo>
                      <a:lnTo>
                        <a:pt x="9" y="32"/>
                      </a:lnTo>
                      <a:lnTo>
                        <a:pt x="10" y="24"/>
                      </a:lnTo>
                      <a:lnTo>
                        <a:pt x="11" y="20"/>
                      </a:lnTo>
                      <a:lnTo>
                        <a:pt x="15" y="18"/>
                      </a:lnTo>
                      <a:lnTo>
                        <a:pt x="11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4" name="Freeform 603">
                  <a:extLst>
                    <a:ext uri="{FF2B5EF4-FFF2-40B4-BE49-F238E27FC236}">
                      <a16:creationId xmlns:a16="http://schemas.microsoft.com/office/drawing/2014/main" id="{E68F2A8E-7E42-E24E-8CD1-FC7553D3E9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3551" y="3296835"/>
                  <a:ext cx="150947" cy="179065"/>
                </a:xfrm>
                <a:custGeom>
                  <a:avLst/>
                  <a:gdLst>
                    <a:gd name="T0" fmla="*/ 2147483647 w 111"/>
                    <a:gd name="T1" fmla="*/ 2147483647 h 121"/>
                    <a:gd name="T2" fmla="*/ 2147483647 w 111"/>
                    <a:gd name="T3" fmla="*/ 2147483647 h 121"/>
                    <a:gd name="T4" fmla="*/ 2147483647 w 111"/>
                    <a:gd name="T5" fmla="*/ 2147483647 h 121"/>
                    <a:gd name="T6" fmla="*/ 2147483647 w 111"/>
                    <a:gd name="T7" fmla="*/ 2147483647 h 121"/>
                    <a:gd name="T8" fmla="*/ 2147483647 w 111"/>
                    <a:gd name="T9" fmla="*/ 2147483647 h 121"/>
                    <a:gd name="T10" fmla="*/ 2147483647 w 111"/>
                    <a:gd name="T11" fmla="*/ 2147483647 h 121"/>
                    <a:gd name="T12" fmla="*/ 2147483647 w 111"/>
                    <a:gd name="T13" fmla="*/ 2147483647 h 121"/>
                    <a:gd name="T14" fmla="*/ 2147483647 w 111"/>
                    <a:gd name="T15" fmla="*/ 2147483647 h 121"/>
                    <a:gd name="T16" fmla="*/ 2147483647 w 111"/>
                    <a:gd name="T17" fmla="*/ 2147483647 h 121"/>
                    <a:gd name="T18" fmla="*/ 2147483647 w 111"/>
                    <a:gd name="T19" fmla="*/ 2147483647 h 121"/>
                    <a:gd name="T20" fmla="*/ 2147483647 w 111"/>
                    <a:gd name="T21" fmla="*/ 2147483647 h 121"/>
                    <a:gd name="T22" fmla="*/ 2147483647 w 111"/>
                    <a:gd name="T23" fmla="*/ 2147483647 h 121"/>
                    <a:gd name="T24" fmla="*/ 2147483647 w 111"/>
                    <a:gd name="T25" fmla="*/ 2147483647 h 121"/>
                    <a:gd name="T26" fmla="*/ 2147483647 w 111"/>
                    <a:gd name="T27" fmla="*/ 2147483647 h 121"/>
                    <a:gd name="T28" fmla="*/ 2147483647 w 111"/>
                    <a:gd name="T29" fmla="*/ 2147483647 h 121"/>
                    <a:gd name="T30" fmla="*/ 2147483647 w 111"/>
                    <a:gd name="T31" fmla="*/ 2147483647 h 121"/>
                    <a:gd name="T32" fmla="*/ 2147483647 w 111"/>
                    <a:gd name="T33" fmla="*/ 2147483647 h 121"/>
                    <a:gd name="T34" fmla="*/ 2147483647 w 111"/>
                    <a:gd name="T35" fmla="*/ 2147483647 h 121"/>
                    <a:gd name="T36" fmla="*/ 2147483647 w 111"/>
                    <a:gd name="T37" fmla="*/ 2147483647 h 121"/>
                    <a:gd name="T38" fmla="*/ 2147483647 w 111"/>
                    <a:gd name="T39" fmla="*/ 2147483647 h 121"/>
                    <a:gd name="T40" fmla="*/ 2147483647 w 111"/>
                    <a:gd name="T41" fmla="*/ 2147483647 h 121"/>
                    <a:gd name="T42" fmla="*/ 2147483647 w 111"/>
                    <a:gd name="T43" fmla="*/ 2147483647 h 121"/>
                    <a:gd name="T44" fmla="*/ 2147483647 w 111"/>
                    <a:gd name="T45" fmla="*/ 2147483647 h 121"/>
                    <a:gd name="T46" fmla="*/ 2147483647 w 111"/>
                    <a:gd name="T47" fmla="*/ 2147483647 h 121"/>
                    <a:gd name="T48" fmla="*/ 2147483647 w 111"/>
                    <a:gd name="T49" fmla="*/ 2147483647 h 121"/>
                    <a:gd name="T50" fmla="*/ 2147483647 w 111"/>
                    <a:gd name="T51" fmla="*/ 2147483647 h 121"/>
                    <a:gd name="T52" fmla="*/ 2147483647 w 111"/>
                    <a:gd name="T53" fmla="*/ 2147483647 h 121"/>
                    <a:gd name="T54" fmla="*/ 2147483647 w 111"/>
                    <a:gd name="T55" fmla="*/ 2147483647 h 121"/>
                    <a:gd name="T56" fmla="*/ 2147483647 w 111"/>
                    <a:gd name="T57" fmla="*/ 2147483647 h 121"/>
                    <a:gd name="T58" fmla="*/ 2147483647 w 111"/>
                    <a:gd name="T59" fmla="*/ 2147483647 h 121"/>
                    <a:gd name="T60" fmla="*/ 2147483647 w 111"/>
                    <a:gd name="T61" fmla="*/ 2147483647 h 121"/>
                    <a:gd name="T62" fmla="*/ 2147483647 w 111"/>
                    <a:gd name="T63" fmla="*/ 2147483647 h 121"/>
                    <a:gd name="T64" fmla="*/ 2147483647 w 111"/>
                    <a:gd name="T65" fmla="*/ 2147483647 h 121"/>
                    <a:gd name="T66" fmla="*/ 2147483647 w 111"/>
                    <a:gd name="T67" fmla="*/ 2147483647 h 121"/>
                    <a:gd name="T68" fmla="*/ 2147483647 w 111"/>
                    <a:gd name="T69" fmla="*/ 2147483647 h 121"/>
                    <a:gd name="T70" fmla="*/ 2147483647 w 111"/>
                    <a:gd name="T71" fmla="*/ 0 h 121"/>
                    <a:gd name="T72" fmla="*/ 2147483647 w 111"/>
                    <a:gd name="T73" fmla="*/ 2147483647 h 121"/>
                    <a:gd name="T74" fmla="*/ 2147483647 w 111"/>
                    <a:gd name="T75" fmla="*/ 2147483647 h 121"/>
                    <a:gd name="T76" fmla="*/ 2147483647 w 111"/>
                    <a:gd name="T77" fmla="*/ 2147483647 h 121"/>
                    <a:gd name="T78" fmla="*/ 2147483647 w 111"/>
                    <a:gd name="T79" fmla="*/ 2147483647 h 121"/>
                    <a:gd name="T80" fmla="*/ 2147483647 w 111"/>
                    <a:gd name="T81" fmla="*/ 2147483647 h 121"/>
                    <a:gd name="T82" fmla="*/ 2147483647 w 111"/>
                    <a:gd name="T83" fmla="*/ 2147483647 h 121"/>
                    <a:gd name="T84" fmla="*/ 2147483647 w 111"/>
                    <a:gd name="T85" fmla="*/ 2147483647 h 121"/>
                    <a:gd name="T86" fmla="*/ 2147483647 w 111"/>
                    <a:gd name="T87" fmla="*/ 2147483647 h 121"/>
                    <a:gd name="T88" fmla="*/ 2147483647 w 111"/>
                    <a:gd name="T89" fmla="*/ 2147483647 h 121"/>
                    <a:gd name="T90" fmla="*/ 2147483647 w 111"/>
                    <a:gd name="T91" fmla="*/ 2147483647 h 121"/>
                    <a:gd name="T92" fmla="*/ 2147483647 w 111"/>
                    <a:gd name="T93" fmla="*/ 2147483647 h 121"/>
                    <a:gd name="T94" fmla="*/ 2147483647 w 111"/>
                    <a:gd name="T95" fmla="*/ 2147483647 h 121"/>
                    <a:gd name="T96" fmla="*/ 2147483647 w 111"/>
                    <a:gd name="T97" fmla="*/ 2147483647 h 121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11"/>
                    <a:gd name="T148" fmla="*/ 0 h 121"/>
                    <a:gd name="T149" fmla="*/ 111 w 111"/>
                    <a:gd name="T150" fmla="*/ 121 h 121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11" h="121">
                      <a:moveTo>
                        <a:pt x="0" y="71"/>
                      </a:moveTo>
                      <a:lnTo>
                        <a:pt x="1" y="72"/>
                      </a:lnTo>
                      <a:lnTo>
                        <a:pt x="2" y="73"/>
                      </a:lnTo>
                      <a:lnTo>
                        <a:pt x="2" y="80"/>
                      </a:lnTo>
                      <a:lnTo>
                        <a:pt x="3" y="84"/>
                      </a:lnTo>
                      <a:lnTo>
                        <a:pt x="6" y="88"/>
                      </a:lnTo>
                      <a:lnTo>
                        <a:pt x="7" y="88"/>
                      </a:lnTo>
                      <a:lnTo>
                        <a:pt x="9" y="88"/>
                      </a:lnTo>
                      <a:lnTo>
                        <a:pt x="10" y="86"/>
                      </a:lnTo>
                      <a:lnTo>
                        <a:pt x="11" y="85"/>
                      </a:lnTo>
                      <a:lnTo>
                        <a:pt x="12" y="80"/>
                      </a:lnTo>
                      <a:lnTo>
                        <a:pt x="14" y="79"/>
                      </a:lnTo>
                      <a:lnTo>
                        <a:pt x="15" y="78"/>
                      </a:lnTo>
                      <a:lnTo>
                        <a:pt x="17" y="77"/>
                      </a:lnTo>
                      <a:lnTo>
                        <a:pt x="20" y="77"/>
                      </a:lnTo>
                      <a:lnTo>
                        <a:pt x="23" y="77"/>
                      </a:lnTo>
                      <a:lnTo>
                        <a:pt x="24" y="79"/>
                      </a:lnTo>
                      <a:lnTo>
                        <a:pt x="25" y="82"/>
                      </a:lnTo>
                      <a:lnTo>
                        <a:pt x="24" y="83"/>
                      </a:lnTo>
                      <a:lnTo>
                        <a:pt x="21" y="86"/>
                      </a:lnTo>
                      <a:lnTo>
                        <a:pt x="19" y="90"/>
                      </a:lnTo>
                      <a:lnTo>
                        <a:pt x="17" y="98"/>
                      </a:lnTo>
                      <a:lnTo>
                        <a:pt x="15" y="101"/>
                      </a:lnTo>
                      <a:lnTo>
                        <a:pt x="12" y="102"/>
                      </a:lnTo>
                      <a:lnTo>
                        <a:pt x="9" y="103"/>
                      </a:lnTo>
                      <a:lnTo>
                        <a:pt x="7" y="104"/>
                      </a:lnTo>
                      <a:lnTo>
                        <a:pt x="7" y="105"/>
                      </a:lnTo>
                      <a:lnTo>
                        <a:pt x="10" y="111"/>
                      </a:lnTo>
                      <a:lnTo>
                        <a:pt x="14" y="117"/>
                      </a:lnTo>
                      <a:lnTo>
                        <a:pt x="17" y="120"/>
                      </a:lnTo>
                      <a:lnTo>
                        <a:pt x="20" y="121"/>
                      </a:lnTo>
                      <a:lnTo>
                        <a:pt x="24" y="121"/>
                      </a:lnTo>
                      <a:lnTo>
                        <a:pt x="26" y="120"/>
                      </a:lnTo>
                      <a:lnTo>
                        <a:pt x="28" y="118"/>
                      </a:lnTo>
                      <a:lnTo>
                        <a:pt x="28" y="117"/>
                      </a:lnTo>
                      <a:lnTo>
                        <a:pt x="29" y="115"/>
                      </a:lnTo>
                      <a:lnTo>
                        <a:pt x="30" y="112"/>
                      </a:lnTo>
                      <a:lnTo>
                        <a:pt x="34" y="112"/>
                      </a:lnTo>
                      <a:lnTo>
                        <a:pt x="35" y="112"/>
                      </a:lnTo>
                      <a:lnTo>
                        <a:pt x="39" y="118"/>
                      </a:lnTo>
                      <a:lnTo>
                        <a:pt x="44" y="118"/>
                      </a:lnTo>
                      <a:lnTo>
                        <a:pt x="48" y="117"/>
                      </a:lnTo>
                      <a:lnTo>
                        <a:pt x="53" y="114"/>
                      </a:lnTo>
                      <a:lnTo>
                        <a:pt x="58" y="109"/>
                      </a:lnTo>
                      <a:lnTo>
                        <a:pt x="62" y="107"/>
                      </a:lnTo>
                      <a:lnTo>
                        <a:pt x="64" y="104"/>
                      </a:lnTo>
                      <a:lnTo>
                        <a:pt x="59" y="97"/>
                      </a:lnTo>
                      <a:lnTo>
                        <a:pt x="56" y="86"/>
                      </a:lnTo>
                      <a:lnTo>
                        <a:pt x="54" y="80"/>
                      </a:lnTo>
                      <a:lnTo>
                        <a:pt x="57" y="75"/>
                      </a:lnTo>
                      <a:lnTo>
                        <a:pt x="59" y="70"/>
                      </a:lnTo>
                      <a:lnTo>
                        <a:pt x="64" y="66"/>
                      </a:lnTo>
                      <a:lnTo>
                        <a:pt x="75" y="60"/>
                      </a:lnTo>
                      <a:lnTo>
                        <a:pt x="80" y="57"/>
                      </a:lnTo>
                      <a:lnTo>
                        <a:pt x="83" y="52"/>
                      </a:lnTo>
                      <a:lnTo>
                        <a:pt x="87" y="46"/>
                      </a:lnTo>
                      <a:lnTo>
                        <a:pt x="91" y="41"/>
                      </a:lnTo>
                      <a:lnTo>
                        <a:pt x="95" y="37"/>
                      </a:lnTo>
                      <a:lnTo>
                        <a:pt x="97" y="29"/>
                      </a:lnTo>
                      <a:lnTo>
                        <a:pt x="100" y="26"/>
                      </a:lnTo>
                      <a:lnTo>
                        <a:pt x="103" y="25"/>
                      </a:lnTo>
                      <a:lnTo>
                        <a:pt x="108" y="24"/>
                      </a:lnTo>
                      <a:lnTo>
                        <a:pt x="110" y="24"/>
                      </a:lnTo>
                      <a:lnTo>
                        <a:pt x="111" y="21"/>
                      </a:lnTo>
                      <a:lnTo>
                        <a:pt x="111" y="18"/>
                      </a:lnTo>
                      <a:lnTo>
                        <a:pt x="110" y="15"/>
                      </a:lnTo>
                      <a:lnTo>
                        <a:pt x="109" y="12"/>
                      </a:lnTo>
                      <a:lnTo>
                        <a:pt x="110" y="9"/>
                      </a:lnTo>
                      <a:lnTo>
                        <a:pt x="109" y="5"/>
                      </a:lnTo>
                      <a:lnTo>
                        <a:pt x="105" y="1"/>
                      </a:lnTo>
                      <a:lnTo>
                        <a:pt x="101" y="0"/>
                      </a:lnTo>
                      <a:lnTo>
                        <a:pt x="100" y="0"/>
                      </a:lnTo>
                      <a:lnTo>
                        <a:pt x="97" y="1"/>
                      </a:lnTo>
                      <a:lnTo>
                        <a:pt x="91" y="7"/>
                      </a:lnTo>
                      <a:lnTo>
                        <a:pt x="89" y="11"/>
                      </a:lnTo>
                      <a:lnTo>
                        <a:pt x="83" y="13"/>
                      </a:lnTo>
                      <a:lnTo>
                        <a:pt x="82" y="15"/>
                      </a:lnTo>
                      <a:lnTo>
                        <a:pt x="80" y="18"/>
                      </a:lnTo>
                      <a:lnTo>
                        <a:pt x="78" y="20"/>
                      </a:lnTo>
                      <a:lnTo>
                        <a:pt x="77" y="22"/>
                      </a:lnTo>
                      <a:lnTo>
                        <a:pt x="67" y="28"/>
                      </a:lnTo>
                      <a:lnTo>
                        <a:pt x="57" y="34"/>
                      </a:lnTo>
                      <a:lnTo>
                        <a:pt x="56" y="35"/>
                      </a:lnTo>
                      <a:lnTo>
                        <a:pt x="53" y="34"/>
                      </a:lnTo>
                      <a:lnTo>
                        <a:pt x="50" y="31"/>
                      </a:lnTo>
                      <a:lnTo>
                        <a:pt x="45" y="29"/>
                      </a:lnTo>
                      <a:lnTo>
                        <a:pt x="40" y="29"/>
                      </a:lnTo>
                      <a:lnTo>
                        <a:pt x="37" y="31"/>
                      </a:lnTo>
                      <a:lnTo>
                        <a:pt x="34" y="32"/>
                      </a:lnTo>
                      <a:lnTo>
                        <a:pt x="33" y="33"/>
                      </a:lnTo>
                      <a:lnTo>
                        <a:pt x="31" y="38"/>
                      </a:lnTo>
                      <a:lnTo>
                        <a:pt x="31" y="44"/>
                      </a:lnTo>
                      <a:lnTo>
                        <a:pt x="30" y="48"/>
                      </a:lnTo>
                      <a:lnTo>
                        <a:pt x="21" y="52"/>
                      </a:lnTo>
                      <a:lnTo>
                        <a:pt x="19" y="54"/>
                      </a:lnTo>
                      <a:lnTo>
                        <a:pt x="15" y="57"/>
                      </a:lnTo>
                      <a:lnTo>
                        <a:pt x="9" y="65"/>
                      </a:lnTo>
                      <a:lnTo>
                        <a:pt x="5" y="69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5" name="Freeform 604">
                  <a:extLst>
                    <a:ext uri="{FF2B5EF4-FFF2-40B4-BE49-F238E27FC236}">
                      <a16:creationId xmlns:a16="http://schemas.microsoft.com/office/drawing/2014/main" id="{A7523907-F3F8-7449-B8D5-DAD0A92290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9068" y="3449266"/>
                  <a:ext cx="91752" cy="133188"/>
                </a:xfrm>
                <a:custGeom>
                  <a:avLst/>
                  <a:gdLst>
                    <a:gd name="T0" fmla="*/ 2147483647 w 68"/>
                    <a:gd name="T1" fmla="*/ 2147483647 h 90"/>
                    <a:gd name="T2" fmla="*/ 2147483647 w 68"/>
                    <a:gd name="T3" fmla="*/ 2147483647 h 90"/>
                    <a:gd name="T4" fmla="*/ 2147483647 w 68"/>
                    <a:gd name="T5" fmla="*/ 2147483647 h 90"/>
                    <a:gd name="T6" fmla="*/ 2147483647 w 68"/>
                    <a:gd name="T7" fmla="*/ 0 h 90"/>
                    <a:gd name="T8" fmla="*/ 2147483647 w 68"/>
                    <a:gd name="T9" fmla="*/ 2147483647 h 90"/>
                    <a:gd name="T10" fmla="*/ 2147483647 w 68"/>
                    <a:gd name="T11" fmla="*/ 2147483647 h 90"/>
                    <a:gd name="T12" fmla="*/ 2147483647 w 68"/>
                    <a:gd name="T13" fmla="*/ 2147483647 h 90"/>
                    <a:gd name="T14" fmla="*/ 2147483647 w 68"/>
                    <a:gd name="T15" fmla="*/ 2147483647 h 90"/>
                    <a:gd name="T16" fmla="*/ 2147483647 w 68"/>
                    <a:gd name="T17" fmla="*/ 2147483647 h 90"/>
                    <a:gd name="T18" fmla="*/ 2147483647 w 68"/>
                    <a:gd name="T19" fmla="*/ 2147483647 h 90"/>
                    <a:gd name="T20" fmla="*/ 2147483647 w 68"/>
                    <a:gd name="T21" fmla="*/ 2147483647 h 90"/>
                    <a:gd name="T22" fmla="*/ 2147483647 w 68"/>
                    <a:gd name="T23" fmla="*/ 2147483647 h 90"/>
                    <a:gd name="T24" fmla="*/ 2147483647 w 68"/>
                    <a:gd name="T25" fmla="*/ 2147483647 h 90"/>
                    <a:gd name="T26" fmla="*/ 2147483647 w 68"/>
                    <a:gd name="T27" fmla="*/ 2147483647 h 90"/>
                    <a:gd name="T28" fmla="*/ 2147483647 w 68"/>
                    <a:gd name="T29" fmla="*/ 2147483647 h 90"/>
                    <a:gd name="T30" fmla="*/ 2147483647 w 68"/>
                    <a:gd name="T31" fmla="*/ 2147483647 h 90"/>
                    <a:gd name="T32" fmla="*/ 2147483647 w 68"/>
                    <a:gd name="T33" fmla="*/ 2147483647 h 90"/>
                    <a:gd name="T34" fmla="*/ 2147483647 w 68"/>
                    <a:gd name="T35" fmla="*/ 2147483647 h 90"/>
                    <a:gd name="T36" fmla="*/ 2147483647 w 68"/>
                    <a:gd name="T37" fmla="*/ 2147483647 h 90"/>
                    <a:gd name="T38" fmla="*/ 2147483647 w 68"/>
                    <a:gd name="T39" fmla="*/ 2147483647 h 90"/>
                    <a:gd name="T40" fmla="*/ 2147483647 w 68"/>
                    <a:gd name="T41" fmla="*/ 2147483647 h 90"/>
                    <a:gd name="T42" fmla="*/ 2147483647 w 68"/>
                    <a:gd name="T43" fmla="*/ 2147483647 h 90"/>
                    <a:gd name="T44" fmla="*/ 2147483647 w 68"/>
                    <a:gd name="T45" fmla="*/ 2147483647 h 90"/>
                    <a:gd name="T46" fmla="*/ 2147483647 w 68"/>
                    <a:gd name="T47" fmla="*/ 2147483647 h 90"/>
                    <a:gd name="T48" fmla="*/ 2147483647 w 68"/>
                    <a:gd name="T49" fmla="*/ 2147483647 h 90"/>
                    <a:gd name="T50" fmla="*/ 2147483647 w 68"/>
                    <a:gd name="T51" fmla="*/ 2147483647 h 90"/>
                    <a:gd name="T52" fmla="*/ 2147483647 w 68"/>
                    <a:gd name="T53" fmla="*/ 2147483647 h 90"/>
                    <a:gd name="T54" fmla="*/ 2147483647 w 68"/>
                    <a:gd name="T55" fmla="*/ 2147483647 h 90"/>
                    <a:gd name="T56" fmla="*/ 2147483647 w 68"/>
                    <a:gd name="T57" fmla="*/ 2147483647 h 90"/>
                    <a:gd name="T58" fmla="*/ 2147483647 w 68"/>
                    <a:gd name="T59" fmla="*/ 2147483647 h 90"/>
                    <a:gd name="T60" fmla="*/ 2147483647 w 68"/>
                    <a:gd name="T61" fmla="*/ 2147483647 h 90"/>
                    <a:gd name="T62" fmla="*/ 2147483647 w 68"/>
                    <a:gd name="T63" fmla="*/ 2147483647 h 90"/>
                    <a:gd name="T64" fmla="*/ 2147483647 w 68"/>
                    <a:gd name="T65" fmla="*/ 2147483647 h 90"/>
                    <a:gd name="T66" fmla="*/ 2147483647 w 68"/>
                    <a:gd name="T67" fmla="*/ 2147483647 h 90"/>
                    <a:gd name="T68" fmla="*/ 0 w 68"/>
                    <a:gd name="T69" fmla="*/ 2147483647 h 90"/>
                    <a:gd name="T70" fmla="*/ 0 w 68"/>
                    <a:gd name="T71" fmla="*/ 2147483647 h 90"/>
                    <a:gd name="T72" fmla="*/ 2147483647 w 68"/>
                    <a:gd name="T73" fmla="*/ 2147483647 h 90"/>
                    <a:gd name="T74" fmla="*/ 2147483647 w 68"/>
                    <a:gd name="T75" fmla="*/ 2147483647 h 90"/>
                    <a:gd name="T76" fmla="*/ 2147483647 w 68"/>
                    <a:gd name="T77" fmla="*/ 2147483647 h 90"/>
                    <a:gd name="T78" fmla="*/ 2147483647 w 68"/>
                    <a:gd name="T79" fmla="*/ 2147483647 h 90"/>
                    <a:gd name="T80" fmla="*/ 2147483647 w 68"/>
                    <a:gd name="T81" fmla="*/ 2147483647 h 90"/>
                    <a:gd name="T82" fmla="*/ 2147483647 w 68"/>
                    <a:gd name="T83" fmla="*/ 2147483647 h 9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8"/>
                    <a:gd name="T127" fmla="*/ 0 h 90"/>
                    <a:gd name="T128" fmla="*/ 68 w 68"/>
                    <a:gd name="T129" fmla="*/ 90 h 9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8" h="90">
                      <a:moveTo>
                        <a:pt x="12" y="14"/>
                      </a:moveTo>
                      <a:lnTo>
                        <a:pt x="12" y="14"/>
                      </a:lnTo>
                      <a:lnTo>
                        <a:pt x="17" y="14"/>
                      </a:lnTo>
                      <a:lnTo>
                        <a:pt x="21" y="13"/>
                      </a:lnTo>
                      <a:lnTo>
                        <a:pt x="26" y="9"/>
                      </a:lnTo>
                      <a:lnTo>
                        <a:pt x="31" y="5"/>
                      </a:lnTo>
                      <a:lnTo>
                        <a:pt x="35" y="2"/>
                      </a:lnTo>
                      <a:lnTo>
                        <a:pt x="37" y="0"/>
                      </a:lnTo>
                      <a:lnTo>
                        <a:pt x="51" y="13"/>
                      </a:lnTo>
                      <a:lnTo>
                        <a:pt x="57" y="19"/>
                      </a:lnTo>
                      <a:lnTo>
                        <a:pt x="64" y="26"/>
                      </a:lnTo>
                      <a:lnTo>
                        <a:pt x="66" y="32"/>
                      </a:lnTo>
                      <a:lnTo>
                        <a:pt x="68" y="38"/>
                      </a:lnTo>
                      <a:lnTo>
                        <a:pt x="66" y="45"/>
                      </a:lnTo>
                      <a:lnTo>
                        <a:pt x="64" y="51"/>
                      </a:lnTo>
                      <a:lnTo>
                        <a:pt x="63" y="55"/>
                      </a:lnTo>
                      <a:lnTo>
                        <a:pt x="63" y="57"/>
                      </a:lnTo>
                      <a:lnTo>
                        <a:pt x="63" y="63"/>
                      </a:lnTo>
                      <a:lnTo>
                        <a:pt x="63" y="65"/>
                      </a:lnTo>
                      <a:lnTo>
                        <a:pt x="60" y="68"/>
                      </a:lnTo>
                      <a:lnTo>
                        <a:pt x="59" y="68"/>
                      </a:lnTo>
                      <a:lnTo>
                        <a:pt x="56" y="68"/>
                      </a:lnTo>
                      <a:lnTo>
                        <a:pt x="54" y="68"/>
                      </a:lnTo>
                      <a:lnTo>
                        <a:pt x="52" y="69"/>
                      </a:lnTo>
                      <a:lnTo>
                        <a:pt x="47" y="73"/>
                      </a:lnTo>
                      <a:lnTo>
                        <a:pt x="44" y="76"/>
                      </a:lnTo>
                      <a:lnTo>
                        <a:pt x="37" y="77"/>
                      </a:lnTo>
                      <a:lnTo>
                        <a:pt x="31" y="77"/>
                      </a:lnTo>
                      <a:lnTo>
                        <a:pt x="30" y="78"/>
                      </a:lnTo>
                      <a:lnTo>
                        <a:pt x="28" y="82"/>
                      </a:lnTo>
                      <a:lnTo>
                        <a:pt x="28" y="84"/>
                      </a:lnTo>
                      <a:lnTo>
                        <a:pt x="26" y="87"/>
                      </a:lnTo>
                      <a:lnTo>
                        <a:pt x="23" y="87"/>
                      </a:lnTo>
                      <a:lnTo>
                        <a:pt x="21" y="85"/>
                      </a:lnTo>
                      <a:lnTo>
                        <a:pt x="18" y="87"/>
                      </a:lnTo>
                      <a:lnTo>
                        <a:pt x="16" y="88"/>
                      </a:lnTo>
                      <a:lnTo>
                        <a:pt x="12" y="90"/>
                      </a:lnTo>
                      <a:lnTo>
                        <a:pt x="8" y="90"/>
                      </a:lnTo>
                      <a:lnTo>
                        <a:pt x="7" y="90"/>
                      </a:lnTo>
                      <a:lnTo>
                        <a:pt x="5" y="89"/>
                      </a:lnTo>
                      <a:lnTo>
                        <a:pt x="4" y="84"/>
                      </a:lnTo>
                      <a:lnTo>
                        <a:pt x="4" y="79"/>
                      </a:lnTo>
                      <a:lnTo>
                        <a:pt x="4" y="70"/>
                      </a:lnTo>
                      <a:lnTo>
                        <a:pt x="4" y="68"/>
                      </a:lnTo>
                      <a:lnTo>
                        <a:pt x="7" y="66"/>
                      </a:lnTo>
                      <a:lnTo>
                        <a:pt x="8" y="64"/>
                      </a:lnTo>
                      <a:lnTo>
                        <a:pt x="9" y="63"/>
                      </a:lnTo>
                      <a:lnTo>
                        <a:pt x="9" y="57"/>
                      </a:lnTo>
                      <a:lnTo>
                        <a:pt x="9" y="50"/>
                      </a:lnTo>
                      <a:lnTo>
                        <a:pt x="9" y="47"/>
                      </a:lnTo>
                      <a:lnTo>
                        <a:pt x="8" y="45"/>
                      </a:lnTo>
                      <a:lnTo>
                        <a:pt x="5" y="44"/>
                      </a:lnTo>
                      <a:lnTo>
                        <a:pt x="3" y="44"/>
                      </a:lnTo>
                      <a:lnTo>
                        <a:pt x="2" y="44"/>
                      </a:lnTo>
                      <a:lnTo>
                        <a:pt x="0" y="43"/>
                      </a:lnTo>
                      <a:lnTo>
                        <a:pt x="0" y="40"/>
                      </a:lnTo>
                      <a:lnTo>
                        <a:pt x="0" y="39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7" y="34"/>
                      </a:lnTo>
                      <a:lnTo>
                        <a:pt x="9" y="32"/>
                      </a:lnTo>
                      <a:lnTo>
                        <a:pt x="11" y="24"/>
                      </a:lnTo>
                      <a:lnTo>
                        <a:pt x="12" y="20"/>
                      </a:lnTo>
                      <a:lnTo>
                        <a:pt x="16" y="18"/>
                      </a:lnTo>
                      <a:lnTo>
                        <a:pt x="12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6" name="Freeform 605">
                  <a:extLst>
                    <a:ext uri="{FF2B5EF4-FFF2-40B4-BE49-F238E27FC236}">
                      <a16:creationId xmlns:a16="http://schemas.microsoft.com/office/drawing/2014/main" id="{427FA6B0-F846-7741-B54A-4A7BF40672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0589" y="3295360"/>
                  <a:ext cx="152427" cy="179064"/>
                </a:xfrm>
                <a:custGeom>
                  <a:avLst/>
                  <a:gdLst>
                    <a:gd name="T0" fmla="*/ 2147483647 w 112"/>
                    <a:gd name="T1" fmla="*/ 2147483647 h 121"/>
                    <a:gd name="T2" fmla="*/ 2147483647 w 112"/>
                    <a:gd name="T3" fmla="*/ 2147483647 h 121"/>
                    <a:gd name="T4" fmla="*/ 2147483647 w 112"/>
                    <a:gd name="T5" fmla="*/ 2147483647 h 121"/>
                    <a:gd name="T6" fmla="*/ 2147483647 w 112"/>
                    <a:gd name="T7" fmla="*/ 2147483647 h 121"/>
                    <a:gd name="T8" fmla="*/ 2147483647 w 112"/>
                    <a:gd name="T9" fmla="*/ 2147483647 h 121"/>
                    <a:gd name="T10" fmla="*/ 2147483647 w 112"/>
                    <a:gd name="T11" fmla="*/ 2147483647 h 121"/>
                    <a:gd name="T12" fmla="*/ 2147483647 w 112"/>
                    <a:gd name="T13" fmla="*/ 2147483647 h 121"/>
                    <a:gd name="T14" fmla="*/ 2147483647 w 112"/>
                    <a:gd name="T15" fmla="*/ 2147483647 h 121"/>
                    <a:gd name="T16" fmla="*/ 2147483647 w 112"/>
                    <a:gd name="T17" fmla="*/ 2147483647 h 121"/>
                    <a:gd name="T18" fmla="*/ 2147483647 w 112"/>
                    <a:gd name="T19" fmla="*/ 2147483647 h 121"/>
                    <a:gd name="T20" fmla="*/ 2147483647 w 112"/>
                    <a:gd name="T21" fmla="*/ 2147483647 h 121"/>
                    <a:gd name="T22" fmla="*/ 2147483647 w 112"/>
                    <a:gd name="T23" fmla="*/ 2147483647 h 121"/>
                    <a:gd name="T24" fmla="*/ 2147483647 w 112"/>
                    <a:gd name="T25" fmla="*/ 2147483647 h 121"/>
                    <a:gd name="T26" fmla="*/ 2147483647 w 112"/>
                    <a:gd name="T27" fmla="*/ 2147483647 h 121"/>
                    <a:gd name="T28" fmla="*/ 2147483647 w 112"/>
                    <a:gd name="T29" fmla="*/ 2147483647 h 121"/>
                    <a:gd name="T30" fmla="*/ 2147483647 w 112"/>
                    <a:gd name="T31" fmla="*/ 2147483647 h 121"/>
                    <a:gd name="T32" fmla="*/ 2147483647 w 112"/>
                    <a:gd name="T33" fmla="*/ 2147483647 h 121"/>
                    <a:gd name="T34" fmla="*/ 2147483647 w 112"/>
                    <a:gd name="T35" fmla="*/ 2147483647 h 121"/>
                    <a:gd name="T36" fmla="*/ 2147483647 w 112"/>
                    <a:gd name="T37" fmla="*/ 2147483647 h 121"/>
                    <a:gd name="T38" fmla="*/ 2147483647 w 112"/>
                    <a:gd name="T39" fmla="*/ 2147483647 h 121"/>
                    <a:gd name="T40" fmla="*/ 2147483647 w 112"/>
                    <a:gd name="T41" fmla="*/ 2147483647 h 121"/>
                    <a:gd name="T42" fmla="*/ 2147483647 w 112"/>
                    <a:gd name="T43" fmla="*/ 2147483647 h 121"/>
                    <a:gd name="T44" fmla="*/ 2147483647 w 112"/>
                    <a:gd name="T45" fmla="*/ 2147483647 h 121"/>
                    <a:gd name="T46" fmla="*/ 2147483647 w 112"/>
                    <a:gd name="T47" fmla="*/ 2147483647 h 121"/>
                    <a:gd name="T48" fmla="*/ 2147483647 w 112"/>
                    <a:gd name="T49" fmla="*/ 2147483647 h 121"/>
                    <a:gd name="T50" fmla="*/ 2147483647 w 112"/>
                    <a:gd name="T51" fmla="*/ 2147483647 h 121"/>
                    <a:gd name="T52" fmla="*/ 2147483647 w 112"/>
                    <a:gd name="T53" fmla="*/ 2147483647 h 121"/>
                    <a:gd name="T54" fmla="*/ 2147483647 w 112"/>
                    <a:gd name="T55" fmla="*/ 2147483647 h 121"/>
                    <a:gd name="T56" fmla="*/ 2147483647 w 112"/>
                    <a:gd name="T57" fmla="*/ 2147483647 h 121"/>
                    <a:gd name="T58" fmla="*/ 2147483647 w 112"/>
                    <a:gd name="T59" fmla="*/ 2147483647 h 121"/>
                    <a:gd name="T60" fmla="*/ 2147483647 w 112"/>
                    <a:gd name="T61" fmla="*/ 0 h 121"/>
                    <a:gd name="T62" fmla="*/ 2147483647 w 112"/>
                    <a:gd name="T63" fmla="*/ 2147483647 h 121"/>
                    <a:gd name="T64" fmla="*/ 2147483647 w 112"/>
                    <a:gd name="T65" fmla="*/ 2147483647 h 121"/>
                    <a:gd name="T66" fmla="*/ 2147483647 w 112"/>
                    <a:gd name="T67" fmla="*/ 2147483647 h 121"/>
                    <a:gd name="T68" fmla="*/ 2147483647 w 112"/>
                    <a:gd name="T69" fmla="*/ 2147483647 h 121"/>
                    <a:gd name="T70" fmla="*/ 2147483647 w 112"/>
                    <a:gd name="T71" fmla="*/ 2147483647 h 121"/>
                    <a:gd name="T72" fmla="*/ 2147483647 w 112"/>
                    <a:gd name="T73" fmla="*/ 2147483647 h 121"/>
                    <a:gd name="T74" fmla="*/ 2147483647 w 112"/>
                    <a:gd name="T75" fmla="*/ 2147483647 h 121"/>
                    <a:gd name="T76" fmla="*/ 2147483647 w 112"/>
                    <a:gd name="T77" fmla="*/ 2147483647 h 121"/>
                    <a:gd name="T78" fmla="*/ 2147483647 w 112"/>
                    <a:gd name="T79" fmla="*/ 2147483647 h 121"/>
                    <a:gd name="T80" fmla="*/ 2147483647 w 112"/>
                    <a:gd name="T81" fmla="*/ 2147483647 h 121"/>
                    <a:gd name="T82" fmla="*/ 2147483647 w 112"/>
                    <a:gd name="T83" fmla="*/ 2147483647 h 121"/>
                    <a:gd name="T84" fmla="*/ 0 w 112"/>
                    <a:gd name="T85" fmla="*/ 2147483647 h 12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2"/>
                    <a:gd name="T130" fmla="*/ 0 h 121"/>
                    <a:gd name="T131" fmla="*/ 112 w 112"/>
                    <a:gd name="T132" fmla="*/ 121 h 12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2" h="121">
                      <a:moveTo>
                        <a:pt x="0" y="71"/>
                      </a:moveTo>
                      <a:lnTo>
                        <a:pt x="0" y="71"/>
                      </a:lnTo>
                      <a:lnTo>
                        <a:pt x="2" y="72"/>
                      </a:lnTo>
                      <a:lnTo>
                        <a:pt x="3" y="73"/>
                      </a:lnTo>
                      <a:lnTo>
                        <a:pt x="3" y="80"/>
                      </a:lnTo>
                      <a:lnTo>
                        <a:pt x="4" y="84"/>
                      </a:lnTo>
                      <a:lnTo>
                        <a:pt x="7" y="87"/>
                      </a:lnTo>
                      <a:lnTo>
                        <a:pt x="8" y="87"/>
                      </a:lnTo>
                      <a:lnTo>
                        <a:pt x="9" y="87"/>
                      </a:lnTo>
                      <a:lnTo>
                        <a:pt x="11" y="86"/>
                      </a:lnTo>
                      <a:lnTo>
                        <a:pt x="12" y="85"/>
                      </a:lnTo>
                      <a:lnTo>
                        <a:pt x="13" y="80"/>
                      </a:lnTo>
                      <a:lnTo>
                        <a:pt x="14" y="79"/>
                      </a:lnTo>
                      <a:lnTo>
                        <a:pt x="16" y="78"/>
                      </a:lnTo>
                      <a:lnTo>
                        <a:pt x="18" y="77"/>
                      </a:lnTo>
                      <a:lnTo>
                        <a:pt x="21" y="77"/>
                      </a:lnTo>
                      <a:lnTo>
                        <a:pt x="23" y="77"/>
                      </a:lnTo>
                      <a:lnTo>
                        <a:pt x="25" y="79"/>
                      </a:lnTo>
                      <a:lnTo>
                        <a:pt x="26" y="81"/>
                      </a:lnTo>
                      <a:lnTo>
                        <a:pt x="25" y="83"/>
                      </a:lnTo>
                      <a:lnTo>
                        <a:pt x="22" y="86"/>
                      </a:lnTo>
                      <a:lnTo>
                        <a:pt x="19" y="90"/>
                      </a:lnTo>
                      <a:lnTo>
                        <a:pt x="18" y="98"/>
                      </a:lnTo>
                      <a:lnTo>
                        <a:pt x="16" y="100"/>
                      </a:lnTo>
                      <a:lnTo>
                        <a:pt x="13" y="102"/>
                      </a:lnTo>
                      <a:lnTo>
                        <a:pt x="9" y="103"/>
                      </a:lnTo>
                      <a:lnTo>
                        <a:pt x="8" y="104"/>
                      </a:lnTo>
                      <a:lnTo>
                        <a:pt x="8" y="105"/>
                      </a:lnTo>
                      <a:lnTo>
                        <a:pt x="11" y="111"/>
                      </a:lnTo>
                      <a:lnTo>
                        <a:pt x="14" y="117"/>
                      </a:lnTo>
                      <a:lnTo>
                        <a:pt x="18" y="119"/>
                      </a:lnTo>
                      <a:lnTo>
                        <a:pt x="21" y="121"/>
                      </a:lnTo>
                      <a:lnTo>
                        <a:pt x="25" y="121"/>
                      </a:lnTo>
                      <a:lnTo>
                        <a:pt x="27" y="119"/>
                      </a:lnTo>
                      <a:lnTo>
                        <a:pt x="28" y="118"/>
                      </a:lnTo>
                      <a:lnTo>
                        <a:pt x="28" y="117"/>
                      </a:lnTo>
                      <a:lnTo>
                        <a:pt x="30" y="115"/>
                      </a:lnTo>
                      <a:lnTo>
                        <a:pt x="31" y="112"/>
                      </a:lnTo>
                      <a:lnTo>
                        <a:pt x="35" y="112"/>
                      </a:lnTo>
                      <a:lnTo>
                        <a:pt x="36" y="112"/>
                      </a:lnTo>
                      <a:lnTo>
                        <a:pt x="40" y="118"/>
                      </a:lnTo>
                      <a:lnTo>
                        <a:pt x="45" y="118"/>
                      </a:lnTo>
                      <a:lnTo>
                        <a:pt x="49" y="117"/>
                      </a:lnTo>
                      <a:lnTo>
                        <a:pt x="54" y="113"/>
                      </a:lnTo>
                      <a:lnTo>
                        <a:pt x="59" y="109"/>
                      </a:lnTo>
                      <a:lnTo>
                        <a:pt x="63" y="106"/>
                      </a:lnTo>
                      <a:lnTo>
                        <a:pt x="65" y="104"/>
                      </a:lnTo>
                      <a:lnTo>
                        <a:pt x="60" y="97"/>
                      </a:lnTo>
                      <a:lnTo>
                        <a:pt x="56" y="86"/>
                      </a:lnTo>
                      <a:lnTo>
                        <a:pt x="55" y="80"/>
                      </a:lnTo>
                      <a:lnTo>
                        <a:pt x="58" y="74"/>
                      </a:lnTo>
                      <a:lnTo>
                        <a:pt x="60" y="70"/>
                      </a:lnTo>
                      <a:lnTo>
                        <a:pt x="65" y="66"/>
                      </a:lnTo>
                      <a:lnTo>
                        <a:pt x="75" y="60"/>
                      </a:lnTo>
                      <a:lnTo>
                        <a:pt x="80" y="57"/>
                      </a:lnTo>
                      <a:lnTo>
                        <a:pt x="84" y="52"/>
                      </a:lnTo>
                      <a:lnTo>
                        <a:pt x="88" y="46"/>
                      </a:lnTo>
                      <a:lnTo>
                        <a:pt x="92" y="41"/>
                      </a:lnTo>
                      <a:lnTo>
                        <a:pt x="96" y="36"/>
                      </a:lnTo>
                      <a:lnTo>
                        <a:pt x="98" y="29"/>
                      </a:lnTo>
                      <a:lnTo>
                        <a:pt x="101" y="26"/>
                      </a:lnTo>
                      <a:lnTo>
                        <a:pt x="103" y="25"/>
                      </a:lnTo>
                      <a:lnTo>
                        <a:pt x="108" y="23"/>
                      </a:lnTo>
                      <a:lnTo>
                        <a:pt x="111" y="23"/>
                      </a:lnTo>
                      <a:lnTo>
                        <a:pt x="112" y="21"/>
                      </a:lnTo>
                      <a:lnTo>
                        <a:pt x="112" y="17"/>
                      </a:lnTo>
                      <a:lnTo>
                        <a:pt x="111" y="15"/>
                      </a:lnTo>
                      <a:lnTo>
                        <a:pt x="110" y="12"/>
                      </a:lnTo>
                      <a:lnTo>
                        <a:pt x="111" y="9"/>
                      </a:lnTo>
                      <a:lnTo>
                        <a:pt x="110" y="4"/>
                      </a:lnTo>
                      <a:lnTo>
                        <a:pt x="106" y="1"/>
                      </a:lnTo>
                      <a:lnTo>
                        <a:pt x="102" y="0"/>
                      </a:lnTo>
                      <a:lnTo>
                        <a:pt x="101" y="0"/>
                      </a:lnTo>
                      <a:lnTo>
                        <a:pt x="98" y="1"/>
                      </a:lnTo>
                      <a:lnTo>
                        <a:pt x="92" y="7"/>
                      </a:lnTo>
                      <a:lnTo>
                        <a:pt x="89" y="10"/>
                      </a:lnTo>
                      <a:lnTo>
                        <a:pt x="84" y="13"/>
                      </a:lnTo>
                      <a:lnTo>
                        <a:pt x="83" y="15"/>
                      </a:lnTo>
                      <a:lnTo>
                        <a:pt x="80" y="17"/>
                      </a:lnTo>
                      <a:lnTo>
                        <a:pt x="79" y="20"/>
                      </a:lnTo>
                      <a:lnTo>
                        <a:pt x="78" y="22"/>
                      </a:lnTo>
                      <a:lnTo>
                        <a:pt x="68" y="28"/>
                      </a:lnTo>
                      <a:lnTo>
                        <a:pt x="58" y="34"/>
                      </a:lnTo>
                      <a:lnTo>
                        <a:pt x="56" y="35"/>
                      </a:lnTo>
                      <a:lnTo>
                        <a:pt x="54" y="34"/>
                      </a:lnTo>
                      <a:lnTo>
                        <a:pt x="51" y="30"/>
                      </a:lnTo>
                      <a:lnTo>
                        <a:pt x="46" y="29"/>
                      </a:lnTo>
                      <a:lnTo>
                        <a:pt x="41" y="29"/>
                      </a:lnTo>
                      <a:lnTo>
                        <a:pt x="37" y="30"/>
                      </a:lnTo>
                      <a:lnTo>
                        <a:pt x="35" y="32"/>
                      </a:lnTo>
                      <a:lnTo>
                        <a:pt x="33" y="33"/>
                      </a:lnTo>
                      <a:lnTo>
                        <a:pt x="32" y="38"/>
                      </a:lnTo>
                      <a:lnTo>
                        <a:pt x="32" y="44"/>
                      </a:lnTo>
                      <a:lnTo>
                        <a:pt x="31" y="48"/>
                      </a:lnTo>
                      <a:lnTo>
                        <a:pt x="22" y="52"/>
                      </a:lnTo>
                      <a:lnTo>
                        <a:pt x="19" y="54"/>
                      </a:lnTo>
                      <a:lnTo>
                        <a:pt x="16" y="57"/>
                      </a:lnTo>
                      <a:lnTo>
                        <a:pt x="9" y="65"/>
                      </a:lnTo>
                      <a:lnTo>
                        <a:pt x="5" y="68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7" name="Freeform 606">
                  <a:extLst>
                    <a:ext uri="{FF2B5EF4-FFF2-40B4-BE49-F238E27FC236}">
                      <a16:creationId xmlns:a16="http://schemas.microsoft.com/office/drawing/2014/main" id="{C90665B6-4CD2-6E4A-9564-1E79012594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39730" y="3845868"/>
                  <a:ext cx="13318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2147483647 w 9"/>
                    <a:gd name="T3" fmla="*/ 2147483647 h 12"/>
                    <a:gd name="T4" fmla="*/ 2147483647 w 9"/>
                    <a:gd name="T5" fmla="*/ 2147483647 h 12"/>
                    <a:gd name="T6" fmla="*/ 2147483647 w 9"/>
                    <a:gd name="T7" fmla="*/ 0 h 12"/>
                    <a:gd name="T8" fmla="*/ 0 w 9"/>
                    <a:gd name="T9" fmla="*/ 2147483647 h 12"/>
                    <a:gd name="T10" fmla="*/ 2147483647 w 9"/>
                    <a:gd name="T11" fmla="*/ 2147483647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9"/>
                    <a:gd name="T19" fmla="*/ 0 h 12"/>
                    <a:gd name="T20" fmla="*/ 9 w 9"/>
                    <a:gd name="T21" fmla="*/ 12 h 1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9" h="12">
                      <a:moveTo>
                        <a:pt x="8" y="12"/>
                      </a:moveTo>
                      <a:lnTo>
                        <a:pt x="9" y="7"/>
                      </a:lnTo>
                      <a:lnTo>
                        <a:pt x="9" y="3"/>
                      </a:lnTo>
                      <a:lnTo>
                        <a:pt x="8" y="0"/>
                      </a:lnTo>
                      <a:lnTo>
                        <a:pt x="0" y="7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8" name="Freeform 608">
                  <a:extLst>
                    <a:ext uri="{FF2B5EF4-FFF2-40B4-BE49-F238E27FC236}">
                      <a16:creationId xmlns:a16="http://schemas.microsoft.com/office/drawing/2014/main" id="{96435884-4727-144B-9E0C-14AC2B8A91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38247" y="3844392"/>
                  <a:ext cx="13319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2147483647 w 9"/>
                    <a:gd name="T3" fmla="*/ 2147483647 h 12"/>
                    <a:gd name="T4" fmla="*/ 2147483647 w 9"/>
                    <a:gd name="T5" fmla="*/ 2147483647 h 12"/>
                    <a:gd name="T6" fmla="*/ 2147483647 w 9"/>
                    <a:gd name="T7" fmla="*/ 2147483647 h 12"/>
                    <a:gd name="T8" fmla="*/ 2147483647 w 9"/>
                    <a:gd name="T9" fmla="*/ 2147483647 h 12"/>
                    <a:gd name="T10" fmla="*/ 2147483647 w 9"/>
                    <a:gd name="T11" fmla="*/ 0 h 12"/>
                    <a:gd name="T12" fmla="*/ 2147483647 w 9"/>
                    <a:gd name="T13" fmla="*/ 0 h 12"/>
                    <a:gd name="T14" fmla="*/ 0 w 9"/>
                    <a:gd name="T15" fmla="*/ 2147483647 h 12"/>
                    <a:gd name="T16" fmla="*/ 0 w 9"/>
                    <a:gd name="T17" fmla="*/ 2147483647 h 12"/>
                    <a:gd name="T18" fmla="*/ 2147483647 w 9"/>
                    <a:gd name="T19" fmla="*/ 2147483647 h 12"/>
                    <a:gd name="T20" fmla="*/ 2147483647 w 9"/>
                    <a:gd name="T21" fmla="*/ 2147483647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12"/>
                    <a:gd name="T35" fmla="*/ 9 w 9"/>
                    <a:gd name="T36" fmla="*/ 12 h 1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12">
                      <a:moveTo>
                        <a:pt x="7" y="12"/>
                      </a:moveTo>
                      <a:lnTo>
                        <a:pt x="7" y="12"/>
                      </a:lnTo>
                      <a:lnTo>
                        <a:pt x="9" y="7"/>
                      </a:lnTo>
                      <a:lnTo>
                        <a:pt x="9" y="3"/>
                      </a:lnTo>
                      <a:lnTo>
                        <a:pt x="7" y="0"/>
                      </a:lnTo>
                      <a:lnTo>
                        <a:pt x="0" y="7"/>
                      </a:lnTo>
                      <a:lnTo>
                        <a:pt x="7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9" name="Freeform 610">
                  <a:extLst>
                    <a:ext uri="{FF2B5EF4-FFF2-40B4-BE49-F238E27FC236}">
                      <a16:creationId xmlns:a16="http://schemas.microsoft.com/office/drawing/2014/main" id="{A566C238-76B9-B242-BBB0-76C55CA693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90021" y="2987546"/>
                  <a:ext cx="729577" cy="358129"/>
                </a:xfrm>
                <a:custGeom>
                  <a:avLst/>
                  <a:gdLst>
                    <a:gd name="T0" fmla="*/ 2147483647 w 534"/>
                    <a:gd name="T1" fmla="*/ 2147483647 h 242"/>
                    <a:gd name="T2" fmla="*/ 2147483647 w 534"/>
                    <a:gd name="T3" fmla="*/ 2147483647 h 242"/>
                    <a:gd name="T4" fmla="*/ 2147483647 w 534"/>
                    <a:gd name="T5" fmla="*/ 2147483647 h 242"/>
                    <a:gd name="T6" fmla="*/ 2147483647 w 534"/>
                    <a:gd name="T7" fmla="*/ 2147483647 h 242"/>
                    <a:gd name="T8" fmla="*/ 2147483647 w 534"/>
                    <a:gd name="T9" fmla="*/ 2147483647 h 242"/>
                    <a:gd name="T10" fmla="*/ 2147483647 w 534"/>
                    <a:gd name="T11" fmla="*/ 2147483647 h 242"/>
                    <a:gd name="T12" fmla="*/ 2147483647 w 534"/>
                    <a:gd name="T13" fmla="*/ 2147483647 h 242"/>
                    <a:gd name="T14" fmla="*/ 2147483647 w 534"/>
                    <a:gd name="T15" fmla="*/ 2147483647 h 242"/>
                    <a:gd name="T16" fmla="*/ 2147483647 w 534"/>
                    <a:gd name="T17" fmla="*/ 2147483647 h 242"/>
                    <a:gd name="T18" fmla="*/ 2147483647 w 534"/>
                    <a:gd name="T19" fmla="*/ 2147483647 h 242"/>
                    <a:gd name="T20" fmla="*/ 2147483647 w 534"/>
                    <a:gd name="T21" fmla="*/ 2147483647 h 242"/>
                    <a:gd name="T22" fmla="*/ 2147483647 w 534"/>
                    <a:gd name="T23" fmla="*/ 2147483647 h 242"/>
                    <a:gd name="T24" fmla="*/ 2147483647 w 534"/>
                    <a:gd name="T25" fmla="*/ 2147483647 h 242"/>
                    <a:gd name="T26" fmla="*/ 2147483647 w 534"/>
                    <a:gd name="T27" fmla="*/ 2147483647 h 242"/>
                    <a:gd name="T28" fmla="*/ 2147483647 w 534"/>
                    <a:gd name="T29" fmla="*/ 2147483647 h 242"/>
                    <a:gd name="T30" fmla="*/ 2147483647 w 534"/>
                    <a:gd name="T31" fmla="*/ 2147483647 h 242"/>
                    <a:gd name="T32" fmla="*/ 2147483647 w 534"/>
                    <a:gd name="T33" fmla="*/ 2147483647 h 242"/>
                    <a:gd name="T34" fmla="*/ 2147483647 w 534"/>
                    <a:gd name="T35" fmla="*/ 2147483647 h 242"/>
                    <a:gd name="T36" fmla="*/ 2147483647 w 534"/>
                    <a:gd name="T37" fmla="*/ 2147483647 h 242"/>
                    <a:gd name="T38" fmla="*/ 2147483647 w 534"/>
                    <a:gd name="T39" fmla="*/ 2147483647 h 242"/>
                    <a:gd name="T40" fmla="*/ 2147483647 w 534"/>
                    <a:gd name="T41" fmla="*/ 2147483647 h 242"/>
                    <a:gd name="T42" fmla="*/ 2147483647 w 534"/>
                    <a:gd name="T43" fmla="*/ 2147483647 h 242"/>
                    <a:gd name="T44" fmla="*/ 2147483647 w 534"/>
                    <a:gd name="T45" fmla="*/ 2147483647 h 242"/>
                    <a:gd name="T46" fmla="*/ 2147483647 w 534"/>
                    <a:gd name="T47" fmla="*/ 2147483647 h 242"/>
                    <a:gd name="T48" fmla="*/ 2147483647 w 534"/>
                    <a:gd name="T49" fmla="*/ 2147483647 h 242"/>
                    <a:gd name="T50" fmla="*/ 2147483647 w 534"/>
                    <a:gd name="T51" fmla="*/ 2147483647 h 242"/>
                    <a:gd name="T52" fmla="*/ 2147483647 w 534"/>
                    <a:gd name="T53" fmla="*/ 2147483647 h 242"/>
                    <a:gd name="T54" fmla="*/ 2147483647 w 534"/>
                    <a:gd name="T55" fmla="*/ 2147483647 h 242"/>
                    <a:gd name="T56" fmla="*/ 2147483647 w 534"/>
                    <a:gd name="T57" fmla="*/ 2147483647 h 242"/>
                    <a:gd name="T58" fmla="*/ 2147483647 w 534"/>
                    <a:gd name="T59" fmla="*/ 2147483647 h 242"/>
                    <a:gd name="T60" fmla="*/ 2147483647 w 534"/>
                    <a:gd name="T61" fmla="*/ 2147483647 h 242"/>
                    <a:gd name="T62" fmla="*/ 2147483647 w 534"/>
                    <a:gd name="T63" fmla="*/ 2147483647 h 242"/>
                    <a:gd name="T64" fmla="*/ 2147483647 w 534"/>
                    <a:gd name="T65" fmla="*/ 2147483647 h 242"/>
                    <a:gd name="T66" fmla="*/ 2147483647 w 534"/>
                    <a:gd name="T67" fmla="*/ 2147483647 h 242"/>
                    <a:gd name="T68" fmla="*/ 0 w 534"/>
                    <a:gd name="T69" fmla="*/ 2147483647 h 242"/>
                    <a:gd name="T70" fmla="*/ 2147483647 w 534"/>
                    <a:gd name="T71" fmla="*/ 2147483647 h 242"/>
                    <a:gd name="T72" fmla="*/ 2147483647 w 534"/>
                    <a:gd name="T73" fmla="*/ 2147483647 h 242"/>
                    <a:gd name="T74" fmla="*/ 2147483647 w 534"/>
                    <a:gd name="T75" fmla="*/ 2147483647 h 242"/>
                    <a:gd name="T76" fmla="*/ 2147483647 w 534"/>
                    <a:gd name="T77" fmla="*/ 2147483647 h 242"/>
                    <a:gd name="T78" fmla="*/ 2147483647 w 534"/>
                    <a:gd name="T79" fmla="*/ 2147483647 h 242"/>
                    <a:gd name="T80" fmla="*/ 2147483647 w 534"/>
                    <a:gd name="T81" fmla="*/ 2147483647 h 242"/>
                    <a:gd name="T82" fmla="*/ 2147483647 w 534"/>
                    <a:gd name="T83" fmla="*/ 2147483647 h 242"/>
                    <a:gd name="T84" fmla="*/ 2147483647 w 534"/>
                    <a:gd name="T85" fmla="*/ 2147483647 h 242"/>
                    <a:gd name="T86" fmla="*/ 2147483647 w 534"/>
                    <a:gd name="T87" fmla="*/ 2147483647 h 242"/>
                    <a:gd name="T88" fmla="*/ 2147483647 w 534"/>
                    <a:gd name="T89" fmla="*/ 2147483647 h 242"/>
                    <a:gd name="T90" fmla="*/ 2147483647 w 534"/>
                    <a:gd name="T91" fmla="*/ 2147483647 h 242"/>
                    <a:gd name="T92" fmla="*/ 2147483647 w 534"/>
                    <a:gd name="T93" fmla="*/ 2147483647 h 242"/>
                    <a:gd name="T94" fmla="*/ 2147483647 w 534"/>
                    <a:gd name="T95" fmla="*/ 2147483647 h 242"/>
                    <a:gd name="T96" fmla="*/ 2147483647 w 534"/>
                    <a:gd name="T97" fmla="*/ 0 h 242"/>
                    <a:gd name="T98" fmla="*/ 2147483647 w 534"/>
                    <a:gd name="T99" fmla="*/ 2147483647 h 242"/>
                    <a:gd name="T100" fmla="*/ 2147483647 w 534"/>
                    <a:gd name="T101" fmla="*/ 2147483647 h 242"/>
                    <a:gd name="T102" fmla="*/ 2147483647 w 534"/>
                    <a:gd name="T103" fmla="*/ 2147483647 h 242"/>
                    <a:gd name="T104" fmla="*/ 2147483647 w 534"/>
                    <a:gd name="T105" fmla="*/ 2147483647 h 242"/>
                    <a:gd name="T106" fmla="*/ 2147483647 w 534"/>
                    <a:gd name="T107" fmla="*/ 2147483647 h 242"/>
                    <a:gd name="T108" fmla="*/ 2147483647 w 534"/>
                    <a:gd name="T109" fmla="*/ 2147483647 h 242"/>
                    <a:gd name="T110" fmla="*/ 2147483647 w 534"/>
                    <a:gd name="T111" fmla="*/ 2147483647 h 242"/>
                    <a:gd name="T112" fmla="*/ 2147483647 w 534"/>
                    <a:gd name="T113" fmla="*/ 2147483647 h 242"/>
                    <a:gd name="T114" fmla="*/ 2147483647 w 534"/>
                    <a:gd name="T115" fmla="*/ 2147483647 h 242"/>
                    <a:gd name="T116" fmla="*/ 2147483647 w 534"/>
                    <a:gd name="T117" fmla="*/ 2147483647 h 242"/>
                    <a:gd name="T118" fmla="*/ 2147483647 w 534"/>
                    <a:gd name="T119" fmla="*/ 2147483647 h 242"/>
                    <a:gd name="T120" fmla="*/ 2147483647 w 534"/>
                    <a:gd name="T121" fmla="*/ 2147483647 h 242"/>
                    <a:gd name="T122" fmla="*/ 2147483647 w 534"/>
                    <a:gd name="T123" fmla="*/ 2147483647 h 242"/>
                    <a:gd name="T124" fmla="*/ 2147483647 w 534"/>
                    <a:gd name="T125" fmla="*/ 2147483647 h 24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34"/>
                    <a:gd name="T190" fmla="*/ 0 h 242"/>
                    <a:gd name="T191" fmla="*/ 534 w 534"/>
                    <a:gd name="T192" fmla="*/ 242 h 24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34" h="242">
                      <a:moveTo>
                        <a:pt x="481" y="49"/>
                      </a:moveTo>
                      <a:lnTo>
                        <a:pt x="474" y="55"/>
                      </a:lnTo>
                      <a:lnTo>
                        <a:pt x="473" y="58"/>
                      </a:lnTo>
                      <a:lnTo>
                        <a:pt x="473" y="62"/>
                      </a:lnTo>
                      <a:lnTo>
                        <a:pt x="476" y="64"/>
                      </a:lnTo>
                      <a:lnTo>
                        <a:pt x="477" y="65"/>
                      </a:lnTo>
                      <a:lnTo>
                        <a:pt x="477" y="67"/>
                      </a:lnTo>
                      <a:lnTo>
                        <a:pt x="474" y="73"/>
                      </a:lnTo>
                      <a:lnTo>
                        <a:pt x="471" y="76"/>
                      </a:lnTo>
                      <a:lnTo>
                        <a:pt x="468" y="82"/>
                      </a:lnTo>
                      <a:lnTo>
                        <a:pt x="468" y="84"/>
                      </a:lnTo>
                      <a:lnTo>
                        <a:pt x="469" y="88"/>
                      </a:lnTo>
                      <a:lnTo>
                        <a:pt x="472" y="93"/>
                      </a:lnTo>
                      <a:lnTo>
                        <a:pt x="474" y="94"/>
                      </a:lnTo>
                      <a:lnTo>
                        <a:pt x="478" y="95"/>
                      </a:lnTo>
                      <a:lnTo>
                        <a:pt x="482" y="96"/>
                      </a:lnTo>
                      <a:lnTo>
                        <a:pt x="487" y="96"/>
                      </a:lnTo>
                      <a:lnTo>
                        <a:pt x="497" y="95"/>
                      </a:lnTo>
                      <a:lnTo>
                        <a:pt x="507" y="95"/>
                      </a:lnTo>
                      <a:lnTo>
                        <a:pt x="513" y="95"/>
                      </a:lnTo>
                      <a:lnTo>
                        <a:pt x="516" y="96"/>
                      </a:lnTo>
                      <a:lnTo>
                        <a:pt x="524" y="100"/>
                      </a:lnTo>
                      <a:lnTo>
                        <a:pt x="530" y="106"/>
                      </a:lnTo>
                      <a:lnTo>
                        <a:pt x="533" y="109"/>
                      </a:lnTo>
                      <a:lnTo>
                        <a:pt x="534" y="113"/>
                      </a:lnTo>
                      <a:lnTo>
                        <a:pt x="534" y="116"/>
                      </a:lnTo>
                      <a:lnTo>
                        <a:pt x="534" y="120"/>
                      </a:lnTo>
                      <a:lnTo>
                        <a:pt x="532" y="122"/>
                      </a:lnTo>
                      <a:lnTo>
                        <a:pt x="527" y="125"/>
                      </a:lnTo>
                      <a:lnTo>
                        <a:pt x="516" y="127"/>
                      </a:lnTo>
                      <a:lnTo>
                        <a:pt x="509" y="127"/>
                      </a:lnTo>
                      <a:lnTo>
                        <a:pt x="500" y="128"/>
                      </a:lnTo>
                      <a:lnTo>
                        <a:pt x="496" y="128"/>
                      </a:lnTo>
                      <a:lnTo>
                        <a:pt x="494" y="131"/>
                      </a:lnTo>
                      <a:lnTo>
                        <a:pt x="490" y="133"/>
                      </a:lnTo>
                      <a:lnTo>
                        <a:pt x="486" y="137"/>
                      </a:lnTo>
                      <a:lnTo>
                        <a:pt x="485" y="138"/>
                      </a:lnTo>
                      <a:lnTo>
                        <a:pt x="483" y="138"/>
                      </a:lnTo>
                      <a:lnTo>
                        <a:pt x="480" y="138"/>
                      </a:lnTo>
                      <a:lnTo>
                        <a:pt x="472" y="134"/>
                      </a:lnTo>
                      <a:lnTo>
                        <a:pt x="471" y="134"/>
                      </a:lnTo>
                      <a:lnTo>
                        <a:pt x="469" y="137"/>
                      </a:lnTo>
                      <a:lnTo>
                        <a:pt x="467" y="140"/>
                      </a:lnTo>
                      <a:lnTo>
                        <a:pt x="464" y="145"/>
                      </a:lnTo>
                      <a:lnTo>
                        <a:pt x="463" y="150"/>
                      </a:lnTo>
                      <a:lnTo>
                        <a:pt x="462" y="152"/>
                      </a:lnTo>
                      <a:lnTo>
                        <a:pt x="460" y="152"/>
                      </a:lnTo>
                      <a:lnTo>
                        <a:pt x="447" y="155"/>
                      </a:lnTo>
                      <a:lnTo>
                        <a:pt x="443" y="155"/>
                      </a:lnTo>
                      <a:lnTo>
                        <a:pt x="427" y="167"/>
                      </a:lnTo>
                      <a:lnTo>
                        <a:pt x="424" y="170"/>
                      </a:lnTo>
                      <a:lnTo>
                        <a:pt x="420" y="171"/>
                      </a:lnTo>
                      <a:lnTo>
                        <a:pt x="416" y="171"/>
                      </a:lnTo>
                      <a:lnTo>
                        <a:pt x="411" y="170"/>
                      </a:lnTo>
                      <a:lnTo>
                        <a:pt x="403" y="166"/>
                      </a:lnTo>
                      <a:lnTo>
                        <a:pt x="394" y="164"/>
                      </a:lnTo>
                      <a:lnTo>
                        <a:pt x="391" y="163"/>
                      </a:lnTo>
                      <a:lnTo>
                        <a:pt x="388" y="164"/>
                      </a:lnTo>
                      <a:lnTo>
                        <a:pt x="384" y="166"/>
                      </a:lnTo>
                      <a:lnTo>
                        <a:pt x="382" y="170"/>
                      </a:lnTo>
                      <a:lnTo>
                        <a:pt x="379" y="177"/>
                      </a:lnTo>
                      <a:lnTo>
                        <a:pt x="378" y="180"/>
                      </a:lnTo>
                      <a:lnTo>
                        <a:pt x="378" y="184"/>
                      </a:lnTo>
                      <a:lnTo>
                        <a:pt x="379" y="188"/>
                      </a:lnTo>
                      <a:lnTo>
                        <a:pt x="383" y="190"/>
                      </a:lnTo>
                      <a:lnTo>
                        <a:pt x="386" y="191"/>
                      </a:lnTo>
                      <a:lnTo>
                        <a:pt x="388" y="193"/>
                      </a:lnTo>
                      <a:lnTo>
                        <a:pt x="389" y="197"/>
                      </a:lnTo>
                      <a:lnTo>
                        <a:pt x="389" y="199"/>
                      </a:lnTo>
                      <a:lnTo>
                        <a:pt x="389" y="203"/>
                      </a:lnTo>
                      <a:lnTo>
                        <a:pt x="388" y="206"/>
                      </a:lnTo>
                      <a:lnTo>
                        <a:pt x="384" y="211"/>
                      </a:lnTo>
                      <a:lnTo>
                        <a:pt x="378" y="216"/>
                      </a:lnTo>
                      <a:lnTo>
                        <a:pt x="368" y="220"/>
                      </a:lnTo>
                      <a:lnTo>
                        <a:pt x="356" y="222"/>
                      </a:lnTo>
                      <a:lnTo>
                        <a:pt x="345" y="223"/>
                      </a:lnTo>
                      <a:lnTo>
                        <a:pt x="340" y="222"/>
                      </a:lnTo>
                      <a:lnTo>
                        <a:pt x="334" y="221"/>
                      </a:lnTo>
                      <a:lnTo>
                        <a:pt x="330" y="221"/>
                      </a:lnTo>
                      <a:lnTo>
                        <a:pt x="325" y="221"/>
                      </a:lnTo>
                      <a:lnTo>
                        <a:pt x="320" y="223"/>
                      </a:lnTo>
                      <a:lnTo>
                        <a:pt x="316" y="225"/>
                      </a:lnTo>
                      <a:lnTo>
                        <a:pt x="307" y="233"/>
                      </a:lnTo>
                      <a:lnTo>
                        <a:pt x="298" y="238"/>
                      </a:lnTo>
                      <a:lnTo>
                        <a:pt x="290" y="242"/>
                      </a:lnTo>
                      <a:lnTo>
                        <a:pt x="284" y="242"/>
                      </a:lnTo>
                      <a:lnTo>
                        <a:pt x="269" y="242"/>
                      </a:lnTo>
                      <a:lnTo>
                        <a:pt x="261" y="241"/>
                      </a:lnTo>
                      <a:lnTo>
                        <a:pt x="252" y="238"/>
                      </a:lnTo>
                      <a:lnTo>
                        <a:pt x="248" y="236"/>
                      </a:lnTo>
                      <a:lnTo>
                        <a:pt x="243" y="231"/>
                      </a:lnTo>
                      <a:lnTo>
                        <a:pt x="240" y="227"/>
                      </a:lnTo>
                      <a:lnTo>
                        <a:pt x="236" y="224"/>
                      </a:lnTo>
                      <a:lnTo>
                        <a:pt x="233" y="223"/>
                      </a:lnTo>
                      <a:lnTo>
                        <a:pt x="229" y="223"/>
                      </a:lnTo>
                      <a:lnTo>
                        <a:pt x="226" y="224"/>
                      </a:lnTo>
                      <a:lnTo>
                        <a:pt x="219" y="225"/>
                      </a:lnTo>
                      <a:lnTo>
                        <a:pt x="213" y="228"/>
                      </a:lnTo>
                      <a:lnTo>
                        <a:pt x="209" y="229"/>
                      </a:lnTo>
                      <a:lnTo>
                        <a:pt x="207" y="228"/>
                      </a:lnTo>
                      <a:lnTo>
                        <a:pt x="182" y="224"/>
                      </a:lnTo>
                      <a:lnTo>
                        <a:pt x="171" y="222"/>
                      </a:lnTo>
                      <a:lnTo>
                        <a:pt x="158" y="220"/>
                      </a:lnTo>
                      <a:lnTo>
                        <a:pt x="153" y="218"/>
                      </a:lnTo>
                      <a:lnTo>
                        <a:pt x="149" y="217"/>
                      </a:lnTo>
                      <a:lnTo>
                        <a:pt x="146" y="214"/>
                      </a:lnTo>
                      <a:lnTo>
                        <a:pt x="142" y="210"/>
                      </a:lnTo>
                      <a:lnTo>
                        <a:pt x="138" y="205"/>
                      </a:lnTo>
                      <a:lnTo>
                        <a:pt x="134" y="199"/>
                      </a:lnTo>
                      <a:lnTo>
                        <a:pt x="129" y="193"/>
                      </a:lnTo>
                      <a:lnTo>
                        <a:pt x="125" y="188"/>
                      </a:lnTo>
                      <a:lnTo>
                        <a:pt x="121" y="183"/>
                      </a:lnTo>
                      <a:lnTo>
                        <a:pt x="118" y="182"/>
                      </a:lnTo>
                      <a:lnTo>
                        <a:pt x="107" y="179"/>
                      </a:lnTo>
                      <a:lnTo>
                        <a:pt x="100" y="176"/>
                      </a:lnTo>
                      <a:lnTo>
                        <a:pt x="85" y="167"/>
                      </a:lnTo>
                      <a:lnTo>
                        <a:pt x="80" y="165"/>
                      </a:lnTo>
                      <a:lnTo>
                        <a:pt x="77" y="165"/>
                      </a:lnTo>
                      <a:lnTo>
                        <a:pt x="74" y="163"/>
                      </a:lnTo>
                      <a:lnTo>
                        <a:pt x="72" y="159"/>
                      </a:lnTo>
                      <a:lnTo>
                        <a:pt x="69" y="154"/>
                      </a:lnTo>
                      <a:lnTo>
                        <a:pt x="67" y="145"/>
                      </a:lnTo>
                      <a:lnTo>
                        <a:pt x="64" y="134"/>
                      </a:lnTo>
                      <a:lnTo>
                        <a:pt x="62" y="125"/>
                      </a:lnTo>
                      <a:lnTo>
                        <a:pt x="53" y="118"/>
                      </a:lnTo>
                      <a:lnTo>
                        <a:pt x="45" y="110"/>
                      </a:lnTo>
                      <a:lnTo>
                        <a:pt x="40" y="108"/>
                      </a:lnTo>
                      <a:lnTo>
                        <a:pt x="35" y="107"/>
                      </a:lnTo>
                      <a:lnTo>
                        <a:pt x="30" y="106"/>
                      </a:lnTo>
                      <a:lnTo>
                        <a:pt x="24" y="107"/>
                      </a:lnTo>
                      <a:lnTo>
                        <a:pt x="20" y="107"/>
                      </a:lnTo>
                      <a:lnTo>
                        <a:pt x="17" y="105"/>
                      </a:lnTo>
                      <a:lnTo>
                        <a:pt x="14" y="101"/>
                      </a:lnTo>
                      <a:lnTo>
                        <a:pt x="10" y="99"/>
                      </a:lnTo>
                      <a:lnTo>
                        <a:pt x="6" y="96"/>
                      </a:lnTo>
                      <a:lnTo>
                        <a:pt x="3" y="94"/>
                      </a:lnTo>
                      <a:lnTo>
                        <a:pt x="2" y="90"/>
                      </a:lnTo>
                      <a:lnTo>
                        <a:pt x="1" y="86"/>
                      </a:lnTo>
                      <a:lnTo>
                        <a:pt x="0" y="77"/>
                      </a:lnTo>
                      <a:lnTo>
                        <a:pt x="0" y="69"/>
                      </a:lnTo>
                      <a:lnTo>
                        <a:pt x="6" y="65"/>
                      </a:lnTo>
                      <a:lnTo>
                        <a:pt x="12" y="64"/>
                      </a:lnTo>
                      <a:lnTo>
                        <a:pt x="20" y="63"/>
                      </a:lnTo>
                      <a:lnTo>
                        <a:pt x="29" y="62"/>
                      </a:lnTo>
                      <a:lnTo>
                        <a:pt x="30" y="62"/>
                      </a:lnTo>
                      <a:lnTo>
                        <a:pt x="31" y="61"/>
                      </a:lnTo>
                      <a:lnTo>
                        <a:pt x="31" y="57"/>
                      </a:lnTo>
                      <a:lnTo>
                        <a:pt x="27" y="51"/>
                      </a:lnTo>
                      <a:lnTo>
                        <a:pt x="26" y="49"/>
                      </a:lnTo>
                      <a:lnTo>
                        <a:pt x="26" y="48"/>
                      </a:lnTo>
                      <a:lnTo>
                        <a:pt x="33" y="44"/>
                      </a:lnTo>
                      <a:lnTo>
                        <a:pt x="38" y="42"/>
                      </a:lnTo>
                      <a:lnTo>
                        <a:pt x="44" y="39"/>
                      </a:lnTo>
                      <a:lnTo>
                        <a:pt x="49" y="36"/>
                      </a:lnTo>
                      <a:lnTo>
                        <a:pt x="53" y="33"/>
                      </a:lnTo>
                      <a:lnTo>
                        <a:pt x="58" y="31"/>
                      </a:lnTo>
                      <a:lnTo>
                        <a:pt x="63" y="31"/>
                      </a:lnTo>
                      <a:lnTo>
                        <a:pt x="68" y="31"/>
                      </a:lnTo>
                      <a:lnTo>
                        <a:pt x="78" y="31"/>
                      </a:lnTo>
                      <a:lnTo>
                        <a:pt x="90" y="33"/>
                      </a:lnTo>
                      <a:lnTo>
                        <a:pt x="91" y="32"/>
                      </a:lnTo>
                      <a:lnTo>
                        <a:pt x="92" y="30"/>
                      </a:lnTo>
                      <a:lnTo>
                        <a:pt x="94" y="29"/>
                      </a:lnTo>
                      <a:lnTo>
                        <a:pt x="96" y="27"/>
                      </a:lnTo>
                      <a:lnTo>
                        <a:pt x="99" y="29"/>
                      </a:lnTo>
                      <a:lnTo>
                        <a:pt x="101" y="30"/>
                      </a:lnTo>
                      <a:lnTo>
                        <a:pt x="102" y="32"/>
                      </a:lnTo>
                      <a:lnTo>
                        <a:pt x="104" y="33"/>
                      </a:lnTo>
                      <a:lnTo>
                        <a:pt x="110" y="36"/>
                      </a:lnTo>
                      <a:lnTo>
                        <a:pt x="114" y="39"/>
                      </a:lnTo>
                      <a:lnTo>
                        <a:pt x="119" y="43"/>
                      </a:lnTo>
                      <a:lnTo>
                        <a:pt x="123" y="46"/>
                      </a:lnTo>
                      <a:lnTo>
                        <a:pt x="127" y="46"/>
                      </a:lnTo>
                      <a:lnTo>
                        <a:pt x="129" y="46"/>
                      </a:lnTo>
                      <a:lnTo>
                        <a:pt x="135" y="45"/>
                      </a:lnTo>
                      <a:lnTo>
                        <a:pt x="139" y="45"/>
                      </a:lnTo>
                      <a:lnTo>
                        <a:pt x="143" y="46"/>
                      </a:lnTo>
                      <a:lnTo>
                        <a:pt x="147" y="48"/>
                      </a:lnTo>
                      <a:lnTo>
                        <a:pt x="149" y="49"/>
                      </a:lnTo>
                      <a:lnTo>
                        <a:pt x="165" y="48"/>
                      </a:lnTo>
                      <a:lnTo>
                        <a:pt x="172" y="46"/>
                      </a:lnTo>
                      <a:lnTo>
                        <a:pt x="180" y="48"/>
                      </a:lnTo>
                      <a:lnTo>
                        <a:pt x="182" y="46"/>
                      </a:lnTo>
                      <a:lnTo>
                        <a:pt x="185" y="45"/>
                      </a:lnTo>
                      <a:lnTo>
                        <a:pt x="186" y="42"/>
                      </a:lnTo>
                      <a:lnTo>
                        <a:pt x="186" y="38"/>
                      </a:lnTo>
                      <a:lnTo>
                        <a:pt x="181" y="32"/>
                      </a:lnTo>
                      <a:lnTo>
                        <a:pt x="177" y="25"/>
                      </a:lnTo>
                      <a:lnTo>
                        <a:pt x="176" y="19"/>
                      </a:lnTo>
                      <a:lnTo>
                        <a:pt x="176" y="16"/>
                      </a:lnTo>
                      <a:lnTo>
                        <a:pt x="177" y="13"/>
                      </a:lnTo>
                      <a:lnTo>
                        <a:pt x="181" y="10"/>
                      </a:lnTo>
                      <a:lnTo>
                        <a:pt x="186" y="7"/>
                      </a:lnTo>
                      <a:lnTo>
                        <a:pt x="198" y="1"/>
                      </a:lnTo>
                      <a:lnTo>
                        <a:pt x="200" y="0"/>
                      </a:lnTo>
                      <a:lnTo>
                        <a:pt x="204" y="0"/>
                      </a:lnTo>
                      <a:lnTo>
                        <a:pt x="212" y="1"/>
                      </a:lnTo>
                      <a:lnTo>
                        <a:pt x="219" y="4"/>
                      </a:lnTo>
                      <a:lnTo>
                        <a:pt x="227" y="5"/>
                      </a:lnTo>
                      <a:lnTo>
                        <a:pt x="228" y="6"/>
                      </a:lnTo>
                      <a:lnTo>
                        <a:pt x="231" y="8"/>
                      </a:lnTo>
                      <a:lnTo>
                        <a:pt x="232" y="11"/>
                      </a:lnTo>
                      <a:lnTo>
                        <a:pt x="236" y="12"/>
                      </a:lnTo>
                      <a:lnTo>
                        <a:pt x="236" y="14"/>
                      </a:lnTo>
                      <a:lnTo>
                        <a:pt x="242" y="16"/>
                      </a:lnTo>
                      <a:lnTo>
                        <a:pt x="243" y="18"/>
                      </a:lnTo>
                      <a:lnTo>
                        <a:pt x="245" y="20"/>
                      </a:lnTo>
                      <a:lnTo>
                        <a:pt x="247" y="26"/>
                      </a:lnTo>
                      <a:lnTo>
                        <a:pt x="250" y="32"/>
                      </a:lnTo>
                      <a:lnTo>
                        <a:pt x="254" y="37"/>
                      </a:lnTo>
                      <a:lnTo>
                        <a:pt x="257" y="42"/>
                      </a:lnTo>
                      <a:lnTo>
                        <a:pt x="265" y="46"/>
                      </a:lnTo>
                      <a:lnTo>
                        <a:pt x="271" y="49"/>
                      </a:lnTo>
                      <a:lnTo>
                        <a:pt x="279" y="50"/>
                      </a:lnTo>
                      <a:lnTo>
                        <a:pt x="285" y="49"/>
                      </a:lnTo>
                      <a:lnTo>
                        <a:pt x="289" y="46"/>
                      </a:lnTo>
                      <a:lnTo>
                        <a:pt x="292" y="44"/>
                      </a:lnTo>
                      <a:lnTo>
                        <a:pt x="297" y="42"/>
                      </a:lnTo>
                      <a:lnTo>
                        <a:pt x="299" y="40"/>
                      </a:lnTo>
                      <a:lnTo>
                        <a:pt x="303" y="42"/>
                      </a:lnTo>
                      <a:lnTo>
                        <a:pt x="317" y="48"/>
                      </a:lnTo>
                      <a:lnTo>
                        <a:pt x="321" y="49"/>
                      </a:lnTo>
                      <a:lnTo>
                        <a:pt x="325" y="49"/>
                      </a:lnTo>
                      <a:lnTo>
                        <a:pt x="328" y="49"/>
                      </a:lnTo>
                      <a:lnTo>
                        <a:pt x="332" y="49"/>
                      </a:lnTo>
                      <a:lnTo>
                        <a:pt x="335" y="49"/>
                      </a:lnTo>
                      <a:lnTo>
                        <a:pt x="336" y="51"/>
                      </a:lnTo>
                      <a:lnTo>
                        <a:pt x="337" y="55"/>
                      </a:lnTo>
                      <a:lnTo>
                        <a:pt x="341" y="59"/>
                      </a:lnTo>
                      <a:lnTo>
                        <a:pt x="342" y="63"/>
                      </a:lnTo>
                      <a:lnTo>
                        <a:pt x="345" y="64"/>
                      </a:lnTo>
                      <a:lnTo>
                        <a:pt x="349" y="64"/>
                      </a:lnTo>
                      <a:lnTo>
                        <a:pt x="351" y="64"/>
                      </a:lnTo>
                      <a:lnTo>
                        <a:pt x="355" y="63"/>
                      </a:lnTo>
                      <a:lnTo>
                        <a:pt x="358" y="63"/>
                      </a:lnTo>
                      <a:lnTo>
                        <a:pt x="372" y="65"/>
                      </a:lnTo>
                      <a:lnTo>
                        <a:pt x="384" y="65"/>
                      </a:lnTo>
                      <a:lnTo>
                        <a:pt x="391" y="64"/>
                      </a:lnTo>
                      <a:lnTo>
                        <a:pt x="397" y="63"/>
                      </a:lnTo>
                      <a:lnTo>
                        <a:pt x="403" y="61"/>
                      </a:lnTo>
                      <a:lnTo>
                        <a:pt x="410" y="56"/>
                      </a:lnTo>
                      <a:lnTo>
                        <a:pt x="416" y="52"/>
                      </a:lnTo>
                      <a:lnTo>
                        <a:pt x="422" y="50"/>
                      </a:lnTo>
                      <a:lnTo>
                        <a:pt x="438" y="46"/>
                      </a:lnTo>
                      <a:lnTo>
                        <a:pt x="441" y="45"/>
                      </a:lnTo>
                      <a:lnTo>
                        <a:pt x="447" y="45"/>
                      </a:lnTo>
                      <a:lnTo>
                        <a:pt x="455" y="46"/>
                      </a:lnTo>
                      <a:lnTo>
                        <a:pt x="463" y="49"/>
                      </a:lnTo>
                      <a:lnTo>
                        <a:pt x="467" y="49"/>
                      </a:lnTo>
                      <a:lnTo>
                        <a:pt x="471" y="48"/>
                      </a:lnTo>
                      <a:lnTo>
                        <a:pt x="476" y="48"/>
                      </a:lnTo>
                      <a:lnTo>
                        <a:pt x="481" y="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0" name="Freeform 611">
                  <a:extLst>
                    <a:ext uri="{FF2B5EF4-FFF2-40B4-BE49-F238E27FC236}">
                      <a16:creationId xmlns:a16="http://schemas.microsoft.com/office/drawing/2014/main" id="{704C9CC7-D1F5-A94D-B309-D0535B032A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0034" y="3931701"/>
                  <a:ext cx="162786" cy="445442"/>
                </a:xfrm>
                <a:custGeom>
                  <a:avLst/>
                  <a:gdLst>
                    <a:gd name="T0" fmla="*/ 2147483647 w 120"/>
                    <a:gd name="T1" fmla="*/ 2147483647 h 301"/>
                    <a:gd name="T2" fmla="*/ 2147483647 w 120"/>
                    <a:gd name="T3" fmla="*/ 2147483647 h 301"/>
                    <a:gd name="T4" fmla="*/ 2147483647 w 120"/>
                    <a:gd name="T5" fmla="*/ 2147483647 h 301"/>
                    <a:gd name="T6" fmla="*/ 2147483647 w 120"/>
                    <a:gd name="T7" fmla="*/ 2147483647 h 301"/>
                    <a:gd name="T8" fmla="*/ 2147483647 w 120"/>
                    <a:gd name="T9" fmla="*/ 2147483647 h 301"/>
                    <a:gd name="T10" fmla="*/ 2147483647 w 120"/>
                    <a:gd name="T11" fmla="*/ 2147483647 h 301"/>
                    <a:gd name="T12" fmla="*/ 2147483647 w 120"/>
                    <a:gd name="T13" fmla="*/ 2147483647 h 301"/>
                    <a:gd name="T14" fmla="*/ 2147483647 w 120"/>
                    <a:gd name="T15" fmla="*/ 2147483647 h 301"/>
                    <a:gd name="T16" fmla="*/ 2147483647 w 120"/>
                    <a:gd name="T17" fmla="*/ 2147483647 h 301"/>
                    <a:gd name="T18" fmla="*/ 2147483647 w 120"/>
                    <a:gd name="T19" fmla="*/ 2147483647 h 301"/>
                    <a:gd name="T20" fmla="*/ 2147483647 w 120"/>
                    <a:gd name="T21" fmla="*/ 2147483647 h 301"/>
                    <a:gd name="T22" fmla="*/ 2147483647 w 120"/>
                    <a:gd name="T23" fmla="*/ 2147483647 h 301"/>
                    <a:gd name="T24" fmla="*/ 2147483647 w 120"/>
                    <a:gd name="T25" fmla="*/ 2147483647 h 301"/>
                    <a:gd name="T26" fmla="*/ 2147483647 w 120"/>
                    <a:gd name="T27" fmla="*/ 2147483647 h 301"/>
                    <a:gd name="T28" fmla="*/ 2147483647 w 120"/>
                    <a:gd name="T29" fmla="*/ 2147483647 h 301"/>
                    <a:gd name="T30" fmla="*/ 2147483647 w 120"/>
                    <a:gd name="T31" fmla="*/ 2147483647 h 301"/>
                    <a:gd name="T32" fmla="*/ 2147483647 w 120"/>
                    <a:gd name="T33" fmla="*/ 2147483647 h 301"/>
                    <a:gd name="T34" fmla="*/ 2147483647 w 120"/>
                    <a:gd name="T35" fmla="*/ 2147483647 h 301"/>
                    <a:gd name="T36" fmla="*/ 2147483647 w 120"/>
                    <a:gd name="T37" fmla="*/ 2147483647 h 301"/>
                    <a:gd name="T38" fmla="*/ 2147483647 w 120"/>
                    <a:gd name="T39" fmla="*/ 2147483647 h 301"/>
                    <a:gd name="T40" fmla="*/ 2147483647 w 120"/>
                    <a:gd name="T41" fmla="*/ 2147483647 h 301"/>
                    <a:gd name="T42" fmla="*/ 2147483647 w 120"/>
                    <a:gd name="T43" fmla="*/ 2147483647 h 301"/>
                    <a:gd name="T44" fmla="*/ 2147483647 w 120"/>
                    <a:gd name="T45" fmla="*/ 2147483647 h 301"/>
                    <a:gd name="T46" fmla="*/ 2147483647 w 120"/>
                    <a:gd name="T47" fmla="*/ 2147483647 h 301"/>
                    <a:gd name="T48" fmla="*/ 2147483647 w 120"/>
                    <a:gd name="T49" fmla="*/ 2147483647 h 301"/>
                    <a:gd name="T50" fmla="*/ 2147483647 w 120"/>
                    <a:gd name="T51" fmla="*/ 2147483647 h 301"/>
                    <a:gd name="T52" fmla="*/ 2147483647 w 120"/>
                    <a:gd name="T53" fmla="*/ 2147483647 h 301"/>
                    <a:gd name="T54" fmla="*/ 2147483647 w 120"/>
                    <a:gd name="T55" fmla="*/ 2147483647 h 301"/>
                    <a:gd name="T56" fmla="*/ 2147483647 w 120"/>
                    <a:gd name="T57" fmla="*/ 2147483647 h 301"/>
                    <a:gd name="T58" fmla="*/ 2147483647 w 120"/>
                    <a:gd name="T59" fmla="*/ 2147483647 h 301"/>
                    <a:gd name="T60" fmla="*/ 2147483647 w 120"/>
                    <a:gd name="T61" fmla="*/ 2147483647 h 301"/>
                    <a:gd name="T62" fmla="*/ 2147483647 w 120"/>
                    <a:gd name="T63" fmla="*/ 2147483647 h 301"/>
                    <a:gd name="T64" fmla="*/ 2147483647 w 120"/>
                    <a:gd name="T65" fmla="*/ 2147483647 h 301"/>
                    <a:gd name="T66" fmla="*/ 2147483647 w 120"/>
                    <a:gd name="T67" fmla="*/ 2147483647 h 301"/>
                    <a:gd name="T68" fmla="*/ 2147483647 w 120"/>
                    <a:gd name="T69" fmla="*/ 2147483647 h 301"/>
                    <a:gd name="T70" fmla="*/ 2147483647 w 120"/>
                    <a:gd name="T71" fmla="*/ 2147483647 h 301"/>
                    <a:gd name="T72" fmla="*/ 2147483647 w 120"/>
                    <a:gd name="T73" fmla="*/ 2147483647 h 301"/>
                    <a:gd name="T74" fmla="*/ 2147483647 w 120"/>
                    <a:gd name="T75" fmla="*/ 2147483647 h 301"/>
                    <a:gd name="T76" fmla="*/ 2147483647 w 120"/>
                    <a:gd name="T77" fmla="*/ 2147483647 h 301"/>
                    <a:gd name="T78" fmla="*/ 2147483647 w 120"/>
                    <a:gd name="T79" fmla="*/ 2147483647 h 301"/>
                    <a:gd name="T80" fmla="*/ 2147483647 w 120"/>
                    <a:gd name="T81" fmla="*/ 2147483647 h 301"/>
                    <a:gd name="T82" fmla="*/ 2147483647 w 120"/>
                    <a:gd name="T83" fmla="*/ 2147483647 h 301"/>
                    <a:gd name="T84" fmla="*/ 2147483647 w 120"/>
                    <a:gd name="T85" fmla="*/ 2147483647 h 301"/>
                    <a:gd name="T86" fmla="*/ 2147483647 w 120"/>
                    <a:gd name="T87" fmla="*/ 2147483647 h 301"/>
                    <a:gd name="T88" fmla="*/ 2147483647 w 120"/>
                    <a:gd name="T89" fmla="*/ 2147483647 h 301"/>
                    <a:gd name="T90" fmla="*/ 2147483647 w 120"/>
                    <a:gd name="T91" fmla="*/ 2147483647 h 301"/>
                    <a:gd name="T92" fmla="*/ 2147483647 w 120"/>
                    <a:gd name="T93" fmla="*/ 2147483647 h 301"/>
                    <a:gd name="T94" fmla="*/ 2147483647 w 120"/>
                    <a:gd name="T95" fmla="*/ 2147483647 h 301"/>
                    <a:gd name="T96" fmla="*/ 2147483647 w 120"/>
                    <a:gd name="T97" fmla="*/ 2147483647 h 301"/>
                    <a:gd name="T98" fmla="*/ 2147483647 w 120"/>
                    <a:gd name="T99" fmla="*/ 2147483647 h 301"/>
                    <a:gd name="T100" fmla="*/ 2147483647 w 120"/>
                    <a:gd name="T101" fmla="*/ 2147483647 h 301"/>
                    <a:gd name="T102" fmla="*/ 2147483647 w 120"/>
                    <a:gd name="T103" fmla="*/ 2147483647 h 301"/>
                    <a:gd name="T104" fmla="*/ 2147483647 w 120"/>
                    <a:gd name="T105" fmla="*/ 2147483647 h 301"/>
                    <a:gd name="T106" fmla="*/ 2147483647 w 120"/>
                    <a:gd name="T107" fmla="*/ 2147483647 h 301"/>
                    <a:gd name="T108" fmla="*/ 2147483647 w 120"/>
                    <a:gd name="T109" fmla="*/ 2147483647 h 301"/>
                    <a:gd name="T110" fmla="*/ 2147483647 w 120"/>
                    <a:gd name="T111" fmla="*/ 2147483647 h 301"/>
                    <a:gd name="T112" fmla="*/ 2147483647 w 120"/>
                    <a:gd name="T113" fmla="*/ 2147483647 h 301"/>
                    <a:gd name="T114" fmla="*/ 2147483647 w 120"/>
                    <a:gd name="T115" fmla="*/ 2147483647 h 301"/>
                    <a:gd name="T116" fmla="*/ 2147483647 w 120"/>
                    <a:gd name="T117" fmla="*/ 2147483647 h 301"/>
                    <a:gd name="T118" fmla="*/ 2147483647 w 120"/>
                    <a:gd name="T119" fmla="*/ 2147483647 h 301"/>
                    <a:gd name="T120" fmla="*/ 2147483647 w 120"/>
                    <a:gd name="T121" fmla="*/ 2147483647 h 301"/>
                    <a:gd name="T122" fmla="*/ 2147483647 w 120"/>
                    <a:gd name="T123" fmla="*/ 2147483647 h 30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20"/>
                    <a:gd name="T187" fmla="*/ 0 h 301"/>
                    <a:gd name="T188" fmla="*/ 120 w 120"/>
                    <a:gd name="T189" fmla="*/ 301 h 30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20" h="301">
                      <a:moveTo>
                        <a:pt x="82" y="180"/>
                      </a:moveTo>
                      <a:lnTo>
                        <a:pt x="84" y="189"/>
                      </a:lnTo>
                      <a:lnTo>
                        <a:pt x="86" y="197"/>
                      </a:lnTo>
                      <a:lnTo>
                        <a:pt x="87" y="200"/>
                      </a:lnTo>
                      <a:lnTo>
                        <a:pt x="87" y="204"/>
                      </a:lnTo>
                      <a:lnTo>
                        <a:pt x="84" y="211"/>
                      </a:lnTo>
                      <a:lnTo>
                        <a:pt x="80" y="219"/>
                      </a:lnTo>
                      <a:lnTo>
                        <a:pt x="76" y="235"/>
                      </a:lnTo>
                      <a:lnTo>
                        <a:pt x="76" y="237"/>
                      </a:lnTo>
                      <a:lnTo>
                        <a:pt x="73" y="238"/>
                      </a:lnTo>
                      <a:lnTo>
                        <a:pt x="67" y="240"/>
                      </a:lnTo>
                      <a:lnTo>
                        <a:pt x="67" y="241"/>
                      </a:lnTo>
                      <a:lnTo>
                        <a:pt x="66" y="242"/>
                      </a:lnTo>
                      <a:lnTo>
                        <a:pt x="65" y="245"/>
                      </a:lnTo>
                      <a:lnTo>
                        <a:pt x="66" y="248"/>
                      </a:lnTo>
                      <a:lnTo>
                        <a:pt x="65" y="251"/>
                      </a:lnTo>
                      <a:lnTo>
                        <a:pt x="63" y="254"/>
                      </a:lnTo>
                      <a:lnTo>
                        <a:pt x="59" y="255"/>
                      </a:lnTo>
                      <a:lnTo>
                        <a:pt x="56" y="254"/>
                      </a:lnTo>
                      <a:lnTo>
                        <a:pt x="52" y="254"/>
                      </a:lnTo>
                      <a:lnTo>
                        <a:pt x="47" y="254"/>
                      </a:lnTo>
                      <a:lnTo>
                        <a:pt x="46" y="255"/>
                      </a:lnTo>
                      <a:lnTo>
                        <a:pt x="43" y="256"/>
                      </a:lnTo>
                      <a:lnTo>
                        <a:pt x="40" y="260"/>
                      </a:lnTo>
                      <a:lnTo>
                        <a:pt x="39" y="264"/>
                      </a:lnTo>
                      <a:lnTo>
                        <a:pt x="39" y="269"/>
                      </a:lnTo>
                      <a:lnTo>
                        <a:pt x="42" y="269"/>
                      </a:lnTo>
                      <a:lnTo>
                        <a:pt x="43" y="269"/>
                      </a:lnTo>
                      <a:lnTo>
                        <a:pt x="46" y="270"/>
                      </a:lnTo>
                      <a:lnTo>
                        <a:pt x="46" y="272"/>
                      </a:lnTo>
                      <a:lnTo>
                        <a:pt x="46" y="274"/>
                      </a:lnTo>
                      <a:lnTo>
                        <a:pt x="42" y="277"/>
                      </a:lnTo>
                      <a:lnTo>
                        <a:pt x="40" y="282"/>
                      </a:lnTo>
                      <a:lnTo>
                        <a:pt x="39" y="292"/>
                      </a:lnTo>
                      <a:lnTo>
                        <a:pt x="38" y="294"/>
                      </a:lnTo>
                      <a:lnTo>
                        <a:pt x="35" y="295"/>
                      </a:lnTo>
                      <a:lnTo>
                        <a:pt x="35" y="298"/>
                      </a:lnTo>
                      <a:lnTo>
                        <a:pt x="37" y="300"/>
                      </a:lnTo>
                      <a:lnTo>
                        <a:pt x="39" y="301"/>
                      </a:lnTo>
                      <a:lnTo>
                        <a:pt x="42" y="300"/>
                      </a:lnTo>
                      <a:lnTo>
                        <a:pt x="47" y="296"/>
                      </a:lnTo>
                      <a:lnTo>
                        <a:pt x="52" y="290"/>
                      </a:lnTo>
                      <a:lnTo>
                        <a:pt x="54" y="288"/>
                      </a:lnTo>
                      <a:lnTo>
                        <a:pt x="58" y="286"/>
                      </a:lnTo>
                      <a:lnTo>
                        <a:pt x="61" y="287"/>
                      </a:lnTo>
                      <a:lnTo>
                        <a:pt x="62" y="287"/>
                      </a:lnTo>
                      <a:lnTo>
                        <a:pt x="63" y="286"/>
                      </a:lnTo>
                      <a:lnTo>
                        <a:pt x="63" y="285"/>
                      </a:lnTo>
                      <a:lnTo>
                        <a:pt x="66" y="283"/>
                      </a:lnTo>
                      <a:lnTo>
                        <a:pt x="68" y="283"/>
                      </a:lnTo>
                      <a:lnTo>
                        <a:pt x="71" y="282"/>
                      </a:lnTo>
                      <a:lnTo>
                        <a:pt x="72" y="280"/>
                      </a:lnTo>
                      <a:lnTo>
                        <a:pt x="71" y="270"/>
                      </a:lnTo>
                      <a:lnTo>
                        <a:pt x="72" y="267"/>
                      </a:lnTo>
                      <a:lnTo>
                        <a:pt x="75" y="263"/>
                      </a:lnTo>
                      <a:lnTo>
                        <a:pt x="79" y="262"/>
                      </a:lnTo>
                      <a:lnTo>
                        <a:pt x="82" y="262"/>
                      </a:lnTo>
                      <a:lnTo>
                        <a:pt x="86" y="263"/>
                      </a:lnTo>
                      <a:lnTo>
                        <a:pt x="91" y="263"/>
                      </a:lnTo>
                      <a:lnTo>
                        <a:pt x="95" y="262"/>
                      </a:lnTo>
                      <a:lnTo>
                        <a:pt x="96" y="260"/>
                      </a:lnTo>
                      <a:lnTo>
                        <a:pt x="104" y="251"/>
                      </a:lnTo>
                      <a:lnTo>
                        <a:pt x="108" y="248"/>
                      </a:lnTo>
                      <a:lnTo>
                        <a:pt x="112" y="245"/>
                      </a:lnTo>
                      <a:lnTo>
                        <a:pt x="115" y="244"/>
                      </a:lnTo>
                      <a:lnTo>
                        <a:pt x="118" y="243"/>
                      </a:lnTo>
                      <a:lnTo>
                        <a:pt x="119" y="242"/>
                      </a:lnTo>
                      <a:lnTo>
                        <a:pt x="120" y="237"/>
                      </a:lnTo>
                      <a:lnTo>
                        <a:pt x="119" y="234"/>
                      </a:lnTo>
                      <a:lnTo>
                        <a:pt x="117" y="231"/>
                      </a:lnTo>
                      <a:lnTo>
                        <a:pt x="117" y="228"/>
                      </a:lnTo>
                      <a:lnTo>
                        <a:pt x="118" y="222"/>
                      </a:lnTo>
                      <a:lnTo>
                        <a:pt x="118" y="218"/>
                      </a:lnTo>
                      <a:lnTo>
                        <a:pt x="117" y="215"/>
                      </a:lnTo>
                      <a:lnTo>
                        <a:pt x="114" y="212"/>
                      </a:lnTo>
                      <a:lnTo>
                        <a:pt x="113" y="209"/>
                      </a:lnTo>
                      <a:lnTo>
                        <a:pt x="110" y="197"/>
                      </a:lnTo>
                      <a:lnTo>
                        <a:pt x="109" y="191"/>
                      </a:lnTo>
                      <a:lnTo>
                        <a:pt x="110" y="185"/>
                      </a:lnTo>
                      <a:lnTo>
                        <a:pt x="110" y="183"/>
                      </a:lnTo>
                      <a:lnTo>
                        <a:pt x="109" y="183"/>
                      </a:lnTo>
                      <a:lnTo>
                        <a:pt x="106" y="179"/>
                      </a:lnTo>
                      <a:lnTo>
                        <a:pt x="104" y="177"/>
                      </a:lnTo>
                      <a:lnTo>
                        <a:pt x="103" y="171"/>
                      </a:lnTo>
                      <a:lnTo>
                        <a:pt x="101" y="164"/>
                      </a:lnTo>
                      <a:lnTo>
                        <a:pt x="99" y="158"/>
                      </a:lnTo>
                      <a:lnTo>
                        <a:pt x="93" y="148"/>
                      </a:lnTo>
                      <a:lnTo>
                        <a:pt x="85" y="141"/>
                      </a:lnTo>
                      <a:lnTo>
                        <a:pt x="77" y="133"/>
                      </a:lnTo>
                      <a:lnTo>
                        <a:pt x="70" y="125"/>
                      </a:lnTo>
                      <a:lnTo>
                        <a:pt x="70" y="122"/>
                      </a:lnTo>
                      <a:lnTo>
                        <a:pt x="71" y="120"/>
                      </a:lnTo>
                      <a:lnTo>
                        <a:pt x="71" y="117"/>
                      </a:lnTo>
                      <a:lnTo>
                        <a:pt x="71" y="115"/>
                      </a:lnTo>
                      <a:lnTo>
                        <a:pt x="68" y="114"/>
                      </a:lnTo>
                      <a:lnTo>
                        <a:pt x="67" y="113"/>
                      </a:lnTo>
                      <a:lnTo>
                        <a:pt x="65" y="111"/>
                      </a:lnTo>
                      <a:lnTo>
                        <a:pt x="63" y="110"/>
                      </a:lnTo>
                      <a:lnTo>
                        <a:pt x="62" y="107"/>
                      </a:lnTo>
                      <a:lnTo>
                        <a:pt x="62" y="103"/>
                      </a:lnTo>
                      <a:lnTo>
                        <a:pt x="61" y="100"/>
                      </a:lnTo>
                      <a:lnTo>
                        <a:pt x="59" y="96"/>
                      </a:lnTo>
                      <a:lnTo>
                        <a:pt x="54" y="90"/>
                      </a:lnTo>
                      <a:lnTo>
                        <a:pt x="54" y="88"/>
                      </a:lnTo>
                      <a:lnTo>
                        <a:pt x="54" y="87"/>
                      </a:lnTo>
                      <a:lnTo>
                        <a:pt x="58" y="83"/>
                      </a:lnTo>
                      <a:lnTo>
                        <a:pt x="58" y="81"/>
                      </a:lnTo>
                      <a:lnTo>
                        <a:pt x="62" y="75"/>
                      </a:lnTo>
                      <a:lnTo>
                        <a:pt x="65" y="70"/>
                      </a:lnTo>
                      <a:lnTo>
                        <a:pt x="71" y="59"/>
                      </a:lnTo>
                      <a:lnTo>
                        <a:pt x="75" y="56"/>
                      </a:lnTo>
                      <a:lnTo>
                        <a:pt x="81" y="52"/>
                      </a:lnTo>
                      <a:lnTo>
                        <a:pt x="86" y="50"/>
                      </a:lnTo>
                      <a:lnTo>
                        <a:pt x="91" y="46"/>
                      </a:lnTo>
                      <a:lnTo>
                        <a:pt x="95" y="43"/>
                      </a:lnTo>
                      <a:lnTo>
                        <a:pt x="101" y="42"/>
                      </a:lnTo>
                      <a:lnTo>
                        <a:pt x="99" y="38"/>
                      </a:lnTo>
                      <a:lnTo>
                        <a:pt x="95" y="36"/>
                      </a:lnTo>
                      <a:lnTo>
                        <a:pt x="89" y="32"/>
                      </a:lnTo>
                      <a:lnTo>
                        <a:pt x="81" y="28"/>
                      </a:lnTo>
                      <a:lnTo>
                        <a:pt x="73" y="25"/>
                      </a:lnTo>
                      <a:lnTo>
                        <a:pt x="71" y="24"/>
                      </a:lnTo>
                      <a:lnTo>
                        <a:pt x="71" y="23"/>
                      </a:lnTo>
                      <a:lnTo>
                        <a:pt x="71" y="19"/>
                      </a:lnTo>
                      <a:lnTo>
                        <a:pt x="72" y="14"/>
                      </a:lnTo>
                      <a:lnTo>
                        <a:pt x="72" y="12"/>
                      </a:lnTo>
                      <a:lnTo>
                        <a:pt x="72" y="11"/>
                      </a:lnTo>
                      <a:lnTo>
                        <a:pt x="67" y="5"/>
                      </a:lnTo>
                      <a:lnTo>
                        <a:pt x="62" y="2"/>
                      </a:lnTo>
                      <a:lnTo>
                        <a:pt x="57" y="0"/>
                      </a:lnTo>
                      <a:lnTo>
                        <a:pt x="49" y="1"/>
                      </a:lnTo>
                      <a:lnTo>
                        <a:pt x="38" y="5"/>
                      </a:lnTo>
                      <a:lnTo>
                        <a:pt x="29" y="7"/>
                      </a:lnTo>
                      <a:lnTo>
                        <a:pt x="21" y="12"/>
                      </a:lnTo>
                      <a:lnTo>
                        <a:pt x="18" y="13"/>
                      </a:lnTo>
                      <a:lnTo>
                        <a:pt x="13" y="14"/>
                      </a:lnTo>
                      <a:lnTo>
                        <a:pt x="5" y="13"/>
                      </a:lnTo>
                      <a:lnTo>
                        <a:pt x="2" y="14"/>
                      </a:lnTo>
                      <a:lnTo>
                        <a:pt x="0" y="17"/>
                      </a:lnTo>
                      <a:lnTo>
                        <a:pt x="2" y="18"/>
                      </a:lnTo>
                      <a:lnTo>
                        <a:pt x="9" y="24"/>
                      </a:lnTo>
                      <a:lnTo>
                        <a:pt x="14" y="30"/>
                      </a:lnTo>
                      <a:lnTo>
                        <a:pt x="18" y="38"/>
                      </a:lnTo>
                      <a:lnTo>
                        <a:pt x="21" y="45"/>
                      </a:lnTo>
                      <a:lnTo>
                        <a:pt x="21" y="46"/>
                      </a:lnTo>
                      <a:lnTo>
                        <a:pt x="23" y="47"/>
                      </a:lnTo>
                      <a:lnTo>
                        <a:pt x="33" y="47"/>
                      </a:lnTo>
                      <a:lnTo>
                        <a:pt x="38" y="47"/>
                      </a:lnTo>
                      <a:lnTo>
                        <a:pt x="42" y="49"/>
                      </a:lnTo>
                      <a:lnTo>
                        <a:pt x="43" y="50"/>
                      </a:lnTo>
                      <a:lnTo>
                        <a:pt x="44" y="51"/>
                      </a:lnTo>
                      <a:lnTo>
                        <a:pt x="43" y="53"/>
                      </a:lnTo>
                      <a:lnTo>
                        <a:pt x="42" y="57"/>
                      </a:lnTo>
                      <a:lnTo>
                        <a:pt x="42" y="60"/>
                      </a:lnTo>
                      <a:lnTo>
                        <a:pt x="43" y="62"/>
                      </a:lnTo>
                      <a:lnTo>
                        <a:pt x="46" y="62"/>
                      </a:lnTo>
                      <a:lnTo>
                        <a:pt x="47" y="63"/>
                      </a:lnTo>
                      <a:lnTo>
                        <a:pt x="46" y="64"/>
                      </a:lnTo>
                      <a:lnTo>
                        <a:pt x="44" y="66"/>
                      </a:lnTo>
                      <a:lnTo>
                        <a:pt x="42" y="75"/>
                      </a:lnTo>
                      <a:lnTo>
                        <a:pt x="40" y="78"/>
                      </a:lnTo>
                      <a:lnTo>
                        <a:pt x="38" y="79"/>
                      </a:lnTo>
                      <a:lnTo>
                        <a:pt x="35" y="79"/>
                      </a:lnTo>
                      <a:lnTo>
                        <a:pt x="33" y="82"/>
                      </a:lnTo>
                      <a:lnTo>
                        <a:pt x="33" y="84"/>
                      </a:lnTo>
                      <a:lnTo>
                        <a:pt x="33" y="87"/>
                      </a:lnTo>
                      <a:lnTo>
                        <a:pt x="32" y="89"/>
                      </a:lnTo>
                      <a:lnTo>
                        <a:pt x="30" y="92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33" y="98"/>
                      </a:lnTo>
                      <a:lnTo>
                        <a:pt x="38" y="98"/>
                      </a:lnTo>
                      <a:lnTo>
                        <a:pt x="42" y="101"/>
                      </a:lnTo>
                      <a:lnTo>
                        <a:pt x="44" y="103"/>
                      </a:lnTo>
                      <a:lnTo>
                        <a:pt x="47" y="107"/>
                      </a:lnTo>
                      <a:lnTo>
                        <a:pt x="51" y="115"/>
                      </a:lnTo>
                      <a:lnTo>
                        <a:pt x="54" y="122"/>
                      </a:lnTo>
                      <a:lnTo>
                        <a:pt x="58" y="126"/>
                      </a:lnTo>
                      <a:lnTo>
                        <a:pt x="62" y="130"/>
                      </a:lnTo>
                      <a:lnTo>
                        <a:pt x="65" y="135"/>
                      </a:lnTo>
                      <a:lnTo>
                        <a:pt x="67" y="140"/>
                      </a:lnTo>
                      <a:lnTo>
                        <a:pt x="76" y="149"/>
                      </a:lnTo>
                      <a:lnTo>
                        <a:pt x="77" y="152"/>
                      </a:lnTo>
                      <a:lnTo>
                        <a:pt x="79" y="155"/>
                      </a:lnTo>
                      <a:lnTo>
                        <a:pt x="81" y="161"/>
                      </a:lnTo>
                      <a:lnTo>
                        <a:pt x="81" y="167"/>
                      </a:lnTo>
                      <a:lnTo>
                        <a:pt x="82" y="18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1" name="Freeform 613">
                  <a:extLst>
                    <a:ext uri="{FF2B5EF4-FFF2-40B4-BE49-F238E27FC236}">
                      <a16:creationId xmlns:a16="http://schemas.microsoft.com/office/drawing/2014/main" id="{D00FFF50-A0E0-5443-8489-381E39B950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18553" y="3930221"/>
                  <a:ext cx="162786" cy="445442"/>
                </a:xfrm>
                <a:custGeom>
                  <a:avLst/>
                  <a:gdLst>
                    <a:gd name="T0" fmla="*/ 2147483647 w 120"/>
                    <a:gd name="T1" fmla="*/ 2147483647 h 301"/>
                    <a:gd name="T2" fmla="*/ 2147483647 w 120"/>
                    <a:gd name="T3" fmla="*/ 2147483647 h 301"/>
                    <a:gd name="T4" fmla="*/ 2147483647 w 120"/>
                    <a:gd name="T5" fmla="*/ 2147483647 h 301"/>
                    <a:gd name="T6" fmla="*/ 2147483647 w 120"/>
                    <a:gd name="T7" fmla="*/ 2147483647 h 301"/>
                    <a:gd name="T8" fmla="*/ 2147483647 w 120"/>
                    <a:gd name="T9" fmla="*/ 2147483647 h 301"/>
                    <a:gd name="T10" fmla="*/ 2147483647 w 120"/>
                    <a:gd name="T11" fmla="*/ 2147483647 h 301"/>
                    <a:gd name="T12" fmla="*/ 2147483647 w 120"/>
                    <a:gd name="T13" fmla="*/ 2147483647 h 301"/>
                    <a:gd name="T14" fmla="*/ 2147483647 w 120"/>
                    <a:gd name="T15" fmla="*/ 2147483647 h 301"/>
                    <a:gd name="T16" fmla="*/ 2147483647 w 120"/>
                    <a:gd name="T17" fmla="*/ 2147483647 h 301"/>
                    <a:gd name="T18" fmla="*/ 2147483647 w 120"/>
                    <a:gd name="T19" fmla="*/ 2147483647 h 301"/>
                    <a:gd name="T20" fmla="*/ 2147483647 w 120"/>
                    <a:gd name="T21" fmla="*/ 2147483647 h 301"/>
                    <a:gd name="T22" fmla="*/ 2147483647 w 120"/>
                    <a:gd name="T23" fmla="*/ 2147483647 h 301"/>
                    <a:gd name="T24" fmla="*/ 2147483647 w 120"/>
                    <a:gd name="T25" fmla="*/ 2147483647 h 301"/>
                    <a:gd name="T26" fmla="*/ 2147483647 w 120"/>
                    <a:gd name="T27" fmla="*/ 2147483647 h 301"/>
                    <a:gd name="T28" fmla="*/ 2147483647 w 120"/>
                    <a:gd name="T29" fmla="*/ 2147483647 h 301"/>
                    <a:gd name="T30" fmla="*/ 2147483647 w 120"/>
                    <a:gd name="T31" fmla="*/ 2147483647 h 301"/>
                    <a:gd name="T32" fmla="*/ 2147483647 w 120"/>
                    <a:gd name="T33" fmla="*/ 2147483647 h 301"/>
                    <a:gd name="T34" fmla="*/ 2147483647 w 120"/>
                    <a:gd name="T35" fmla="*/ 2147483647 h 301"/>
                    <a:gd name="T36" fmla="*/ 2147483647 w 120"/>
                    <a:gd name="T37" fmla="*/ 2147483647 h 301"/>
                    <a:gd name="T38" fmla="*/ 2147483647 w 120"/>
                    <a:gd name="T39" fmla="*/ 2147483647 h 301"/>
                    <a:gd name="T40" fmla="*/ 2147483647 w 120"/>
                    <a:gd name="T41" fmla="*/ 2147483647 h 301"/>
                    <a:gd name="T42" fmla="*/ 2147483647 w 120"/>
                    <a:gd name="T43" fmla="*/ 2147483647 h 301"/>
                    <a:gd name="T44" fmla="*/ 2147483647 w 120"/>
                    <a:gd name="T45" fmla="*/ 2147483647 h 301"/>
                    <a:gd name="T46" fmla="*/ 2147483647 w 120"/>
                    <a:gd name="T47" fmla="*/ 2147483647 h 301"/>
                    <a:gd name="T48" fmla="*/ 2147483647 w 120"/>
                    <a:gd name="T49" fmla="*/ 2147483647 h 301"/>
                    <a:gd name="T50" fmla="*/ 2147483647 w 120"/>
                    <a:gd name="T51" fmla="*/ 2147483647 h 301"/>
                    <a:gd name="T52" fmla="*/ 2147483647 w 120"/>
                    <a:gd name="T53" fmla="*/ 2147483647 h 301"/>
                    <a:gd name="T54" fmla="*/ 2147483647 w 120"/>
                    <a:gd name="T55" fmla="*/ 2147483647 h 301"/>
                    <a:gd name="T56" fmla="*/ 2147483647 w 120"/>
                    <a:gd name="T57" fmla="*/ 2147483647 h 301"/>
                    <a:gd name="T58" fmla="*/ 2147483647 w 120"/>
                    <a:gd name="T59" fmla="*/ 2147483647 h 301"/>
                    <a:gd name="T60" fmla="*/ 2147483647 w 120"/>
                    <a:gd name="T61" fmla="*/ 2147483647 h 301"/>
                    <a:gd name="T62" fmla="*/ 2147483647 w 120"/>
                    <a:gd name="T63" fmla="*/ 2147483647 h 301"/>
                    <a:gd name="T64" fmla="*/ 2147483647 w 120"/>
                    <a:gd name="T65" fmla="*/ 2147483647 h 301"/>
                    <a:gd name="T66" fmla="*/ 2147483647 w 120"/>
                    <a:gd name="T67" fmla="*/ 2147483647 h 301"/>
                    <a:gd name="T68" fmla="*/ 2147483647 w 120"/>
                    <a:gd name="T69" fmla="*/ 2147483647 h 301"/>
                    <a:gd name="T70" fmla="*/ 2147483647 w 120"/>
                    <a:gd name="T71" fmla="*/ 2147483647 h 301"/>
                    <a:gd name="T72" fmla="*/ 2147483647 w 120"/>
                    <a:gd name="T73" fmla="*/ 2147483647 h 301"/>
                    <a:gd name="T74" fmla="*/ 2147483647 w 120"/>
                    <a:gd name="T75" fmla="*/ 2147483647 h 301"/>
                    <a:gd name="T76" fmla="*/ 2147483647 w 120"/>
                    <a:gd name="T77" fmla="*/ 2147483647 h 301"/>
                    <a:gd name="T78" fmla="*/ 2147483647 w 120"/>
                    <a:gd name="T79" fmla="*/ 2147483647 h 301"/>
                    <a:gd name="T80" fmla="*/ 2147483647 w 120"/>
                    <a:gd name="T81" fmla="*/ 2147483647 h 301"/>
                    <a:gd name="T82" fmla="*/ 2147483647 w 120"/>
                    <a:gd name="T83" fmla="*/ 2147483647 h 301"/>
                    <a:gd name="T84" fmla="*/ 2147483647 w 120"/>
                    <a:gd name="T85" fmla="*/ 0 h 301"/>
                    <a:gd name="T86" fmla="*/ 2147483647 w 120"/>
                    <a:gd name="T87" fmla="*/ 2147483647 h 301"/>
                    <a:gd name="T88" fmla="*/ 2147483647 w 120"/>
                    <a:gd name="T89" fmla="*/ 2147483647 h 301"/>
                    <a:gd name="T90" fmla="*/ 2147483647 w 120"/>
                    <a:gd name="T91" fmla="*/ 2147483647 h 301"/>
                    <a:gd name="T92" fmla="*/ 2147483647 w 120"/>
                    <a:gd name="T93" fmla="*/ 2147483647 h 301"/>
                    <a:gd name="T94" fmla="*/ 2147483647 w 120"/>
                    <a:gd name="T95" fmla="*/ 2147483647 h 301"/>
                    <a:gd name="T96" fmla="*/ 2147483647 w 120"/>
                    <a:gd name="T97" fmla="*/ 2147483647 h 301"/>
                    <a:gd name="T98" fmla="*/ 2147483647 w 120"/>
                    <a:gd name="T99" fmla="*/ 2147483647 h 301"/>
                    <a:gd name="T100" fmla="*/ 2147483647 w 120"/>
                    <a:gd name="T101" fmla="*/ 2147483647 h 301"/>
                    <a:gd name="T102" fmla="*/ 2147483647 w 120"/>
                    <a:gd name="T103" fmla="*/ 2147483647 h 301"/>
                    <a:gd name="T104" fmla="*/ 2147483647 w 120"/>
                    <a:gd name="T105" fmla="*/ 2147483647 h 301"/>
                    <a:gd name="T106" fmla="*/ 2147483647 w 120"/>
                    <a:gd name="T107" fmla="*/ 2147483647 h 301"/>
                    <a:gd name="T108" fmla="*/ 2147483647 w 120"/>
                    <a:gd name="T109" fmla="*/ 2147483647 h 301"/>
                    <a:gd name="T110" fmla="*/ 2147483647 w 120"/>
                    <a:gd name="T111" fmla="*/ 2147483647 h 301"/>
                    <a:gd name="T112" fmla="*/ 2147483647 w 120"/>
                    <a:gd name="T113" fmla="*/ 2147483647 h 301"/>
                    <a:gd name="T114" fmla="*/ 2147483647 w 120"/>
                    <a:gd name="T115" fmla="*/ 2147483647 h 301"/>
                    <a:gd name="T116" fmla="*/ 2147483647 w 120"/>
                    <a:gd name="T117" fmla="*/ 2147483647 h 301"/>
                    <a:gd name="T118" fmla="*/ 2147483647 w 120"/>
                    <a:gd name="T119" fmla="*/ 2147483647 h 301"/>
                    <a:gd name="T120" fmla="*/ 2147483647 w 120"/>
                    <a:gd name="T121" fmla="*/ 2147483647 h 301"/>
                    <a:gd name="T122" fmla="*/ 2147483647 w 120"/>
                    <a:gd name="T123" fmla="*/ 2147483647 h 301"/>
                    <a:gd name="T124" fmla="*/ 2147483647 w 120"/>
                    <a:gd name="T125" fmla="*/ 2147483647 h 301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0"/>
                    <a:gd name="T190" fmla="*/ 0 h 301"/>
                    <a:gd name="T191" fmla="*/ 120 w 120"/>
                    <a:gd name="T192" fmla="*/ 301 h 301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0" h="301">
                      <a:moveTo>
                        <a:pt x="82" y="180"/>
                      </a:moveTo>
                      <a:lnTo>
                        <a:pt x="82" y="180"/>
                      </a:lnTo>
                      <a:lnTo>
                        <a:pt x="83" y="188"/>
                      </a:lnTo>
                      <a:lnTo>
                        <a:pt x="86" y="197"/>
                      </a:lnTo>
                      <a:lnTo>
                        <a:pt x="87" y="200"/>
                      </a:lnTo>
                      <a:lnTo>
                        <a:pt x="87" y="204"/>
                      </a:lnTo>
                      <a:lnTo>
                        <a:pt x="83" y="211"/>
                      </a:lnTo>
                      <a:lnTo>
                        <a:pt x="80" y="219"/>
                      </a:lnTo>
                      <a:lnTo>
                        <a:pt x="76" y="235"/>
                      </a:lnTo>
                      <a:lnTo>
                        <a:pt x="76" y="237"/>
                      </a:lnTo>
                      <a:lnTo>
                        <a:pt x="73" y="238"/>
                      </a:lnTo>
                      <a:lnTo>
                        <a:pt x="67" y="239"/>
                      </a:lnTo>
                      <a:lnTo>
                        <a:pt x="67" y="241"/>
                      </a:lnTo>
                      <a:lnTo>
                        <a:pt x="66" y="242"/>
                      </a:lnTo>
                      <a:lnTo>
                        <a:pt x="64" y="245"/>
                      </a:lnTo>
                      <a:lnTo>
                        <a:pt x="66" y="248"/>
                      </a:lnTo>
                      <a:lnTo>
                        <a:pt x="64" y="251"/>
                      </a:lnTo>
                      <a:lnTo>
                        <a:pt x="63" y="254"/>
                      </a:lnTo>
                      <a:lnTo>
                        <a:pt x="59" y="255"/>
                      </a:lnTo>
                      <a:lnTo>
                        <a:pt x="55" y="254"/>
                      </a:lnTo>
                      <a:lnTo>
                        <a:pt x="52" y="254"/>
                      </a:lnTo>
                      <a:lnTo>
                        <a:pt x="47" y="254"/>
                      </a:lnTo>
                      <a:lnTo>
                        <a:pt x="45" y="255"/>
                      </a:lnTo>
                      <a:lnTo>
                        <a:pt x="43" y="256"/>
                      </a:lnTo>
                      <a:lnTo>
                        <a:pt x="40" y="259"/>
                      </a:lnTo>
                      <a:lnTo>
                        <a:pt x="39" y="264"/>
                      </a:lnTo>
                      <a:lnTo>
                        <a:pt x="39" y="269"/>
                      </a:lnTo>
                      <a:lnTo>
                        <a:pt x="41" y="269"/>
                      </a:lnTo>
                      <a:lnTo>
                        <a:pt x="43" y="269"/>
                      </a:lnTo>
                      <a:lnTo>
                        <a:pt x="45" y="270"/>
                      </a:lnTo>
                      <a:lnTo>
                        <a:pt x="45" y="271"/>
                      </a:lnTo>
                      <a:lnTo>
                        <a:pt x="45" y="274"/>
                      </a:lnTo>
                      <a:lnTo>
                        <a:pt x="41" y="277"/>
                      </a:lnTo>
                      <a:lnTo>
                        <a:pt x="40" y="282"/>
                      </a:lnTo>
                      <a:lnTo>
                        <a:pt x="39" y="291"/>
                      </a:lnTo>
                      <a:lnTo>
                        <a:pt x="38" y="294"/>
                      </a:lnTo>
                      <a:lnTo>
                        <a:pt x="35" y="295"/>
                      </a:lnTo>
                      <a:lnTo>
                        <a:pt x="35" y="297"/>
                      </a:lnTo>
                      <a:lnTo>
                        <a:pt x="36" y="300"/>
                      </a:lnTo>
                      <a:lnTo>
                        <a:pt x="39" y="301"/>
                      </a:lnTo>
                      <a:lnTo>
                        <a:pt x="41" y="300"/>
                      </a:lnTo>
                      <a:lnTo>
                        <a:pt x="47" y="296"/>
                      </a:lnTo>
                      <a:lnTo>
                        <a:pt x="52" y="290"/>
                      </a:lnTo>
                      <a:lnTo>
                        <a:pt x="54" y="288"/>
                      </a:lnTo>
                      <a:lnTo>
                        <a:pt x="58" y="286"/>
                      </a:lnTo>
                      <a:lnTo>
                        <a:pt x="60" y="287"/>
                      </a:lnTo>
                      <a:lnTo>
                        <a:pt x="62" y="287"/>
                      </a:lnTo>
                      <a:lnTo>
                        <a:pt x="63" y="286"/>
                      </a:lnTo>
                      <a:lnTo>
                        <a:pt x="63" y="284"/>
                      </a:lnTo>
                      <a:lnTo>
                        <a:pt x="66" y="283"/>
                      </a:lnTo>
                      <a:lnTo>
                        <a:pt x="68" y="283"/>
                      </a:lnTo>
                      <a:lnTo>
                        <a:pt x="71" y="282"/>
                      </a:lnTo>
                      <a:lnTo>
                        <a:pt x="72" y="280"/>
                      </a:lnTo>
                      <a:lnTo>
                        <a:pt x="71" y="270"/>
                      </a:lnTo>
                      <a:lnTo>
                        <a:pt x="72" y="267"/>
                      </a:lnTo>
                      <a:lnTo>
                        <a:pt x="74" y="263"/>
                      </a:lnTo>
                      <a:lnTo>
                        <a:pt x="78" y="262"/>
                      </a:lnTo>
                      <a:lnTo>
                        <a:pt x="82" y="262"/>
                      </a:lnTo>
                      <a:lnTo>
                        <a:pt x="86" y="263"/>
                      </a:lnTo>
                      <a:lnTo>
                        <a:pt x="91" y="263"/>
                      </a:lnTo>
                      <a:lnTo>
                        <a:pt x="95" y="262"/>
                      </a:lnTo>
                      <a:lnTo>
                        <a:pt x="96" y="259"/>
                      </a:lnTo>
                      <a:lnTo>
                        <a:pt x="104" y="251"/>
                      </a:lnTo>
                      <a:lnTo>
                        <a:pt x="107" y="248"/>
                      </a:lnTo>
                      <a:lnTo>
                        <a:pt x="111" y="245"/>
                      </a:lnTo>
                      <a:lnTo>
                        <a:pt x="115" y="244"/>
                      </a:lnTo>
                      <a:lnTo>
                        <a:pt x="118" y="243"/>
                      </a:lnTo>
                      <a:lnTo>
                        <a:pt x="119" y="242"/>
                      </a:lnTo>
                      <a:lnTo>
                        <a:pt x="120" y="237"/>
                      </a:lnTo>
                      <a:lnTo>
                        <a:pt x="119" y="233"/>
                      </a:lnTo>
                      <a:lnTo>
                        <a:pt x="116" y="231"/>
                      </a:lnTo>
                      <a:lnTo>
                        <a:pt x="116" y="227"/>
                      </a:lnTo>
                      <a:lnTo>
                        <a:pt x="118" y="222"/>
                      </a:lnTo>
                      <a:lnTo>
                        <a:pt x="118" y="218"/>
                      </a:lnTo>
                      <a:lnTo>
                        <a:pt x="116" y="214"/>
                      </a:lnTo>
                      <a:lnTo>
                        <a:pt x="114" y="212"/>
                      </a:lnTo>
                      <a:lnTo>
                        <a:pt x="113" y="208"/>
                      </a:lnTo>
                      <a:lnTo>
                        <a:pt x="110" y="197"/>
                      </a:lnTo>
                      <a:lnTo>
                        <a:pt x="109" y="191"/>
                      </a:lnTo>
                      <a:lnTo>
                        <a:pt x="110" y="185"/>
                      </a:lnTo>
                      <a:lnTo>
                        <a:pt x="110" y="182"/>
                      </a:lnTo>
                      <a:lnTo>
                        <a:pt x="109" y="182"/>
                      </a:lnTo>
                      <a:lnTo>
                        <a:pt x="106" y="179"/>
                      </a:lnTo>
                      <a:lnTo>
                        <a:pt x="104" y="176"/>
                      </a:lnTo>
                      <a:lnTo>
                        <a:pt x="102" y="171"/>
                      </a:lnTo>
                      <a:lnTo>
                        <a:pt x="101" y="163"/>
                      </a:lnTo>
                      <a:lnTo>
                        <a:pt x="99" y="158"/>
                      </a:lnTo>
                      <a:lnTo>
                        <a:pt x="92" y="148"/>
                      </a:lnTo>
                      <a:lnTo>
                        <a:pt x="85" y="141"/>
                      </a:lnTo>
                      <a:lnTo>
                        <a:pt x="77" y="133"/>
                      </a:lnTo>
                      <a:lnTo>
                        <a:pt x="69" y="124"/>
                      </a:lnTo>
                      <a:lnTo>
                        <a:pt x="69" y="122"/>
                      </a:lnTo>
                      <a:lnTo>
                        <a:pt x="71" y="120"/>
                      </a:lnTo>
                      <a:lnTo>
                        <a:pt x="71" y="117"/>
                      </a:lnTo>
                      <a:lnTo>
                        <a:pt x="71" y="115"/>
                      </a:lnTo>
                      <a:lnTo>
                        <a:pt x="68" y="114"/>
                      </a:lnTo>
                      <a:lnTo>
                        <a:pt x="67" y="112"/>
                      </a:lnTo>
                      <a:lnTo>
                        <a:pt x="64" y="111"/>
                      </a:lnTo>
                      <a:lnTo>
                        <a:pt x="63" y="110"/>
                      </a:lnTo>
                      <a:lnTo>
                        <a:pt x="62" y="107"/>
                      </a:lnTo>
                      <a:lnTo>
                        <a:pt x="62" y="103"/>
                      </a:lnTo>
                      <a:lnTo>
                        <a:pt x="60" y="99"/>
                      </a:lnTo>
                      <a:lnTo>
                        <a:pt x="59" y="96"/>
                      </a:lnTo>
                      <a:lnTo>
                        <a:pt x="54" y="90"/>
                      </a:lnTo>
                      <a:lnTo>
                        <a:pt x="54" y="88"/>
                      </a:lnTo>
                      <a:lnTo>
                        <a:pt x="54" y="86"/>
                      </a:lnTo>
                      <a:lnTo>
                        <a:pt x="58" y="83"/>
                      </a:lnTo>
                      <a:lnTo>
                        <a:pt x="58" y="80"/>
                      </a:lnTo>
                      <a:lnTo>
                        <a:pt x="62" y="75"/>
                      </a:lnTo>
                      <a:lnTo>
                        <a:pt x="64" y="70"/>
                      </a:lnTo>
                      <a:lnTo>
                        <a:pt x="71" y="59"/>
                      </a:lnTo>
                      <a:lnTo>
                        <a:pt x="74" y="56"/>
                      </a:lnTo>
                      <a:lnTo>
                        <a:pt x="81" y="52"/>
                      </a:lnTo>
                      <a:lnTo>
                        <a:pt x="86" y="50"/>
                      </a:lnTo>
                      <a:lnTo>
                        <a:pt x="91" y="46"/>
                      </a:lnTo>
                      <a:lnTo>
                        <a:pt x="95" y="43"/>
                      </a:lnTo>
                      <a:lnTo>
                        <a:pt x="101" y="41"/>
                      </a:lnTo>
                      <a:lnTo>
                        <a:pt x="99" y="38"/>
                      </a:lnTo>
                      <a:lnTo>
                        <a:pt x="95" y="35"/>
                      </a:lnTo>
                      <a:lnTo>
                        <a:pt x="88" y="32"/>
                      </a:lnTo>
                      <a:lnTo>
                        <a:pt x="81" y="28"/>
                      </a:lnTo>
                      <a:lnTo>
                        <a:pt x="73" y="25"/>
                      </a:lnTo>
                      <a:lnTo>
                        <a:pt x="71" y="24"/>
                      </a:lnTo>
                      <a:lnTo>
                        <a:pt x="71" y="22"/>
                      </a:lnTo>
                      <a:lnTo>
                        <a:pt x="71" y="19"/>
                      </a:lnTo>
                      <a:lnTo>
                        <a:pt x="72" y="14"/>
                      </a:lnTo>
                      <a:lnTo>
                        <a:pt x="72" y="12"/>
                      </a:lnTo>
                      <a:lnTo>
                        <a:pt x="72" y="11"/>
                      </a:lnTo>
                      <a:lnTo>
                        <a:pt x="67" y="5"/>
                      </a:lnTo>
                      <a:lnTo>
                        <a:pt x="62" y="2"/>
                      </a:lnTo>
                      <a:lnTo>
                        <a:pt x="57" y="0"/>
                      </a:lnTo>
                      <a:lnTo>
                        <a:pt x="49" y="1"/>
                      </a:lnTo>
                      <a:lnTo>
                        <a:pt x="38" y="5"/>
                      </a:lnTo>
                      <a:lnTo>
                        <a:pt x="29" y="7"/>
                      </a:lnTo>
                      <a:lnTo>
                        <a:pt x="21" y="12"/>
                      </a:lnTo>
                      <a:lnTo>
                        <a:pt x="17" y="13"/>
                      </a:lnTo>
                      <a:lnTo>
                        <a:pt x="12" y="14"/>
                      </a:lnTo>
                      <a:lnTo>
                        <a:pt x="5" y="13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2" y="18"/>
                      </a:lnTo>
                      <a:lnTo>
                        <a:pt x="8" y="24"/>
                      </a:lnTo>
                      <a:lnTo>
                        <a:pt x="14" y="29"/>
                      </a:lnTo>
                      <a:lnTo>
                        <a:pt x="17" y="38"/>
                      </a:lnTo>
                      <a:lnTo>
                        <a:pt x="21" y="45"/>
                      </a:lnTo>
                      <a:lnTo>
                        <a:pt x="21" y="46"/>
                      </a:lnTo>
                      <a:lnTo>
                        <a:pt x="22" y="47"/>
                      </a:lnTo>
                      <a:lnTo>
                        <a:pt x="33" y="47"/>
                      </a:lnTo>
                      <a:lnTo>
                        <a:pt x="38" y="47"/>
                      </a:lnTo>
                      <a:lnTo>
                        <a:pt x="41" y="48"/>
                      </a:lnTo>
                      <a:lnTo>
                        <a:pt x="43" y="50"/>
                      </a:lnTo>
                      <a:lnTo>
                        <a:pt x="44" y="51"/>
                      </a:lnTo>
                      <a:lnTo>
                        <a:pt x="43" y="53"/>
                      </a:lnTo>
                      <a:lnTo>
                        <a:pt x="41" y="57"/>
                      </a:lnTo>
                      <a:lnTo>
                        <a:pt x="41" y="60"/>
                      </a:lnTo>
                      <a:lnTo>
                        <a:pt x="43" y="61"/>
                      </a:lnTo>
                      <a:lnTo>
                        <a:pt x="45" y="61"/>
                      </a:lnTo>
                      <a:lnTo>
                        <a:pt x="47" y="63"/>
                      </a:lnTo>
                      <a:lnTo>
                        <a:pt x="45" y="64"/>
                      </a:lnTo>
                      <a:lnTo>
                        <a:pt x="44" y="66"/>
                      </a:lnTo>
                      <a:lnTo>
                        <a:pt x="41" y="75"/>
                      </a:lnTo>
                      <a:lnTo>
                        <a:pt x="40" y="78"/>
                      </a:lnTo>
                      <a:lnTo>
                        <a:pt x="38" y="79"/>
                      </a:lnTo>
                      <a:lnTo>
                        <a:pt x="35" y="79"/>
                      </a:lnTo>
                      <a:lnTo>
                        <a:pt x="33" y="82"/>
                      </a:lnTo>
                      <a:lnTo>
                        <a:pt x="33" y="84"/>
                      </a:lnTo>
                      <a:lnTo>
                        <a:pt x="33" y="86"/>
                      </a:lnTo>
                      <a:lnTo>
                        <a:pt x="31" y="89"/>
                      </a:lnTo>
                      <a:lnTo>
                        <a:pt x="30" y="92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33" y="98"/>
                      </a:lnTo>
                      <a:lnTo>
                        <a:pt x="38" y="98"/>
                      </a:lnTo>
                      <a:lnTo>
                        <a:pt x="41" y="101"/>
                      </a:lnTo>
                      <a:lnTo>
                        <a:pt x="44" y="103"/>
                      </a:lnTo>
                      <a:lnTo>
                        <a:pt x="47" y="107"/>
                      </a:lnTo>
                      <a:lnTo>
                        <a:pt x="50" y="115"/>
                      </a:lnTo>
                      <a:lnTo>
                        <a:pt x="54" y="122"/>
                      </a:lnTo>
                      <a:lnTo>
                        <a:pt x="58" y="126"/>
                      </a:lnTo>
                      <a:lnTo>
                        <a:pt x="62" y="130"/>
                      </a:lnTo>
                      <a:lnTo>
                        <a:pt x="64" y="135"/>
                      </a:lnTo>
                      <a:lnTo>
                        <a:pt x="67" y="140"/>
                      </a:lnTo>
                      <a:lnTo>
                        <a:pt x="76" y="149"/>
                      </a:lnTo>
                      <a:lnTo>
                        <a:pt x="77" y="152"/>
                      </a:lnTo>
                      <a:lnTo>
                        <a:pt x="78" y="155"/>
                      </a:lnTo>
                      <a:lnTo>
                        <a:pt x="81" y="161"/>
                      </a:lnTo>
                      <a:lnTo>
                        <a:pt x="81" y="167"/>
                      </a:lnTo>
                      <a:lnTo>
                        <a:pt x="82" y="18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2" name="Freeform 615">
                  <a:extLst>
                    <a:ext uri="{FF2B5EF4-FFF2-40B4-BE49-F238E27FC236}">
                      <a16:creationId xmlns:a16="http://schemas.microsoft.com/office/drawing/2014/main" id="{30326EC7-BFEB-104B-B996-7C8977BAEE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4158" y="3953902"/>
                  <a:ext cx="156866" cy="253059"/>
                </a:xfrm>
                <a:custGeom>
                  <a:avLst/>
                  <a:gdLst>
                    <a:gd name="T0" fmla="*/ 2147483647 w 115"/>
                    <a:gd name="T1" fmla="*/ 0 h 171"/>
                    <a:gd name="T2" fmla="*/ 2147483647 w 115"/>
                    <a:gd name="T3" fmla="*/ 2147483647 h 171"/>
                    <a:gd name="T4" fmla="*/ 2147483647 w 115"/>
                    <a:gd name="T5" fmla="*/ 2147483647 h 171"/>
                    <a:gd name="T6" fmla="*/ 2147483647 w 115"/>
                    <a:gd name="T7" fmla="*/ 2147483647 h 171"/>
                    <a:gd name="T8" fmla="*/ 2147483647 w 115"/>
                    <a:gd name="T9" fmla="*/ 2147483647 h 171"/>
                    <a:gd name="T10" fmla="*/ 2147483647 w 115"/>
                    <a:gd name="T11" fmla="*/ 2147483647 h 171"/>
                    <a:gd name="T12" fmla="*/ 2147483647 w 115"/>
                    <a:gd name="T13" fmla="*/ 2147483647 h 171"/>
                    <a:gd name="T14" fmla="*/ 2147483647 w 115"/>
                    <a:gd name="T15" fmla="*/ 2147483647 h 171"/>
                    <a:gd name="T16" fmla="*/ 2147483647 w 115"/>
                    <a:gd name="T17" fmla="*/ 2147483647 h 171"/>
                    <a:gd name="T18" fmla="*/ 2147483647 w 115"/>
                    <a:gd name="T19" fmla="*/ 2147483647 h 171"/>
                    <a:gd name="T20" fmla="*/ 2147483647 w 115"/>
                    <a:gd name="T21" fmla="*/ 2147483647 h 171"/>
                    <a:gd name="T22" fmla="*/ 2147483647 w 115"/>
                    <a:gd name="T23" fmla="*/ 2147483647 h 171"/>
                    <a:gd name="T24" fmla="*/ 2147483647 w 115"/>
                    <a:gd name="T25" fmla="*/ 2147483647 h 171"/>
                    <a:gd name="T26" fmla="*/ 2147483647 w 115"/>
                    <a:gd name="T27" fmla="*/ 2147483647 h 171"/>
                    <a:gd name="T28" fmla="*/ 2147483647 w 115"/>
                    <a:gd name="T29" fmla="*/ 2147483647 h 171"/>
                    <a:gd name="T30" fmla="*/ 2147483647 w 115"/>
                    <a:gd name="T31" fmla="*/ 2147483647 h 171"/>
                    <a:gd name="T32" fmla="*/ 2147483647 w 115"/>
                    <a:gd name="T33" fmla="*/ 2147483647 h 171"/>
                    <a:gd name="T34" fmla="*/ 2147483647 w 115"/>
                    <a:gd name="T35" fmla="*/ 2147483647 h 171"/>
                    <a:gd name="T36" fmla="*/ 2147483647 w 115"/>
                    <a:gd name="T37" fmla="*/ 2147483647 h 171"/>
                    <a:gd name="T38" fmla="*/ 2147483647 w 115"/>
                    <a:gd name="T39" fmla="*/ 2147483647 h 171"/>
                    <a:gd name="T40" fmla="*/ 2147483647 w 115"/>
                    <a:gd name="T41" fmla="*/ 2147483647 h 171"/>
                    <a:gd name="T42" fmla="*/ 2147483647 w 115"/>
                    <a:gd name="T43" fmla="*/ 2147483647 h 171"/>
                    <a:gd name="T44" fmla="*/ 2147483647 w 115"/>
                    <a:gd name="T45" fmla="*/ 2147483647 h 171"/>
                    <a:gd name="T46" fmla="*/ 2147483647 w 115"/>
                    <a:gd name="T47" fmla="*/ 2147483647 h 171"/>
                    <a:gd name="T48" fmla="*/ 2147483647 w 115"/>
                    <a:gd name="T49" fmla="*/ 2147483647 h 171"/>
                    <a:gd name="T50" fmla="*/ 2147483647 w 115"/>
                    <a:gd name="T51" fmla="*/ 2147483647 h 171"/>
                    <a:gd name="T52" fmla="*/ 2147483647 w 115"/>
                    <a:gd name="T53" fmla="*/ 2147483647 h 171"/>
                    <a:gd name="T54" fmla="*/ 2147483647 w 115"/>
                    <a:gd name="T55" fmla="*/ 2147483647 h 171"/>
                    <a:gd name="T56" fmla="*/ 2147483647 w 115"/>
                    <a:gd name="T57" fmla="*/ 2147483647 h 171"/>
                    <a:gd name="T58" fmla="*/ 2147483647 w 115"/>
                    <a:gd name="T59" fmla="*/ 2147483647 h 171"/>
                    <a:gd name="T60" fmla="*/ 2147483647 w 115"/>
                    <a:gd name="T61" fmla="*/ 2147483647 h 171"/>
                    <a:gd name="T62" fmla="*/ 2147483647 w 115"/>
                    <a:gd name="T63" fmla="*/ 2147483647 h 171"/>
                    <a:gd name="T64" fmla="*/ 2147483647 w 115"/>
                    <a:gd name="T65" fmla="*/ 2147483647 h 171"/>
                    <a:gd name="T66" fmla="*/ 2147483647 w 115"/>
                    <a:gd name="T67" fmla="*/ 2147483647 h 171"/>
                    <a:gd name="T68" fmla="*/ 2147483647 w 115"/>
                    <a:gd name="T69" fmla="*/ 2147483647 h 171"/>
                    <a:gd name="T70" fmla="*/ 2147483647 w 115"/>
                    <a:gd name="T71" fmla="*/ 2147483647 h 171"/>
                    <a:gd name="T72" fmla="*/ 2147483647 w 115"/>
                    <a:gd name="T73" fmla="*/ 2147483647 h 171"/>
                    <a:gd name="T74" fmla="*/ 2147483647 w 115"/>
                    <a:gd name="T75" fmla="*/ 2147483647 h 171"/>
                    <a:gd name="T76" fmla="*/ 2147483647 w 115"/>
                    <a:gd name="T77" fmla="*/ 2147483647 h 171"/>
                    <a:gd name="T78" fmla="*/ 2147483647 w 115"/>
                    <a:gd name="T79" fmla="*/ 2147483647 h 171"/>
                    <a:gd name="T80" fmla="*/ 2147483647 w 115"/>
                    <a:gd name="T81" fmla="*/ 2147483647 h 171"/>
                    <a:gd name="T82" fmla="*/ 2147483647 w 115"/>
                    <a:gd name="T83" fmla="*/ 2147483647 h 171"/>
                    <a:gd name="T84" fmla="*/ 2147483647 w 115"/>
                    <a:gd name="T85" fmla="*/ 2147483647 h 171"/>
                    <a:gd name="T86" fmla="*/ 2147483647 w 115"/>
                    <a:gd name="T87" fmla="*/ 2147483647 h 171"/>
                    <a:gd name="T88" fmla="*/ 2147483647 w 115"/>
                    <a:gd name="T89" fmla="*/ 2147483647 h 171"/>
                    <a:gd name="T90" fmla="*/ 2147483647 w 115"/>
                    <a:gd name="T91" fmla="*/ 2147483647 h 171"/>
                    <a:gd name="T92" fmla="*/ 2147483647 w 115"/>
                    <a:gd name="T93" fmla="*/ 2147483647 h 171"/>
                    <a:gd name="T94" fmla="*/ 2147483647 w 115"/>
                    <a:gd name="T95" fmla="*/ 2147483647 h 171"/>
                    <a:gd name="T96" fmla="*/ 2147483647 w 115"/>
                    <a:gd name="T97" fmla="*/ 2147483647 h 171"/>
                    <a:gd name="T98" fmla="*/ 2147483647 w 115"/>
                    <a:gd name="T99" fmla="*/ 2147483647 h 171"/>
                    <a:gd name="T100" fmla="*/ 2147483647 w 115"/>
                    <a:gd name="T101" fmla="*/ 2147483647 h 171"/>
                    <a:gd name="T102" fmla="*/ 2147483647 w 115"/>
                    <a:gd name="T103" fmla="*/ 2147483647 h 171"/>
                    <a:gd name="T104" fmla="*/ 2147483647 w 115"/>
                    <a:gd name="T105" fmla="*/ 2147483647 h 171"/>
                    <a:gd name="T106" fmla="*/ 2147483647 w 115"/>
                    <a:gd name="T107" fmla="*/ 2147483647 h 171"/>
                    <a:gd name="T108" fmla="*/ 2147483647 w 115"/>
                    <a:gd name="T109" fmla="*/ 2147483647 h 171"/>
                    <a:gd name="T110" fmla="*/ 2147483647 w 115"/>
                    <a:gd name="T111" fmla="*/ 2147483647 h 171"/>
                    <a:gd name="T112" fmla="*/ 2147483647 w 115"/>
                    <a:gd name="T113" fmla="*/ 2147483647 h 171"/>
                    <a:gd name="T114" fmla="*/ 2147483647 w 115"/>
                    <a:gd name="T115" fmla="*/ 2147483647 h 171"/>
                    <a:gd name="T116" fmla="*/ 2147483647 w 115"/>
                    <a:gd name="T117" fmla="*/ 2147483647 h 171"/>
                    <a:gd name="T118" fmla="*/ 2147483647 w 115"/>
                    <a:gd name="T119" fmla="*/ 2147483647 h 171"/>
                    <a:gd name="T120" fmla="*/ 2147483647 w 115"/>
                    <a:gd name="T121" fmla="*/ 2147483647 h 171"/>
                    <a:gd name="T122" fmla="*/ 2147483647 w 115"/>
                    <a:gd name="T123" fmla="*/ 2147483647 h 171"/>
                    <a:gd name="T124" fmla="*/ 2147483647 w 115"/>
                    <a:gd name="T125" fmla="*/ 2147483647 h 171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15"/>
                    <a:gd name="T190" fmla="*/ 0 h 171"/>
                    <a:gd name="T191" fmla="*/ 115 w 115"/>
                    <a:gd name="T192" fmla="*/ 171 h 171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15" h="171">
                      <a:moveTo>
                        <a:pt x="33" y="2"/>
                      </a:moveTo>
                      <a:lnTo>
                        <a:pt x="28" y="0"/>
                      </a:lnTo>
                      <a:lnTo>
                        <a:pt x="25" y="0"/>
                      </a:lnTo>
                      <a:lnTo>
                        <a:pt x="23" y="2"/>
                      </a:lnTo>
                      <a:lnTo>
                        <a:pt x="23" y="4"/>
                      </a:lnTo>
                      <a:lnTo>
                        <a:pt x="21" y="5"/>
                      </a:lnTo>
                      <a:lnTo>
                        <a:pt x="23" y="9"/>
                      </a:lnTo>
                      <a:lnTo>
                        <a:pt x="28" y="16"/>
                      </a:lnTo>
                      <a:lnTo>
                        <a:pt x="28" y="21"/>
                      </a:lnTo>
                      <a:lnTo>
                        <a:pt x="28" y="22"/>
                      </a:lnTo>
                      <a:lnTo>
                        <a:pt x="26" y="23"/>
                      </a:lnTo>
                      <a:lnTo>
                        <a:pt x="23" y="25"/>
                      </a:lnTo>
                      <a:lnTo>
                        <a:pt x="19" y="27"/>
                      </a:lnTo>
                      <a:lnTo>
                        <a:pt x="15" y="25"/>
                      </a:lnTo>
                      <a:lnTo>
                        <a:pt x="10" y="24"/>
                      </a:lnTo>
                      <a:lnTo>
                        <a:pt x="6" y="35"/>
                      </a:lnTo>
                      <a:lnTo>
                        <a:pt x="0" y="44"/>
                      </a:lnTo>
                      <a:lnTo>
                        <a:pt x="4" y="45"/>
                      </a:lnTo>
                      <a:lnTo>
                        <a:pt x="5" y="47"/>
                      </a:lnTo>
                      <a:lnTo>
                        <a:pt x="5" y="50"/>
                      </a:lnTo>
                      <a:lnTo>
                        <a:pt x="5" y="55"/>
                      </a:lnTo>
                      <a:lnTo>
                        <a:pt x="5" y="59"/>
                      </a:lnTo>
                      <a:lnTo>
                        <a:pt x="6" y="62"/>
                      </a:lnTo>
                      <a:lnTo>
                        <a:pt x="7" y="66"/>
                      </a:lnTo>
                      <a:lnTo>
                        <a:pt x="9" y="68"/>
                      </a:lnTo>
                      <a:lnTo>
                        <a:pt x="7" y="74"/>
                      </a:lnTo>
                      <a:lnTo>
                        <a:pt x="7" y="79"/>
                      </a:lnTo>
                      <a:lnTo>
                        <a:pt x="7" y="85"/>
                      </a:lnTo>
                      <a:lnTo>
                        <a:pt x="9" y="88"/>
                      </a:lnTo>
                      <a:lnTo>
                        <a:pt x="12" y="92"/>
                      </a:lnTo>
                      <a:lnTo>
                        <a:pt x="12" y="94"/>
                      </a:lnTo>
                      <a:lnTo>
                        <a:pt x="14" y="96"/>
                      </a:lnTo>
                      <a:lnTo>
                        <a:pt x="16" y="98"/>
                      </a:lnTo>
                      <a:lnTo>
                        <a:pt x="19" y="98"/>
                      </a:lnTo>
                      <a:lnTo>
                        <a:pt x="21" y="98"/>
                      </a:lnTo>
                      <a:lnTo>
                        <a:pt x="23" y="95"/>
                      </a:lnTo>
                      <a:lnTo>
                        <a:pt x="24" y="93"/>
                      </a:lnTo>
                      <a:lnTo>
                        <a:pt x="25" y="91"/>
                      </a:lnTo>
                      <a:lnTo>
                        <a:pt x="28" y="91"/>
                      </a:lnTo>
                      <a:lnTo>
                        <a:pt x="32" y="92"/>
                      </a:lnTo>
                      <a:lnTo>
                        <a:pt x="34" y="93"/>
                      </a:lnTo>
                      <a:lnTo>
                        <a:pt x="37" y="94"/>
                      </a:lnTo>
                      <a:lnTo>
                        <a:pt x="40" y="94"/>
                      </a:lnTo>
                      <a:lnTo>
                        <a:pt x="44" y="93"/>
                      </a:lnTo>
                      <a:lnTo>
                        <a:pt x="48" y="92"/>
                      </a:lnTo>
                      <a:lnTo>
                        <a:pt x="51" y="91"/>
                      </a:lnTo>
                      <a:lnTo>
                        <a:pt x="52" y="89"/>
                      </a:lnTo>
                      <a:lnTo>
                        <a:pt x="53" y="89"/>
                      </a:lnTo>
                      <a:lnTo>
                        <a:pt x="56" y="92"/>
                      </a:lnTo>
                      <a:lnTo>
                        <a:pt x="59" y="92"/>
                      </a:lnTo>
                      <a:lnTo>
                        <a:pt x="61" y="92"/>
                      </a:lnTo>
                      <a:lnTo>
                        <a:pt x="63" y="94"/>
                      </a:lnTo>
                      <a:lnTo>
                        <a:pt x="63" y="98"/>
                      </a:lnTo>
                      <a:lnTo>
                        <a:pt x="62" y="100"/>
                      </a:lnTo>
                      <a:lnTo>
                        <a:pt x="62" y="102"/>
                      </a:lnTo>
                      <a:lnTo>
                        <a:pt x="65" y="105"/>
                      </a:lnTo>
                      <a:lnTo>
                        <a:pt x="67" y="106"/>
                      </a:lnTo>
                      <a:lnTo>
                        <a:pt x="70" y="108"/>
                      </a:lnTo>
                      <a:lnTo>
                        <a:pt x="71" y="111"/>
                      </a:lnTo>
                      <a:lnTo>
                        <a:pt x="75" y="124"/>
                      </a:lnTo>
                      <a:lnTo>
                        <a:pt x="77" y="131"/>
                      </a:lnTo>
                      <a:lnTo>
                        <a:pt x="80" y="137"/>
                      </a:lnTo>
                      <a:lnTo>
                        <a:pt x="81" y="142"/>
                      </a:lnTo>
                      <a:lnTo>
                        <a:pt x="82" y="146"/>
                      </a:lnTo>
                      <a:lnTo>
                        <a:pt x="82" y="156"/>
                      </a:lnTo>
                      <a:lnTo>
                        <a:pt x="86" y="157"/>
                      </a:lnTo>
                      <a:lnTo>
                        <a:pt x="90" y="159"/>
                      </a:lnTo>
                      <a:lnTo>
                        <a:pt x="94" y="163"/>
                      </a:lnTo>
                      <a:lnTo>
                        <a:pt x="98" y="165"/>
                      </a:lnTo>
                      <a:lnTo>
                        <a:pt x="99" y="166"/>
                      </a:lnTo>
                      <a:lnTo>
                        <a:pt x="99" y="169"/>
                      </a:lnTo>
                      <a:lnTo>
                        <a:pt x="100" y="170"/>
                      </a:lnTo>
                      <a:lnTo>
                        <a:pt x="101" y="171"/>
                      </a:lnTo>
                      <a:lnTo>
                        <a:pt x="103" y="171"/>
                      </a:lnTo>
                      <a:lnTo>
                        <a:pt x="104" y="171"/>
                      </a:lnTo>
                      <a:lnTo>
                        <a:pt x="109" y="166"/>
                      </a:lnTo>
                      <a:lnTo>
                        <a:pt x="112" y="165"/>
                      </a:lnTo>
                      <a:lnTo>
                        <a:pt x="115" y="165"/>
                      </a:lnTo>
                      <a:lnTo>
                        <a:pt x="114" y="152"/>
                      </a:lnTo>
                      <a:lnTo>
                        <a:pt x="114" y="146"/>
                      </a:lnTo>
                      <a:lnTo>
                        <a:pt x="112" y="140"/>
                      </a:lnTo>
                      <a:lnTo>
                        <a:pt x="110" y="137"/>
                      </a:lnTo>
                      <a:lnTo>
                        <a:pt x="109" y="134"/>
                      </a:lnTo>
                      <a:lnTo>
                        <a:pt x="100" y="125"/>
                      </a:lnTo>
                      <a:lnTo>
                        <a:pt x="98" y="120"/>
                      </a:lnTo>
                      <a:lnTo>
                        <a:pt x="95" y="115"/>
                      </a:lnTo>
                      <a:lnTo>
                        <a:pt x="91" y="111"/>
                      </a:lnTo>
                      <a:lnTo>
                        <a:pt x="87" y="107"/>
                      </a:lnTo>
                      <a:lnTo>
                        <a:pt x="84" y="100"/>
                      </a:lnTo>
                      <a:lnTo>
                        <a:pt x="80" y="92"/>
                      </a:lnTo>
                      <a:lnTo>
                        <a:pt x="77" y="88"/>
                      </a:lnTo>
                      <a:lnTo>
                        <a:pt x="75" y="86"/>
                      </a:lnTo>
                      <a:lnTo>
                        <a:pt x="71" y="83"/>
                      </a:lnTo>
                      <a:lnTo>
                        <a:pt x="66" y="83"/>
                      </a:lnTo>
                      <a:lnTo>
                        <a:pt x="63" y="82"/>
                      </a:lnTo>
                      <a:lnTo>
                        <a:pt x="63" y="80"/>
                      </a:lnTo>
                      <a:lnTo>
                        <a:pt x="63" y="77"/>
                      </a:lnTo>
                      <a:lnTo>
                        <a:pt x="65" y="74"/>
                      </a:lnTo>
                      <a:lnTo>
                        <a:pt x="66" y="72"/>
                      </a:lnTo>
                      <a:lnTo>
                        <a:pt x="66" y="69"/>
                      </a:lnTo>
                      <a:lnTo>
                        <a:pt x="66" y="67"/>
                      </a:lnTo>
                      <a:lnTo>
                        <a:pt x="68" y="64"/>
                      </a:lnTo>
                      <a:lnTo>
                        <a:pt x="71" y="64"/>
                      </a:lnTo>
                      <a:lnTo>
                        <a:pt x="73" y="63"/>
                      </a:lnTo>
                      <a:lnTo>
                        <a:pt x="75" y="60"/>
                      </a:lnTo>
                      <a:lnTo>
                        <a:pt x="77" y="51"/>
                      </a:lnTo>
                      <a:lnTo>
                        <a:pt x="79" y="49"/>
                      </a:lnTo>
                      <a:lnTo>
                        <a:pt x="80" y="48"/>
                      </a:lnTo>
                      <a:lnTo>
                        <a:pt x="79" y="47"/>
                      </a:lnTo>
                      <a:lnTo>
                        <a:pt x="76" y="47"/>
                      </a:lnTo>
                      <a:lnTo>
                        <a:pt x="75" y="45"/>
                      </a:lnTo>
                      <a:lnTo>
                        <a:pt x="75" y="42"/>
                      </a:lnTo>
                      <a:lnTo>
                        <a:pt x="76" y="38"/>
                      </a:lnTo>
                      <a:lnTo>
                        <a:pt x="77" y="36"/>
                      </a:lnTo>
                      <a:lnTo>
                        <a:pt x="76" y="35"/>
                      </a:lnTo>
                      <a:lnTo>
                        <a:pt x="75" y="34"/>
                      </a:lnTo>
                      <a:lnTo>
                        <a:pt x="71" y="32"/>
                      </a:lnTo>
                      <a:lnTo>
                        <a:pt x="66" y="32"/>
                      </a:lnTo>
                      <a:lnTo>
                        <a:pt x="56" y="32"/>
                      </a:lnTo>
                      <a:lnTo>
                        <a:pt x="54" y="31"/>
                      </a:lnTo>
                      <a:lnTo>
                        <a:pt x="54" y="30"/>
                      </a:lnTo>
                      <a:lnTo>
                        <a:pt x="51" y="23"/>
                      </a:lnTo>
                      <a:lnTo>
                        <a:pt x="47" y="15"/>
                      </a:lnTo>
                      <a:lnTo>
                        <a:pt x="42" y="9"/>
                      </a:lnTo>
                      <a:lnTo>
                        <a:pt x="35" y="3"/>
                      </a:lnTo>
                      <a:lnTo>
                        <a:pt x="33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3" name="Freeform 617">
                  <a:extLst>
                    <a:ext uri="{FF2B5EF4-FFF2-40B4-BE49-F238E27FC236}">
                      <a16:creationId xmlns:a16="http://schemas.microsoft.com/office/drawing/2014/main" id="{8E8CB770-4012-5D46-9C5C-98DD79F741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2678" y="3952419"/>
                  <a:ext cx="156866" cy="253058"/>
                </a:xfrm>
                <a:custGeom>
                  <a:avLst/>
                  <a:gdLst>
                    <a:gd name="T0" fmla="*/ 2147483647 w 115"/>
                    <a:gd name="T1" fmla="*/ 0 h 171"/>
                    <a:gd name="T2" fmla="*/ 2147483647 w 115"/>
                    <a:gd name="T3" fmla="*/ 2147483647 h 171"/>
                    <a:gd name="T4" fmla="*/ 2147483647 w 115"/>
                    <a:gd name="T5" fmla="*/ 2147483647 h 171"/>
                    <a:gd name="T6" fmla="*/ 2147483647 w 115"/>
                    <a:gd name="T7" fmla="*/ 2147483647 h 171"/>
                    <a:gd name="T8" fmla="*/ 2147483647 w 115"/>
                    <a:gd name="T9" fmla="*/ 2147483647 h 171"/>
                    <a:gd name="T10" fmla="*/ 2147483647 w 115"/>
                    <a:gd name="T11" fmla="*/ 2147483647 h 171"/>
                    <a:gd name="T12" fmla="*/ 2147483647 w 115"/>
                    <a:gd name="T13" fmla="*/ 2147483647 h 171"/>
                    <a:gd name="T14" fmla="*/ 2147483647 w 115"/>
                    <a:gd name="T15" fmla="*/ 2147483647 h 171"/>
                    <a:gd name="T16" fmla="*/ 2147483647 w 115"/>
                    <a:gd name="T17" fmla="*/ 2147483647 h 171"/>
                    <a:gd name="T18" fmla="*/ 2147483647 w 115"/>
                    <a:gd name="T19" fmla="*/ 2147483647 h 171"/>
                    <a:gd name="T20" fmla="*/ 2147483647 w 115"/>
                    <a:gd name="T21" fmla="*/ 2147483647 h 171"/>
                    <a:gd name="T22" fmla="*/ 2147483647 w 115"/>
                    <a:gd name="T23" fmla="*/ 2147483647 h 171"/>
                    <a:gd name="T24" fmla="*/ 2147483647 w 115"/>
                    <a:gd name="T25" fmla="*/ 2147483647 h 171"/>
                    <a:gd name="T26" fmla="*/ 2147483647 w 115"/>
                    <a:gd name="T27" fmla="*/ 2147483647 h 171"/>
                    <a:gd name="T28" fmla="*/ 2147483647 w 115"/>
                    <a:gd name="T29" fmla="*/ 2147483647 h 171"/>
                    <a:gd name="T30" fmla="*/ 2147483647 w 115"/>
                    <a:gd name="T31" fmla="*/ 2147483647 h 171"/>
                    <a:gd name="T32" fmla="*/ 2147483647 w 115"/>
                    <a:gd name="T33" fmla="*/ 2147483647 h 171"/>
                    <a:gd name="T34" fmla="*/ 2147483647 w 115"/>
                    <a:gd name="T35" fmla="*/ 2147483647 h 171"/>
                    <a:gd name="T36" fmla="*/ 2147483647 w 115"/>
                    <a:gd name="T37" fmla="*/ 2147483647 h 171"/>
                    <a:gd name="T38" fmla="*/ 2147483647 w 115"/>
                    <a:gd name="T39" fmla="*/ 2147483647 h 171"/>
                    <a:gd name="T40" fmla="*/ 2147483647 w 115"/>
                    <a:gd name="T41" fmla="*/ 2147483647 h 171"/>
                    <a:gd name="T42" fmla="*/ 2147483647 w 115"/>
                    <a:gd name="T43" fmla="*/ 2147483647 h 171"/>
                    <a:gd name="T44" fmla="*/ 2147483647 w 115"/>
                    <a:gd name="T45" fmla="*/ 2147483647 h 171"/>
                    <a:gd name="T46" fmla="*/ 2147483647 w 115"/>
                    <a:gd name="T47" fmla="*/ 2147483647 h 171"/>
                    <a:gd name="T48" fmla="*/ 2147483647 w 115"/>
                    <a:gd name="T49" fmla="*/ 2147483647 h 171"/>
                    <a:gd name="T50" fmla="*/ 2147483647 w 115"/>
                    <a:gd name="T51" fmla="*/ 2147483647 h 171"/>
                    <a:gd name="T52" fmla="*/ 2147483647 w 115"/>
                    <a:gd name="T53" fmla="*/ 2147483647 h 171"/>
                    <a:gd name="T54" fmla="*/ 2147483647 w 115"/>
                    <a:gd name="T55" fmla="*/ 2147483647 h 171"/>
                    <a:gd name="T56" fmla="*/ 2147483647 w 115"/>
                    <a:gd name="T57" fmla="*/ 2147483647 h 171"/>
                    <a:gd name="T58" fmla="*/ 2147483647 w 115"/>
                    <a:gd name="T59" fmla="*/ 2147483647 h 171"/>
                    <a:gd name="T60" fmla="*/ 2147483647 w 115"/>
                    <a:gd name="T61" fmla="*/ 2147483647 h 171"/>
                    <a:gd name="T62" fmla="*/ 2147483647 w 115"/>
                    <a:gd name="T63" fmla="*/ 2147483647 h 171"/>
                    <a:gd name="T64" fmla="*/ 2147483647 w 115"/>
                    <a:gd name="T65" fmla="*/ 2147483647 h 171"/>
                    <a:gd name="T66" fmla="*/ 2147483647 w 115"/>
                    <a:gd name="T67" fmla="*/ 2147483647 h 171"/>
                    <a:gd name="T68" fmla="*/ 2147483647 w 115"/>
                    <a:gd name="T69" fmla="*/ 2147483647 h 171"/>
                    <a:gd name="T70" fmla="*/ 2147483647 w 115"/>
                    <a:gd name="T71" fmla="*/ 2147483647 h 171"/>
                    <a:gd name="T72" fmla="*/ 2147483647 w 115"/>
                    <a:gd name="T73" fmla="*/ 2147483647 h 171"/>
                    <a:gd name="T74" fmla="*/ 2147483647 w 115"/>
                    <a:gd name="T75" fmla="*/ 2147483647 h 171"/>
                    <a:gd name="T76" fmla="*/ 2147483647 w 115"/>
                    <a:gd name="T77" fmla="*/ 2147483647 h 171"/>
                    <a:gd name="T78" fmla="*/ 2147483647 w 115"/>
                    <a:gd name="T79" fmla="*/ 2147483647 h 171"/>
                    <a:gd name="T80" fmla="*/ 2147483647 w 115"/>
                    <a:gd name="T81" fmla="*/ 2147483647 h 171"/>
                    <a:gd name="T82" fmla="*/ 2147483647 w 115"/>
                    <a:gd name="T83" fmla="*/ 2147483647 h 171"/>
                    <a:gd name="T84" fmla="*/ 2147483647 w 115"/>
                    <a:gd name="T85" fmla="*/ 2147483647 h 171"/>
                    <a:gd name="T86" fmla="*/ 2147483647 w 115"/>
                    <a:gd name="T87" fmla="*/ 2147483647 h 171"/>
                    <a:gd name="T88" fmla="*/ 2147483647 w 115"/>
                    <a:gd name="T89" fmla="*/ 2147483647 h 171"/>
                    <a:gd name="T90" fmla="*/ 2147483647 w 115"/>
                    <a:gd name="T91" fmla="*/ 2147483647 h 171"/>
                    <a:gd name="T92" fmla="*/ 2147483647 w 115"/>
                    <a:gd name="T93" fmla="*/ 2147483647 h 171"/>
                    <a:gd name="T94" fmla="*/ 2147483647 w 115"/>
                    <a:gd name="T95" fmla="*/ 2147483647 h 171"/>
                    <a:gd name="T96" fmla="*/ 2147483647 w 115"/>
                    <a:gd name="T97" fmla="*/ 2147483647 h 171"/>
                    <a:gd name="T98" fmla="*/ 2147483647 w 115"/>
                    <a:gd name="T99" fmla="*/ 2147483647 h 171"/>
                    <a:gd name="T100" fmla="*/ 2147483647 w 115"/>
                    <a:gd name="T101" fmla="*/ 2147483647 h 171"/>
                    <a:gd name="T102" fmla="*/ 2147483647 w 115"/>
                    <a:gd name="T103" fmla="*/ 2147483647 h 171"/>
                    <a:gd name="T104" fmla="*/ 2147483647 w 115"/>
                    <a:gd name="T105" fmla="*/ 2147483647 h 171"/>
                    <a:gd name="T106" fmla="*/ 2147483647 w 115"/>
                    <a:gd name="T107" fmla="*/ 2147483647 h 171"/>
                    <a:gd name="T108" fmla="*/ 2147483647 w 115"/>
                    <a:gd name="T109" fmla="*/ 2147483647 h 171"/>
                    <a:gd name="T110" fmla="*/ 2147483647 w 115"/>
                    <a:gd name="T111" fmla="*/ 2147483647 h 171"/>
                    <a:gd name="T112" fmla="*/ 2147483647 w 115"/>
                    <a:gd name="T113" fmla="*/ 2147483647 h 171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15"/>
                    <a:gd name="T172" fmla="*/ 0 h 171"/>
                    <a:gd name="T173" fmla="*/ 115 w 115"/>
                    <a:gd name="T174" fmla="*/ 171 h 171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15" h="171">
                      <a:moveTo>
                        <a:pt x="33" y="1"/>
                      </a:move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25" y="0"/>
                      </a:lnTo>
                      <a:lnTo>
                        <a:pt x="22" y="1"/>
                      </a:lnTo>
                      <a:lnTo>
                        <a:pt x="22" y="4"/>
                      </a:lnTo>
                      <a:lnTo>
                        <a:pt x="21" y="5"/>
                      </a:lnTo>
                      <a:lnTo>
                        <a:pt x="22" y="9"/>
                      </a:lnTo>
                      <a:lnTo>
                        <a:pt x="27" y="16"/>
                      </a:lnTo>
                      <a:lnTo>
                        <a:pt x="27" y="20"/>
                      </a:lnTo>
                      <a:lnTo>
                        <a:pt x="27" y="22"/>
                      </a:lnTo>
                      <a:lnTo>
                        <a:pt x="26" y="23"/>
                      </a:lnTo>
                      <a:lnTo>
                        <a:pt x="22" y="25"/>
                      </a:lnTo>
                      <a:lnTo>
                        <a:pt x="19" y="26"/>
                      </a:lnTo>
                      <a:lnTo>
                        <a:pt x="15" y="25"/>
                      </a:lnTo>
                      <a:lnTo>
                        <a:pt x="10" y="24"/>
                      </a:lnTo>
                      <a:lnTo>
                        <a:pt x="6" y="35"/>
                      </a:lnTo>
                      <a:lnTo>
                        <a:pt x="0" y="44"/>
                      </a:lnTo>
                      <a:lnTo>
                        <a:pt x="3" y="45"/>
                      </a:lnTo>
                      <a:lnTo>
                        <a:pt x="5" y="46"/>
                      </a:lnTo>
                      <a:lnTo>
                        <a:pt x="5" y="50"/>
                      </a:lnTo>
                      <a:lnTo>
                        <a:pt x="5" y="55"/>
                      </a:lnTo>
                      <a:lnTo>
                        <a:pt x="5" y="58"/>
                      </a:lnTo>
                      <a:lnTo>
                        <a:pt x="6" y="62"/>
                      </a:lnTo>
                      <a:lnTo>
                        <a:pt x="7" y="65"/>
                      </a:lnTo>
                      <a:lnTo>
                        <a:pt x="8" y="68"/>
                      </a:lnTo>
                      <a:lnTo>
                        <a:pt x="7" y="74"/>
                      </a:lnTo>
                      <a:lnTo>
                        <a:pt x="7" y="78"/>
                      </a:lnTo>
                      <a:lnTo>
                        <a:pt x="7" y="84"/>
                      </a:lnTo>
                      <a:lnTo>
                        <a:pt x="8" y="88"/>
                      </a:lnTo>
                      <a:lnTo>
                        <a:pt x="12" y="92"/>
                      </a:lnTo>
                      <a:lnTo>
                        <a:pt x="12" y="94"/>
                      </a:lnTo>
                      <a:lnTo>
                        <a:pt x="13" y="96"/>
                      </a:lnTo>
                      <a:lnTo>
                        <a:pt x="16" y="97"/>
                      </a:lnTo>
                      <a:lnTo>
                        <a:pt x="19" y="97"/>
                      </a:lnTo>
                      <a:lnTo>
                        <a:pt x="21" y="97"/>
                      </a:lnTo>
                      <a:lnTo>
                        <a:pt x="22" y="95"/>
                      </a:lnTo>
                      <a:lnTo>
                        <a:pt x="24" y="93"/>
                      </a:lnTo>
                      <a:lnTo>
                        <a:pt x="25" y="90"/>
                      </a:lnTo>
                      <a:lnTo>
                        <a:pt x="27" y="90"/>
                      </a:lnTo>
                      <a:lnTo>
                        <a:pt x="31" y="92"/>
                      </a:lnTo>
                      <a:lnTo>
                        <a:pt x="34" y="93"/>
                      </a:lnTo>
                      <a:lnTo>
                        <a:pt x="36" y="94"/>
                      </a:lnTo>
                      <a:lnTo>
                        <a:pt x="40" y="94"/>
                      </a:lnTo>
                      <a:lnTo>
                        <a:pt x="44" y="93"/>
                      </a:lnTo>
                      <a:lnTo>
                        <a:pt x="48" y="92"/>
                      </a:lnTo>
                      <a:lnTo>
                        <a:pt x="50" y="90"/>
                      </a:lnTo>
                      <a:lnTo>
                        <a:pt x="52" y="89"/>
                      </a:lnTo>
                      <a:lnTo>
                        <a:pt x="53" y="89"/>
                      </a:lnTo>
                      <a:lnTo>
                        <a:pt x="55" y="92"/>
                      </a:lnTo>
                      <a:lnTo>
                        <a:pt x="59" y="92"/>
                      </a:lnTo>
                      <a:lnTo>
                        <a:pt x="60" y="92"/>
                      </a:lnTo>
                      <a:lnTo>
                        <a:pt x="63" y="94"/>
                      </a:lnTo>
                      <a:lnTo>
                        <a:pt x="63" y="97"/>
                      </a:lnTo>
                      <a:lnTo>
                        <a:pt x="62" y="100"/>
                      </a:lnTo>
                      <a:lnTo>
                        <a:pt x="62" y="102"/>
                      </a:lnTo>
                      <a:lnTo>
                        <a:pt x="64" y="105"/>
                      </a:lnTo>
                      <a:lnTo>
                        <a:pt x="67" y="106"/>
                      </a:lnTo>
                      <a:lnTo>
                        <a:pt x="69" y="108"/>
                      </a:lnTo>
                      <a:lnTo>
                        <a:pt x="71" y="111"/>
                      </a:lnTo>
                      <a:lnTo>
                        <a:pt x="74" y="124"/>
                      </a:lnTo>
                      <a:lnTo>
                        <a:pt x="77" y="131"/>
                      </a:lnTo>
                      <a:lnTo>
                        <a:pt x="80" y="137"/>
                      </a:lnTo>
                      <a:lnTo>
                        <a:pt x="81" y="141"/>
                      </a:lnTo>
                      <a:lnTo>
                        <a:pt x="82" y="146"/>
                      </a:lnTo>
                      <a:lnTo>
                        <a:pt x="82" y="156"/>
                      </a:lnTo>
                      <a:lnTo>
                        <a:pt x="86" y="157"/>
                      </a:lnTo>
                      <a:lnTo>
                        <a:pt x="90" y="159"/>
                      </a:lnTo>
                      <a:lnTo>
                        <a:pt x="93" y="163"/>
                      </a:lnTo>
                      <a:lnTo>
                        <a:pt x="97" y="165"/>
                      </a:lnTo>
                      <a:lnTo>
                        <a:pt x="99" y="166"/>
                      </a:lnTo>
                      <a:lnTo>
                        <a:pt x="99" y="169"/>
                      </a:lnTo>
                      <a:lnTo>
                        <a:pt x="100" y="170"/>
                      </a:lnTo>
                      <a:lnTo>
                        <a:pt x="101" y="171"/>
                      </a:lnTo>
                      <a:lnTo>
                        <a:pt x="102" y="171"/>
                      </a:lnTo>
                      <a:lnTo>
                        <a:pt x="104" y="171"/>
                      </a:lnTo>
                      <a:lnTo>
                        <a:pt x="109" y="166"/>
                      </a:lnTo>
                      <a:lnTo>
                        <a:pt x="111" y="165"/>
                      </a:lnTo>
                      <a:lnTo>
                        <a:pt x="115" y="165"/>
                      </a:lnTo>
                      <a:lnTo>
                        <a:pt x="114" y="152"/>
                      </a:lnTo>
                      <a:lnTo>
                        <a:pt x="114" y="146"/>
                      </a:lnTo>
                      <a:lnTo>
                        <a:pt x="111" y="140"/>
                      </a:lnTo>
                      <a:lnTo>
                        <a:pt x="110" y="137"/>
                      </a:lnTo>
                      <a:lnTo>
                        <a:pt x="109" y="134"/>
                      </a:lnTo>
                      <a:lnTo>
                        <a:pt x="100" y="125"/>
                      </a:lnTo>
                      <a:lnTo>
                        <a:pt x="97" y="120"/>
                      </a:lnTo>
                      <a:lnTo>
                        <a:pt x="95" y="115"/>
                      </a:lnTo>
                      <a:lnTo>
                        <a:pt x="91" y="111"/>
                      </a:lnTo>
                      <a:lnTo>
                        <a:pt x="87" y="107"/>
                      </a:lnTo>
                      <a:lnTo>
                        <a:pt x="83" y="100"/>
                      </a:lnTo>
                      <a:lnTo>
                        <a:pt x="80" y="92"/>
                      </a:lnTo>
                      <a:lnTo>
                        <a:pt x="77" y="88"/>
                      </a:lnTo>
                      <a:lnTo>
                        <a:pt x="74" y="86"/>
                      </a:lnTo>
                      <a:lnTo>
                        <a:pt x="71" y="83"/>
                      </a:lnTo>
                      <a:lnTo>
                        <a:pt x="66" y="83"/>
                      </a:lnTo>
                      <a:lnTo>
                        <a:pt x="63" y="82"/>
                      </a:lnTo>
                      <a:lnTo>
                        <a:pt x="63" y="80"/>
                      </a:lnTo>
                      <a:lnTo>
                        <a:pt x="63" y="77"/>
                      </a:lnTo>
                      <a:lnTo>
                        <a:pt x="64" y="74"/>
                      </a:lnTo>
                      <a:lnTo>
                        <a:pt x="66" y="71"/>
                      </a:lnTo>
                      <a:lnTo>
                        <a:pt x="66" y="69"/>
                      </a:lnTo>
                      <a:lnTo>
                        <a:pt x="66" y="67"/>
                      </a:lnTo>
                      <a:lnTo>
                        <a:pt x="68" y="64"/>
                      </a:lnTo>
                      <a:lnTo>
                        <a:pt x="71" y="64"/>
                      </a:lnTo>
                      <a:lnTo>
                        <a:pt x="73" y="63"/>
                      </a:lnTo>
                      <a:lnTo>
                        <a:pt x="74" y="60"/>
                      </a:lnTo>
                      <a:lnTo>
                        <a:pt x="77" y="51"/>
                      </a:lnTo>
                      <a:lnTo>
                        <a:pt x="78" y="49"/>
                      </a:lnTo>
                      <a:lnTo>
                        <a:pt x="80" y="48"/>
                      </a:lnTo>
                      <a:lnTo>
                        <a:pt x="78" y="46"/>
                      </a:lnTo>
                      <a:lnTo>
                        <a:pt x="76" y="46"/>
                      </a:lnTo>
                      <a:lnTo>
                        <a:pt x="74" y="45"/>
                      </a:lnTo>
                      <a:lnTo>
                        <a:pt x="74" y="42"/>
                      </a:lnTo>
                      <a:lnTo>
                        <a:pt x="76" y="38"/>
                      </a:lnTo>
                      <a:lnTo>
                        <a:pt x="77" y="36"/>
                      </a:lnTo>
                      <a:lnTo>
                        <a:pt x="76" y="35"/>
                      </a:lnTo>
                      <a:lnTo>
                        <a:pt x="74" y="33"/>
                      </a:lnTo>
                      <a:lnTo>
                        <a:pt x="71" y="32"/>
                      </a:lnTo>
                      <a:lnTo>
                        <a:pt x="66" y="32"/>
                      </a:lnTo>
                      <a:lnTo>
                        <a:pt x="55" y="32"/>
                      </a:lnTo>
                      <a:lnTo>
                        <a:pt x="54" y="31"/>
                      </a:lnTo>
                      <a:lnTo>
                        <a:pt x="54" y="30"/>
                      </a:lnTo>
                      <a:lnTo>
                        <a:pt x="50" y="23"/>
                      </a:lnTo>
                      <a:lnTo>
                        <a:pt x="47" y="14"/>
                      </a:lnTo>
                      <a:lnTo>
                        <a:pt x="41" y="9"/>
                      </a:lnTo>
                      <a:lnTo>
                        <a:pt x="35" y="3"/>
                      </a:lnTo>
                      <a:lnTo>
                        <a:pt x="33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4" name="Freeform 618">
                  <a:extLst>
                    <a:ext uri="{FF2B5EF4-FFF2-40B4-BE49-F238E27FC236}">
                      <a16:creationId xmlns:a16="http://schemas.microsoft.com/office/drawing/2014/main" id="{23E31BAB-8FD7-3D48-ACAE-811E886E06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6083" y="4019018"/>
                  <a:ext cx="180544" cy="421763"/>
                </a:xfrm>
                <a:custGeom>
                  <a:avLst/>
                  <a:gdLst>
                    <a:gd name="T0" fmla="*/ 2147483647 w 132"/>
                    <a:gd name="T1" fmla="*/ 2147483647 h 285"/>
                    <a:gd name="T2" fmla="*/ 2147483647 w 132"/>
                    <a:gd name="T3" fmla="*/ 2147483647 h 285"/>
                    <a:gd name="T4" fmla="*/ 2147483647 w 132"/>
                    <a:gd name="T5" fmla="*/ 2147483647 h 285"/>
                    <a:gd name="T6" fmla="*/ 2147483647 w 132"/>
                    <a:gd name="T7" fmla="*/ 2147483647 h 285"/>
                    <a:gd name="T8" fmla="*/ 2147483647 w 132"/>
                    <a:gd name="T9" fmla="*/ 2147483647 h 285"/>
                    <a:gd name="T10" fmla="*/ 2147483647 w 132"/>
                    <a:gd name="T11" fmla="*/ 2147483647 h 285"/>
                    <a:gd name="T12" fmla="*/ 2147483647 w 132"/>
                    <a:gd name="T13" fmla="*/ 2147483647 h 285"/>
                    <a:gd name="T14" fmla="*/ 2147483647 w 132"/>
                    <a:gd name="T15" fmla="*/ 2147483647 h 285"/>
                    <a:gd name="T16" fmla="*/ 2147483647 w 132"/>
                    <a:gd name="T17" fmla="*/ 2147483647 h 285"/>
                    <a:gd name="T18" fmla="*/ 2147483647 w 132"/>
                    <a:gd name="T19" fmla="*/ 2147483647 h 285"/>
                    <a:gd name="T20" fmla="*/ 2147483647 w 132"/>
                    <a:gd name="T21" fmla="*/ 2147483647 h 285"/>
                    <a:gd name="T22" fmla="*/ 2147483647 w 132"/>
                    <a:gd name="T23" fmla="*/ 2147483647 h 285"/>
                    <a:gd name="T24" fmla="*/ 2147483647 w 132"/>
                    <a:gd name="T25" fmla="*/ 2147483647 h 285"/>
                    <a:gd name="T26" fmla="*/ 2147483647 w 132"/>
                    <a:gd name="T27" fmla="*/ 2147483647 h 285"/>
                    <a:gd name="T28" fmla="*/ 2147483647 w 132"/>
                    <a:gd name="T29" fmla="*/ 2147483647 h 285"/>
                    <a:gd name="T30" fmla="*/ 2147483647 w 132"/>
                    <a:gd name="T31" fmla="*/ 2147483647 h 285"/>
                    <a:gd name="T32" fmla="*/ 2147483647 w 132"/>
                    <a:gd name="T33" fmla="*/ 2147483647 h 285"/>
                    <a:gd name="T34" fmla="*/ 0 w 132"/>
                    <a:gd name="T35" fmla="*/ 2147483647 h 285"/>
                    <a:gd name="T36" fmla="*/ 2147483647 w 132"/>
                    <a:gd name="T37" fmla="*/ 2147483647 h 285"/>
                    <a:gd name="T38" fmla="*/ 2147483647 w 132"/>
                    <a:gd name="T39" fmla="*/ 2147483647 h 285"/>
                    <a:gd name="T40" fmla="*/ 2147483647 w 132"/>
                    <a:gd name="T41" fmla="*/ 2147483647 h 285"/>
                    <a:gd name="T42" fmla="*/ 2147483647 w 132"/>
                    <a:gd name="T43" fmla="*/ 2147483647 h 285"/>
                    <a:gd name="T44" fmla="*/ 2147483647 w 132"/>
                    <a:gd name="T45" fmla="*/ 2147483647 h 285"/>
                    <a:gd name="T46" fmla="*/ 2147483647 w 132"/>
                    <a:gd name="T47" fmla="*/ 2147483647 h 285"/>
                    <a:gd name="T48" fmla="*/ 2147483647 w 132"/>
                    <a:gd name="T49" fmla="*/ 2147483647 h 285"/>
                    <a:gd name="T50" fmla="*/ 2147483647 w 132"/>
                    <a:gd name="T51" fmla="*/ 2147483647 h 285"/>
                    <a:gd name="T52" fmla="*/ 2147483647 w 132"/>
                    <a:gd name="T53" fmla="*/ 2147483647 h 285"/>
                    <a:gd name="T54" fmla="*/ 2147483647 w 132"/>
                    <a:gd name="T55" fmla="*/ 2147483647 h 285"/>
                    <a:gd name="T56" fmla="*/ 2147483647 w 132"/>
                    <a:gd name="T57" fmla="*/ 2147483647 h 285"/>
                    <a:gd name="T58" fmla="*/ 2147483647 w 132"/>
                    <a:gd name="T59" fmla="*/ 2147483647 h 285"/>
                    <a:gd name="T60" fmla="*/ 2147483647 w 132"/>
                    <a:gd name="T61" fmla="*/ 2147483647 h 285"/>
                    <a:gd name="T62" fmla="*/ 2147483647 w 132"/>
                    <a:gd name="T63" fmla="*/ 2147483647 h 285"/>
                    <a:gd name="T64" fmla="*/ 2147483647 w 132"/>
                    <a:gd name="T65" fmla="*/ 2147483647 h 285"/>
                    <a:gd name="T66" fmla="*/ 2147483647 w 132"/>
                    <a:gd name="T67" fmla="*/ 2147483647 h 285"/>
                    <a:gd name="T68" fmla="*/ 2147483647 w 132"/>
                    <a:gd name="T69" fmla="*/ 2147483647 h 285"/>
                    <a:gd name="T70" fmla="*/ 2147483647 w 132"/>
                    <a:gd name="T71" fmla="*/ 2147483647 h 285"/>
                    <a:gd name="T72" fmla="*/ 2147483647 w 132"/>
                    <a:gd name="T73" fmla="*/ 2147483647 h 285"/>
                    <a:gd name="T74" fmla="*/ 2147483647 w 132"/>
                    <a:gd name="T75" fmla="*/ 2147483647 h 285"/>
                    <a:gd name="T76" fmla="*/ 2147483647 w 132"/>
                    <a:gd name="T77" fmla="*/ 2147483647 h 285"/>
                    <a:gd name="T78" fmla="*/ 2147483647 w 132"/>
                    <a:gd name="T79" fmla="*/ 2147483647 h 285"/>
                    <a:gd name="T80" fmla="*/ 2147483647 w 132"/>
                    <a:gd name="T81" fmla="*/ 2147483647 h 285"/>
                    <a:gd name="T82" fmla="*/ 2147483647 w 132"/>
                    <a:gd name="T83" fmla="*/ 2147483647 h 285"/>
                    <a:gd name="T84" fmla="*/ 2147483647 w 132"/>
                    <a:gd name="T85" fmla="*/ 2147483647 h 285"/>
                    <a:gd name="T86" fmla="*/ 2147483647 w 132"/>
                    <a:gd name="T87" fmla="*/ 2147483647 h 285"/>
                    <a:gd name="T88" fmla="*/ 2147483647 w 132"/>
                    <a:gd name="T89" fmla="*/ 2147483647 h 285"/>
                    <a:gd name="T90" fmla="*/ 2147483647 w 132"/>
                    <a:gd name="T91" fmla="*/ 2147483647 h 285"/>
                    <a:gd name="T92" fmla="*/ 2147483647 w 132"/>
                    <a:gd name="T93" fmla="*/ 2147483647 h 285"/>
                    <a:gd name="T94" fmla="*/ 2147483647 w 132"/>
                    <a:gd name="T95" fmla="*/ 2147483647 h 285"/>
                    <a:gd name="T96" fmla="*/ 2147483647 w 132"/>
                    <a:gd name="T97" fmla="*/ 2147483647 h 285"/>
                    <a:gd name="T98" fmla="*/ 2147483647 w 132"/>
                    <a:gd name="T99" fmla="*/ 2147483647 h 285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32"/>
                    <a:gd name="T151" fmla="*/ 0 h 285"/>
                    <a:gd name="T152" fmla="*/ 132 w 132"/>
                    <a:gd name="T153" fmla="*/ 285 h 285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32" h="285">
                      <a:moveTo>
                        <a:pt x="132" y="112"/>
                      </a:moveTo>
                      <a:lnTo>
                        <a:pt x="132" y="102"/>
                      </a:lnTo>
                      <a:lnTo>
                        <a:pt x="131" y="98"/>
                      </a:lnTo>
                      <a:lnTo>
                        <a:pt x="130" y="93"/>
                      </a:lnTo>
                      <a:lnTo>
                        <a:pt x="127" y="87"/>
                      </a:lnTo>
                      <a:lnTo>
                        <a:pt x="125" y="80"/>
                      </a:lnTo>
                      <a:lnTo>
                        <a:pt x="121" y="67"/>
                      </a:lnTo>
                      <a:lnTo>
                        <a:pt x="120" y="64"/>
                      </a:lnTo>
                      <a:lnTo>
                        <a:pt x="117" y="62"/>
                      </a:lnTo>
                      <a:lnTo>
                        <a:pt x="115" y="61"/>
                      </a:lnTo>
                      <a:lnTo>
                        <a:pt x="112" y="58"/>
                      </a:lnTo>
                      <a:lnTo>
                        <a:pt x="112" y="56"/>
                      </a:lnTo>
                      <a:lnTo>
                        <a:pt x="113" y="54"/>
                      </a:lnTo>
                      <a:lnTo>
                        <a:pt x="113" y="50"/>
                      </a:lnTo>
                      <a:lnTo>
                        <a:pt x="111" y="48"/>
                      </a:lnTo>
                      <a:lnTo>
                        <a:pt x="109" y="48"/>
                      </a:lnTo>
                      <a:lnTo>
                        <a:pt x="106" y="48"/>
                      </a:lnTo>
                      <a:lnTo>
                        <a:pt x="103" y="45"/>
                      </a:lnTo>
                      <a:lnTo>
                        <a:pt x="102" y="45"/>
                      </a:lnTo>
                      <a:lnTo>
                        <a:pt x="101" y="47"/>
                      </a:lnTo>
                      <a:lnTo>
                        <a:pt x="98" y="48"/>
                      </a:lnTo>
                      <a:lnTo>
                        <a:pt x="94" y="49"/>
                      </a:lnTo>
                      <a:lnTo>
                        <a:pt x="90" y="50"/>
                      </a:lnTo>
                      <a:lnTo>
                        <a:pt x="87" y="50"/>
                      </a:lnTo>
                      <a:lnTo>
                        <a:pt x="84" y="49"/>
                      </a:lnTo>
                      <a:lnTo>
                        <a:pt x="82" y="48"/>
                      </a:lnTo>
                      <a:lnTo>
                        <a:pt x="78" y="47"/>
                      </a:lnTo>
                      <a:lnTo>
                        <a:pt x="75" y="47"/>
                      </a:lnTo>
                      <a:lnTo>
                        <a:pt x="74" y="49"/>
                      </a:lnTo>
                      <a:lnTo>
                        <a:pt x="73" y="51"/>
                      </a:lnTo>
                      <a:lnTo>
                        <a:pt x="71" y="54"/>
                      </a:lnTo>
                      <a:lnTo>
                        <a:pt x="69" y="54"/>
                      </a:lnTo>
                      <a:lnTo>
                        <a:pt x="66" y="54"/>
                      </a:lnTo>
                      <a:lnTo>
                        <a:pt x="64" y="52"/>
                      </a:lnTo>
                      <a:lnTo>
                        <a:pt x="62" y="50"/>
                      </a:lnTo>
                      <a:lnTo>
                        <a:pt x="62" y="48"/>
                      </a:lnTo>
                      <a:lnTo>
                        <a:pt x="59" y="44"/>
                      </a:lnTo>
                      <a:lnTo>
                        <a:pt x="57" y="41"/>
                      </a:lnTo>
                      <a:lnTo>
                        <a:pt x="57" y="35"/>
                      </a:lnTo>
                      <a:lnTo>
                        <a:pt x="57" y="30"/>
                      </a:lnTo>
                      <a:lnTo>
                        <a:pt x="59" y="24"/>
                      </a:lnTo>
                      <a:lnTo>
                        <a:pt x="57" y="22"/>
                      </a:lnTo>
                      <a:lnTo>
                        <a:pt x="56" y="18"/>
                      </a:lnTo>
                      <a:lnTo>
                        <a:pt x="55" y="15"/>
                      </a:lnTo>
                      <a:lnTo>
                        <a:pt x="55" y="11"/>
                      </a:lnTo>
                      <a:lnTo>
                        <a:pt x="55" y="6"/>
                      </a:lnTo>
                      <a:lnTo>
                        <a:pt x="55" y="3"/>
                      </a:lnTo>
                      <a:lnTo>
                        <a:pt x="54" y="1"/>
                      </a:lnTo>
                      <a:lnTo>
                        <a:pt x="50" y="0"/>
                      </a:lnTo>
                      <a:lnTo>
                        <a:pt x="49" y="1"/>
                      </a:lnTo>
                      <a:lnTo>
                        <a:pt x="47" y="1"/>
                      </a:lnTo>
                      <a:lnTo>
                        <a:pt x="43" y="1"/>
                      </a:lnTo>
                      <a:lnTo>
                        <a:pt x="38" y="0"/>
                      </a:lnTo>
                      <a:lnTo>
                        <a:pt x="35" y="0"/>
                      </a:lnTo>
                      <a:lnTo>
                        <a:pt x="32" y="1"/>
                      </a:lnTo>
                      <a:lnTo>
                        <a:pt x="31" y="5"/>
                      </a:lnTo>
                      <a:lnTo>
                        <a:pt x="29" y="9"/>
                      </a:lnTo>
                      <a:lnTo>
                        <a:pt x="28" y="11"/>
                      </a:lnTo>
                      <a:lnTo>
                        <a:pt x="26" y="12"/>
                      </a:lnTo>
                      <a:lnTo>
                        <a:pt x="23" y="13"/>
                      </a:lnTo>
                      <a:lnTo>
                        <a:pt x="18" y="15"/>
                      </a:lnTo>
                      <a:lnTo>
                        <a:pt x="16" y="16"/>
                      </a:lnTo>
                      <a:lnTo>
                        <a:pt x="13" y="18"/>
                      </a:lnTo>
                      <a:lnTo>
                        <a:pt x="12" y="22"/>
                      </a:lnTo>
                      <a:lnTo>
                        <a:pt x="10" y="28"/>
                      </a:lnTo>
                      <a:lnTo>
                        <a:pt x="9" y="29"/>
                      </a:lnTo>
                      <a:lnTo>
                        <a:pt x="7" y="30"/>
                      </a:lnTo>
                      <a:lnTo>
                        <a:pt x="3" y="31"/>
                      </a:lnTo>
                      <a:lnTo>
                        <a:pt x="2" y="33"/>
                      </a:lnTo>
                      <a:lnTo>
                        <a:pt x="0" y="37"/>
                      </a:lnTo>
                      <a:lnTo>
                        <a:pt x="0" y="42"/>
                      </a:lnTo>
                      <a:lnTo>
                        <a:pt x="0" y="45"/>
                      </a:lnTo>
                      <a:lnTo>
                        <a:pt x="3" y="48"/>
                      </a:lnTo>
                      <a:lnTo>
                        <a:pt x="4" y="48"/>
                      </a:lnTo>
                      <a:lnTo>
                        <a:pt x="5" y="48"/>
                      </a:lnTo>
                      <a:lnTo>
                        <a:pt x="8" y="47"/>
                      </a:lnTo>
                      <a:lnTo>
                        <a:pt x="9" y="47"/>
                      </a:lnTo>
                      <a:lnTo>
                        <a:pt x="10" y="50"/>
                      </a:lnTo>
                      <a:lnTo>
                        <a:pt x="10" y="52"/>
                      </a:lnTo>
                      <a:lnTo>
                        <a:pt x="10" y="58"/>
                      </a:lnTo>
                      <a:lnTo>
                        <a:pt x="10" y="64"/>
                      </a:lnTo>
                      <a:lnTo>
                        <a:pt x="14" y="74"/>
                      </a:lnTo>
                      <a:lnTo>
                        <a:pt x="17" y="80"/>
                      </a:lnTo>
                      <a:lnTo>
                        <a:pt x="21" y="83"/>
                      </a:lnTo>
                      <a:lnTo>
                        <a:pt x="23" y="88"/>
                      </a:lnTo>
                      <a:lnTo>
                        <a:pt x="24" y="90"/>
                      </a:lnTo>
                      <a:lnTo>
                        <a:pt x="24" y="93"/>
                      </a:lnTo>
                      <a:lnTo>
                        <a:pt x="24" y="99"/>
                      </a:lnTo>
                      <a:lnTo>
                        <a:pt x="22" y="105"/>
                      </a:lnTo>
                      <a:lnTo>
                        <a:pt x="21" y="111"/>
                      </a:lnTo>
                      <a:lnTo>
                        <a:pt x="21" y="113"/>
                      </a:lnTo>
                      <a:lnTo>
                        <a:pt x="22" y="116"/>
                      </a:lnTo>
                      <a:lnTo>
                        <a:pt x="28" y="134"/>
                      </a:lnTo>
                      <a:lnTo>
                        <a:pt x="35" y="152"/>
                      </a:lnTo>
                      <a:lnTo>
                        <a:pt x="36" y="162"/>
                      </a:lnTo>
                      <a:lnTo>
                        <a:pt x="37" y="171"/>
                      </a:lnTo>
                      <a:lnTo>
                        <a:pt x="37" y="181"/>
                      </a:lnTo>
                      <a:lnTo>
                        <a:pt x="36" y="190"/>
                      </a:lnTo>
                      <a:lnTo>
                        <a:pt x="35" y="195"/>
                      </a:lnTo>
                      <a:lnTo>
                        <a:pt x="31" y="198"/>
                      </a:lnTo>
                      <a:lnTo>
                        <a:pt x="28" y="202"/>
                      </a:lnTo>
                      <a:lnTo>
                        <a:pt x="23" y="205"/>
                      </a:lnTo>
                      <a:lnTo>
                        <a:pt x="24" y="208"/>
                      </a:lnTo>
                      <a:lnTo>
                        <a:pt x="26" y="209"/>
                      </a:lnTo>
                      <a:lnTo>
                        <a:pt x="24" y="211"/>
                      </a:lnTo>
                      <a:lnTo>
                        <a:pt x="22" y="214"/>
                      </a:lnTo>
                      <a:lnTo>
                        <a:pt x="21" y="217"/>
                      </a:lnTo>
                      <a:lnTo>
                        <a:pt x="18" y="224"/>
                      </a:lnTo>
                      <a:lnTo>
                        <a:pt x="17" y="239"/>
                      </a:lnTo>
                      <a:lnTo>
                        <a:pt x="16" y="245"/>
                      </a:lnTo>
                      <a:lnTo>
                        <a:pt x="16" y="247"/>
                      </a:lnTo>
                      <a:lnTo>
                        <a:pt x="16" y="248"/>
                      </a:lnTo>
                      <a:lnTo>
                        <a:pt x="18" y="248"/>
                      </a:lnTo>
                      <a:lnTo>
                        <a:pt x="21" y="248"/>
                      </a:lnTo>
                      <a:lnTo>
                        <a:pt x="22" y="247"/>
                      </a:lnTo>
                      <a:lnTo>
                        <a:pt x="24" y="246"/>
                      </a:lnTo>
                      <a:lnTo>
                        <a:pt x="26" y="245"/>
                      </a:lnTo>
                      <a:lnTo>
                        <a:pt x="29" y="247"/>
                      </a:lnTo>
                      <a:lnTo>
                        <a:pt x="32" y="249"/>
                      </a:lnTo>
                      <a:lnTo>
                        <a:pt x="36" y="255"/>
                      </a:lnTo>
                      <a:lnTo>
                        <a:pt x="40" y="261"/>
                      </a:lnTo>
                      <a:lnTo>
                        <a:pt x="43" y="268"/>
                      </a:lnTo>
                      <a:lnTo>
                        <a:pt x="46" y="273"/>
                      </a:lnTo>
                      <a:lnTo>
                        <a:pt x="50" y="272"/>
                      </a:lnTo>
                      <a:lnTo>
                        <a:pt x="54" y="273"/>
                      </a:lnTo>
                      <a:lnTo>
                        <a:pt x="56" y="273"/>
                      </a:lnTo>
                      <a:lnTo>
                        <a:pt x="59" y="275"/>
                      </a:lnTo>
                      <a:lnTo>
                        <a:pt x="60" y="279"/>
                      </a:lnTo>
                      <a:lnTo>
                        <a:pt x="62" y="281"/>
                      </a:lnTo>
                      <a:lnTo>
                        <a:pt x="65" y="284"/>
                      </a:lnTo>
                      <a:lnTo>
                        <a:pt x="69" y="285"/>
                      </a:lnTo>
                      <a:lnTo>
                        <a:pt x="76" y="285"/>
                      </a:lnTo>
                      <a:lnTo>
                        <a:pt x="83" y="285"/>
                      </a:lnTo>
                      <a:lnTo>
                        <a:pt x="83" y="282"/>
                      </a:lnTo>
                      <a:lnTo>
                        <a:pt x="78" y="277"/>
                      </a:lnTo>
                      <a:lnTo>
                        <a:pt x="73" y="269"/>
                      </a:lnTo>
                      <a:lnTo>
                        <a:pt x="70" y="268"/>
                      </a:lnTo>
                      <a:lnTo>
                        <a:pt x="68" y="268"/>
                      </a:lnTo>
                      <a:lnTo>
                        <a:pt x="65" y="268"/>
                      </a:lnTo>
                      <a:lnTo>
                        <a:pt x="61" y="267"/>
                      </a:lnTo>
                      <a:lnTo>
                        <a:pt x="59" y="265"/>
                      </a:lnTo>
                      <a:lnTo>
                        <a:pt x="57" y="260"/>
                      </a:lnTo>
                      <a:lnTo>
                        <a:pt x="56" y="256"/>
                      </a:lnTo>
                      <a:lnTo>
                        <a:pt x="55" y="252"/>
                      </a:lnTo>
                      <a:lnTo>
                        <a:pt x="50" y="242"/>
                      </a:lnTo>
                      <a:lnTo>
                        <a:pt x="49" y="236"/>
                      </a:lnTo>
                      <a:lnTo>
                        <a:pt x="49" y="230"/>
                      </a:lnTo>
                      <a:lnTo>
                        <a:pt x="49" y="229"/>
                      </a:lnTo>
                      <a:lnTo>
                        <a:pt x="47" y="228"/>
                      </a:lnTo>
                      <a:lnTo>
                        <a:pt x="45" y="228"/>
                      </a:lnTo>
                      <a:lnTo>
                        <a:pt x="42" y="228"/>
                      </a:lnTo>
                      <a:lnTo>
                        <a:pt x="40" y="227"/>
                      </a:lnTo>
                      <a:lnTo>
                        <a:pt x="37" y="222"/>
                      </a:lnTo>
                      <a:lnTo>
                        <a:pt x="36" y="217"/>
                      </a:lnTo>
                      <a:lnTo>
                        <a:pt x="36" y="213"/>
                      </a:lnTo>
                      <a:lnTo>
                        <a:pt x="36" y="208"/>
                      </a:lnTo>
                      <a:lnTo>
                        <a:pt x="43" y="182"/>
                      </a:lnTo>
                      <a:lnTo>
                        <a:pt x="46" y="169"/>
                      </a:lnTo>
                      <a:lnTo>
                        <a:pt x="46" y="156"/>
                      </a:lnTo>
                      <a:lnTo>
                        <a:pt x="47" y="151"/>
                      </a:lnTo>
                      <a:lnTo>
                        <a:pt x="50" y="144"/>
                      </a:lnTo>
                      <a:lnTo>
                        <a:pt x="51" y="143"/>
                      </a:lnTo>
                      <a:lnTo>
                        <a:pt x="52" y="143"/>
                      </a:lnTo>
                      <a:lnTo>
                        <a:pt x="57" y="143"/>
                      </a:lnTo>
                      <a:lnTo>
                        <a:pt x="59" y="141"/>
                      </a:lnTo>
                      <a:lnTo>
                        <a:pt x="61" y="140"/>
                      </a:lnTo>
                      <a:lnTo>
                        <a:pt x="62" y="139"/>
                      </a:lnTo>
                      <a:lnTo>
                        <a:pt x="64" y="140"/>
                      </a:lnTo>
                      <a:lnTo>
                        <a:pt x="65" y="143"/>
                      </a:lnTo>
                      <a:lnTo>
                        <a:pt x="65" y="145"/>
                      </a:lnTo>
                      <a:lnTo>
                        <a:pt x="64" y="151"/>
                      </a:lnTo>
                      <a:lnTo>
                        <a:pt x="62" y="157"/>
                      </a:lnTo>
                      <a:lnTo>
                        <a:pt x="61" y="159"/>
                      </a:lnTo>
                      <a:lnTo>
                        <a:pt x="64" y="160"/>
                      </a:lnTo>
                      <a:lnTo>
                        <a:pt x="68" y="160"/>
                      </a:lnTo>
                      <a:lnTo>
                        <a:pt x="71" y="159"/>
                      </a:lnTo>
                      <a:lnTo>
                        <a:pt x="76" y="159"/>
                      </a:lnTo>
                      <a:lnTo>
                        <a:pt x="78" y="159"/>
                      </a:lnTo>
                      <a:lnTo>
                        <a:pt x="79" y="160"/>
                      </a:lnTo>
                      <a:lnTo>
                        <a:pt x="80" y="163"/>
                      </a:lnTo>
                      <a:lnTo>
                        <a:pt x="82" y="166"/>
                      </a:lnTo>
                      <a:lnTo>
                        <a:pt x="83" y="172"/>
                      </a:lnTo>
                      <a:lnTo>
                        <a:pt x="85" y="171"/>
                      </a:lnTo>
                      <a:lnTo>
                        <a:pt x="87" y="169"/>
                      </a:lnTo>
                      <a:lnTo>
                        <a:pt x="87" y="163"/>
                      </a:lnTo>
                      <a:lnTo>
                        <a:pt x="85" y="157"/>
                      </a:lnTo>
                      <a:lnTo>
                        <a:pt x="84" y="152"/>
                      </a:lnTo>
                      <a:lnTo>
                        <a:pt x="80" y="148"/>
                      </a:lnTo>
                      <a:lnTo>
                        <a:pt x="79" y="146"/>
                      </a:lnTo>
                      <a:lnTo>
                        <a:pt x="80" y="144"/>
                      </a:lnTo>
                      <a:lnTo>
                        <a:pt x="88" y="134"/>
                      </a:lnTo>
                      <a:lnTo>
                        <a:pt x="97" y="126"/>
                      </a:lnTo>
                      <a:lnTo>
                        <a:pt x="99" y="124"/>
                      </a:lnTo>
                      <a:lnTo>
                        <a:pt x="102" y="122"/>
                      </a:lnTo>
                      <a:lnTo>
                        <a:pt x="108" y="122"/>
                      </a:lnTo>
                      <a:lnTo>
                        <a:pt x="113" y="122"/>
                      </a:lnTo>
                      <a:lnTo>
                        <a:pt x="120" y="122"/>
                      </a:lnTo>
                      <a:lnTo>
                        <a:pt x="122" y="121"/>
                      </a:lnTo>
                      <a:lnTo>
                        <a:pt x="123" y="120"/>
                      </a:lnTo>
                      <a:lnTo>
                        <a:pt x="127" y="114"/>
                      </a:lnTo>
                      <a:lnTo>
                        <a:pt x="129" y="112"/>
                      </a:lnTo>
                      <a:lnTo>
                        <a:pt x="132" y="1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5" name="Freeform 619">
                  <a:extLst>
                    <a:ext uri="{FF2B5EF4-FFF2-40B4-BE49-F238E27FC236}">
                      <a16:creationId xmlns:a16="http://schemas.microsoft.com/office/drawing/2014/main" id="{738EBD01-23BF-2B4B-9D54-1E041A0F0B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81774" y="3771875"/>
                  <a:ext cx="207182" cy="550512"/>
                </a:xfrm>
                <a:custGeom>
                  <a:avLst/>
                  <a:gdLst>
                    <a:gd name="T0" fmla="*/ 2147483647 w 152"/>
                    <a:gd name="T1" fmla="*/ 2147483647 h 372"/>
                    <a:gd name="T2" fmla="*/ 2147483647 w 152"/>
                    <a:gd name="T3" fmla="*/ 2147483647 h 372"/>
                    <a:gd name="T4" fmla="*/ 2147483647 w 152"/>
                    <a:gd name="T5" fmla="*/ 2147483647 h 372"/>
                    <a:gd name="T6" fmla="*/ 2147483647 w 152"/>
                    <a:gd name="T7" fmla="*/ 2147483647 h 372"/>
                    <a:gd name="T8" fmla="*/ 2147483647 w 152"/>
                    <a:gd name="T9" fmla="*/ 2147483647 h 372"/>
                    <a:gd name="T10" fmla="*/ 2147483647 w 152"/>
                    <a:gd name="T11" fmla="*/ 2147483647 h 372"/>
                    <a:gd name="T12" fmla="*/ 2147483647 w 152"/>
                    <a:gd name="T13" fmla="*/ 2147483647 h 372"/>
                    <a:gd name="T14" fmla="*/ 2147483647 w 152"/>
                    <a:gd name="T15" fmla="*/ 2147483647 h 372"/>
                    <a:gd name="T16" fmla="*/ 2147483647 w 152"/>
                    <a:gd name="T17" fmla="*/ 2147483647 h 372"/>
                    <a:gd name="T18" fmla="*/ 2147483647 w 152"/>
                    <a:gd name="T19" fmla="*/ 2147483647 h 372"/>
                    <a:gd name="T20" fmla="*/ 2147483647 w 152"/>
                    <a:gd name="T21" fmla="*/ 2147483647 h 372"/>
                    <a:gd name="T22" fmla="*/ 2147483647 w 152"/>
                    <a:gd name="T23" fmla="*/ 2147483647 h 372"/>
                    <a:gd name="T24" fmla="*/ 2147483647 w 152"/>
                    <a:gd name="T25" fmla="*/ 2147483647 h 372"/>
                    <a:gd name="T26" fmla="*/ 2147483647 w 152"/>
                    <a:gd name="T27" fmla="*/ 2147483647 h 372"/>
                    <a:gd name="T28" fmla="*/ 2147483647 w 152"/>
                    <a:gd name="T29" fmla="*/ 2147483647 h 372"/>
                    <a:gd name="T30" fmla="*/ 2147483647 w 152"/>
                    <a:gd name="T31" fmla="*/ 2147483647 h 372"/>
                    <a:gd name="T32" fmla="*/ 2147483647 w 152"/>
                    <a:gd name="T33" fmla="*/ 2147483647 h 372"/>
                    <a:gd name="T34" fmla="*/ 2147483647 w 152"/>
                    <a:gd name="T35" fmla="*/ 2147483647 h 372"/>
                    <a:gd name="T36" fmla="*/ 2147483647 w 152"/>
                    <a:gd name="T37" fmla="*/ 2147483647 h 372"/>
                    <a:gd name="T38" fmla="*/ 2147483647 w 152"/>
                    <a:gd name="T39" fmla="*/ 2147483647 h 372"/>
                    <a:gd name="T40" fmla="*/ 2147483647 w 152"/>
                    <a:gd name="T41" fmla="*/ 2147483647 h 372"/>
                    <a:gd name="T42" fmla="*/ 2147483647 w 152"/>
                    <a:gd name="T43" fmla="*/ 2147483647 h 372"/>
                    <a:gd name="T44" fmla="*/ 2147483647 w 152"/>
                    <a:gd name="T45" fmla="*/ 2147483647 h 372"/>
                    <a:gd name="T46" fmla="*/ 2147483647 w 152"/>
                    <a:gd name="T47" fmla="*/ 2147483647 h 372"/>
                    <a:gd name="T48" fmla="*/ 2147483647 w 152"/>
                    <a:gd name="T49" fmla="*/ 2147483647 h 372"/>
                    <a:gd name="T50" fmla="*/ 2147483647 w 152"/>
                    <a:gd name="T51" fmla="*/ 2147483647 h 372"/>
                    <a:gd name="T52" fmla="*/ 2147483647 w 152"/>
                    <a:gd name="T53" fmla="*/ 2147483647 h 372"/>
                    <a:gd name="T54" fmla="*/ 2147483647 w 152"/>
                    <a:gd name="T55" fmla="*/ 2147483647 h 372"/>
                    <a:gd name="T56" fmla="*/ 2147483647 w 152"/>
                    <a:gd name="T57" fmla="*/ 2147483647 h 372"/>
                    <a:gd name="T58" fmla="*/ 2147483647 w 152"/>
                    <a:gd name="T59" fmla="*/ 2147483647 h 372"/>
                    <a:gd name="T60" fmla="*/ 2147483647 w 152"/>
                    <a:gd name="T61" fmla="*/ 2147483647 h 372"/>
                    <a:gd name="T62" fmla="*/ 2147483647 w 152"/>
                    <a:gd name="T63" fmla="*/ 2147483647 h 372"/>
                    <a:gd name="T64" fmla="*/ 2147483647 w 152"/>
                    <a:gd name="T65" fmla="*/ 2147483647 h 372"/>
                    <a:gd name="T66" fmla="*/ 2147483647 w 152"/>
                    <a:gd name="T67" fmla="*/ 2147483647 h 372"/>
                    <a:gd name="T68" fmla="*/ 2147483647 w 152"/>
                    <a:gd name="T69" fmla="*/ 2147483647 h 372"/>
                    <a:gd name="T70" fmla="*/ 2147483647 w 152"/>
                    <a:gd name="T71" fmla="*/ 2147483647 h 372"/>
                    <a:gd name="T72" fmla="*/ 2147483647 w 152"/>
                    <a:gd name="T73" fmla="*/ 2147483647 h 372"/>
                    <a:gd name="T74" fmla="*/ 2147483647 w 152"/>
                    <a:gd name="T75" fmla="*/ 2147483647 h 372"/>
                    <a:gd name="T76" fmla="*/ 2147483647 w 152"/>
                    <a:gd name="T77" fmla="*/ 2147483647 h 372"/>
                    <a:gd name="T78" fmla="*/ 2147483647 w 152"/>
                    <a:gd name="T79" fmla="*/ 2147483647 h 372"/>
                    <a:gd name="T80" fmla="*/ 2147483647 w 152"/>
                    <a:gd name="T81" fmla="*/ 2147483647 h 372"/>
                    <a:gd name="T82" fmla="*/ 2147483647 w 152"/>
                    <a:gd name="T83" fmla="*/ 2147483647 h 372"/>
                    <a:gd name="T84" fmla="*/ 2147483647 w 152"/>
                    <a:gd name="T85" fmla="*/ 2147483647 h 372"/>
                    <a:gd name="T86" fmla="*/ 2147483647 w 152"/>
                    <a:gd name="T87" fmla="*/ 2147483647 h 372"/>
                    <a:gd name="T88" fmla="*/ 2147483647 w 152"/>
                    <a:gd name="T89" fmla="*/ 2147483647 h 372"/>
                    <a:gd name="T90" fmla="*/ 2147483647 w 152"/>
                    <a:gd name="T91" fmla="*/ 2147483647 h 372"/>
                    <a:gd name="T92" fmla="*/ 2147483647 w 152"/>
                    <a:gd name="T93" fmla="*/ 2147483647 h 372"/>
                    <a:gd name="T94" fmla="*/ 2147483647 w 152"/>
                    <a:gd name="T95" fmla="*/ 2147483647 h 372"/>
                    <a:gd name="T96" fmla="*/ 2147483647 w 152"/>
                    <a:gd name="T97" fmla="*/ 2147483647 h 372"/>
                    <a:gd name="T98" fmla="*/ 2147483647 w 152"/>
                    <a:gd name="T99" fmla="*/ 2147483647 h 372"/>
                    <a:gd name="T100" fmla="*/ 2147483647 w 152"/>
                    <a:gd name="T101" fmla="*/ 2147483647 h 372"/>
                    <a:gd name="T102" fmla="*/ 2147483647 w 152"/>
                    <a:gd name="T103" fmla="*/ 2147483647 h 372"/>
                    <a:gd name="T104" fmla="*/ 2147483647 w 152"/>
                    <a:gd name="T105" fmla="*/ 2147483647 h 37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52"/>
                    <a:gd name="T160" fmla="*/ 0 h 372"/>
                    <a:gd name="T161" fmla="*/ 152 w 152"/>
                    <a:gd name="T162" fmla="*/ 372 h 37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52" h="372">
                      <a:moveTo>
                        <a:pt x="151" y="147"/>
                      </a:moveTo>
                      <a:lnTo>
                        <a:pt x="152" y="145"/>
                      </a:lnTo>
                      <a:lnTo>
                        <a:pt x="151" y="142"/>
                      </a:lnTo>
                      <a:lnTo>
                        <a:pt x="151" y="141"/>
                      </a:lnTo>
                      <a:lnTo>
                        <a:pt x="147" y="140"/>
                      </a:lnTo>
                      <a:lnTo>
                        <a:pt x="141" y="140"/>
                      </a:lnTo>
                      <a:lnTo>
                        <a:pt x="140" y="139"/>
                      </a:lnTo>
                      <a:lnTo>
                        <a:pt x="138" y="138"/>
                      </a:lnTo>
                      <a:lnTo>
                        <a:pt x="138" y="134"/>
                      </a:lnTo>
                      <a:lnTo>
                        <a:pt x="138" y="131"/>
                      </a:lnTo>
                      <a:lnTo>
                        <a:pt x="137" y="129"/>
                      </a:lnTo>
                      <a:lnTo>
                        <a:pt x="136" y="129"/>
                      </a:lnTo>
                      <a:lnTo>
                        <a:pt x="131" y="131"/>
                      </a:lnTo>
                      <a:lnTo>
                        <a:pt x="128" y="131"/>
                      </a:lnTo>
                      <a:lnTo>
                        <a:pt x="126" y="131"/>
                      </a:lnTo>
                      <a:lnTo>
                        <a:pt x="124" y="129"/>
                      </a:lnTo>
                      <a:lnTo>
                        <a:pt x="124" y="127"/>
                      </a:lnTo>
                      <a:lnTo>
                        <a:pt x="127" y="122"/>
                      </a:lnTo>
                      <a:lnTo>
                        <a:pt x="131" y="119"/>
                      </a:lnTo>
                      <a:lnTo>
                        <a:pt x="134" y="114"/>
                      </a:lnTo>
                      <a:lnTo>
                        <a:pt x="136" y="109"/>
                      </a:lnTo>
                      <a:lnTo>
                        <a:pt x="136" y="107"/>
                      </a:lnTo>
                      <a:lnTo>
                        <a:pt x="133" y="107"/>
                      </a:lnTo>
                      <a:lnTo>
                        <a:pt x="128" y="107"/>
                      </a:lnTo>
                      <a:lnTo>
                        <a:pt x="126" y="106"/>
                      </a:lnTo>
                      <a:lnTo>
                        <a:pt x="124" y="103"/>
                      </a:lnTo>
                      <a:lnTo>
                        <a:pt x="124" y="99"/>
                      </a:lnTo>
                      <a:lnTo>
                        <a:pt x="124" y="93"/>
                      </a:lnTo>
                      <a:lnTo>
                        <a:pt x="124" y="90"/>
                      </a:lnTo>
                      <a:lnTo>
                        <a:pt x="123" y="89"/>
                      </a:lnTo>
                      <a:lnTo>
                        <a:pt x="120" y="89"/>
                      </a:lnTo>
                      <a:lnTo>
                        <a:pt x="117" y="89"/>
                      </a:lnTo>
                      <a:lnTo>
                        <a:pt x="110" y="90"/>
                      </a:lnTo>
                      <a:lnTo>
                        <a:pt x="104" y="91"/>
                      </a:lnTo>
                      <a:lnTo>
                        <a:pt x="101" y="90"/>
                      </a:lnTo>
                      <a:lnTo>
                        <a:pt x="100" y="89"/>
                      </a:lnTo>
                      <a:lnTo>
                        <a:pt x="98" y="84"/>
                      </a:lnTo>
                      <a:lnTo>
                        <a:pt x="98" y="81"/>
                      </a:lnTo>
                      <a:lnTo>
                        <a:pt x="98" y="77"/>
                      </a:lnTo>
                      <a:lnTo>
                        <a:pt x="99" y="72"/>
                      </a:lnTo>
                      <a:lnTo>
                        <a:pt x="103" y="64"/>
                      </a:lnTo>
                      <a:lnTo>
                        <a:pt x="107" y="56"/>
                      </a:lnTo>
                      <a:lnTo>
                        <a:pt x="109" y="51"/>
                      </a:lnTo>
                      <a:lnTo>
                        <a:pt x="110" y="46"/>
                      </a:lnTo>
                      <a:lnTo>
                        <a:pt x="112" y="36"/>
                      </a:lnTo>
                      <a:lnTo>
                        <a:pt x="110" y="13"/>
                      </a:lnTo>
                      <a:lnTo>
                        <a:pt x="109" y="8"/>
                      </a:lnTo>
                      <a:lnTo>
                        <a:pt x="107" y="4"/>
                      </a:lnTo>
                      <a:lnTo>
                        <a:pt x="101" y="1"/>
                      </a:lnTo>
                      <a:lnTo>
                        <a:pt x="99" y="0"/>
                      </a:lnTo>
                      <a:lnTo>
                        <a:pt x="98" y="1"/>
                      </a:lnTo>
                      <a:lnTo>
                        <a:pt x="93" y="3"/>
                      </a:lnTo>
                      <a:lnTo>
                        <a:pt x="93" y="5"/>
                      </a:lnTo>
                      <a:lnTo>
                        <a:pt x="91" y="6"/>
                      </a:lnTo>
                      <a:lnTo>
                        <a:pt x="90" y="8"/>
                      </a:lnTo>
                      <a:lnTo>
                        <a:pt x="89" y="10"/>
                      </a:lnTo>
                      <a:lnTo>
                        <a:pt x="87" y="16"/>
                      </a:lnTo>
                      <a:lnTo>
                        <a:pt x="84" y="20"/>
                      </a:lnTo>
                      <a:lnTo>
                        <a:pt x="80" y="24"/>
                      </a:lnTo>
                      <a:lnTo>
                        <a:pt x="73" y="26"/>
                      </a:lnTo>
                      <a:lnTo>
                        <a:pt x="71" y="27"/>
                      </a:lnTo>
                      <a:lnTo>
                        <a:pt x="70" y="31"/>
                      </a:lnTo>
                      <a:lnTo>
                        <a:pt x="68" y="37"/>
                      </a:lnTo>
                      <a:lnTo>
                        <a:pt x="66" y="43"/>
                      </a:lnTo>
                      <a:lnTo>
                        <a:pt x="63" y="49"/>
                      </a:lnTo>
                      <a:lnTo>
                        <a:pt x="61" y="55"/>
                      </a:lnTo>
                      <a:lnTo>
                        <a:pt x="52" y="65"/>
                      </a:lnTo>
                      <a:lnTo>
                        <a:pt x="43" y="74"/>
                      </a:lnTo>
                      <a:lnTo>
                        <a:pt x="40" y="77"/>
                      </a:lnTo>
                      <a:lnTo>
                        <a:pt x="39" y="80"/>
                      </a:lnTo>
                      <a:lnTo>
                        <a:pt x="39" y="88"/>
                      </a:lnTo>
                      <a:lnTo>
                        <a:pt x="38" y="94"/>
                      </a:lnTo>
                      <a:lnTo>
                        <a:pt x="37" y="96"/>
                      </a:lnTo>
                      <a:lnTo>
                        <a:pt x="34" y="97"/>
                      </a:lnTo>
                      <a:lnTo>
                        <a:pt x="30" y="100"/>
                      </a:lnTo>
                      <a:lnTo>
                        <a:pt x="25" y="101"/>
                      </a:lnTo>
                      <a:lnTo>
                        <a:pt x="23" y="101"/>
                      </a:lnTo>
                      <a:lnTo>
                        <a:pt x="21" y="102"/>
                      </a:lnTo>
                      <a:lnTo>
                        <a:pt x="18" y="107"/>
                      </a:lnTo>
                      <a:lnTo>
                        <a:pt x="16" y="113"/>
                      </a:lnTo>
                      <a:lnTo>
                        <a:pt x="15" y="118"/>
                      </a:lnTo>
                      <a:lnTo>
                        <a:pt x="15" y="123"/>
                      </a:lnTo>
                      <a:lnTo>
                        <a:pt x="14" y="129"/>
                      </a:lnTo>
                      <a:lnTo>
                        <a:pt x="13" y="132"/>
                      </a:lnTo>
                      <a:lnTo>
                        <a:pt x="10" y="133"/>
                      </a:lnTo>
                      <a:lnTo>
                        <a:pt x="7" y="135"/>
                      </a:lnTo>
                      <a:lnTo>
                        <a:pt x="4" y="135"/>
                      </a:lnTo>
                      <a:lnTo>
                        <a:pt x="5" y="139"/>
                      </a:lnTo>
                      <a:lnTo>
                        <a:pt x="4" y="141"/>
                      </a:lnTo>
                      <a:lnTo>
                        <a:pt x="2" y="144"/>
                      </a:lnTo>
                      <a:lnTo>
                        <a:pt x="2" y="146"/>
                      </a:lnTo>
                      <a:lnTo>
                        <a:pt x="1" y="151"/>
                      </a:lnTo>
                      <a:lnTo>
                        <a:pt x="0" y="152"/>
                      </a:lnTo>
                      <a:lnTo>
                        <a:pt x="0" y="154"/>
                      </a:lnTo>
                      <a:lnTo>
                        <a:pt x="4" y="159"/>
                      </a:lnTo>
                      <a:lnTo>
                        <a:pt x="9" y="167"/>
                      </a:lnTo>
                      <a:lnTo>
                        <a:pt x="14" y="174"/>
                      </a:lnTo>
                      <a:lnTo>
                        <a:pt x="16" y="178"/>
                      </a:lnTo>
                      <a:lnTo>
                        <a:pt x="20" y="180"/>
                      </a:lnTo>
                      <a:lnTo>
                        <a:pt x="24" y="183"/>
                      </a:lnTo>
                      <a:lnTo>
                        <a:pt x="29" y="184"/>
                      </a:lnTo>
                      <a:lnTo>
                        <a:pt x="29" y="186"/>
                      </a:lnTo>
                      <a:lnTo>
                        <a:pt x="29" y="189"/>
                      </a:lnTo>
                      <a:lnTo>
                        <a:pt x="30" y="191"/>
                      </a:lnTo>
                      <a:lnTo>
                        <a:pt x="33" y="192"/>
                      </a:lnTo>
                      <a:lnTo>
                        <a:pt x="35" y="193"/>
                      </a:lnTo>
                      <a:lnTo>
                        <a:pt x="37" y="195"/>
                      </a:lnTo>
                      <a:lnTo>
                        <a:pt x="38" y="196"/>
                      </a:lnTo>
                      <a:lnTo>
                        <a:pt x="39" y="200"/>
                      </a:lnTo>
                      <a:lnTo>
                        <a:pt x="39" y="205"/>
                      </a:lnTo>
                      <a:lnTo>
                        <a:pt x="39" y="214"/>
                      </a:lnTo>
                      <a:lnTo>
                        <a:pt x="39" y="216"/>
                      </a:lnTo>
                      <a:lnTo>
                        <a:pt x="38" y="218"/>
                      </a:lnTo>
                      <a:lnTo>
                        <a:pt x="37" y="221"/>
                      </a:lnTo>
                      <a:lnTo>
                        <a:pt x="38" y="223"/>
                      </a:lnTo>
                      <a:lnTo>
                        <a:pt x="40" y="231"/>
                      </a:lnTo>
                      <a:lnTo>
                        <a:pt x="42" y="240"/>
                      </a:lnTo>
                      <a:lnTo>
                        <a:pt x="42" y="248"/>
                      </a:lnTo>
                      <a:lnTo>
                        <a:pt x="39" y="256"/>
                      </a:lnTo>
                      <a:lnTo>
                        <a:pt x="39" y="259"/>
                      </a:lnTo>
                      <a:lnTo>
                        <a:pt x="39" y="261"/>
                      </a:lnTo>
                      <a:lnTo>
                        <a:pt x="40" y="262"/>
                      </a:lnTo>
                      <a:lnTo>
                        <a:pt x="42" y="263"/>
                      </a:lnTo>
                      <a:lnTo>
                        <a:pt x="48" y="263"/>
                      </a:lnTo>
                      <a:lnTo>
                        <a:pt x="54" y="263"/>
                      </a:lnTo>
                      <a:lnTo>
                        <a:pt x="60" y="261"/>
                      </a:lnTo>
                      <a:lnTo>
                        <a:pt x="65" y="259"/>
                      </a:lnTo>
                      <a:lnTo>
                        <a:pt x="70" y="255"/>
                      </a:lnTo>
                      <a:lnTo>
                        <a:pt x="73" y="250"/>
                      </a:lnTo>
                      <a:lnTo>
                        <a:pt x="77" y="246"/>
                      </a:lnTo>
                      <a:lnTo>
                        <a:pt x="80" y="240"/>
                      </a:lnTo>
                      <a:lnTo>
                        <a:pt x="81" y="238"/>
                      </a:lnTo>
                      <a:lnTo>
                        <a:pt x="82" y="240"/>
                      </a:lnTo>
                      <a:lnTo>
                        <a:pt x="84" y="242"/>
                      </a:lnTo>
                      <a:lnTo>
                        <a:pt x="85" y="247"/>
                      </a:lnTo>
                      <a:lnTo>
                        <a:pt x="87" y="250"/>
                      </a:lnTo>
                      <a:lnTo>
                        <a:pt x="90" y="253"/>
                      </a:lnTo>
                      <a:lnTo>
                        <a:pt x="95" y="255"/>
                      </a:lnTo>
                      <a:lnTo>
                        <a:pt x="95" y="256"/>
                      </a:lnTo>
                      <a:lnTo>
                        <a:pt x="96" y="259"/>
                      </a:lnTo>
                      <a:lnTo>
                        <a:pt x="96" y="263"/>
                      </a:lnTo>
                      <a:lnTo>
                        <a:pt x="95" y="268"/>
                      </a:lnTo>
                      <a:lnTo>
                        <a:pt x="95" y="272"/>
                      </a:lnTo>
                      <a:lnTo>
                        <a:pt x="96" y="276"/>
                      </a:lnTo>
                      <a:lnTo>
                        <a:pt x="99" y="280"/>
                      </a:lnTo>
                      <a:lnTo>
                        <a:pt x="99" y="285"/>
                      </a:lnTo>
                      <a:lnTo>
                        <a:pt x="101" y="292"/>
                      </a:lnTo>
                      <a:lnTo>
                        <a:pt x="105" y="305"/>
                      </a:lnTo>
                      <a:lnTo>
                        <a:pt x="108" y="318"/>
                      </a:lnTo>
                      <a:lnTo>
                        <a:pt x="112" y="345"/>
                      </a:lnTo>
                      <a:lnTo>
                        <a:pt x="114" y="348"/>
                      </a:lnTo>
                      <a:lnTo>
                        <a:pt x="114" y="351"/>
                      </a:lnTo>
                      <a:lnTo>
                        <a:pt x="114" y="353"/>
                      </a:lnTo>
                      <a:lnTo>
                        <a:pt x="114" y="361"/>
                      </a:lnTo>
                      <a:lnTo>
                        <a:pt x="113" y="366"/>
                      </a:lnTo>
                      <a:lnTo>
                        <a:pt x="113" y="369"/>
                      </a:lnTo>
                      <a:lnTo>
                        <a:pt x="114" y="372"/>
                      </a:lnTo>
                      <a:lnTo>
                        <a:pt x="119" y="369"/>
                      </a:lnTo>
                      <a:lnTo>
                        <a:pt x="122" y="365"/>
                      </a:lnTo>
                      <a:lnTo>
                        <a:pt x="126" y="362"/>
                      </a:lnTo>
                      <a:lnTo>
                        <a:pt x="127" y="357"/>
                      </a:lnTo>
                      <a:lnTo>
                        <a:pt x="128" y="348"/>
                      </a:lnTo>
                      <a:lnTo>
                        <a:pt x="128" y="338"/>
                      </a:lnTo>
                      <a:lnTo>
                        <a:pt x="127" y="329"/>
                      </a:lnTo>
                      <a:lnTo>
                        <a:pt x="126" y="319"/>
                      </a:lnTo>
                      <a:lnTo>
                        <a:pt x="119" y="301"/>
                      </a:lnTo>
                      <a:lnTo>
                        <a:pt x="113" y="283"/>
                      </a:lnTo>
                      <a:lnTo>
                        <a:pt x="112" y="280"/>
                      </a:lnTo>
                      <a:lnTo>
                        <a:pt x="112" y="278"/>
                      </a:lnTo>
                      <a:lnTo>
                        <a:pt x="113" y="272"/>
                      </a:lnTo>
                      <a:lnTo>
                        <a:pt x="115" y="266"/>
                      </a:lnTo>
                      <a:lnTo>
                        <a:pt x="115" y="260"/>
                      </a:lnTo>
                      <a:lnTo>
                        <a:pt x="115" y="257"/>
                      </a:lnTo>
                      <a:lnTo>
                        <a:pt x="114" y="255"/>
                      </a:lnTo>
                      <a:lnTo>
                        <a:pt x="112" y="250"/>
                      </a:lnTo>
                      <a:lnTo>
                        <a:pt x="108" y="247"/>
                      </a:lnTo>
                      <a:lnTo>
                        <a:pt x="105" y="241"/>
                      </a:lnTo>
                      <a:lnTo>
                        <a:pt x="101" y="231"/>
                      </a:lnTo>
                      <a:lnTo>
                        <a:pt x="101" y="225"/>
                      </a:lnTo>
                      <a:lnTo>
                        <a:pt x="101" y="219"/>
                      </a:lnTo>
                      <a:lnTo>
                        <a:pt x="101" y="217"/>
                      </a:lnTo>
                      <a:lnTo>
                        <a:pt x="100" y="214"/>
                      </a:lnTo>
                      <a:lnTo>
                        <a:pt x="99" y="214"/>
                      </a:lnTo>
                      <a:lnTo>
                        <a:pt x="96" y="215"/>
                      </a:lnTo>
                      <a:lnTo>
                        <a:pt x="95" y="215"/>
                      </a:lnTo>
                      <a:lnTo>
                        <a:pt x="94" y="215"/>
                      </a:lnTo>
                      <a:lnTo>
                        <a:pt x="91" y="212"/>
                      </a:lnTo>
                      <a:lnTo>
                        <a:pt x="91" y="209"/>
                      </a:lnTo>
                      <a:lnTo>
                        <a:pt x="91" y="204"/>
                      </a:lnTo>
                      <a:lnTo>
                        <a:pt x="93" y="200"/>
                      </a:lnTo>
                      <a:lnTo>
                        <a:pt x="94" y="198"/>
                      </a:lnTo>
                      <a:lnTo>
                        <a:pt x="98" y="197"/>
                      </a:lnTo>
                      <a:lnTo>
                        <a:pt x="100" y="196"/>
                      </a:lnTo>
                      <a:lnTo>
                        <a:pt x="101" y="195"/>
                      </a:lnTo>
                      <a:lnTo>
                        <a:pt x="103" y="189"/>
                      </a:lnTo>
                      <a:lnTo>
                        <a:pt x="104" y="185"/>
                      </a:lnTo>
                      <a:lnTo>
                        <a:pt x="107" y="183"/>
                      </a:lnTo>
                      <a:lnTo>
                        <a:pt x="109" y="182"/>
                      </a:lnTo>
                      <a:lnTo>
                        <a:pt x="114" y="180"/>
                      </a:lnTo>
                      <a:lnTo>
                        <a:pt x="117" y="179"/>
                      </a:lnTo>
                      <a:lnTo>
                        <a:pt x="119" y="178"/>
                      </a:lnTo>
                      <a:lnTo>
                        <a:pt x="120" y="176"/>
                      </a:lnTo>
                      <a:lnTo>
                        <a:pt x="122" y="172"/>
                      </a:lnTo>
                      <a:lnTo>
                        <a:pt x="123" y="168"/>
                      </a:lnTo>
                      <a:lnTo>
                        <a:pt x="126" y="167"/>
                      </a:lnTo>
                      <a:lnTo>
                        <a:pt x="129" y="167"/>
                      </a:lnTo>
                      <a:lnTo>
                        <a:pt x="134" y="168"/>
                      </a:lnTo>
                      <a:lnTo>
                        <a:pt x="138" y="168"/>
                      </a:lnTo>
                      <a:lnTo>
                        <a:pt x="140" y="168"/>
                      </a:lnTo>
                      <a:lnTo>
                        <a:pt x="141" y="167"/>
                      </a:lnTo>
                      <a:lnTo>
                        <a:pt x="147" y="158"/>
                      </a:lnTo>
                      <a:lnTo>
                        <a:pt x="151" y="14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6" name="Freeform 620">
                  <a:extLst>
                    <a:ext uri="{FF2B5EF4-FFF2-40B4-BE49-F238E27FC236}">
                      <a16:creationId xmlns:a16="http://schemas.microsoft.com/office/drawing/2014/main" id="{1BCE5CC4-5535-BC47-BDDF-E4A2F24160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4604" y="4017537"/>
                  <a:ext cx="180544" cy="421763"/>
                </a:xfrm>
                <a:custGeom>
                  <a:avLst/>
                  <a:gdLst>
                    <a:gd name="T0" fmla="*/ 2147483647 w 132"/>
                    <a:gd name="T1" fmla="*/ 2147483647 h 285"/>
                    <a:gd name="T2" fmla="*/ 2147483647 w 132"/>
                    <a:gd name="T3" fmla="*/ 2147483647 h 285"/>
                    <a:gd name="T4" fmla="*/ 2147483647 w 132"/>
                    <a:gd name="T5" fmla="*/ 2147483647 h 285"/>
                    <a:gd name="T6" fmla="*/ 2147483647 w 132"/>
                    <a:gd name="T7" fmla="*/ 2147483647 h 285"/>
                    <a:gd name="T8" fmla="*/ 2147483647 w 132"/>
                    <a:gd name="T9" fmla="*/ 2147483647 h 285"/>
                    <a:gd name="T10" fmla="*/ 2147483647 w 132"/>
                    <a:gd name="T11" fmla="*/ 2147483647 h 285"/>
                    <a:gd name="T12" fmla="*/ 2147483647 w 132"/>
                    <a:gd name="T13" fmla="*/ 2147483647 h 285"/>
                    <a:gd name="T14" fmla="*/ 2147483647 w 132"/>
                    <a:gd name="T15" fmla="*/ 2147483647 h 285"/>
                    <a:gd name="T16" fmla="*/ 2147483647 w 132"/>
                    <a:gd name="T17" fmla="*/ 2147483647 h 285"/>
                    <a:gd name="T18" fmla="*/ 2147483647 w 132"/>
                    <a:gd name="T19" fmla="*/ 2147483647 h 285"/>
                    <a:gd name="T20" fmla="*/ 2147483647 w 132"/>
                    <a:gd name="T21" fmla="*/ 2147483647 h 285"/>
                    <a:gd name="T22" fmla="*/ 2147483647 w 132"/>
                    <a:gd name="T23" fmla="*/ 2147483647 h 285"/>
                    <a:gd name="T24" fmla="*/ 2147483647 w 132"/>
                    <a:gd name="T25" fmla="*/ 2147483647 h 285"/>
                    <a:gd name="T26" fmla="*/ 2147483647 w 132"/>
                    <a:gd name="T27" fmla="*/ 2147483647 h 285"/>
                    <a:gd name="T28" fmla="*/ 2147483647 w 132"/>
                    <a:gd name="T29" fmla="*/ 2147483647 h 285"/>
                    <a:gd name="T30" fmla="*/ 2147483647 w 132"/>
                    <a:gd name="T31" fmla="*/ 2147483647 h 285"/>
                    <a:gd name="T32" fmla="*/ 2147483647 w 132"/>
                    <a:gd name="T33" fmla="*/ 2147483647 h 285"/>
                    <a:gd name="T34" fmla="*/ 2147483647 w 132"/>
                    <a:gd name="T35" fmla="*/ 2147483647 h 285"/>
                    <a:gd name="T36" fmla="*/ 0 w 132"/>
                    <a:gd name="T37" fmla="*/ 2147483647 h 285"/>
                    <a:gd name="T38" fmla="*/ 2147483647 w 132"/>
                    <a:gd name="T39" fmla="*/ 2147483647 h 285"/>
                    <a:gd name="T40" fmla="*/ 2147483647 w 132"/>
                    <a:gd name="T41" fmla="*/ 2147483647 h 285"/>
                    <a:gd name="T42" fmla="*/ 2147483647 w 132"/>
                    <a:gd name="T43" fmla="*/ 2147483647 h 285"/>
                    <a:gd name="T44" fmla="*/ 2147483647 w 132"/>
                    <a:gd name="T45" fmla="*/ 2147483647 h 285"/>
                    <a:gd name="T46" fmla="*/ 2147483647 w 132"/>
                    <a:gd name="T47" fmla="*/ 2147483647 h 285"/>
                    <a:gd name="T48" fmla="*/ 2147483647 w 132"/>
                    <a:gd name="T49" fmla="*/ 2147483647 h 285"/>
                    <a:gd name="T50" fmla="*/ 2147483647 w 132"/>
                    <a:gd name="T51" fmla="*/ 2147483647 h 285"/>
                    <a:gd name="T52" fmla="*/ 2147483647 w 132"/>
                    <a:gd name="T53" fmla="*/ 2147483647 h 285"/>
                    <a:gd name="T54" fmla="*/ 2147483647 w 132"/>
                    <a:gd name="T55" fmla="*/ 2147483647 h 285"/>
                    <a:gd name="T56" fmla="*/ 2147483647 w 132"/>
                    <a:gd name="T57" fmla="*/ 2147483647 h 285"/>
                    <a:gd name="T58" fmla="*/ 2147483647 w 132"/>
                    <a:gd name="T59" fmla="*/ 2147483647 h 285"/>
                    <a:gd name="T60" fmla="*/ 2147483647 w 132"/>
                    <a:gd name="T61" fmla="*/ 2147483647 h 285"/>
                    <a:gd name="T62" fmla="*/ 2147483647 w 132"/>
                    <a:gd name="T63" fmla="*/ 2147483647 h 285"/>
                    <a:gd name="T64" fmla="*/ 2147483647 w 132"/>
                    <a:gd name="T65" fmla="*/ 2147483647 h 285"/>
                    <a:gd name="T66" fmla="*/ 2147483647 w 132"/>
                    <a:gd name="T67" fmla="*/ 2147483647 h 285"/>
                    <a:gd name="T68" fmla="*/ 2147483647 w 132"/>
                    <a:gd name="T69" fmla="*/ 2147483647 h 285"/>
                    <a:gd name="T70" fmla="*/ 2147483647 w 132"/>
                    <a:gd name="T71" fmla="*/ 2147483647 h 285"/>
                    <a:gd name="T72" fmla="*/ 2147483647 w 132"/>
                    <a:gd name="T73" fmla="*/ 2147483647 h 285"/>
                    <a:gd name="T74" fmla="*/ 2147483647 w 132"/>
                    <a:gd name="T75" fmla="*/ 2147483647 h 285"/>
                    <a:gd name="T76" fmla="*/ 2147483647 w 132"/>
                    <a:gd name="T77" fmla="*/ 2147483647 h 285"/>
                    <a:gd name="T78" fmla="*/ 2147483647 w 132"/>
                    <a:gd name="T79" fmla="*/ 2147483647 h 285"/>
                    <a:gd name="T80" fmla="*/ 2147483647 w 132"/>
                    <a:gd name="T81" fmla="*/ 2147483647 h 285"/>
                    <a:gd name="T82" fmla="*/ 2147483647 w 132"/>
                    <a:gd name="T83" fmla="*/ 2147483647 h 285"/>
                    <a:gd name="T84" fmla="*/ 2147483647 w 132"/>
                    <a:gd name="T85" fmla="*/ 2147483647 h 285"/>
                    <a:gd name="T86" fmla="*/ 2147483647 w 132"/>
                    <a:gd name="T87" fmla="*/ 2147483647 h 285"/>
                    <a:gd name="T88" fmla="*/ 2147483647 w 132"/>
                    <a:gd name="T89" fmla="*/ 2147483647 h 285"/>
                    <a:gd name="T90" fmla="*/ 2147483647 w 132"/>
                    <a:gd name="T91" fmla="*/ 2147483647 h 285"/>
                    <a:gd name="T92" fmla="*/ 2147483647 w 132"/>
                    <a:gd name="T93" fmla="*/ 2147483647 h 285"/>
                    <a:gd name="T94" fmla="*/ 2147483647 w 132"/>
                    <a:gd name="T95" fmla="*/ 2147483647 h 285"/>
                    <a:gd name="T96" fmla="*/ 2147483647 w 132"/>
                    <a:gd name="T97" fmla="*/ 2147483647 h 285"/>
                    <a:gd name="T98" fmla="*/ 2147483647 w 132"/>
                    <a:gd name="T99" fmla="*/ 2147483647 h 285"/>
                    <a:gd name="T100" fmla="*/ 2147483647 w 132"/>
                    <a:gd name="T101" fmla="*/ 2147483647 h 285"/>
                    <a:gd name="T102" fmla="*/ 2147483647 w 132"/>
                    <a:gd name="T103" fmla="*/ 2147483647 h 28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32"/>
                    <a:gd name="T157" fmla="*/ 0 h 285"/>
                    <a:gd name="T158" fmla="*/ 132 w 132"/>
                    <a:gd name="T159" fmla="*/ 285 h 28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32" h="285">
                      <a:moveTo>
                        <a:pt x="132" y="112"/>
                      </a:moveTo>
                      <a:lnTo>
                        <a:pt x="132" y="112"/>
                      </a:lnTo>
                      <a:lnTo>
                        <a:pt x="132" y="102"/>
                      </a:lnTo>
                      <a:lnTo>
                        <a:pt x="131" y="97"/>
                      </a:lnTo>
                      <a:lnTo>
                        <a:pt x="130" y="93"/>
                      </a:lnTo>
                      <a:lnTo>
                        <a:pt x="127" y="87"/>
                      </a:lnTo>
                      <a:lnTo>
                        <a:pt x="124" y="80"/>
                      </a:lnTo>
                      <a:lnTo>
                        <a:pt x="121" y="67"/>
                      </a:lnTo>
                      <a:lnTo>
                        <a:pt x="119" y="64"/>
                      </a:lnTo>
                      <a:lnTo>
                        <a:pt x="117" y="62"/>
                      </a:lnTo>
                      <a:lnTo>
                        <a:pt x="114" y="61"/>
                      </a:lnTo>
                      <a:lnTo>
                        <a:pt x="112" y="58"/>
                      </a:lnTo>
                      <a:lnTo>
                        <a:pt x="112" y="56"/>
                      </a:lnTo>
                      <a:lnTo>
                        <a:pt x="113" y="53"/>
                      </a:lnTo>
                      <a:lnTo>
                        <a:pt x="113" y="50"/>
                      </a:lnTo>
                      <a:lnTo>
                        <a:pt x="110" y="48"/>
                      </a:lnTo>
                      <a:lnTo>
                        <a:pt x="109" y="48"/>
                      </a:lnTo>
                      <a:lnTo>
                        <a:pt x="105" y="48"/>
                      </a:lnTo>
                      <a:lnTo>
                        <a:pt x="103" y="45"/>
                      </a:lnTo>
                      <a:lnTo>
                        <a:pt x="102" y="45"/>
                      </a:lnTo>
                      <a:lnTo>
                        <a:pt x="100" y="46"/>
                      </a:lnTo>
                      <a:lnTo>
                        <a:pt x="98" y="48"/>
                      </a:lnTo>
                      <a:lnTo>
                        <a:pt x="94" y="49"/>
                      </a:lnTo>
                      <a:lnTo>
                        <a:pt x="90" y="50"/>
                      </a:lnTo>
                      <a:lnTo>
                        <a:pt x="86" y="50"/>
                      </a:lnTo>
                      <a:lnTo>
                        <a:pt x="84" y="49"/>
                      </a:lnTo>
                      <a:lnTo>
                        <a:pt x="81" y="48"/>
                      </a:lnTo>
                      <a:lnTo>
                        <a:pt x="77" y="46"/>
                      </a:lnTo>
                      <a:lnTo>
                        <a:pt x="75" y="46"/>
                      </a:lnTo>
                      <a:lnTo>
                        <a:pt x="74" y="49"/>
                      </a:lnTo>
                      <a:lnTo>
                        <a:pt x="72" y="51"/>
                      </a:lnTo>
                      <a:lnTo>
                        <a:pt x="71" y="53"/>
                      </a:lnTo>
                      <a:lnTo>
                        <a:pt x="69" y="53"/>
                      </a:lnTo>
                      <a:lnTo>
                        <a:pt x="66" y="53"/>
                      </a:lnTo>
                      <a:lnTo>
                        <a:pt x="63" y="52"/>
                      </a:lnTo>
                      <a:lnTo>
                        <a:pt x="62" y="50"/>
                      </a:lnTo>
                      <a:lnTo>
                        <a:pt x="62" y="48"/>
                      </a:lnTo>
                      <a:lnTo>
                        <a:pt x="58" y="44"/>
                      </a:lnTo>
                      <a:lnTo>
                        <a:pt x="57" y="40"/>
                      </a:lnTo>
                      <a:lnTo>
                        <a:pt x="57" y="34"/>
                      </a:lnTo>
                      <a:lnTo>
                        <a:pt x="57" y="30"/>
                      </a:lnTo>
                      <a:lnTo>
                        <a:pt x="58" y="24"/>
                      </a:lnTo>
                      <a:lnTo>
                        <a:pt x="57" y="21"/>
                      </a:lnTo>
                      <a:lnTo>
                        <a:pt x="56" y="18"/>
                      </a:lnTo>
                      <a:lnTo>
                        <a:pt x="55" y="14"/>
                      </a:lnTo>
                      <a:lnTo>
                        <a:pt x="55" y="11"/>
                      </a:lnTo>
                      <a:lnTo>
                        <a:pt x="55" y="6"/>
                      </a:lnTo>
                      <a:lnTo>
                        <a:pt x="55" y="2"/>
                      </a:lnTo>
                      <a:lnTo>
                        <a:pt x="53" y="1"/>
                      </a:lnTo>
                      <a:lnTo>
                        <a:pt x="50" y="0"/>
                      </a:lnTo>
                      <a:lnTo>
                        <a:pt x="48" y="1"/>
                      </a:lnTo>
                      <a:lnTo>
                        <a:pt x="47" y="1"/>
                      </a:lnTo>
                      <a:lnTo>
                        <a:pt x="43" y="1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32" y="1"/>
                      </a:lnTo>
                      <a:lnTo>
                        <a:pt x="30" y="5"/>
                      </a:lnTo>
                      <a:lnTo>
                        <a:pt x="29" y="8"/>
                      </a:lnTo>
                      <a:lnTo>
                        <a:pt x="28" y="11"/>
                      </a:lnTo>
                      <a:lnTo>
                        <a:pt x="25" y="12"/>
                      </a:lnTo>
                      <a:lnTo>
                        <a:pt x="23" y="13"/>
                      </a:lnTo>
                      <a:lnTo>
                        <a:pt x="18" y="14"/>
                      </a:lnTo>
                      <a:lnTo>
                        <a:pt x="15" y="16"/>
                      </a:lnTo>
                      <a:lnTo>
                        <a:pt x="13" y="18"/>
                      </a:lnTo>
                      <a:lnTo>
                        <a:pt x="11" y="21"/>
                      </a:lnTo>
                      <a:lnTo>
                        <a:pt x="10" y="27"/>
                      </a:lnTo>
                      <a:lnTo>
                        <a:pt x="9" y="29"/>
                      </a:lnTo>
                      <a:lnTo>
                        <a:pt x="6" y="30"/>
                      </a:lnTo>
                      <a:lnTo>
                        <a:pt x="3" y="31"/>
                      </a:lnTo>
                      <a:lnTo>
                        <a:pt x="1" y="33"/>
                      </a:lnTo>
                      <a:lnTo>
                        <a:pt x="0" y="37"/>
                      </a:lnTo>
                      <a:lnTo>
                        <a:pt x="0" y="42"/>
                      </a:lnTo>
                      <a:lnTo>
                        <a:pt x="0" y="45"/>
                      </a:lnTo>
                      <a:lnTo>
                        <a:pt x="3" y="48"/>
                      </a:lnTo>
                      <a:lnTo>
                        <a:pt x="4" y="48"/>
                      </a:lnTo>
                      <a:lnTo>
                        <a:pt x="5" y="48"/>
                      </a:lnTo>
                      <a:lnTo>
                        <a:pt x="8" y="46"/>
                      </a:lnTo>
                      <a:lnTo>
                        <a:pt x="9" y="46"/>
                      </a:lnTo>
                      <a:lnTo>
                        <a:pt x="10" y="50"/>
                      </a:lnTo>
                      <a:lnTo>
                        <a:pt x="10" y="52"/>
                      </a:lnTo>
                      <a:lnTo>
                        <a:pt x="10" y="58"/>
                      </a:lnTo>
                      <a:lnTo>
                        <a:pt x="10" y="64"/>
                      </a:lnTo>
                      <a:lnTo>
                        <a:pt x="14" y="74"/>
                      </a:lnTo>
                      <a:lnTo>
                        <a:pt x="17" y="80"/>
                      </a:lnTo>
                      <a:lnTo>
                        <a:pt x="20" y="83"/>
                      </a:lnTo>
                      <a:lnTo>
                        <a:pt x="23" y="88"/>
                      </a:lnTo>
                      <a:lnTo>
                        <a:pt x="24" y="90"/>
                      </a:lnTo>
                      <a:lnTo>
                        <a:pt x="24" y="93"/>
                      </a:lnTo>
                      <a:lnTo>
                        <a:pt x="24" y="99"/>
                      </a:lnTo>
                      <a:lnTo>
                        <a:pt x="22" y="104"/>
                      </a:lnTo>
                      <a:lnTo>
                        <a:pt x="20" y="110"/>
                      </a:lnTo>
                      <a:lnTo>
                        <a:pt x="20" y="113"/>
                      </a:lnTo>
                      <a:lnTo>
                        <a:pt x="22" y="116"/>
                      </a:lnTo>
                      <a:lnTo>
                        <a:pt x="28" y="134"/>
                      </a:lnTo>
                      <a:lnTo>
                        <a:pt x="34" y="152"/>
                      </a:lnTo>
                      <a:lnTo>
                        <a:pt x="36" y="161"/>
                      </a:lnTo>
                      <a:lnTo>
                        <a:pt x="37" y="171"/>
                      </a:lnTo>
                      <a:lnTo>
                        <a:pt x="37" y="180"/>
                      </a:lnTo>
                      <a:lnTo>
                        <a:pt x="36" y="190"/>
                      </a:lnTo>
                      <a:lnTo>
                        <a:pt x="34" y="195"/>
                      </a:lnTo>
                      <a:lnTo>
                        <a:pt x="30" y="198"/>
                      </a:lnTo>
                      <a:lnTo>
                        <a:pt x="28" y="202"/>
                      </a:lnTo>
                      <a:lnTo>
                        <a:pt x="23" y="205"/>
                      </a:lnTo>
                      <a:lnTo>
                        <a:pt x="24" y="208"/>
                      </a:lnTo>
                      <a:lnTo>
                        <a:pt x="25" y="209"/>
                      </a:lnTo>
                      <a:lnTo>
                        <a:pt x="24" y="211"/>
                      </a:lnTo>
                      <a:lnTo>
                        <a:pt x="22" y="214"/>
                      </a:lnTo>
                      <a:lnTo>
                        <a:pt x="20" y="217"/>
                      </a:lnTo>
                      <a:lnTo>
                        <a:pt x="18" y="224"/>
                      </a:lnTo>
                      <a:lnTo>
                        <a:pt x="17" y="238"/>
                      </a:lnTo>
                      <a:lnTo>
                        <a:pt x="15" y="244"/>
                      </a:lnTo>
                      <a:lnTo>
                        <a:pt x="15" y="247"/>
                      </a:lnTo>
                      <a:lnTo>
                        <a:pt x="15" y="248"/>
                      </a:lnTo>
                      <a:lnTo>
                        <a:pt x="18" y="248"/>
                      </a:lnTo>
                      <a:lnTo>
                        <a:pt x="20" y="248"/>
                      </a:lnTo>
                      <a:lnTo>
                        <a:pt x="22" y="247"/>
                      </a:lnTo>
                      <a:lnTo>
                        <a:pt x="24" y="246"/>
                      </a:lnTo>
                      <a:lnTo>
                        <a:pt x="25" y="244"/>
                      </a:lnTo>
                      <a:lnTo>
                        <a:pt x="29" y="247"/>
                      </a:lnTo>
                      <a:lnTo>
                        <a:pt x="32" y="249"/>
                      </a:lnTo>
                      <a:lnTo>
                        <a:pt x="36" y="255"/>
                      </a:lnTo>
                      <a:lnTo>
                        <a:pt x="39" y="261"/>
                      </a:lnTo>
                      <a:lnTo>
                        <a:pt x="43" y="268"/>
                      </a:lnTo>
                      <a:lnTo>
                        <a:pt x="46" y="273"/>
                      </a:lnTo>
                      <a:lnTo>
                        <a:pt x="50" y="272"/>
                      </a:lnTo>
                      <a:lnTo>
                        <a:pt x="53" y="273"/>
                      </a:lnTo>
                      <a:lnTo>
                        <a:pt x="56" y="273"/>
                      </a:lnTo>
                      <a:lnTo>
                        <a:pt x="58" y="275"/>
                      </a:lnTo>
                      <a:lnTo>
                        <a:pt x="60" y="279"/>
                      </a:lnTo>
                      <a:lnTo>
                        <a:pt x="62" y="281"/>
                      </a:lnTo>
                      <a:lnTo>
                        <a:pt x="65" y="283"/>
                      </a:lnTo>
                      <a:lnTo>
                        <a:pt x="69" y="285"/>
                      </a:lnTo>
                      <a:lnTo>
                        <a:pt x="76" y="285"/>
                      </a:lnTo>
                      <a:lnTo>
                        <a:pt x="83" y="285"/>
                      </a:lnTo>
                      <a:lnTo>
                        <a:pt x="83" y="282"/>
                      </a:lnTo>
                      <a:lnTo>
                        <a:pt x="77" y="276"/>
                      </a:lnTo>
                      <a:lnTo>
                        <a:pt x="72" y="269"/>
                      </a:lnTo>
                      <a:lnTo>
                        <a:pt x="70" y="268"/>
                      </a:lnTo>
                      <a:lnTo>
                        <a:pt x="67" y="268"/>
                      </a:lnTo>
                      <a:lnTo>
                        <a:pt x="65" y="268"/>
                      </a:lnTo>
                      <a:lnTo>
                        <a:pt x="61" y="267"/>
                      </a:lnTo>
                      <a:lnTo>
                        <a:pt x="58" y="264"/>
                      </a:lnTo>
                      <a:lnTo>
                        <a:pt x="57" y="260"/>
                      </a:lnTo>
                      <a:lnTo>
                        <a:pt x="56" y="256"/>
                      </a:lnTo>
                      <a:lnTo>
                        <a:pt x="55" y="251"/>
                      </a:lnTo>
                      <a:lnTo>
                        <a:pt x="50" y="242"/>
                      </a:lnTo>
                      <a:lnTo>
                        <a:pt x="48" y="236"/>
                      </a:lnTo>
                      <a:lnTo>
                        <a:pt x="48" y="230"/>
                      </a:lnTo>
                      <a:lnTo>
                        <a:pt x="48" y="229"/>
                      </a:lnTo>
                      <a:lnTo>
                        <a:pt x="47" y="228"/>
                      </a:lnTo>
                      <a:lnTo>
                        <a:pt x="44" y="228"/>
                      </a:lnTo>
                      <a:lnTo>
                        <a:pt x="42" y="228"/>
                      </a:lnTo>
                      <a:lnTo>
                        <a:pt x="39" y="227"/>
                      </a:lnTo>
                      <a:lnTo>
                        <a:pt x="37" y="222"/>
                      </a:lnTo>
                      <a:lnTo>
                        <a:pt x="36" y="217"/>
                      </a:lnTo>
                      <a:lnTo>
                        <a:pt x="36" y="212"/>
                      </a:lnTo>
                      <a:lnTo>
                        <a:pt x="36" y="208"/>
                      </a:lnTo>
                      <a:lnTo>
                        <a:pt x="43" y="182"/>
                      </a:lnTo>
                      <a:lnTo>
                        <a:pt x="46" y="168"/>
                      </a:lnTo>
                      <a:lnTo>
                        <a:pt x="46" y="155"/>
                      </a:lnTo>
                      <a:lnTo>
                        <a:pt x="47" y="151"/>
                      </a:lnTo>
                      <a:lnTo>
                        <a:pt x="50" y="144"/>
                      </a:lnTo>
                      <a:lnTo>
                        <a:pt x="51" y="142"/>
                      </a:lnTo>
                      <a:lnTo>
                        <a:pt x="52" y="142"/>
                      </a:lnTo>
                      <a:lnTo>
                        <a:pt x="57" y="142"/>
                      </a:lnTo>
                      <a:lnTo>
                        <a:pt x="58" y="141"/>
                      </a:lnTo>
                      <a:lnTo>
                        <a:pt x="61" y="140"/>
                      </a:lnTo>
                      <a:lnTo>
                        <a:pt x="62" y="139"/>
                      </a:lnTo>
                      <a:lnTo>
                        <a:pt x="63" y="140"/>
                      </a:lnTo>
                      <a:lnTo>
                        <a:pt x="65" y="142"/>
                      </a:lnTo>
                      <a:lnTo>
                        <a:pt x="65" y="145"/>
                      </a:lnTo>
                      <a:lnTo>
                        <a:pt x="63" y="151"/>
                      </a:lnTo>
                      <a:lnTo>
                        <a:pt x="62" y="157"/>
                      </a:lnTo>
                      <a:lnTo>
                        <a:pt x="61" y="159"/>
                      </a:lnTo>
                      <a:lnTo>
                        <a:pt x="63" y="160"/>
                      </a:lnTo>
                      <a:lnTo>
                        <a:pt x="67" y="160"/>
                      </a:lnTo>
                      <a:lnTo>
                        <a:pt x="71" y="159"/>
                      </a:lnTo>
                      <a:lnTo>
                        <a:pt x="76" y="159"/>
                      </a:lnTo>
                      <a:lnTo>
                        <a:pt x="77" y="159"/>
                      </a:lnTo>
                      <a:lnTo>
                        <a:pt x="79" y="160"/>
                      </a:lnTo>
                      <a:lnTo>
                        <a:pt x="80" y="163"/>
                      </a:lnTo>
                      <a:lnTo>
                        <a:pt x="81" y="166"/>
                      </a:lnTo>
                      <a:lnTo>
                        <a:pt x="83" y="172"/>
                      </a:lnTo>
                      <a:lnTo>
                        <a:pt x="85" y="171"/>
                      </a:lnTo>
                      <a:lnTo>
                        <a:pt x="86" y="168"/>
                      </a:lnTo>
                      <a:lnTo>
                        <a:pt x="86" y="163"/>
                      </a:lnTo>
                      <a:lnTo>
                        <a:pt x="85" y="157"/>
                      </a:lnTo>
                      <a:lnTo>
                        <a:pt x="84" y="152"/>
                      </a:lnTo>
                      <a:lnTo>
                        <a:pt x="80" y="148"/>
                      </a:lnTo>
                      <a:lnTo>
                        <a:pt x="79" y="146"/>
                      </a:lnTo>
                      <a:lnTo>
                        <a:pt x="80" y="144"/>
                      </a:lnTo>
                      <a:lnTo>
                        <a:pt x="88" y="134"/>
                      </a:lnTo>
                      <a:lnTo>
                        <a:pt x="97" y="126"/>
                      </a:lnTo>
                      <a:lnTo>
                        <a:pt x="99" y="123"/>
                      </a:lnTo>
                      <a:lnTo>
                        <a:pt x="102" y="122"/>
                      </a:lnTo>
                      <a:lnTo>
                        <a:pt x="108" y="122"/>
                      </a:lnTo>
                      <a:lnTo>
                        <a:pt x="113" y="122"/>
                      </a:lnTo>
                      <a:lnTo>
                        <a:pt x="119" y="122"/>
                      </a:lnTo>
                      <a:lnTo>
                        <a:pt x="122" y="121"/>
                      </a:lnTo>
                      <a:lnTo>
                        <a:pt x="123" y="120"/>
                      </a:lnTo>
                      <a:lnTo>
                        <a:pt x="127" y="114"/>
                      </a:lnTo>
                      <a:lnTo>
                        <a:pt x="128" y="112"/>
                      </a:lnTo>
                      <a:lnTo>
                        <a:pt x="132" y="1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7" name="Freeform 621">
                  <a:extLst>
                    <a:ext uri="{FF2B5EF4-FFF2-40B4-BE49-F238E27FC236}">
                      <a16:creationId xmlns:a16="http://schemas.microsoft.com/office/drawing/2014/main" id="{6592861D-529F-374C-A1D5-8C5192B8C7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80293" y="3770394"/>
                  <a:ext cx="207182" cy="550512"/>
                </a:xfrm>
                <a:custGeom>
                  <a:avLst/>
                  <a:gdLst>
                    <a:gd name="T0" fmla="*/ 2147483647 w 152"/>
                    <a:gd name="T1" fmla="*/ 2147483647 h 372"/>
                    <a:gd name="T2" fmla="*/ 2147483647 w 152"/>
                    <a:gd name="T3" fmla="*/ 2147483647 h 372"/>
                    <a:gd name="T4" fmla="*/ 2147483647 w 152"/>
                    <a:gd name="T5" fmla="*/ 2147483647 h 372"/>
                    <a:gd name="T6" fmla="*/ 2147483647 w 152"/>
                    <a:gd name="T7" fmla="*/ 2147483647 h 372"/>
                    <a:gd name="T8" fmla="*/ 2147483647 w 152"/>
                    <a:gd name="T9" fmla="*/ 2147483647 h 372"/>
                    <a:gd name="T10" fmla="*/ 2147483647 w 152"/>
                    <a:gd name="T11" fmla="*/ 2147483647 h 372"/>
                    <a:gd name="T12" fmla="*/ 2147483647 w 152"/>
                    <a:gd name="T13" fmla="*/ 2147483647 h 372"/>
                    <a:gd name="T14" fmla="*/ 2147483647 w 152"/>
                    <a:gd name="T15" fmla="*/ 2147483647 h 372"/>
                    <a:gd name="T16" fmla="*/ 2147483647 w 152"/>
                    <a:gd name="T17" fmla="*/ 2147483647 h 372"/>
                    <a:gd name="T18" fmla="*/ 2147483647 w 152"/>
                    <a:gd name="T19" fmla="*/ 2147483647 h 372"/>
                    <a:gd name="T20" fmla="*/ 2147483647 w 152"/>
                    <a:gd name="T21" fmla="*/ 2147483647 h 372"/>
                    <a:gd name="T22" fmla="*/ 2147483647 w 152"/>
                    <a:gd name="T23" fmla="*/ 2147483647 h 372"/>
                    <a:gd name="T24" fmla="*/ 2147483647 w 152"/>
                    <a:gd name="T25" fmla="*/ 2147483647 h 372"/>
                    <a:gd name="T26" fmla="*/ 2147483647 w 152"/>
                    <a:gd name="T27" fmla="*/ 2147483647 h 372"/>
                    <a:gd name="T28" fmla="*/ 2147483647 w 152"/>
                    <a:gd name="T29" fmla="*/ 2147483647 h 372"/>
                    <a:gd name="T30" fmla="*/ 2147483647 w 152"/>
                    <a:gd name="T31" fmla="*/ 2147483647 h 372"/>
                    <a:gd name="T32" fmla="*/ 2147483647 w 152"/>
                    <a:gd name="T33" fmla="*/ 2147483647 h 372"/>
                    <a:gd name="T34" fmla="*/ 2147483647 w 152"/>
                    <a:gd name="T35" fmla="*/ 2147483647 h 372"/>
                    <a:gd name="T36" fmla="*/ 2147483647 w 152"/>
                    <a:gd name="T37" fmla="*/ 2147483647 h 372"/>
                    <a:gd name="T38" fmla="*/ 2147483647 w 152"/>
                    <a:gd name="T39" fmla="*/ 2147483647 h 372"/>
                    <a:gd name="T40" fmla="*/ 2147483647 w 152"/>
                    <a:gd name="T41" fmla="*/ 2147483647 h 372"/>
                    <a:gd name="T42" fmla="*/ 2147483647 w 152"/>
                    <a:gd name="T43" fmla="*/ 2147483647 h 372"/>
                    <a:gd name="T44" fmla="*/ 2147483647 w 152"/>
                    <a:gd name="T45" fmla="*/ 2147483647 h 372"/>
                    <a:gd name="T46" fmla="*/ 2147483647 w 152"/>
                    <a:gd name="T47" fmla="*/ 2147483647 h 372"/>
                    <a:gd name="T48" fmla="*/ 2147483647 w 152"/>
                    <a:gd name="T49" fmla="*/ 2147483647 h 372"/>
                    <a:gd name="T50" fmla="*/ 2147483647 w 152"/>
                    <a:gd name="T51" fmla="*/ 2147483647 h 372"/>
                    <a:gd name="T52" fmla="*/ 2147483647 w 152"/>
                    <a:gd name="T53" fmla="*/ 2147483647 h 372"/>
                    <a:gd name="T54" fmla="*/ 2147483647 w 152"/>
                    <a:gd name="T55" fmla="*/ 2147483647 h 372"/>
                    <a:gd name="T56" fmla="*/ 2147483647 w 152"/>
                    <a:gd name="T57" fmla="*/ 2147483647 h 372"/>
                    <a:gd name="T58" fmla="*/ 2147483647 w 152"/>
                    <a:gd name="T59" fmla="*/ 2147483647 h 372"/>
                    <a:gd name="T60" fmla="*/ 2147483647 w 152"/>
                    <a:gd name="T61" fmla="*/ 2147483647 h 372"/>
                    <a:gd name="T62" fmla="*/ 2147483647 w 152"/>
                    <a:gd name="T63" fmla="*/ 2147483647 h 372"/>
                    <a:gd name="T64" fmla="*/ 2147483647 w 152"/>
                    <a:gd name="T65" fmla="*/ 2147483647 h 372"/>
                    <a:gd name="T66" fmla="*/ 2147483647 w 152"/>
                    <a:gd name="T67" fmla="*/ 2147483647 h 372"/>
                    <a:gd name="T68" fmla="*/ 2147483647 w 152"/>
                    <a:gd name="T69" fmla="*/ 2147483647 h 372"/>
                    <a:gd name="T70" fmla="*/ 2147483647 w 152"/>
                    <a:gd name="T71" fmla="*/ 2147483647 h 372"/>
                    <a:gd name="T72" fmla="*/ 2147483647 w 152"/>
                    <a:gd name="T73" fmla="*/ 2147483647 h 372"/>
                    <a:gd name="T74" fmla="*/ 2147483647 w 152"/>
                    <a:gd name="T75" fmla="*/ 2147483647 h 372"/>
                    <a:gd name="T76" fmla="*/ 2147483647 w 152"/>
                    <a:gd name="T77" fmla="*/ 2147483647 h 372"/>
                    <a:gd name="T78" fmla="*/ 2147483647 w 152"/>
                    <a:gd name="T79" fmla="*/ 2147483647 h 372"/>
                    <a:gd name="T80" fmla="*/ 2147483647 w 152"/>
                    <a:gd name="T81" fmla="*/ 2147483647 h 372"/>
                    <a:gd name="T82" fmla="*/ 2147483647 w 152"/>
                    <a:gd name="T83" fmla="*/ 2147483647 h 372"/>
                    <a:gd name="T84" fmla="*/ 2147483647 w 152"/>
                    <a:gd name="T85" fmla="*/ 2147483647 h 372"/>
                    <a:gd name="T86" fmla="*/ 2147483647 w 152"/>
                    <a:gd name="T87" fmla="*/ 2147483647 h 372"/>
                    <a:gd name="T88" fmla="*/ 2147483647 w 152"/>
                    <a:gd name="T89" fmla="*/ 2147483647 h 372"/>
                    <a:gd name="T90" fmla="*/ 2147483647 w 152"/>
                    <a:gd name="T91" fmla="*/ 2147483647 h 372"/>
                    <a:gd name="T92" fmla="*/ 2147483647 w 152"/>
                    <a:gd name="T93" fmla="*/ 2147483647 h 372"/>
                    <a:gd name="T94" fmla="*/ 2147483647 w 152"/>
                    <a:gd name="T95" fmla="*/ 2147483647 h 372"/>
                    <a:gd name="T96" fmla="*/ 2147483647 w 152"/>
                    <a:gd name="T97" fmla="*/ 2147483647 h 372"/>
                    <a:gd name="T98" fmla="*/ 2147483647 w 152"/>
                    <a:gd name="T99" fmla="*/ 2147483647 h 372"/>
                    <a:gd name="T100" fmla="*/ 2147483647 w 152"/>
                    <a:gd name="T101" fmla="*/ 2147483647 h 372"/>
                    <a:gd name="T102" fmla="*/ 2147483647 w 152"/>
                    <a:gd name="T103" fmla="*/ 2147483647 h 372"/>
                    <a:gd name="T104" fmla="*/ 2147483647 w 152"/>
                    <a:gd name="T105" fmla="*/ 2147483647 h 37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52"/>
                    <a:gd name="T160" fmla="*/ 0 h 372"/>
                    <a:gd name="T161" fmla="*/ 152 w 152"/>
                    <a:gd name="T162" fmla="*/ 372 h 37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52" h="372">
                      <a:moveTo>
                        <a:pt x="151" y="147"/>
                      </a:moveTo>
                      <a:lnTo>
                        <a:pt x="151" y="147"/>
                      </a:lnTo>
                      <a:lnTo>
                        <a:pt x="152" y="145"/>
                      </a:lnTo>
                      <a:lnTo>
                        <a:pt x="151" y="142"/>
                      </a:lnTo>
                      <a:lnTo>
                        <a:pt x="151" y="141"/>
                      </a:lnTo>
                      <a:lnTo>
                        <a:pt x="147" y="140"/>
                      </a:lnTo>
                      <a:lnTo>
                        <a:pt x="141" y="140"/>
                      </a:lnTo>
                      <a:lnTo>
                        <a:pt x="139" y="139"/>
                      </a:lnTo>
                      <a:lnTo>
                        <a:pt x="138" y="137"/>
                      </a:lnTo>
                      <a:lnTo>
                        <a:pt x="138" y="134"/>
                      </a:lnTo>
                      <a:lnTo>
                        <a:pt x="138" y="130"/>
                      </a:lnTo>
                      <a:lnTo>
                        <a:pt x="137" y="129"/>
                      </a:lnTo>
                      <a:lnTo>
                        <a:pt x="135" y="129"/>
                      </a:lnTo>
                      <a:lnTo>
                        <a:pt x="130" y="130"/>
                      </a:lnTo>
                      <a:lnTo>
                        <a:pt x="128" y="130"/>
                      </a:lnTo>
                      <a:lnTo>
                        <a:pt x="125" y="130"/>
                      </a:lnTo>
                      <a:lnTo>
                        <a:pt x="124" y="129"/>
                      </a:lnTo>
                      <a:lnTo>
                        <a:pt x="124" y="127"/>
                      </a:lnTo>
                      <a:lnTo>
                        <a:pt x="127" y="122"/>
                      </a:lnTo>
                      <a:lnTo>
                        <a:pt x="130" y="119"/>
                      </a:lnTo>
                      <a:lnTo>
                        <a:pt x="134" y="114"/>
                      </a:lnTo>
                      <a:lnTo>
                        <a:pt x="135" y="109"/>
                      </a:lnTo>
                      <a:lnTo>
                        <a:pt x="135" y="107"/>
                      </a:lnTo>
                      <a:lnTo>
                        <a:pt x="133" y="107"/>
                      </a:lnTo>
                      <a:lnTo>
                        <a:pt x="128" y="107"/>
                      </a:lnTo>
                      <a:lnTo>
                        <a:pt x="125" y="105"/>
                      </a:lnTo>
                      <a:lnTo>
                        <a:pt x="124" y="103"/>
                      </a:lnTo>
                      <a:lnTo>
                        <a:pt x="124" y="98"/>
                      </a:lnTo>
                      <a:lnTo>
                        <a:pt x="124" y="92"/>
                      </a:lnTo>
                      <a:lnTo>
                        <a:pt x="124" y="90"/>
                      </a:lnTo>
                      <a:lnTo>
                        <a:pt x="123" y="89"/>
                      </a:lnTo>
                      <a:lnTo>
                        <a:pt x="120" y="89"/>
                      </a:lnTo>
                      <a:lnTo>
                        <a:pt x="116" y="89"/>
                      </a:lnTo>
                      <a:lnTo>
                        <a:pt x="110" y="90"/>
                      </a:lnTo>
                      <a:lnTo>
                        <a:pt x="104" y="91"/>
                      </a:lnTo>
                      <a:lnTo>
                        <a:pt x="101" y="90"/>
                      </a:lnTo>
                      <a:lnTo>
                        <a:pt x="100" y="89"/>
                      </a:lnTo>
                      <a:lnTo>
                        <a:pt x="97" y="84"/>
                      </a:lnTo>
                      <a:lnTo>
                        <a:pt x="97" y="81"/>
                      </a:lnTo>
                      <a:lnTo>
                        <a:pt x="97" y="77"/>
                      </a:lnTo>
                      <a:lnTo>
                        <a:pt x="99" y="72"/>
                      </a:lnTo>
                      <a:lnTo>
                        <a:pt x="102" y="64"/>
                      </a:lnTo>
                      <a:lnTo>
                        <a:pt x="106" y="56"/>
                      </a:lnTo>
                      <a:lnTo>
                        <a:pt x="109" y="51"/>
                      </a:lnTo>
                      <a:lnTo>
                        <a:pt x="110" y="46"/>
                      </a:lnTo>
                      <a:lnTo>
                        <a:pt x="111" y="36"/>
                      </a:lnTo>
                      <a:lnTo>
                        <a:pt x="110" y="13"/>
                      </a:lnTo>
                      <a:lnTo>
                        <a:pt x="109" y="8"/>
                      </a:lnTo>
                      <a:lnTo>
                        <a:pt x="106" y="4"/>
                      </a:lnTo>
                      <a:lnTo>
                        <a:pt x="101" y="1"/>
                      </a:lnTo>
                      <a:lnTo>
                        <a:pt x="99" y="0"/>
                      </a:lnTo>
                      <a:lnTo>
                        <a:pt x="97" y="1"/>
                      </a:lnTo>
                      <a:lnTo>
                        <a:pt x="92" y="2"/>
                      </a:lnTo>
                      <a:lnTo>
                        <a:pt x="92" y="5"/>
                      </a:lnTo>
                      <a:lnTo>
                        <a:pt x="91" y="6"/>
                      </a:lnTo>
                      <a:lnTo>
                        <a:pt x="90" y="8"/>
                      </a:lnTo>
                      <a:lnTo>
                        <a:pt x="88" y="9"/>
                      </a:lnTo>
                      <a:lnTo>
                        <a:pt x="87" y="15"/>
                      </a:lnTo>
                      <a:lnTo>
                        <a:pt x="83" y="20"/>
                      </a:lnTo>
                      <a:lnTo>
                        <a:pt x="80" y="24"/>
                      </a:lnTo>
                      <a:lnTo>
                        <a:pt x="73" y="26"/>
                      </a:lnTo>
                      <a:lnTo>
                        <a:pt x="71" y="27"/>
                      </a:lnTo>
                      <a:lnTo>
                        <a:pt x="69" y="31"/>
                      </a:lnTo>
                      <a:lnTo>
                        <a:pt x="68" y="37"/>
                      </a:lnTo>
                      <a:lnTo>
                        <a:pt x="66" y="43"/>
                      </a:lnTo>
                      <a:lnTo>
                        <a:pt x="63" y="49"/>
                      </a:lnTo>
                      <a:lnTo>
                        <a:pt x="61" y="54"/>
                      </a:lnTo>
                      <a:lnTo>
                        <a:pt x="52" y="65"/>
                      </a:lnTo>
                      <a:lnTo>
                        <a:pt x="43" y="73"/>
                      </a:lnTo>
                      <a:lnTo>
                        <a:pt x="40" y="77"/>
                      </a:lnTo>
                      <a:lnTo>
                        <a:pt x="39" y="79"/>
                      </a:lnTo>
                      <a:lnTo>
                        <a:pt x="39" y="88"/>
                      </a:lnTo>
                      <a:lnTo>
                        <a:pt x="38" y="94"/>
                      </a:lnTo>
                      <a:lnTo>
                        <a:pt x="36" y="96"/>
                      </a:lnTo>
                      <a:lnTo>
                        <a:pt x="34" y="97"/>
                      </a:lnTo>
                      <a:lnTo>
                        <a:pt x="30" y="100"/>
                      </a:lnTo>
                      <a:lnTo>
                        <a:pt x="25" y="101"/>
                      </a:lnTo>
                      <a:lnTo>
                        <a:pt x="22" y="101"/>
                      </a:lnTo>
                      <a:lnTo>
                        <a:pt x="21" y="102"/>
                      </a:lnTo>
                      <a:lnTo>
                        <a:pt x="17" y="107"/>
                      </a:lnTo>
                      <a:lnTo>
                        <a:pt x="16" y="113"/>
                      </a:lnTo>
                      <a:lnTo>
                        <a:pt x="15" y="117"/>
                      </a:lnTo>
                      <a:lnTo>
                        <a:pt x="15" y="123"/>
                      </a:lnTo>
                      <a:lnTo>
                        <a:pt x="14" y="129"/>
                      </a:lnTo>
                      <a:lnTo>
                        <a:pt x="12" y="132"/>
                      </a:lnTo>
                      <a:lnTo>
                        <a:pt x="10" y="133"/>
                      </a:lnTo>
                      <a:lnTo>
                        <a:pt x="7" y="135"/>
                      </a:lnTo>
                      <a:lnTo>
                        <a:pt x="3" y="135"/>
                      </a:lnTo>
                      <a:lnTo>
                        <a:pt x="5" y="139"/>
                      </a:lnTo>
                      <a:lnTo>
                        <a:pt x="3" y="141"/>
                      </a:lnTo>
                      <a:lnTo>
                        <a:pt x="2" y="143"/>
                      </a:lnTo>
                      <a:lnTo>
                        <a:pt x="2" y="146"/>
                      </a:lnTo>
                      <a:lnTo>
                        <a:pt x="1" y="151"/>
                      </a:lnTo>
                      <a:lnTo>
                        <a:pt x="0" y="152"/>
                      </a:lnTo>
                      <a:lnTo>
                        <a:pt x="0" y="154"/>
                      </a:lnTo>
                      <a:lnTo>
                        <a:pt x="3" y="159"/>
                      </a:lnTo>
                      <a:lnTo>
                        <a:pt x="8" y="167"/>
                      </a:lnTo>
                      <a:lnTo>
                        <a:pt x="14" y="174"/>
                      </a:lnTo>
                      <a:lnTo>
                        <a:pt x="16" y="178"/>
                      </a:lnTo>
                      <a:lnTo>
                        <a:pt x="20" y="180"/>
                      </a:lnTo>
                      <a:lnTo>
                        <a:pt x="24" y="183"/>
                      </a:lnTo>
                      <a:lnTo>
                        <a:pt x="29" y="184"/>
                      </a:lnTo>
                      <a:lnTo>
                        <a:pt x="29" y="186"/>
                      </a:lnTo>
                      <a:lnTo>
                        <a:pt x="29" y="188"/>
                      </a:lnTo>
                      <a:lnTo>
                        <a:pt x="30" y="191"/>
                      </a:lnTo>
                      <a:lnTo>
                        <a:pt x="33" y="192"/>
                      </a:lnTo>
                      <a:lnTo>
                        <a:pt x="35" y="193"/>
                      </a:lnTo>
                      <a:lnTo>
                        <a:pt x="36" y="194"/>
                      </a:lnTo>
                      <a:lnTo>
                        <a:pt x="38" y="196"/>
                      </a:lnTo>
                      <a:lnTo>
                        <a:pt x="39" y="200"/>
                      </a:lnTo>
                      <a:lnTo>
                        <a:pt x="39" y="205"/>
                      </a:lnTo>
                      <a:lnTo>
                        <a:pt x="39" y="213"/>
                      </a:lnTo>
                      <a:lnTo>
                        <a:pt x="39" y="216"/>
                      </a:lnTo>
                      <a:lnTo>
                        <a:pt x="38" y="218"/>
                      </a:lnTo>
                      <a:lnTo>
                        <a:pt x="36" y="220"/>
                      </a:lnTo>
                      <a:lnTo>
                        <a:pt x="38" y="223"/>
                      </a:lnTo>
                      <a:lnTo>
                        <a:pt x="40" y="231"/>
                      </a:lnTo>
                      <a:lnTo>
                        <a:pt x="41" y="239"/>
                      </a:lnTo>
                      <a:lnTo>
                        <a:pt x="41" y="248"/>
                      </a:lnTo>
                      <a:lnTo>
                        <a:pt x="39" y="256"/>
                      </a:lnTo>
                      <a:lnTo>
                        <a:pt x="39" y="258"/>
                      </a:lnTo>
                      <a:lnTo>
                        <a:pt x="39" y="261"/>
                      </a:lnTo>
                      <a:lnTo>
                        <a:pt x="40" y="262"/>
                      </a:lnTo>
                      <a:lnTo>
                        <a:pt x="41" y="263"/>
                      </a:lnTo>
                      <a:lnTo>
                        <a:pt x="48" y="263"/>
                      </a:lnTo>
                      <a:lnTo>
                        <a:pt x="54" y="263"/>
                      </a:lnTo>
                      <a:lnTo>
                        <a:pt x="59" y="261"/>
                      </a:lnTo>
                      <a:lnTo>
                        <a:pt x="64" y="258"/>
                      </a:lnTo>
                      <a:lnTo>
                        <a:pt x="69" y="255"/>
                      </a:lnTo>
                      <a:lnTo>
                        <a:pt x="73" y="250"/>
                      </a:lnTo>
                      <a:lnTo>
                        <a:pt x="77" y="245"/>
                      </a:lnTo>
                      <a:lnTo>
                        <a:pt x="80" y="239"/>
                      </a:lnTo>
                      <a:lnTo>
                        <a:pt x="81" y="238"/>
                      </a:lnTo>
                      <a:lnTo>
                        <a:pt x="82" y="239"/>
                      </a:lnTo>
                      <a:lnTo>
                        <a:pt x="83" y="242"/>
                      </a:lnTo>
                      <a:lnTo>
                        <a:pt x="85" y="247"/>
                      </a:lnTo>
                      <a:lnTo>
                        <a:pt x="87" y="250"/>
                      </a:lnTo>
                      <a:lnTo>
                        <a:pt x="90" y="252"/>
                      </a:lnTo>
                      <a:lnTo>
                        <a:pt x="95" y="255"/>
                      </a:lnTo>
                      <a:lnTo>
                        <a:pt x="95" y="256"/>
                      </a:lnTo>
                      <a:lnTo>
                        <a:pt x="96" y="258"/>
                      </a:lnTo>
                      <a:lnTo>
                        <a:pt x="96" y="263"/>
                      </a:lnTo>
                      <a:lnTo>
                        <a:pt x="95" y="268"/>
                      </a:lnTo>
                      <a:lnTo>
                        <a:pt x="95" y="271"/>
                      </a:lnTo>
                      <a:lnTo>
                        <a:pt x="96" y="276"/>
                      </a:lnTo>
                      <a:lnTo>
                        <a:pt x="99" y="280"/>
                      </a:lnTo>
                      <a:lnTo>
                        <a:pt x="99" y="284"/>
                      </a:lnTo>
                      <a:lnTo>
                        <a:pt x="101" y="292"/>
                      </a:lnTo>
                      <a:lnTo>
                        <a:pt x="105" y="305"/>
                      </a:lnTo>
                      <a:lnTo>
                        <a:pt x="108" y="318"/>
                      </a:lnTo>
                      <a:lnTo>
                        <a:pt x="111" y="345"/>
                      </a:lnTo>
                      <a:lnTo>
                        <a:pt x="114" y="347"/>
                      </a:lnTo>
                      <a:lnTo>
                        <a:pt x="114" y="351"/>
                      </a:lnTo>
                      <a:lnTo>
                        <a:pt x="114" y="353"/>
                      </a:lnTo>
                      <a:lnTo>
                        <a:pt x="114" y="360"/>
                      </a:lnTo>
                      <a:lnTo>
                        <a:pt x="113" y="366"/>
                      </a:lnTo>
                      <a:lnTo>
                        <a:pt x="113" y="369"/>
                      </a:lnTo>
                      <a:lnTo>
                        <a:pt x="114" y="372"/>
                      </a:lnTo>
                      <a:lnTo>
                        <a:pt x="119" y="369"/>
                      </a:lnTo>
                      <a:lnTo>
                        <a:pt x="121" y="365"/>
                      </a:lnTo>
                      <a:lnTo>
                        <a:pt x="125" y="362"/>
                      </a:lnTo>
                      <a:lnTo>
                        <a:pt x="127" y="357"/>
                      </a:lnTo>
                      <a:lnTo>
                        <a:pt x="128" y="347"/>
                      </a:lnTo>
                      <a:lnTo>
                        <a:pt x="128" y="338"/>
                      </a:lnTo>
                      <a:lnTo>
                        <a:pt x="127" y="328"/>
                      </a:lnTo>
                      <a:lnTo>
                        <a:pt x="125" y="319"/>
                      </a:lnTo>
                      <a:lnTo>
                        <a:pt x="119" y="301"/>
                      </a:lnTo>
                      <a:lnTo>
                        <a:pt x="113" y="283"/>
                      </a:lnTo>
                      <a:lnTo>
                        <a:pt x="111" y="280"/>
                      </a:lnTo>
                      <a:lnTo>
                        <a:pt x="111" y="277"/>
                      </a:lnTo>
                      <a:lnTo>
                        <a:pt x="113" y="271"/>
                      </a:lnTo>
                      <a:lnTo>
                        <a:pt x="115" y="266"/>
                      </a:lnTo>
                      <a:lnTo>
                        <a:pt x="115" y="260"/>
                      </a:lnTo>
                      <a:lnTo>
                        <a:pt x="115" y="257"/>
                      </a:lnTo>
                      <a:lnTo>
                        <a:pt x="114" y="255"/>
                      </a:lnTo>
                      <a:lnTo>
                        <a:pt x="111" y="250"/>
                      </a:lnTo>
                      <a:lnTo>
                        <a:pt x="108" y="247"/>
                      </a:lnTo>
                      <a:lnTo>
                        <a:pt x="105" y="241"/>
                      </a:lnTo>
                      <a:lnTo>
                        <a:pt x="101" y="231"/>
                      </a:lnTo>
                      <a:lnTo>
                        <a:pt x="101" y="225"/>
                      </a:lnTo>
                      <a:lnTo>
                        <a:pt x="101" y="219"/>
                      </a:lnTo>
                      <a:lnTo>
                        <a:pt x="101" y="217"/>
                      </a:lnTo>
                      <a:lnTo>
                        <a:pt x="100" y="213"/>
                      </a:lnTo>
                      <a:lnTo>
                        <a:pt x="99" y="213"/>
                      </a:lnTo>
                      <a:lnTo>
                        <a:pt x="96" y="215"/>
                      </a:lnTo>
                      <a:lnTo>
                        <a:pt x="95" y="215"/>
                      </a:lnTo>
                      <a:lnTo>
                        <a:pt x="94" y="215"/>
                      </a:lnTo>
                      <a:lnTo>
                        <a:pt x="91" y="212"/>
                      </a:lnTo>
                      <a:lnTo>
                        <a:pt x="91" y="209"/>
                      </a:lnTo>
                      <a:lnTo>
                        <a:pt x="91" y="204"/>
                      </a:lnTo>
                      <a:lnTo>
                        <a:pt x="92" y="200"/>
                      </a:lnTo>
                      <a:lnTo>
                        <a:pt x="94" y="198"/>
                      </a:lnTo>
                      <a:lnTo>
                        <a:pt x="97" y="197"/>
                      </a:lnTo>
                      <a:lnTo>
                        <a:pt x="100" y="196"/>
                      </a:lnTo>
                      <a:lnTo>
                        <a:pt x="101" y="194"/>
                      </a:lnTo>
                      <a:lnTo>
                        <a:pt x="102" y="188"/>
                      </a:lnTo>
                      <a:lnTo>
                        <a:pt x="104" y="185"/>
                      </a:lnTo>
                      <a:lnTo>
                        <a:pt x="106" y="183"/>
                      </a:lnTo>
                      <a:lnTo>
                        <a:pt x="109" y="181"/>
                      </a:lnTo>
                      <a:lnTo>
                        <a:pt x="114" y="180"/>
                      </a:lnTo>
                      <a:lnTo>
                        <a:pt x="116" y="179"/>
                      </a:lnTo>
                      <a:lnTo>
                        <a:pt x="119" y="178"/>
                      </a:lnTo>
                      <a:lnTo>
                        <a:pt x="120" y="175"/>
                      </a:lnTo>
                      <a:lnTo>
                        <a:pt x="121" y="172"/>
                      </a:lnTo>
                      <a:lnTo>
                        <a:pt x="123" y="168"/>
                      </a:lnTo>
                      <a:lnTo>
                        <a:pt x="125" y="167"/>
                      </a:lnTo>
                      <a:lnTo>
                        <a:pt x="129" y="167"/>
                      </a:lnTo>
                      <a:lnTo>
                        <a:pt x="134" y="168"/>
                      </a:lnTo>
                      <a:lnTo>
                        <a:pt x="138" y="168"/>
                      </a:lnTo>
                      <a:lnTo>
                        <a:pt x="139" y="168"/>
                      </a:lnTo>
                      <a:lnTo>
                        <a:pt x="141" y="167"/>
                      </a:lnTo>
                      <a:lnTo>
                        <a:pt x="147" y="158"/>
                      </a:lnTo>
                      <a:lnTo>
                        <a:pt x="151" y="14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8" name="Freeform 622">
                  <a:extLst>
                    <a:ext uri="{FF2B5EF4-FFF2-40B4-BE49-F238E27FC236}">
                      <a16:creationId xmlns:a16="http://schemas.microsoft.com/office/drawing/2014/main" id="{1D7B6AAD-53E8-794E-A312-48226DD782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4102" y="3831071"/>
                  <a:ext cx="119870" cy="168705"/>
                </a:xfrm>
                <a:custGeom>
                  <a:avLst/>
                  <a:gdLst>
                    <a:gd name="T0" fmla="*/ 2147483647 w 87"/>
                    <a:gd name="T1" fmla="*/ 2147483647 h 114"/>
                    <a:gd name="T2" fmla="*/ 2147483647 w 87"/>
                    <a:gd name="T3" fmla="*/ 2147483647 h 114"/>
                    <a:gd name="T4" fmla="*/ 2147483647 w 87"/>
                    <a:gd name="T5" fmla="*/ 2147483647 h 114"/>
                    <a:gd name="T6" fmla="*/ 2147483647 w 87"/>
                    <a:gd name="T7" fmla="*/ 2147483647 h 114"/>
                    <a:gd name="T8" fmla="*/ 2147483647 w 87"/>
                    <a:gd name="T9" fmla="*/ 2147483647 h 114"/>
                    <a:gd name="T10" fmla="*/ 2147483647 w 87"/>
                    <a:gd name="T11" fmla="*/ 2147483647 h 114"/>
                    <a:gd name="T12" fmla="*/ 2147483647 w 87"/>
                    <a:gd name="T13" fmla="*/ 2147483647 h 114"/>
                    <a:gd name="T14" fmla="*/ 2147483647 w 87"/>
                    <a:gd name="T15" fmla="*/ 2147483647 h 114"/>
                    <a:gd name="T16" fmla="*/ 2147483647 w 87"/>
                    <a:gd name="T17" fmla="*/ 2147483647 h 114"/>
                    <a:gd name="T18" fmla="*/ 2147483647 w 87"/>
                    <a:gd name="T19" fmla="*/ 2147483647 h 114"/>
                    <a:gd name="T20" fmla="*/ 2147483647 w 87"/>
                    <a:gd name="T21" fmla="*/ 2147483647 h 114"/>
                    <a:gd name="T22" fmla="*/ 2147483647 w 87"/>
                    <a:gd name="T23" fmla="*/ 2147483647 h 114"/>
                    <a:gd name="T24" fmla="*/ 2147483647 w 87"/>
                    <a:gd name="T25" fmla="*/ 2147483647 h 114"/>
                    <a:gd name="T26" fmla="*/ 2147483647 w 87"/>
                    <a:gd name="T27" fmla="*/ 2147483647 h 114"/>
                    <a:gd name="T28" fmla="*/ 2147483647 w 87"/>
                    <a:gd name="T29" fmla="*/ 2147483647 h 114"/>
                    <a:gd name="T30" fmla="*/ 0 w 87"/>
                    <a:gd name="T31" fmla="*/ 2147483647 h 114"/>
                    <a:gd name="T32" fmla="*/ 2147483647 w 87"/>
                    <a:gd name="T33" fmla="*/ 2147483647 h 114"/>
                    <a:gd name="T34" fmla="*/ 2147483647 w 87"/>
                    <a:gd name="T35" fmla="*/ 2147483647 h 114"/>
                    <a:gd name="T36" fmla="*/ 2147483647 w 87"/>
                    <a:gd name="T37" fmla="*/ 2147483647 h 114"/>
                    <a:gd name="T38" fmla="*/ 2147483647 w 87"/>
                    <a:gd name="T39" fmla="*/ 2147483647 h 114"/>
                    <a:gd name="T40" fmla="*/ 2147483647 w 87"/>
                    <a:gd name="T41" fmla="*/ 2147483647 h 114"/>
                    <a:gd name="T42" fmla="*/ 2147483647 w 87"/>
                    <a:gd name="T43" fmla="*/ 2147483647 h 114"/>
                    <a:gd name="T44" fmla="*/ 2147483647 w 87"/>
                    <a:gd name="T45" fmla="*/ 2147483647 h 114"/>
                    <a:gd name="T46" fmla="*/ 2147483647 w 87"/>
                    <a:gd name="T47" fmla="*/ 2147483647 h 114"/>
                    <a:gd name="T48" fmla="*/ 2147483647 w 87"/>
                    <a:gd name="T49" fmla="*/ 2147483647 h 114"/>
                    <a:gd name="T50" fmla="*/ 2147483647 w 87"/>
                    <a:gd name="T51" fmla="*/ 2147483647 h 114"/>
                    <a:gd name="T52" fmla="*/ 2147483647 w 87"/>
                    <a:gd name="T53" fmla="*/ 2147483647 h 114"/>
                    <a:gd name="T54" fmla="*/ 2147483647 w 87"/>
                    <a:gd name="T55" fmla="*/ 2147483647 h 114"/>
                    <a:gd name="T56" fmla="*/ 2147483647 w 87"/>
                    <a:gd name="T57" fmla="*/ 0 h 114"/>
                    <a:gd name="T58" fmla="*/ 2147483647 w 87"/>
                    <a:gd name="T59" fmla="*/ 2147483647 h 114"/>
                    <a:gd name="T60" fmla="*/ 2147483647 w 87"/>
                    <a:gd name="T61" fmla="*/ 2147483647 h 114"/>
                    <a:gd name="T62" fmla="*/ 2147483647 w 87"/>
                    <a:gd name="T63" fmla="*/ 2147483647 h 114"/>
                    <a:gd name="T64" fmla="*/ 2147483647 w 87"/>
                    <a:gd name="T65" fmla="*/ 2147483647 h 114"/>
                    <a:gd name="T66" fmla="*/ 2147483647 w 87"/>
                    <a:gd name="T67" fmla="*/ 2147483647 h 114"/>
                    <a:gd name="T68" fmla="*/ 2147483647 w 87"/>
                    <a:gd name="T69" fmla="*/ 2147483647 h 114"/>
                    <a:gd name="T70" fmla="*/ 2147483647 w 87"/>
                    <a:gd name="T71" fmla="*/ 2147483647 h 114"/>
                    <a:gd name="T72" fmla="*/ 2147483647 w 87"/>
                    <a:gd name="T73" fmla="*/ 2147483647 h 114"/>
                    <a:gd name="T74" fmla="*/ 2147483647 w 87"/>
                    <a:gd name="T75" fmla="*/ 2147483647 h 114"/>
                    <a:gd name="T76" fmla="*/ 2147483647 w 87"/>
                    <a:gd name="T77" fmla="*/ 2147483647 h 114"/>
                    <a:gd name="T78" fmla="*/ 2147483647 w 87"/>
                    <a:gd name="T79" fmla="*/ 2147483647 h 114"/>
                    <a:gd name="T80" fmla="*/ 2147483647 w 87"/>
                    <a:gd name="T81" fmla="*/ 2147483647 h 114"/>
                    <a:gd name="T82" fmla="*/ 2147483647 w 87"/>
                    <a:gd name="T83" fmla="*/ 2147483647 h 114"/>
                    <a:gd name="T84" fmla="*/ 2147483647 w 87"/>
                    <a:gd name="T85" fmla="*/ 2147483647 h 114"/>
                    <a:gd name="T86" fmla="*/ 2147483647 w 87"/>
                    <a:gd name="T87" fmla="*/ 2147483647 h 114"/>
                    <a:gd name="T88" fmla="*/ 2147483647 w 87"/>
                    <a:gd name="T89" fmla="*/ 2147483647 h 114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7"/>
                    <a:gd name="T136" fmla="*/ 0 h 114"/>
                    <a:gd name="T137" fmla="*/ 87 w 87"/>
                    <a:gd name="T138" fmla="*/ 114 h 114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7" h="114">
                      <a:moveTo>
                        <a:pt x="75" y="95"/>
                      </a:moveTo>
                      <a:lnTo>
                        <a:pt x="76" y="99"/>
                      </a:lnTo>
                      <a:lnTo>
                        <a:pt x="75" y="101"/>
                      </a:lnTo>
                      <a:lnTo>
                        <a:pt x="73" y="104"/>
                      </a:lnTo>
                      <a:lnTo>
                        <a:pt x="73" y="106"/>
                      </a:lnTo>
                      <a:lnTo>
                        <a:pt x="72" y="111"/>
                      </a:lnTo>
                      <a:lnTo>
                        <a:pt x="71" y="112"/>
                      </a:lnTo>
                      <a:lnTo>
                        <a:pt x="71" y="114"/>
                      </a:lnTo>
                      <a:lnTo>
                        <a:pt x="67" y="110"/>
                      </a:lnTo>
                      <a:lnTo>
                        <a:pt x="64" y="107"/>
                      </a:lnTo>
                      <a:lnTo>
                        <a:pt x="63" y="105"/>
                      </a:lnTo>
                      <a:lnTo>
                        <a:pt x="61" y="93"/>
                      </a:lnTo>
                      <a:lnTo>
                        <a:pt x="59" y="87"/>
                      </a:lnTo>
                      <a:lnTo>
                        <a:pt x="57" y="81"/>
                      </a:lnTo>
                      <a:lnTo>
                        <a:pt x="54" y="80"/>
                      </a:lnTo>
                      <a:lnTo>
                        <a:pt x="52" y="80"/>
                      </a:lnTo>
                      <a:lnTo>
                        <a:pt x="49" y="79"/>
                      </a:lnTo>
                      <a:lnTo>
                        <a:pt x="47" y="76"/>
                      </a:lnTo>
                      <a:lnTo>
                        <a:pt x="43" y="81"/>
                      </a:lnTo>
                      <a:lnTo>
                        <a:pt x="40" y="87"/>
                      </a:lnTo>
                      <a:lnTo>
                        <a:pt x="39" y="93"/>
                      </a:lnTo>
                      <a:lnTo>
                        <a:pt x="39" y="99"/>
                      </a:lnTo>
                      <a:lnTo>
                        <a:pt x="38" y="101"/>
                      </a:lnTo>
                      <a:lnTo>
                        <a:pt x="35" y="102"/>
                      </a:lnTo>
                      <a:lnTo>
                        <a:pt x="24" y="107"/>
                      </a:lnTo>
                      <a:lnTo>
                        <a:pt x="14" y="112"/>
                      </a:lnTo>
                      <a:lnTo>
                        <a:pt x="9" y="113"/>
                      </a:lnTo>
                      <a:lnTo>
                        <a:pt x="6" y="112"/>
                      </a:lnTo>
                      <a:lnTo>
                        <a:pt x="4" y="108"/>
                      </a:lnTo>
                      <a:lnTo>
                        <a:pt x="2" y="104"/>
                      </a:lnTo>
                      <a:lnTo>
                        <a:pt x="1" y="102"/>
                      </a:lnTo>
                      <a:lnTo>
                        <a:pt x="0" y="104"/>
                      </a:lnTo>
                      <a:lnTo>
                        <a:pt x="1" y="96"/>
                      </a:lnTo>
                      <a:lnTo>
                        <a:pt x="2" y="89"/>
                      </a:lnTo>
                      <a:lnTo>
                        <a:pt x="4" y="86"/>
                      </a:lnTo>
                      <a:lnTo>
                        <a:pt x="5" y="82"/>
                      </a:lnTo>
                      <a:lnTo>
                        <a:pt x="5" y="73"/>
                      </a:lnTo>
                      <a:lnTo>
                        <a:pt x="6" y="64"/>
                      </a:lnTo>
                      <a:lnTo>
                        <a:pt x="6" y="55"/>
                      </a:lnTo>
                      <a:lnTo>
                        <a:pt x="6" y="50"/>
                      </a:lnTo>
                      <a:lnTo>
                        <a:pt x="5" y="47"/>
                      </a:lnTo>
                      <a:lnTo>
                        <a:pt x="4" y="42"/>
                      </a:lnTo>
                      <a:lnTo>
                        <a:pt x="2" y="38"/>
                      </a:lnTo>
                      <a:lnTo>
                        <a:pt x="4" y="35"/>
                      </a:lnTo>
                      <a:lnTo>
                        <a:pt x="5" y="31"/>
                      </a:lnTo>
                      <a:lnTo>
                        <a:pt x="9" y="25"/>
                      </a:lnTo>
                      <a:lnTo>
                        <a:pt x="14" y="19"/>
                      </a:lnTo>
                      <a:lnTo>
                        <a:pt x="14" y="18"/>
                      </a:lnTo>
                      <a:lnTo>
                        <a:pt x="14" y="17"/>
                      </a:lnTo>
                      <a:lnTo>
                        <a:pt x="11" y="16"/>
                      </a:lnTo>
                      <a:lnTo>
                        <a:pt x="7" y="16"/>
                      </a:lnTo>
                      <a:lnTo>
                        <a:pt x="4" y="15"/>
                      </a:lnTo>
                      <a:lnTo>
                        <a:pt x="2" y="13"/>
                      </a:lnTo>
                      <a:lnTo>
                        <a:pt x="6" y="11"/>
                      </a:lnTo>
                      <a:lnTo>
                        <a:pt x="7" y="8"/>
                      </a:lnTo>
                      <a:lnTo>
                        <a:pt x="11" y="2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8" y="2"/>
                      </a:lnTo>
                      <a:lnTo>
                        <a:pt x="20" y="3"/>
                      </a:lnTo>
                      <a:lnTo>
                        <a:pt x="28" y="2"/>
                      </a:lnTo>
                      <a:lnTo>
                        <a:pt x="30" y="3"/>
                      </a:lnTo>
                      <a:lnTo>
                        <a:pt x="33" y="11"/>
                      </a:lnTo>
                      <a:lnTo>
                        <a:pt x="38" y="16"/>
                      </a:lnTo>
                      <a:lnTo>
                        <a:pt x="44" y="21"/>
                      </a:lnTo>
                      <a:lnTo>
                        <a:pt x="51" y="23"/>
                      </a:lnTo>
                      <a:lnTo>
                        <a:pt x="58" y="24"/>
                      </a:lnTo>
                      <a:lnTo>
                        <a:pt x="67" y="24"/>
                      </a:lnTo>
                      <a:lnTo>
                        <a:pt x="82" y="24"/>
                      </a:lnTo>
                      <a:lnTo>
                        <a:pt x="85" y="24"/>
                      </a:lnTo>
                      <a:lnTo>
                        <a:pt x="86" y="25"/>
                      </a:lnTo>
                      <a:lnTo>
                        <a:pt x="87" y="30"/>
                      </a:lnTo>
                      <a:lnTo>
                        <a:pt x="86" y="35"/>
                      </a:lnTo>
                      <a:lnTo>
                        <a:pt x="85" y="40"/>
                      </a:lnTo>
                      <a:lnTo>
                        <a:pt x="84" y="42"/>
                      </a:lnTo>
                      <a:lnTo>
                        <a:pt x="81" y="45"/>
                      </a:lnTo>
                      <a:lnTo>
                        <a:pt x="75" y="50"/>
                      </a:lnTo>
                      <a:lnTo>
                        <a:pt x="68" y="54"/>
                      </a:lnTo>
                      <a:lnTo>
                        <a:pt x="66" y="57"/>
                      </a:lnTo>
                      <a:lnTo>
                        <a:pt x="64" y="60"/>
                      </a:lnTo>
                      <a:lnTo>
                        <a:pt x="63" y="62"/>
                      </a:lnTo>
                      <a:lnTo>
                        <a:pt x="64" y="64"/>
                      </a:lnTo>
                      <a:lnTo>
                        <a:pt x="67" y="66"/>
                      </a:lnTo>
                      <a:lnTo>
                        <a:pt x="71" y="67"/>
                      </a:lnTo>
                      <a:lnTo>
                        <a:pt x="75" y="69"/>
                      </a:lnTo>
                      <a:lnTo>
                        <a:pt x="76" y="75"/>
                      </a:lnTo>
                      <a:lnTo>
                        <a:pt x="77" y="81"/>
                      </a:lnTo>
                      <a:lnTo>
                        <a:pt x="77" y="88"/>
                      </a:lnTo>
                      <a:lnTo>
                        <a:pt x="75" y="94"/>
                      </a:lnTo>
                      <a:lnTo>
                        <a:pt x="75" y="9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9" name="Freeform 623">
                  <a:extLst>
                    <a:ext uri="{FF2B5EF4-FFF2-40B4-BE49-F238E27FC236}">
                      <a16:creationId xmlns:a16="http://schemas.microsoft.com/office/drawing/2014/main" id="{FBA24F85-E3AC-D442-892A-3EEB335896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7942" y="3524740"/>
                  <a:ext cx="691100" cy="862766"/>
                </a:xfrm>
                <a:custGeom>
                  <a:avLst/>
                  <a:gdLst>
                    <a:gd name="T0" fmla="*/ 2147483647 w 506"/>
                    <a:gd name="T1" fmla="*/ 2147483647 h 583"/>
                    <a:gd name="T2" fmla="*/ 2147483647 w 506"/>
                    <a:gd name="T3" fmla="*/ 2147483647 h 583"/>
                    <a:gd name="T4" fmla="*/ 2147483647 w 506"/>
                    <a:gd name="T5" fmla="*/ 2147483647 h 583"/>
                    <a:gd name="T6" fmla="*/ 2147483647 w 506"/>
                    <a:gd name="T7" fmla="*/ 2147483647 h 583"/>
                    <a:gd name="T8" fmla="*/ 2147483647 w 506"/>
                    <a:gd name="T9" fmla="*/ 2147483647 h 583"/>
                    <a:gd name="T10" fmla="*/ 2147483647 w 506"/>
                    <a:gd name="T11" fmla="*/ 2147483647 h 583"/>
                    <a:gd name="T12" fmla="*/ 2147483647 w 506"/>
                    <a:gd name="T13" fmla="*/ 2147483647 h 583"/>
                    <a:gd name="T14" fmla="*/ 2147483647 w 506"/>
                    <a:gd name="T15" fmla="*/ 2147483647 h 583"/>
                    <a:gd name="T16" fmla="*/ 2147483647 w 506"/>
                    <a:gd name="T17" fmla="*/ 2147483647 h 583"/>
                    <a:gd name="T18" fmla="*/ 2147483647 w 506"/>
                    <a:gd name="T19" fmla="*/ 2147483647 h 583"/>
                    <a:gd name="T20" fmla="*/ 2147483647 w 506"/>
                    <a:gd name="T21" fmla="*/ 2147483647 h 583"/>
                    <a:gd name="T22" fmla="*/ 2147483647 w 506"/>
                    <a:gd name="T23" fmla="*/ 2147483647 h 583"/>
                    <a:gd name="T24" fmla="*/ 2147483647 w 506"/>
                    <a:gd name="T25" fmla="*/ 2147483647 h 583"/>
                    <a:gd name="T26" fmla="*/ 2147483647 w 506"/>
                    <a:gd name="T27" fmla="*/ 2147483647 h 583"/>
                    <a:gd name="T28" fmla="*/ 2147483647 w 506"/>
                    <a:gd name="T29" fmla="*/ 2147483647 h 583"/>
                    <a:gd name="T30" fmla="*/ 2147483647 w 506"/>
                    <a:gd name="T31" fmla="*/ 2147483647 h 583"/>
                    <a:gd name="T32" fmla="*/ 2147483647 w 506"/>
                    <a:gd name="T33" fmla="*/ 2147483647 h 583"/>
                    <a:gd name="T34" fmla="*/ 2147483647 w 506"/>
                    <a:gd name="T35" fmla="*/ 2147483647 h 583"/>
                    <a:gd name="T36" fmla="*/ 2147483647 w 506"/>
                    <a:gd name="T37" fmla="*/ 2147483647 h 583"/>
                    <a:gd name="T38" fmla="*/ 2147483647 w 506"/>
                    <a:gd name="T39" fmla="*/ 2147483647 h 583"/>
                    <a:gd name="T40" fmla="*/ 2147483647 w 506"/>
                    <a:gd name="T41" fmla="*/ 2147483647 h 583"/>
                    <a:gd name="T42" fmla="*/ 2147483647 w 506"/>
                    <a:gd name="T43" fmla="*/ 2147483647 h 583"/>
                    <a:gd name="T44" fmla="*/ 2147483647 w 506"/>
                    <a:gd name="T45" fmla="*/ 2147483647 h 583"/>
                    <a:gd name="T46" fmla="*/ 2147483647 w 506"/>
                    <a:gd name="T47" fmla="*/ 2147483647 h 583"/>
                    <a:gd name="T48" fmla="*/ 2147483647 w 506"/>
                    <a:gd name="T49" fmla="*/ 2147483647 h 583"/>
                    <a:gd name="T50" fmla="*/ 2147483647 w 506"/>
                    <a:gd name="T51" fmla="*/ 2147483647 h 583"/>
                    <a:gd name="T52" fmla="*/ 2147483647 w 506"/>
                    <a:gd name="T53" fmla="*/ 2147483647 h 583"/>
                    <a:gd name="T54" fmla="*/ 2147483647 w 506"/>
                    <a:gd name="T55" fmla="*/ 2147483647 h 583"/>
                    <a:gd name="T56" fmla="*/ 2147483647 w 506"/>
                    <a:gd name="T57" fmla="*/ 2147483647 h 583"/>
                    <a:gd name="T58" fmla="*/ 2147483647 w 506"/>
                    <a:gd name="T59" fmla="*/ 2147483647 h 583"/>
                    <a:gd name="T60" fmla="*/ 2147483647 w 506"/>
                    <a:gd name="T61" fmla="*/ 2147483647 h 583"/>
                    <a:gd name="T62" fmla="*/ 2147483647 w 506"/>
                    <a:gd name="T63" fmla="*/ 2147483647 h 583"/>
                    <a:gd name="T64" fmla="*/ 2147483647 w 506"/>
                    <a:gd name="T65" fmla="*/ 2147483647 h 583"/>
                    <a:gd name="T66" fmla="*/ 2147483647 w 506"/>
                    <a:gd name="T67" fmla="*/ 2147483647 h 583"/>
                    <a:gd name="T68" fmla="*/ 2147483647 w 506"/>
                    <a:gd name="T69" fmla="*/ 2147483647 h 583"/>
                    <a:gd name="T70" fmla="*/ 2147483647 w 506"/>
                    <a:gd name="T71" fmla="*/ 2147483647 h 583"/>
                    <a:gd name="T72" fmla="*/ 2147483647 w 506"/>
                    <a:gd name="T73" fmla="*/ 2147483647 h 583"/>
                    <a:gd name="T74" fmla="*/ 2147483647 w 506"/>
                    <a:gd name="T75" fmla="*/ 2147483647 h 583"/>
                    <a:gd name="T76" fmla="*/ 2147483647 w 506"/>
                    <a:gd name="T77" fmla="*/ 2147483647 h 583"/>
                    <a:gd name="T78" fmla="*/ 2147483647 w 506"/>
                    <a:gd name="T79" fmla="*/ 2147483647 h 583"/>
                    <a:gd name="T80" fmla="*/ 2147483647 w 506"/>
                    <a:gd name="T81" fmla="*/ 2147483647 h 583"/>
                    <a:gd name="T82" fmla="*/ 2147483647 w 506"/>
                    <a:gd name="T83" fmla="*/ 2147483647 h 583"/>
                    <a:gd name="T84" fmla="*/ 2147483647 w 506"/>
                    <a:gd name="T85" fmla="*/ 2147483647 h 583"/>
                    <a:gd name="T86" fmla="*/ 2147483647 w 506"/>
                    <a:gd name="T87" fmla="*/ 2147483647 h 583"/>
                    <a:gd name="T88" fmla="*/ 2147483647 w 506"/>
                    <a:gd name="T89" fmla="*/ 2147483647 h 583"/>
                    <a:gd name="T90" fmla="*/ 2147483647 w 506"/>
                    <a:gd name="T91" fmla="*/ 2147483647 h 583"/>
                    <a:gd name="T92" fmla="*/ 2147483647 w 506"/>
                    <a:gd name="T93" fmla="*/ 2147483647 h 583"/>
                    <a:gd name="T94" fmla="*/ 2147483647 w 506"/>
                    <a:gd name="T95" fmla="*/ 2147483647 h 583"/>
                    <a:gd name="T96" fmla="*/ 2147483647 w 506"/>
                    <a:gd name="T97" fmla="*/ 2147483647 h 583"/>
                    <a:gd name="T98" fmla="*/ 2147483647 w 506"/>
                    <a:gd name="T99" fmla="*/ 2147483647 h 583"/>
                    <a:gd name="T100" fmla="*/ 2147483647 w 506"/>
                    <a:gd name="T101" fmla="*/ 2147483647 h 583"/>
                    <a:gd name="T102" fmla="*/ 2147483647 w 506"/>
                    <a:gd name="T103" fmla="*/ 2147483647 h 583"/>
                    <a:gd name="T104" fmla="*/ 2147483647 w 506"/>
                    <a:gd name="T105" fmla="*/ 2147483647 h 583"/>
                    <a:gd name="T106" fmla="*/ 2147483647 w 506"/>
                    <a:gd name="T107" fmla="*/ 2147483647 h 583"/>
                    <a:gd name="T108" fmla="*/ 2147483647 w 506"/>
                    <a:gd name="T109" fmla="*/ 2147483647 h 583"/>
                    <a:gd name="T110" fmla="*/ 2147483647 w 506"/>
                    <a:gd name="T111" fmla="*/ 2147483647 h 583"/>
                    <a:gd name="T112" fmla="*/ 2147483647 w 506"/>
                    <a:gd name="T113" fmla="*/ 0 h 583"/>
                    <a:gd name="T114" fmla="*/ 2147483647 w 506"/>
                    <a:gd name="T115" fmla="*/ 2147483647 h 583"/>
                    <a:gd name="T116" fmla="*/ 2147483647 w 506"/>
                    <a:gd name="T117" fmla="*/ 2147483647 h 583"/>
                    <a:gd name="T118" fmla="*/ 2147483647 w 506"/>
                    <a:gd name="T119" fmla="*/ 2147483647 h 583"/>
                    <a:gd name="T120" fmla="*/ 2147483647 w 506"/>
                    <a:gd name="T121" fmla="*/ 2147483647 h 583"/>
                    <a:gd name="T122" fmla="*/ 2147483647 w 506"/>
                    <a:gd name="T123" fmla="*/ 2147483647 h 583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06"/>
                    <a:gd name="T187" fmla="*/ 0 h 583"/>
                    <a:gd name="T188" fmla="*/ 506 w 506"/>
                    <a:gd name="T189" fmla="*/ 583 h 583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06" h="583">
                      <a:moveTo>
                        <a:pt x="227" y="134"/>
                      </a:moveTo>
                      <a:lnTo>
                        <a:pt x="230" y="135"/>
                      </a:lnTo>
                      <a:lnTo>
                        <a:pt x="234" y="135"/>
                      </a:lnTo>
                      <a:lnTo>
                        <a:pt x="240" y="133"/>
                      </a:lnTo>
                      <a:lnTo>
                        <a:pt x="243" y="132"/>
                      </a:lnTo>
                      <a:lnTo>
                        <a:pt x="245" y="132"/>
                      </a:lnTo>
                      <a:lnTo>
                        <a:pt x="252" y="135"/>
                      </a:lnTo>
                      <a:lnTo>
                        <a:pt x="258" y="140"/>
                      </a:lnTo>
                      <a:lnTo>
                        <a:pt x="263" y="145"/>
                      </a:lnTo>
                      <a:lnTo>
                        <a:pt x="264" y="147"/>
                      </a:lnTo>
                      <a:lnTo>
                        <a:pt x="267" y="149"/>
                      </a:lnTo>
                      <a:lnTo>
                        <a:pt x="271" y="151"/>
                      </a:lnTo>
                      <a:lnTo>
                        <a:pt x="274" y="151"/>
                      </a:lnTo>
                      <a:lnTo>
                        <a:pt x="280" y="152"/>
                      </a:lnTo>
                      <a:lnTo>
                        <a:pt x="281" y="153"/>
                      </a:lnTo>
                      <a:lnTo>
                        <a:pt x="282" y="154"/>
                      </a:lnTo>
                      <a:lnTo>
                        <a:pt x="281" y="158"/>
                      </a:lnTo>
                      <a:lnTo>
                        <a:pt x="281" y="159"/>
                      </a:lnTo>
                      <a:lnTo>
                        <a:pt x="283" y="159"/>
                      </a:lnTo>
                      <a:lnTo>
                        <a:pt x="286" y="159"/>
                      </a:lnTo>
                      <a:lnTo>
                        <a:pt x="290" y="159"/>
                      </a:lnTo>
                      <a:lnTo>
                        <a:pt x="293" y="160"/>
                      </a:lnTo>
                      <a:lnTo>
                        <a:pt x="299" y="165"/>
                      </a:lnTo>
                      <a:lnTo>
                        <a:pt x="302" y="171"/>
                      </a:lnTo>
                      <a:lnTo>
                        <a:pt x="307" y="174"/>
                      </a:lnTo>
                      <a:lnTo>
                        <a:pt x="314" y="178"/>
                      </a:lnTo>
                      <a:lnTo>
                        <a:pt x="316" y="178"/>
                      </a:lnTo>
                      <a:lnTo>
                        <a:pt x="319" y="178"/>
                      </a:lnTo>
                      <a:lnTo>
                        <a:pt x="323" y="175"/>
                      </a:lnTo>
                      <a:lnTo>
                        <a:pt x="326" y="173"/>
                      </a:lnTo>
                      <a:lnTo>
                        <a:pt x="328" y="173"/>
                      </a:lnTo>
                      <a:lnTo>
                        <a:pt x="330" y="173"/>
                      </a:lnTo>
                      <a:lnTo>
                        <a:pt x="339" y="178"/>
                      </a:lnTo>
                      <a:lnTo>
                        <a:pt x="343" y="179"/>
                      </a:lnTo>
                      <a:lnTo>
                        <a:pt x="348" y="180"/>
                      </a:lnTo>
                      <a:lnTo>
                        <a:pt x="351" y="179"/>
                      </a:lnTo>
                      <a:lnTo>
                        <a:pt x="353" y="178"/>
                      </a:lnTo>
                      <a:lnTo>
                        <a:pt x="354" y="177"/>
                      </a:lnTo>
                      <a:lnTo>
                        <a:pt x="357" y="178"/>
                      </a:lnTo>
                      <a:lnTo>
                        <a:pt x="362" y="181"/>
                      </a:lnTo>
                      <a:lnTo>
                        <a:pt x="366" y="186"/>
                      </a:lnTo>
                      <a:lnTo>
                        <a:pt x="368" y="183"/>
                      </a:lnTo>
                      <a:lnTo>
                        <a:pt x="370" y="180"/>
                      </a:lnTo>
                      <a:lnTo>
                        <a:pt x="371" y="178"/>
                      </a:lnTo>
                      <a:lnTo>
                        <a:pt x="373" y="178"/>
                      </a:lnTo>
                      <a:lnTo>
                        <a:pt x="385" y="177"/>
                      </a:lnTo>
                      <a:lnTo>
                        <a:pt x="395" y="174"/>
                      </a:lnTo>
                      <a:lnTo>
                        <a:pt x="399" y="174"/>
                      </a:lnTo>
                      <a:lnTo>
                        <a:pt x="403" y="175"/>
                      </a:lnTo>
                      <a:lnTo>
                        <a:pt x="405" y="177"/>
                      </a:lnTo>
                      <a:lnTo>
                        <a:pt x="408" y="178"/>
                      </a:lnTo>
                      <a:lnTo>
                        <a:pt x="413" y="178"/>
                      </a:lnTo>
                      <a:lnTo>
                        <a:pt x="419" y="175"/>
                      </a:lnTo>
                      <a:lnTo>
                        <a:pt x="434" y="167"/>
                      </a:lnTo>
                      <a:lnTo>
                        <a:pt x="451" y="159"/>
                      </a:lnTo>
                      <a:lnTo>
                        <a:pt x="464" y="154"/>
                      </a:lnTo>
                      <a:lnTo>
                        <a:pt x="473" y="152"/>
                      </a:lnTo>
                      <a:lnTo>
                        <a:pt x="481" y="152"/>
                      </a:lnTo>
                      <a:lnTo>
                        <a:pt x="489" y="153"/>
                      </a:lnTo>
                      <a:lnTo>
                        <a:pt x="493" y="154"/>
                      </a:lnTo>
                      <a:lnTo>
                        <a:pt x="497" y="156"/>
                      </a:lnTo>
                      <a:lnTo>
                        <a:pt x="498" y="159"/>
                      </a:lnTo>
                      <a:lnTo>
                        <a:pt x="497" y="162"/>
                      </a:lnTo>
                      <a:lnTo>
                        <a:pt x="495" y="165"/>
                      </a:lnTo>
                      <a:lnTo>
                        <a:pt x="495" y="167"/>
                      </a:lnTo>
                      <a:lnTo>
                        <a:pt x="497" y="170"/>
                      </a:lnTo>
                      <a:lnTo>
                        <a:pt x="499" y="171"/>
                      </a:lnTo>
                      <a:lnTo>
                        <a:pt x="506" y="170"/>
                      </a:lnTo>
                      <a:lnTo>
                        <a:pt x="506" y="172"/>
                      </a:lnTo>
                      <a:lnTo>
                        <a:pt x="504" y="173"/>
                      </a:lnTo>
                      <a:lnTo>
                        <a:pt x="503" y="175"/>
                      </a:lnTo>
                      <a:lnTo>
                        <a:pt x="502" y="177"/>
                      </a:lnTo>
                      <a:lnTo>
                        <a:pt x="500" y="183"/>
                      </a:lnTo>
                      <a:lnTo>
                        <a:pt x="497" y="187"/>
                      </a:lnTo>
                      <a:lnTo>
                        <a:pt x="493" y="191"/>
                      </a:lnTo>
                      <a:lnTo>
                        <a:pt x="486" y="193"/>
                      </a:lnTo>
                      <a:lnTo>
                        <a:pt x="484" y="194"/>
                      </a:lnTo>
                      <a:lnTo>
                        <a:pt x="483" y="198"/>
                      </a:lnTo>
                      <a:lnTo>
                        <a:pt x="481" y="204"/>
                      </a:lnTo>
                      <a:lnTo>
                        <a:pt x="479" y="210"/>
                      </a:lnTo>
                      <a:lnTo>
                        <a:pt x="476" y="216"/>
                      </a:lnTo>
                      <a:lnTo>
                        <a:pt x="474" y="222"/>
                      </a:lnTo>
                      <a:lnTo>
                        <a:pt x="465" y="232"/>
                      </a:lnTo>
                      <a:lnTo>
                        <a:pt x="456" y="241"/>
                      </a:lnTo>
                      <a:lnTo>
                        <a:pt x="453" y="244"/>
                      </a:lnTo>
                      <a:lnTo>
                        <a:pt x="452" y="247"/>
                      </a:lnTo>
                      <a:lnTo>
                        <a:pt x="452" y="255"/>
                      </a:lnTo>
                      <a:lnTo>
                        <a:pt x="451" y="261"/>
                      </a:lnTo>
                      <a:lnTo>
                        <a:pt x="450" y="263"/>
                      </a:lnTo>
                      <a:lnTo>
                        <a:pt x="447" y="264"/>
                      </a:lnTo>
                      <a:lnTo>
                        <a:pt x="443" y="267"/>
                      </a:lnTo>
                      <a:lnTo>
                        <a:pt x="438" y="268"/>
                      </a:lnTo>
                      <a:lnTo>
                        <a:pt x="436" y="268"/>
                      </a:lnTo>
                      <a:lnTo>
                        <a:pt x="434" y="269"/>
                      </a:lnTo>
                      <a:lnTo>
                        <a:pt x="431" y="274"/>
                      </a:lnTo>
                      <a:lnTo>
                        <a:pt x="429" y="280"/>
                      </a:lnTo>
                      <a:lnTo>
                        <a:pt x="428" y="285"/>
                      </a:lnTo>
                      <a:lnTo>
                        <a:pt x="428" y="290"/>
                      </a:lnTo>
                      <a:lnTo>
                        <a:pt x="427" y="296"/>
                      </a:lnTo>
                      <a:lnTo>
                        <a:pt x="426" y="299"/>
                      </a:lnTo>
                      <a:lnTo>
                        <a:pt x="423" y="300"/>
                      </a:lnTo>
                      <a:lnTo>
                        <a:pt x="420" y="302"/>
                      </a:lnTo>
                      <a:lnTo>
                        <a:pt x="417" y="302"/>
                      </a:lnTo>
                      <a:lnTo>
                        <a:pt x="417" y="301"/>
                      </a:lnTo>
                      <a:lnTo>
                        <a:pt x="419" y="295"/>
                      </a:lnTo>
                      <a:lnTo>
                        <a:pt x="419" y="288"/>
                      </a:lnTo>
                      <a:lnTo>
                        <a:pt x="418" y="282"/>
                      </a:lnTo>
                      <a:lnTo>
                        <a:pt x="417" y="276"/>
                      </a:lnTo>
                      <a:lnTo>
                        <a:pt x="413" y="274"/>
                      </a:lnTo>
                      <a:lnTo>
                        <a:pt x="409" y="273"/>
                      </a:lnTo>
                      <a:lnTo>
                        <a:pt x="406" y="271"/>
                      </a:lnTo>
                      <a:lnTo>
                        <a:pt x="405" y="269"/>
                      </a:lnTo>
                      <a:lnTo>
                        <a:pt x="406" y="267"/>
                      </a:lnTo>
                      <a:lnTo>
                        <a:pt x="408" y="264"/>
                      </a:lnTo>
                      <a:lnTo>
                        <a:pt x="410" y="261"/>
                      </a:lnTo>
                      <a:lnTo>
                        <a:pt x="417" y="257"/>
                      </a:lnTo>
                      <a:lnTo>
                        <a:pt x="423" y="252"/>
                      </a:lnTo>
                      <a:lnTo>
                        <a:pt x="426" y="249"/>
                      </a:lnTo>
                      <a:lnTo>
                        <a:pt x="427" y="247"/>
                      </a:lnTo>
                      <a:lnTo>
                        <a:pt x="428" y="242"/>
                      </a:lnTo>
                      <a:lnTo>
                        <a:pt x="429" y="237"/>
                      </a:lnTo>
                      <a:lnTo>
                        <a:pt x="428" y="232"/>
                      </a:lnTo>
                      <a:lnTo>
                        <a:pt x="427" y="231"/>
                      </a:lnTo>
                      <a:lnTo>
                        <a:pt x="424" y="231"/>
                      </a:lnTo>
                      <a:lnTo>
                        <a:pt x="409" y="231"/>
                      </a:lnTo>
                      <a:lnTo>
                        <a:pt x="400" y="231"/>
                      </a:lnTo>
                      <a:lnTo>
                        <a:pt x="393" y="230"/>
                      </a:lnTo>
                      <a:lnTo>
                        <a:pt x="386" y="228"/>
                      </a:lnTo>
                      <a:lnTo>
                        <a:pt x="380" y="223"/>
                      </a:lnTo>
                      <a:lnTo>
                        <a:pt x="375" y="218"/>
                      </a:lnTo>
                      <a:lnTo>
                        <a:pt x="372" y="210"/>
                      </a:lnTo>
                      <a:lnTo>
                        <a:pt x="370" y="209"/>
                      </a:lnTo>
                      <a:lnTo>
                        <a:pt x="362" y="210"/>
                      </a:lnTo>
                      <a:lnTo>
                        <a:pt x="360" y="209"/>
                      </a:lnTo>
                      <a:lnTo>
                        <a:pt x="356" y="207"/>
                      </a:lnTo>
                      <a:lnTo>
                        <a:pt x="354" y="207"/>
                      </a:lnTo>
                      <a:lnTo>
                        <a:pt x="353" y="209"/>
                      </a:lnTo>
                      <a:lnTo>
                        <a:pt x="349" y="215"/>
                      </a:lnTo>
                      <a:lnTo>
                        <a:pt x="348" y="218"/>
                      </a:lnTo>
                      <a:lnTo>
                        <a:pt x="344" y="220"/>
                      </a:lnTo>
                      <a:lnTo>
                        <a:pt x="346" y="222"/>
                      </a:lnTo>
                      <a:lnTo>
                        <a:pt x="349" y="223"/>
                      </a:lnTo>
                      <a:lnTo>
                        <a:pt x="353" y="223"/>
                      </a:lnTo>
                      <a:lnTo>
                        <a:pt x="356" y="224"/>
                      </a:lnTo>
                      <a:lnTo>
                        <a:pt x="356" y="225"/>
                      </a:lnTo>
                      <a:lnTo>
                        <a:pt x="356" y="226"/>
                      </a:lnTo>
                      <a:lnTo>
                        <a:pt x="351" y="232"/>
                      </a:lnTo>
                      <a:lnTo>
                        <a:pt x="347" y="238"/>
                      </a:lnTo>
                      <a:lnTo>
                        <a:pt x="346" y="242"/>
                      </a:lnTo>
                      <a:lnTo>
                        <a:pt x="344" y="245"/>
                      </a:lnTo>
                      <a:lnTo>
                        <a:pt x="346" y="249"/>
                      </a:lnTo>
                      <a:lnTo>
                        <a:pt x="347" y="254"/>
                      </a:lnTo>
                      <a:lnTo>
                        <a:pt x="348" y="257"/>
                      </a:lnTo>
                      <a:lnTo>
                        <a:pt x="348" y="262"/>
                      </a:lnTo>
                      <a:lnTo>
                        <a:pt x="348" y="271"/>
                      </a:lnTo>
                      <a:lnTo>
                        <a:pt x="347" y="280"/>
                      </a:lnTo>
                      <a:lnTo>
                        <a:pt x="347" y="289"/>
                      </a:lnTo>
                      <a:lnTo>
                        <a:pt x="346" y="293"/>
                      </a:lnTo>
                      <a:lnTo>
                        <a:pt x="344" y="296"/>
                      </a:lnTo>
                      <a:lnTo>
                        <a:pt x="343" y="303"/>
                      </a:lnTo>
                      <a:lnTo>
                        <a:pt x="342" y="311"/>
                      </a:lnTo>
                      <a:lnTo>
                        <a:pt x="335" y="315"/>
                      </a:lnTo>
                      <a:lnTo>
                        <a:pt x="332" y="318"/>
                      </a:lnTo>
                      <a:lnTo>
                        <a:pt x="328" y="319"/>
                      </a:lnTo>
                      <a:lnTo>
                        <a:pt x="326" y="320"/>
                      </a:lnTo>
                      <a:lnTo>
                        <a:pt x="325" y="321"/>
                      </a:lnTo>
                      <a:lnTo>
                        <a:pt x="324" y="324"/>
                      </a:lnTo>
                      <a:lnTo>
                        <a:pt x="324" y="326"/>
                      </a:lnTo>
                      <a:lnTo>
                        <a:pt x="323" y="332"/>
                      </a:lnTo>
                      <a:lnTo>
                        <a:pt x="320" y="339"/>
                      </a:lnTo>
                      <a:lnTo>
                        <a:pt x="318" y="345"/>
                      </a:lnTo>
                      <a:lnTo>
                        <a:pt x="313" y="349"/>
                      </a:lnTo>
                      <a:lnTo>
                        <a:pt x="309" y="352"/>
                      </a:lnTo>
                      <a:lnTo>
                        <a:pt x="304" y="354"/>
                      </a:lnTo>
                      <a:lnTo>
                        <a:pt x="300" y="357"/>
                      </a:lnTo>
                      <a:lnTo>
                        <a:pt x="291" y="369"/>
                      </a:lnTo>
                      <a:lnTo>
                        <a:pt x="281" y="379"/>
                      </a:lnTo>
                      <a:lnTo>
                        <a:pt x="271" y="390"/>
                      </a:lnTo>
                      <a:lnTo>
                        <a:pt x="264" y="394"/>
                      </a:lnTo>
                      <a:lnTo>
                        <a:pt x="258" y="397"/>
                      </a:lnTo>
                      <a:lnTo>
                        <a:pt x="254" y="401"/>
                      </a:lnTo>
                      <a:lnTo>
                        <a:pt x="253" y="404"/>
                      </a:lnTo>
                      <a:lnTo>
                        <a:pt x="253" y="409"/>
                      </a:lnTo>
                      <a:lnTo>
                        <a:pt x="255" y="413"/>
                      </a:lnTo>
                      <a:lnTo>
                        <a:pt x="257" y="415"/>
                      </a:lnTo>
                      <a:lnTo>
                        <a:pt x="257" y="417"/>
                      </a:lnTo>
                      <a:lnTo>
                        <a:pt x="255" y="418"/>
                      </a:lnTo>
                      <a:lnTo>
                        <a:pt x="254" y="420"/>
                      </a:lnTo>
                      <a:lnTo>
                        <a:pt x="241" y="427"/>
                      </a:lnTo>
                      <a:lnTo>
                        <a:pt x="229" y="434"/>
                      </a:lnTo>
                      <a:lnTo>
                        <a:pt x="226" y="435"/>
                      </a:lnTo>
                      <a:lnTo>
                        <a:pt x="222" y="436"/>
                      </a:lnTo>
                      <a:lnTo>
                        <a:pt x="219" y="437"/>
                      </a:lnTo>
                      <a:lnTo>
                        <a:pt x="216" y="440"/>
                      </a:lnTo>
                      <a:lnTo>
                        <a:pt x="215" y="442"/>
                      </a:lnTo>
                      <a:lnTo>
                        <a:pt x="215" y="443"/>
                      </a:lnTo>
                      <a:lnTo>
                        <a:pt x="216" y="447"/>
                      </a:lnTo>
                      <a:lnTo>
                        <a:pt x="215" y="453"/>
                      </a:lnTo>
                      <a:lnTo>
                        <a:pt x="213" y="459"/>
                      </a:lnTo>
                      <a:lnTo>
                        <a:pt x="212" y="465"/>
                      </a:lnTo>
                      <a:lnTo>
                        <a:pt x="213" y="471"/>
                      </a:lnTo>
                      <a:lnTo>
                        <a:pt x="212" y="472"/>
                      </a:lnTo>
                      <a:lnTo>
                        <a:pt x="211" y="473"/>
                      </a:lnTo>
                      <a:lnTo>
                        <a:pt x="212" y="477"/>
                      </a:lnTo>
                      <a:lnTo>
                        <a:pt x="213" y="480"/>
                      </a:lnTo>
                      <a:lnTo>
                        <a:pt x="215" y="484"/>
                      </a:lnTo>
                      <a:lnTo>
                        <a:pt x="215" y="487"/>
                      </a:lnTo>
                      <a:lnTo>
                        <a:pt x="213" y="493"/>
                      </a:lnTo>
                      <a:lnTo>
                        <a:pt x="210" y="499"/>
                      </a:lnTo>
                      <a:lnTo>
                        <a:pt x="205" y="512"/>
                      </a:lnTo>
                      <a:lnTo>
                        <a:pt x="203" y="518"/>
                      </a:lnTo>
                      <a:lnTo>
                        <a:pt x="202" y="524"/>
                      </a:lnTo>
                      <a:lnTo>
                        <a:pt x="203" y="530"/>
                      </a:lnTo>
                      <a:lnTo>
                        <a:pt x="206" y="537"/>
                      </a:lnTo>
                      <a:lnTo>
                        <a:pt x="206" y="538"/>
                      </a:lnTo>
                      <a:lnTo>
                        <a:pt x="206" y="539"/>
                      </a:lnTo>
                      <a:lnTo>
                        <a:pt x="202" y="541"/>
                      </a:lnTo>
                      <a:lnTo>
                        <a:pt x="198" y="542"/>
                      </a:lnTo>
                      <a:lnTo>
                        <a:pt x="194" y="543"/>
                      </a:lnTo>
                      <a:lnTo>
                        <a:pt x="193" y="545"/>
                      </a:lnTo>
                      <a:lnTo>
                        <a:pt x="192" y="549"/>
                      </a:lnTo>
                      <a:lnTo>
                        <a:pt x="191" y="555"/>
                      </a:lnTo>
                      <a:lnTo>
                        <a:pt x="188" y="562"/>
                      </a:lnTo>
                      <a:lnTo>
                        <a:pt x="187" y="563"/>
                      </a:lnTo>
                      <a:lnTo>
                        <a:pt x="184" y="563"/>
                      </a:lnTo>
                      <a:lnTo>
                        <a:pt x="182" y="563"/>
                      </a:lnTo>
                      <a:lnTo>
                        <a:pt x="179" y="565"/>
                      </a:lnTo>
                      <a:lnTo>
                        <a:pt x="177" y="569"/>
                      </a:lnTo>
                      <a:lnTo>
                        <a:pt x="174" y="574"/>
                      </a:lnTo>
                      <a:lnTo>
                        <a:pt x="172" y="579"/>
                      </a:lnTo>
                      <a:lnTo>
                        <a:pt x="166" y="582"/>
                      </a:lnTo>
                      <a:lnTo>
                        <a:pt x="163" y="583"/>
                      </a:lnTo>
                      <a:lnTo>
                        <a:pt x="160" y="582"/>
                      </a:lnTo>
                      <a:lnTo>
                        <a:pt x="156" y="580"/>
                      </a:lnTo>
                      <a:lnTo>
                        <a:pt x="154" y="577"/>
                      </a:lnTo>
                      <a:lnTo>
                        <a:pt x="151" y="573"/>
                      </a:lnTo>
                      <a:lnTo>
                        <a:pt x="149" y="567"/>
                      </a:lnTo>
                      <a:lnTo>
                        <a:pt x="146" y="562"/>
                      </a:lnTo>
                      <a:lnTo>
                        <a:pt x="144" y="557"/>
                      </a:lnTo>
                      <a:lnTo>
                        <a:pt x="144" y="552"/>
                      </a:lnTo>
                      <a:lnTo>
                        <a:pt x="144" y="548"/>
                      </a:lnTo>
                      <a:lnTo>
                        <a:pt x="142" y="542"/>
                      </a:lnTo>
                      <a:lnTo>
                        <a:pt x="141" y="537"/>
                      </a:lnTo>
                      <a:lnTo>
                        <a:pt x="127" y="505"/>
                      </a:lnTo>
                      <a:lnTo>
                        <a:pt x="121" y="488"/>
                      </a:lnTo>
                      <a:lnTo>
                        <a:pt x="114" y="471"/>
                      </a:lnTo>
                      <a:lnTo>
                        <a:pt x="112" y="462"/>
                      </a:lnTo>
                      <a:lnTo>
                        <a:pt x="107" y="455"/>
                      </a:lnTo>
                      <a:lnTo>
                        <a:pt x="104" y="450"/>
                      </a:lnTo>
                      <a:lnTo>
                        <a:pt x="102" y="446"/>
                      </a:lnTo>
                      <a:lnTo>
                        <a:pt x="99" y="434"/>
                      </a:lnTo>
                      <a:lnTo>
                        <a:pt x="98" y="423"/>
                      </a:lnTo>
                      <a:lnTo>
                        <a:pt x="97" y="411"/>
                      </a:lnTo>
                      <a:lnTo>
                        <a:pt x="94" y="405"/>
                      </a:lnTo>
                      <a:lnTo>
                        <a:pt x="92" y="400"/>
                      </a:lnTo>
                      <a:lnTo>
                        <a:pt x="92" y="397"/>
                      </a:lnTo>
                      <a:lnTo>
                        <a:pt x="92" y="392"/>
                      </a:lnTo>
                      <a:lnTo>
                        <a:pt x="85" y="376"/>
                      </a:lnTo>
                      <a:lnTo>
                        <a:pt x="83" y="359"/>
                      </a:lnTo>
                      <a:lnTo>
                        <a:pt x="83" y="351"/>
                      </a:lnTo>
                      <a:lnTo>
                        <a:pt x="83" y="343"/>
                      </a:lnTo>
                      <a:lnTo>
                        <a:pt x="84" y="334"/>
                      </a:lnTo>
                      <a:lnTo>
                        <a:pt x="86" y="326"/>
                      </a:lnTo>
                      <a:lnTo>
                        <a:pt x="86" y="322"/>
                      </a:lnTo>
                      <a:lnTo>
                        <a:pt x="85" y="320"/>
                      </a:lnTo>
                      <a:lnTo>
                        <a:pt x="80" y="315"/>
                      </a:lnTo>
                      <a:lnTo>
                        <a:pt x="80" y="313"/>
                      </a:lnTo>
                      <a:lnTo>
                        <a:pt x="80" y="311"/>
                      </a:lnTo>
                      <a:lnTo>
                        <a:pt x="83" y="303"/>
                      </a:lnTo>
                      <a:lnTo>
                        <a:pt x="84" y="300"/>
                      </a:lnTo>
                      <a:lnTo>
                        <a:pt x="84" y="296"/>
                      </a:lnTo>
                      <a:lnTo>
                        <a:pt x="81" y="298"/>
                      </a:lnTo>
                      <a:lnTo>
                        <a:pt x="80" y="299"/>
                      </a:lnTo>
                      <a:lnTo>
                        <a:pt x="78" y="308"/>
                      </a:lnTo>
                      <a:lnTo>
                        <a:pt x="73" y="318"/>
                      </a:lnTo>
                      <a:lnTo>
                        <a:pt x="69" y="321"/>
                      </a:lnTo>
                      <a:lnTo>
                        <a:pt x="66" y="324"/>
                      </a:lnTo>
                      <a:lnTo>
                        <a:pt x="61" y="326"/>
                      </a:lnTo>
                      <a:lnTo>
                        <a:pt x="56" y="327"/>
                      </a:lnTo>
                      <a:lnTo>
                        <a:pt x="47" y="327"/>
                      </a:lnTo>
                      <a:lnTo>
                        <a:pt x="41" y="326"/>
                      </a:lnTo>
                      <a:lnTo>
                        <a:pt x="37" y="325"/>
                      </a:lnTo>
                      <a:lnTo>
                        <a:pt x="34" y="321"/>
                      </a:lnTo>
                      <a:lnTo>
                        <a:pt x="32" y="319"/>
                      </a:lnTo>
                      <a:lnTo>
                        <a:pt x="31" y="314"/>
                      </a:lnTo>
                      <a:lnTo>
                        <a:pt x="29" y="313"/>
                      </a:lnTo>
                      <a:lnTo>
                        <a:pt x="27" y="313"/>
                      </a:lnTo>
                      <a:lnTo>
                        <a:pt x="26" y="311"/>
                      </a:lnTo>
                      <a:lnTo>
                        <a:pt x="23" y="308"/>
                      </a:lnTo>
                      <a:lnTo>
                        <a:pt x="22" y="306"/>
                      </a:lnTo>
                      <a:lnTo>
                        <a:pt x="22" y="303"/>
                      </a:lnTo>
                      <a:lnTo>
                        <a:pt x="23" y="300"/>
                      </a:lnTo>
                      <a:lnTo>
                        <a:pt x="26" y="299"/>
                      </a:lnTo>
                      <a:lnTo>
                        <a:pt x="29" y="298"/>
                      </a:lnTo>
                      <a:lnTo>
                        <a:pt x="34" y="298"/>
                      </a:lnTo>
                      <a:lnTo>
                        <a:pt x="38" y="295"/>
                      </a:lnTo>
                      <a:lnTo>
                        <a:pt x="46" y="293"/>
                      </a:lnTo>
                      <a:lnTo>
                        <a:pt x="48" y="290"/>
                      </a:lnTo>
                      <a:lnTo>
                        <a:pt x="51" y="287"/>
                      </a:lnTo>
                      <a:lnTo>
                        <a:pt x="48" y="287"/>
                      </a:lnTo>
                      <a:lnTo>
                        <a:pt x="46" y="286"/>
                      </a:lnTo>
                      <a:lnTo>
                        <a:pt x="41" y="287"/>
                      </a:lnTo>
                      <a:lnTo>
                        <a:pt x="34" y="288"/>
                      </a:lnTo>
                      <a:lnTo>
                        <a:pt x="28" y="289"/>
                      </a:lnTo>
                      <a:lnTo>
                        <a:pt x="26" y="288"/>
                      </a:lnTo>
                      <a:lnTo>
                        <a:pt x="22" y="286"/>
                      </a:lnTo>
                      <a:lnTo>
                        <a:pt x="18" y="283"/>
                      </a:lnTo>
                      <a:lnTo>
                        <a:pt x="15" y="282"/>
                      </a:lnTo>
                      <a:lnTo>
                        <a:pt x="9" y="282"/>
                      </a:lnTo>
                      <a:lnTo>
                        <a:pt x="4" y="282"/>
                      </a:lnTo>
                      <a:lnTo>
                        <a:pt x="1" y="281"/>
                      </a:lnTo>
                      <a:lnTo>
                        <a:pt x="0" y="279"/>
                      </a:lnTo>
                      <a:lnTo>
                        <a:pt x="5" y="276"/>
                      </a:lnTo>
                      <a:lnTo>
                        <a:pt x="10" y="274"/>
                      </a:lnTo>
                      <a:lnTo>
                        <a:pt x="15" y="270"/>
                      </a:lnTo>
                      <a:lnTo>
                        <a:pt x="18" y="266"/>
                      </a:lnTo>
                      <a:lnTo>
                        <a:pt x="19" y="262"/>
                      </a:lnTo>
                      <a:lnTo>
                        <a:pt x="20" y="260"/>
                      </a:lnTo>
                      <a:lnTo>
                        <a:pt x="23" y="257"/>
                      </a:lnTo>
                      <a:lnTo>
                        <a:pt x="26" y="256"/>
                      </a:lnTo>
                      <a:lnTo>
                        <a:pt x="32" y="256"/>
                      </a:lnTo>
                      <a:lnTo>
                        <a:pt x="40" y="257"/>
                      </a:lnTo>
                      <a:lnTo>
                        <a:pt x="53" y="258"/>
                      </a:lnTo>
                      <a:lnTo>
                        <a:pt x="55" y="251"/>
                      </a:lnTo>
                      <a:lnTo>
                        <a:pt x="57" y="245"/>
                      </a:lnTo>
                      <a:lnTo>
                        <a:pt x="57" y="238"/>
                      </a:lnTo>
                      <a:lnTo>
                        <a:pt x="56" y="236"/>
                      </a:lnTo>
                      <a:lnTo>
                        <a:pt x="53" y="234"/>
                      </a:lnTo>
                      <a:lnTo>
                        <a:pt x="48" y="229"/>
                      </a:lnTo>
                      <a:lnTo>
                        <a:pt x="47" y="226"/>
                      </a:lnTo>
                      <a:lnTo>
                        <a:pt x="45" y="224"/>
                      </a:lnTo>
                      <a:lnTo>
                        <a:pt x="45" y="218"/>
                      </a:lnTo>
                      <a:lnTo>
                        <a:pt x="43" y="215"/>
                      </a:lnTo>
                      <a:lnTo>
                        <a:pt x="42" y="212"/>
                      </a:lnTo>
                      <a:lnTo>
                        <a:pt x="41" y="210"/>
                      </a:lnTo>
                      <a:lnTo>
                        <a:pt x="38" y="209"/>
                      </a:lnTo>
                      <a:lnTo>
                        <a:pt x="36" y="207"/>
                      </a:lnTo>
                      <a:lnTo>
                        <a:pt x="33" y="206"/>
                      </a:lnTo>
                      <a:lnTo>
                        <a:pt x="33" y="204"/>
                      </a:lnTo>
                      <a:lnTo>
                        <a:pt x="33" y="203"/>
                      </a:lnTo>
                      <a:lnTo>
                        <a:pt x="36" y="200"/>
                      </a:lnTo>
                      <a:lnTo>
                        <a:pt x="38" y="198"/>
                      </a:lnTo>
                      <a:lnTo>
                        <a:pt x="41" y="196"/>
                      </a:lnTo>
                      <a:lnTo>
                        <a:pt x="45" y="192"/>
                      </a:lnTo>
                      <a:lnTo>
                        <a:pt x="47" y="188"/>
                      </a:lnTo>
                      <a:lnTo>
                        <a:pt x="51" y="187"/>
                      </a:lnTo>
                      <a:lnTo>
                        <a:pt x="55" y="187"/>
                      </a:lnTo>
                      <a:lnTo>
                        <a:pt x="60" y="188"/>
                      </a:lnTo>
                      <a:lnTo>
                        <a:pt x="65" y="187"/>
                      </a:lnTo>
                      <a:lnTo>
                        <a:pt x="67" y="186"/>
                      </a:lnTo>
                      <a:lnTo>
                        <a:pt x="70" y="183"/>
                      </a:lnTo>
                      <a:lnTo>
                        <a:pt x="76" y="173"/>
                      </a:lnTo>
                      <a:lnTo>
                        <a:pt x="83" y="166"/>
                      </a:lnTo>
                      <a:lnTo>
                        <a:pt x="90" y="158"/>
                      </a:lnTo>
                      <a:lnTo>
                        <a:pt x="95" y="149"/>
                      </a:lnTo>
                      <a:lnTo>
                        <a:pt x="102" y="139"/>
                      </a:lnTo>
                      <a:lnTo>
                        <a:pt x="109" y="128"/>
                      </a:lnTo>
                      <a:lnTo>
                        <a:pt x="113" y="124"/>
                      </a:lnTo>
                      <a:lnTo>
                        <a:pt x="116" y="121"/>
                      </a:lnTo>
                      <a:lnTo>
                        <a:pt x="118" y="117"/>
                      </a:lnTo>
                      <a:lnTo>
                        <a:pt x="117" y="113"/>
                      </a:lnTo>
                      <a:lnTo>
                        <a:pt x="116" y="109"/>
                      </a:lnTo>
                      <a:lnTo>
                        <a:pt x="116" y="105"/>
                      </a:lnTo>
                      <a:lnTo>
                        <a:pt x="117" y="102"/>
                      </a:lnTo>
                      <a:lnTo>
                        <a:pt x="120" y="98"/>
                      </a:lnTo>
                      <a:lnTo>
                        <a:pt x="120" y="96"/>
                      </a:lnTo>
                      <a:lnTo>
                        <a:pt x="120" y="94"/>
                      </a:lnTo>
                      <a:lnTo>
                        <a:pt x="114" y="89"/>
                      </a:lnTo>
                      <a:lnTo>
                        <a:pt x="114" y="87"/>
                      </a:lnTo>
                      <a:lnTo>
                        <a:pt x="114" y="83"/>
                      </a:lnTo>
                      <a:lnTo>
                        <a:pt x="117" y="77"/>
                      </a:lnTo>
                      <a:lnTo>
                        <a:pt x="117" y="71"/>
                      </a:lnTo>
                      <a:lnTo>
                        <a:pt x="117" y="65"/>
                      </a:lnTo>
                      <a:lnTo>
                        <a:pt x="114" y="58"/>
                      </a:lnTo>
                      <a:lnTo>
                        <a:pt x="113" y="57"/>
                      </a:lnTo>
                      <a:lnTo>
                        <a:pt x="113" y="55"/>
                      </a:lnTo>
                      <a:lnTo>
                        <a:pt x="114" y="50"/>
                      </a:lnTo>
                      <a:lnTo>
                        <a:pt x="118" y="45"/>
                      </a:lnTo>
                      <a:lnTo>
                        <a:pt x="122" y="41"/>
                      </a:lnTo>
                      <a:lnTo>
                        <a:pt x="125" y="40"/>
                      </a:lnTo>
                      <a:lnTo>
                        <a:pt x="127" y="40"/>
                      </a:lnTo>
                      <a:lnTo>
                        <a:pt x="133" y="41"/>
                      </a:lnTo>
                      <a:lnTo>
                        <a:pt x="139" y="45"/>
                      </a:lnTo>
                      <a:lnTo>
                        <a:pt x="142" y="49"/>
                      </a:lnTo>
                      <a:lnTo>
                        <a:pt x="147" y="51"/>
                      </a:lnTo>
                      <a:lnTo>
                        <a:pt x="153" y="52"/>
                      </a:lnTo>
                      <a:lnTo>
                        <a:pt x="158" y="51"/>
                      </a:lnTo>
                      <a:lnTo>
                        <a:pt x="161" y="49"/>
                      </a:lnTo>
                      <a:lnTo>
                        <a:pt x="168" y="40"/>
                      </a:lnTo>
                      <a:lnTo>
                        <a:pt x="170" y="36"/>
                      </a:lnTo>
                      <a:lnTo>
                        <a:pt x="172" y="31"/>
                      </a:lnTo>
                      <a:lnTo>
                        <a:pt x="173" y="26"/>
                      </a:lnTo>
                      <a:lnTo>
                        <a:pt x="173" y="21"/>
                      </a:lnTo>
                      <a:lnTo>
                        <a:pt x="170" y="18"/>
                      </a:lnTo>
                      <a:lnTo>
                        <a:pt x="166" y="14"/>
                      </a:lnTo>
                      <a:lnTo>
                        <a:pt x="160" y="11"/>
                      </a:lnTo>
                      <a:lnTo>
                        <a:pt x="156" y="7"/>
                      </a:lnTo>
                      <a:lnTo>
                        <a:pt x="154" y="4"/>
                      </a:lnTo>
                      <a:lnTo>
                        <a:pt x="151" y="0"/>
                      </a:lnTo>
                      <a:lnTo>
                        <a:pt x="163" y="5"/>
                      </a:lnTo>
                      <a:lnTo>
                        <a:pt x="174" y="7"/>
                      </a:lnTo>
                      <a:lnTo>
                        <a:pt x="198" y="9"/>
                      </a:lnTo>
                      <a:lnTo>
                        <a:pt x="207" y="9"/>
                      </a:lnTo>
                      <a:lnTo>
                        <a:pt x="210" y="12"/>
                      </a:lnTo>
                      <a:lnTo>
                        <a:pt x="212" y="14"/>
                      </a:lnTo>
                      <a:lnTo>
                        <a:pt x="213" y="19"/>
                      </a:lnTo>
                      <a:lnTo>
                        <a:pt x="213" y="24"/>
                      </a:lnTo>
                      <a:lnTo>
                        <a:pt x="211" y="27"/>
                      </a:lnTo>
                      <a:lnTo>
                        <a:pt x="208" y="32"/>
                      </a:lnTo>
                      <a:lnTo>
                        <a:pt x="202" y="39"/>
                      </a:lnTo>
                      <a:lnTo>
                        <a:pt x="196" y="47"/>
                      </a:lnTo>
                      <a:lnTo>
                        <a:pt x="194" y="52"/>
                      </a:lnTo>
                      <a:lnTo>
                        <a:pt x="194" y="55"/>
                      </a:lnTo>
                      <a:lnTo>
                        <a:pt x="196" y="57"/>
                      </a:lnTo>
                      <a:lnTo>
                        <a:pt x="201" y="64"/>
                      </a:lnTo>
                      <a:lnTo>
                        <a:pt x="203" y="70"/>
                      </a:lnTo>
                      <a:lnTo>
                        <a:pt x="203" y="77"/>
                      </a:lnTo>
                      <a:lnTo>
                        <a:pt x="202" y="84"/>
                      </a:lnTo>
                      <a:lnTo>
                        <a:pt x="201" y="88"/>
                      </a:lnTo>
                      <a:lnTo>
                        <a:pt x="198" y="90"/>
                      </a:lnTo>
                      <a:lnTo>
                        <a:pt x="194" y="92"/>
                      </a:lnTo>
                      <a:lnTo>
                        <a:pt x="192" y="96"/>
                      </a:lnTo>
                      <a:lnTo>
                        <a:pt x="191" y="100"/>
                      </a:lnTo>
                      <a:lnTo>
                        <a:pt x="189" y="103"/>
                      </a:lnTo>
                      <a:lnTo>
                        <a:pt x="191" y="109"/>
                      </a:lnTo>
                      <a:lnTo>
                        <a:pt x="192" y="113"/>
                      </a:lnTo>
                      <a:lnTo>
                        <a:pt x="193" y="115"/>
                      </a:lnTo>
                      <a:lnTo>
                        <a:pt x="196" y="116"/>
                      </a:lnTo>
                      <a:lnTo>
                        <a:pt x="200" y="117"/>
                      </a:lnTo>
                      <a:lnTo>
                        <a:pt x="208" y="120"/>
                      </a:lnTo>
                      <a:lnTo>
                        <a:pt x="216" y="122"/>
                      </a:lnTo>
                      <a:lnTo>
                        <a:pt x="219" y="124"/>
                      </a:lnTo>
                      <a:lnTo>
                        <a:pt x="221" y="128"/>
                      </a:lnTo>
                      <a:lnTo>
                        <a:pt x="224" y="132"/>
                      </a:lnTo>
                      <a:lnTo>
                        <a:pt x="227" y="1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0" name="Freeform 624">
                  <a:extLst>
                    <a:ext uri="{FF2B5EF4-FFF2-40B4-BE49-F238E27FC236}">
                      <a16:creationId xmlns:a16="http://schemas.microsoft.com/office/drawing/2014/main" id="{BD7A55E1-8C61-F44E-A603-B37A0263BF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2626" y="3829592"/>
                  <a:ext cx="119869" cy="168705"/>
                </a:xfrm>
                <a:custGeom>
                  <a:avLst/>
                  <a:gdLst>
                    <a:gd name="T0" fmla="*/ 2147483647 w 88"/>
                    <a:gd name="T1" fmla="*/ 2147483647 h 114"/>
                    <a:gd name="T2" fmla="*/ 2147483647 w 88"/>
                    <a:gd name="T3" fmla="*/ 2147483647 h 114"/>
                    <a:gd name="T4" fmla="*/ 2147483647 w 88"/>
                    <a:gd name="T5" fmla="*/ 2147483647 h 114"/>
                    <a:gd name="T6" fmla="*/ 2147483647 w 88"/>
                    <a:gd name="T7" fmla="*/ 2147483647 h 114"/>
                    <a:gd name="T8" fmla="*/ 2147483647 w 88"/>
                    <a:gd name="T9" fmla="*/ 2147483647 h 114"/>
                    <a:gd name="T10" fmla="*/ 2147483647 w 88"/>
                    <a:gd name="T11" fmla="*/ 2147483647 h 114"/>
                    <a:gd name="T12" fmla="*/ 2147483647 w 88"/>
                    <a:gd name="T13" fmla="*/ 2147483647 h 114"/>
                    <a:gd name="T14" fmla="*/ 2147483647 w 88"/>
                    <a:gd name="T15" fmla="*/ 2147483647 h 114"/>
                    <a:gd name="T16" fmla="*/ 2147483647 w 88"/>
                    <a:gd name="T17" fmla="*/ 2147483647 h 114"/>
                    <a:gd name="T18" fmla="*/ 2147483647 w 88"/>
                    <a:gd name="T19" fmla="*/ 2147483647 h 114"/>
                    <a:gd name="T20" fmla="*/ 2147483647 w 88"/>
                    <a:gd name="T21" fmla="*/ 2147483647 h 114"/>
                    <a:gd name="T22" fmla="*/ 2147483647 w 88"/>
                    <a:gd name="T23" fmla="*/ 2147483647 h 114"/>
                    <a:gd name="T24" fmla="*/ 2147483647 w 88"/>
                    <a:gd name="T25" fmla="*/ 2147483647 h 114"/>
                    <a:gd name="T26" fmla="*/ 2147483647 w 88"/>
                    <a:gd name="T27" fmla="*/ 2147483647 h 114"/>
                    <a:gd name="T28" fmla="*/ 2147483647 w 88"/>
                    <a:gd name="T29" fmla="*/ 2147483647 h 114"/>
                    <a:gd name="T30" fmla="*/ 2147483647 w 88"/>
                    <a:gd name="T31" fmla="*/ 2147483647 h 114"/>
                    <a:gd name="T32" fmla="*/ 2147483647 w 88"/>
                    <a:gd name="T33" fmla="*/ 2147483647 h 114"/>
                    <a:gd name="T34" fmla="*/ 2147483647 w 88"/>
                    <a:gd name="T35" fmla="*/ 2147483647 h 114"/>
                    <a:gd name="T36" fmla="*/ 2147483647 w 88"/>
                    <a:gd name="T37" fmla="*/ 2147483647 h 114"/>
                    <a:gd name="T38" fmla="*/ 2147483647 w 88"/>
                    <a:gd name="T39" fmla="*/ 2147483647 h 114"/>
                    <a:gd name="T40" fmla="*/ 2147483647 w 88"/>
                    <a:gd name="T41" fmla="*/ 2147483647 h 114"/>
                    <a:gd name="T42" fmla="*/ 0 w 88"/>
                    <a:gd name="T43" fmla="*/ 2147483647 h 114"/>
                    <a:gd name="T44" fmla="*/ 2147483647 w 88"/>
                    <a:gd name="T45" fmla="*/ 2147483647 h 114"/>
                    <a:gd name="T46" fmla="*/ 2147483647 w 88"/>
                    <a:gd name="T47" fmla="*/ 2147483647 h 114"/>
                    <a:gd name="T48" fmla="*/ 2147483647 w 88"/>
                    <a:gd name="T49" fmla="*/ 2147483647 h 114"/>
                    <a:gd name="T50" fmla="*/ 2147483647 w 88"/>
                    <a:gd name="T51" fmla="*/ 2147483647 h 114"/>
                    <a:gd name="T52" fmla="*/ 2147483647 w 88"/>
                    <a:gd name="T53" fmla="*/ 2147483647 h 114"/>
                    <a:gd name="T54" fmla="*/ 2147483647 w 88"/>
                    <a:gd name="T55" fmla="*/ 2147483647 h 114"/>
                    <a:gd name="T56" fmla="*/ 2147483647 w 88"/>
                    <a:gd name="T57" fmla="*/ 2147483647 h 114"/>
                    <a:gd name="T58" fmla="*/ 2147483647 w 88"/>
                    <a:gd name="T59" fmla="*/ 2147483647 h 114"/>
                    <a:gd name="T60" fmla="*/ 2147483647 w 88"/>
                    <a:gd name="T61" fmla="*/ 2147483647 h 114"/>
                    <a:gd name="T62" fmla="*/ 2147483647 w 88"/>
                    <a:gd name="T63" fmla="*/ 2147483647 h 114"/>
                    <a:gd name="T64" fmla="*/ 2147483647 w 88"/>
                    <a:gd name="T65" fmla="*/ 2147483647 h 114"/>
                    <a:gd name="T66" fmla="*/ 2147483647 w 88"/>
                    <a:gd name="T67" fmla="*/ 2147483647 h 114"/>
                    <a:gd name="T68" fmla="*/ 2147483647 w 88"/>
                    <a:gd name="T69" fmla="*/ 2147483647 h 114"/>
                    <a:gd name="T70" fmla="*/ 2147483647 w 88"/>
                    <a:gd name="T71" fmla="*/ 2147483647 h 114"/>
                    <a:gd name="T72" fmla="*/ 2147483647 w 88"/>
                    <a:gd name="T73" fmla="*/ 2147483647 h 114"/>
                    <a:gd name="T74" fmla="*/ 2147483647 w 88"/>
                    <a:gd name="T75" fmla="*/ 2147483647 h 114"/>
                    <a:gd name="T76" fmla="*/ 2147483647 w 88"/>
                    <a:gd name="T77" fmla="*/ 0 h 114"/>
                    <a:gd name="T78" fmla="*/ 2147483647 w 88"/>
                    <a:gd name="T79" fmla="*/ 2147483647 h 114"/>
                    <a:gd name="T80" fmla="*/ 2147483647 w 88"/>
                    <a:gd name="T81" fmla="*/ 2147483647 h 114"/>
                    <a:gd name="T82" fmla="*/ 2147483647 w 88"/>
                    <a:gd name="T83" fmla="*/ 2147483647 h 114"/>
                    <a:gd name="T84" fmla="*/ 2147483647 w 88"/>
                    <a:gd name="T85" fmla="*/ 2147483647 h 114"/>
                    <a:gd name="T86" fmla="*/ 2147483647 w 88"/>
                    <a:gd name="T87" fmla="*/ 2147483647 h 114"/>
                    <a:gd name="T88" fmla="*/ 2147483647 w 88"/>
                    <a:gd name="T89" fmla="*/ 2147483647 h 114"/>
                    <a:gd name="T90" fmla="*/ 2147483647 w 88"/>
                    <a:gd name="T91" fmla="*/ 2147483647 h 114"/>
                    <a:gd name="T92" fmla="*/ 2147483647 w 88"/>
                    <a:gd name="T93" fmla="*/ 2147483647 h 114"/>
                    <a:gd name="T94" fmla="*/ 2147483647 w 88"/>
                    <a:gd name="T95" fmla="*/ 2147483647 h 114"/>
                    <a:gd name="T96" fmla="*/ 2147483647 w 88"/>
                    <a:gd name="T97" fmla="*/ 2147483647 h 114"/>
                    <a:gd name="T98" fmla="*/ 2147483647 w 88"/>
                    <a:gd name="T99" fmla="*/ 2147483647 h 114"/>
                    <a:gd name="T100" fmla="*/ 2147483647 w 88"/>
                    <a:gd name="T101" fmla="*/ 2147483647 h 114"/>
                    <a:gd name="T102" fmla="*/ 2147483647 w 88"/>
                    <a:gd name="T103" fmla="*/ 2147483647 h 114"/>
                    <a:gd name="T104" fmla="*/ 2147483647 w 88"/>
                    <a:gd name="T105" fmla="*/ 2147483647 h 114"/>
                    <a:gd name="T106" fmla="*/ 2147483647 w 88"/>
                    <a:gd name="T107" fmla="*/ 2147483647 h 114"/>
                    <a:gd name="T108" fmla="*/ 2147483647 w 88"/>
                    <a:gd name="T109" fmla="*/ 2147483647 h 114"/>
                    <a:gd name="T110" fmla="*/ 2147483647 w 88"/>
                    <a:gd name="T111" fmla="*/ 2147483647 h 114"/>
                    <a:gd name="T112" fmla="*/ 2147483647 w 88"/>
                    <a:gd name="T113" fmla="*/ 2147483647 h 114"/>
                    <a:gd name="T114" fmla="*/ 2147483647 w 88"/>
                    <a:gd name="T115" fmla="*/ 2147483647 h 114"/>
                    <a:gd name="T116" fmla="*/ 2147483647 w 88"/>
                    <a:gd name="T117" fmla="*/ 2147483647 h 11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88"/>
                    <a:gd name="T178" fmla="*/ 0 h 114"/>
                    <a:gd name="T179" fmla="*/ 88 w 88"/>
                    <a:gd name="T180" fmla="*/ 114 h 11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88" h="114">
                      <a:moveTo>
                        <a:pt x="75" y="95"/>
                      </a:moveTo>
                      <a:lnTo>
                        <a:pt x="75" y="95"/>
                      </a:lnTo>
                      <a:lnTo>
                        <a:pt x="77" y="99"/>
                      </a:lnTo>
                      <a:lnTo>
                        <a:pt x="75" y="101"/>
                      </a:lnTo>
                      <a:lnTo>
                        <a:pt x="74" y="103"/>
                      </a:lnTo>
                      <a:lnTo>
                        <a:pt x="74" y="106"/>
                      </a:lnTo>
                      <a:lnTo>
                        <a:pt x="73" y="111"/>
                      </a:lnTo>
                      <a:lnTo>
                        <a:pt x="72" y="112"/>
                      </a:lnTo>
                      <a:lnTo>
                        <a:pt x="72" y="114"/>
                      </a:lnTo>
                      <a:lnTo>
                        <a:pt x="68" y="109"/>
                      </a:lnTo>
                      <a:lnTo>
                        <a:pt x="65" y="107"/>
                      </a:lnTo>
                      <a:lnTo>
                        <a:pt x="64" y="105"/>
                      </a:lnTo>
                      <a:lnTo>
                        <a:pt x="61" y="93"/>
                      </a:lnTo>
                      <a:lnTo>
                        <a:pt x="60" y="87"/>
                      </a:lnTo>
                      <a:lnTo>
                        <a:pt x="58" y="81"/>
                      </a:lnTo>
                      <a:lnTo>
                        <a:pt x="55" y="80"/>
                      </a:lnTo>
                      <a:lnTo>
                        <a:pt x="53" y="80"/>
                      </a:lnTo>
                      <a:lnTo>
                        <a:pt x="50" y="79"/>
                      </a:lnTo>
                      <a:lnTo>
                        <a:pt x="47" y="76"/>
                      </a:lnTo>
                      <a:lnTo>
                        <a:pt x="44" y="81"/>
                      </a:lnTo>
                      <a:lnTo>
                        <a:pt x="41" y="87"/>
                      </a:lnTo>
                      <a:lnTo>
                        <a:pt x="40" y="93"/>
                      </a:lnTo>
                      <a:lnTo>
                        <a:pt x="40" y="99"/>
                      </a:lnTo>
                      <a:lnTo>
                        <a:pt x="39" y="101"/>
                      </a:lnTo>
                      <a:lnTo>
                        <a:pt x="36" y="102"/>
                      </a:lnTo>
                      <a:lnTo>
                        <a:pt x="25" y="107"/>
                      </a:lnTo>
                      <a:lnTo>
                        <a:pt x="14" y="112"/>
                      </a:lnTo>
                      <a:lnTo>
                        <a:pt x="9" y="113"/>
                      </a:lnTo>
                      <a:lnTo>
                        <a:pt x="7" y="112"/>
                      </a:lnTo>
                      <a:lnTo>
                        <a:pt x="4" y="108"/>
                      </a:lnTo>
                      <a:lnTo>
                        <a:pt x="3" y="103"/>
                      </a:lnTo>
                      <a:lnTo>
                        <a:pt x="2" y="102"/>
                      </a:lnTo>
                      <a:lnTo>
                        <a:pt x="0" y="103"/>
                      </a:lnTo>
                      <a:lnTo>
                        <a:pt x="2" y="96"/>
                      </a:lnTo>
                      <a:lnTo>
                        <a:pt x="3" y="89"/>
                      </a:lnTo>
                      <a:lnTo>
                        <a:pt x="4" y="86"/>
                      </a:lnTo>
                      <a:lnTo>
                        <a:pt x="6" y="82"/>
                      </a:lnTo>
                      <a:lnTo>
                        <a:pt x="6" y="73"/>
                      </a:lnTo>
                      <a:lnTo>
                        <a:pt x="7" y="64"/>
                      </a:lnTo>
                      <a:lnTo>
                        <a:pt x="7" y="55"/>
                      </a:lnTo>
                      <a:lnTo>
                        <a:pt x="7" y="50"/>
                      </a:lnTo>
                      <a:lnTo>
                        <a:pt x="6" y="46"/>
                      </a:lnTo>
                      <a:lnTo>
                        <a:pt x="4" y="42"/>
                      </a:lnTo>
                      <a:lnTo>
                        <a:pt x="3" y="38"/>
                      </a:lnTo>
                      <a:lnTo>
                        <a:pt x="4" y="35"/>
                      </a:lnTo>
                      <a:lnTo>
                        <a:pt x="6" y="31"/>
                      </a:lnTo>
                      <a:lnTo>
                        <a:pt x="9" y="25"/>
                      </a:lnTo>
                      <a:lnTo>
                        <a:pt x="14" y="19"/>
                      </a:lnTo>
                      <a:lnTo>
                        <a:pt x="14" y="18"/>
                      </a:lnTo>
                      <a:lnTo>
                        <a:pt x="14" y="17"/>
                      </a:lnTo>
                      <a:lnTo>
                        <a:pt x="12" y="16"/>
                      </a:lnTo>
                      <a:lnTo>
                        <a:pt x="8" y="16"/>
                      </a:lnTo>
                      <a:lnTo>
                        <a:pt x="4" y="14"/>
                      </a:lnTo>
                      <a:lnTo>
                        <a:pt x="3" y="13"/>
                      </a:lnTo>
                      <a:lnTo>
                        <a:pt x="7" y="11"/>
                      </a:lnTo>
                      <a:lnTo>
                        <a:pt x="8" y="7"/>
                      </a:lnTo>
                      <a:lnTo>
                        <a:pt x="12" y="1"/>
                      </a:lnTo>
                      <a:lnTo>
                        <a:pt x="13" y="0"/>
                      </a:lnTo>
                      <a:lnTo>
                        <a:pt x="14" y="0"/>
                      </a:lnTo>
                      <a:lnTo>
                        <a:pt x="18" y="1"/>
                      </a:lnTo>
                      <a:lnTo>
                        <a:pt x="21" y="3"/>
                      </a:lnTo>
                      <a:lnTo>
                        <a:pt x="28" y="1"/>
                      </a:lnTo>
                      <a:lnTo>
                        <a:pt x="31" y="3"/>
                      </a:lnTo>
                      <a:lnTo>
                        <a:pt x="33" y="11"/>
                      </a:lnTo>
                      <a:lnTo>
                        <a:pt x="39" y="16"/>
                      </a:lnTo>
                      <a:lnTo>
                        <a:pt x="45" y="20"/>
                      </a:lnTo>
                      <a:lnTo>
                        <a:pt x="51" y="23"/>
                      </a:lnTo>
                      <a:lnTo>
                        <a:pt x="59" y="24"/>
                      </a:lnTo>
                      <a:lnTo>
                        <a:pt x="68" y="24"/>
                      </a:lnTo>
                      <a:lnTo>
                        <a:pt x="83" y="24"/>
                      </a:lnTo>
                      <a:lnTo>
                        <a:pt x="86" y="24"/>
                      </a:lnTo>
                      <a:lnTo>
                        <a:pt x="87" y="25"/>
                      </a:lnTo>
                      <a:lnTo>
                        <a:pt x="88" y="30"/>
                      </a:lnTo>
                      <a:lnTo>
                        <a:pt x="87" y="35"/>
                      </a:lnTo>
                      <a:lnTo>
                        <a:pt x="86" y="39"/>
                      </a:lnTo>
                      <a:lnTo>
                        <a:pt x="84" y="42"/>
                      </a:lnTo>
                      <a:lnTo>
                        <a:pt x="82" y="45"/>
                      </a:lnTo>
                      <a:lnTo>
                        <a:pt x="75" y="50"/>
                      </a:lnTo>
                      <a:lnTo>
                        <a:pt x="69" y="54"/>
                      </a:lnTo>
                      <a:lnTo>
                        <a:pt x="66" y="57"/>
                      </a:lnTo>
                      <a:lnTo>
                        <a:pt x="65" y="60"/>
                      </a:lnTo>
                      <a:lnTo>
                        <a:pt x="64" y="62"/>
                      </a:lnTo>
                      <a:lnTo>
                        <a:pt x="65" y="64"/>
                      </a:lnTo>
                      <a:lnTo>
                        <a:pt x="68" y="65"/>
                      </a:lnTo>
                      <a:lnTo>
                        <a:pt x="72" y="67"/>
                      </a:lnTo>
                      <a:lnTo>
                        <a:pt x="75" y="69"/>
                      </a:lnTo>
                      <a:lnTo>
                        <a:pt x="77" y="75"/>
                      </a:lnTo>
                      <a:lnTo>
                        <a:pt x="78" y="81"/>
                      </a:lnTo>
                      <a:lnTo>
                        <a:pt x="78" y="88"/>
                      </a:lnTo>
                      <a:lnTo>
                        <a:pt x="75" y="94"/>
                      </a:lnTo>
                      <a:lnTo>
                        <a:pt x="75" y="9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1" name="Freeform 626">
                  <a:extLst>
                    <a:ext uri="{FF2B5EF4-FFF2-40B4-BE49-F238E27FC236}">
                      <a16:creationId xmlns:a16="http://schemas.microsoft.com/office/drawing/2014/main" id="{6B735BB6-E37E-EC4A-8F2F-E384FB91C8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2219" y="3782233"/>
                  <a:ext cx="84352" cy="41436"/>
                </a:xfrm>
                <a:custGeom>
                  <a:avLst/>
                  <a:gdLst>
                    <a:gd name="T0" fmla="*/ 2147483647 w 62"/>
                    <a:gd name="T1" fmla="*/ 2147483647 h 28"/>
                    <a:gd name="T2" fmla="*/ 2147483647 w 62"/>
                    <a:gd name="T3" fmla="*/ 2147483647 h 28"/>
                    <a:gd name="T4" fmla="*/ 2147483647 w 62"/>
                    <a:gd name="T5" fmla="*/ 2147483647 h 28"/>
                    <a:gd name="T6" fmla="*/ 2147483647 w 62"/>
                    <a:gd name="T7" fmla="*/ 2147483647 h 28"/>
                    <a:gd name="T8" fmla="*/ 2147483647 w 62"/>
                    <a:gd name="T9" fmla="*/ 2147483647 h 28"/>
                    <a:gd name="T10" fmla="*/ 2147483647 w 62"/>
                    <a:gd name="T11" fmla="*/ 2147483647 h 28"/>
                    <a:gd name="T12" fmla="*/ 2147483647 w 62"/>
                    <a:gd name="T13" fmla="*/ 0 h 28"/>
                    <a:gd name="T14" fmla="*/ 2147483647 w 62"/>
                    <a:gd name="T15" fmla="*/ 0 h 28"/>
                    <a:gd name="T16" fmla="*/ 2147483647 w 62"/>
                    <a:gd name="T17" fmla="*/ 2147483647 h 28"/>
                    <a:gd name="T18" fmla="*/ 2147483647 w 62"/>
                    <a:gd name="T19" fmla="*/ 2147483647 h 28"/>
                    <a:gd name="T20" fmla="*/ 2147483647 w 62"/>
                    <a:gd name="T21" fmla="*/ 2147483647 h 28"/>
                    <a:gd name="T22" fmla="*/ 2147483647 w 62"/>
                    <a:gd name="T23" fmla="*/ 2147483647 h 28"/>
                    <a:gd name="T24" fmla="*/ 2147483647 w 62"/>
                    <a:gd name="T25" fmla="*/ 2147483647 h 28"/>
                    <a:gd name="T26" fmla="*/ 2147483647 w 62"/>
                    <a:gd name="T27" fmla="*/ 2147483647 h 28"/>
                    <a:gd name="T28" fmla="*/ 2147483647 w 62"/>
                    <a:gd name="T29" fmla="*/ 2147483647 h 28"/>
                    <a:gd name="T30" fmla="*/ 2147483647 w 62"/>
                    <a:gd name="T31" fmla="*/ 2147483647 h 28"/>
                    <a:gd name="T32" fmla="*/ 2147483647 w 62"/>
                    <a:gd name="T33" fmla="*/ 2147483647 h 28"/>
                    <a:gd name="T34" fmla="*/ 2147483647 w 62"/>
                    <a:gd name="T35" fmla="*/ 2147483647 h 28"/>
                    <a:gd name="T36" fmla="*/ 2147483647 w 62"/>
                    <a:gd name="T37" fmla="*/ 2147483647 h 28"/>
                    <a:gd name="T38" fmla="*/ 2147483647 w 62"/>
                    <a:gd name="T39" fmla="*/ 2147483647 h 28"/>
                    <a:gd name="T40" fmla="*/ 2147483647 w 62"/>
                    <a:gd name="T41" fmla="*/ 2147483647 h 28"/>
                    <a:gd name="T42" fmla="*/ 2147483647 w 62"/>
                    <a:gd name="T43" fmla="*/ 2147483647 h 28"/>
                    <a:gd name="T44" fmla="*/ 2147483647 w 62"/>
                    <a:gd name="T45" fmla="*/ 2147483647 h 28"/>
                    <a:gd name="T46" fmla="*/ 2147483647 w 62"/>
                    <a:gd name="T47" fmla="*/ 2147483647 h 28"/>
                    <a:gd name="T48" fmla="*/ 2147483647 w 62"/>
                    <a:gd name="T49" fmla="*/ 2147483647 h 28"/>
                    <a:gd name="T50" fmla="*/ 2147483647 w 62"/>
                    <a:gd name="T51" fmla="*/ 2147483647 h 28"/>
                    <a:gd name="T52" fmla="*/ 2147483647 w 62"/>
                    <a:gd name="T53" fmla="*/ 2147483647 h 28"/>
                    <a:gd name="T54" fmla="*/ 0 w 62"/>
                    <a:gd name="T55" fmla="*/ 2147483647 h 28"/>
                    <a:gd name="T56" fmla="*/ 0 w 62"/>
                    <a:gd name="T57" fmla="*/ 2147483647 h 28"/>
                    <a:gd name="T58" fmla="*/ 2147483647 w 62"/>
                    <a:gd name="T59" fmla="*/ 2147483647 h 28"/>
                    <a:gd name="T60" fmla="*/ 2147483647 w 62"/>
                    <a:gd name="T61" fmla="*/ 2147483647 h 2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62"/>
                    <a:gd name="T94" fmla="*/ 0 h 28"/>
                    <a:gd name="T95" fmla="*/ 62 w 62"/>
                    <a:gd name="T96" fmla="*/ 28 h 2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62" h="28">
                      <a:moveTo>
                        <a:pt x="4" y="12"/>
                      </a:moveTo>
                      <a:lnTo>
                        <a:pt x="6" y="9"/>
                      </a:lnTo>
                      <a:lnTo>
                        <a:pt x="8" y="6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23" y="3"/>
                      </a:lnTo>
                      <a:lnTo>
                        <a:pt x="33" y="0"/>
                      </a:lnTo>
                      <a:lnTo>
                        <a:pt x="37" y="0"/>
                      </a:lnTo>
                      <a:lnTo>
                        <a:pt x="41" y="1"/>
                      </a:lnTo>
                      <a:lnTo>
                        <a:pt x="43" y="3"/>
                      </a:lnTo>
                      <a:lnTo>
                        <a:pt x="46" y="4"/>
                      </a:lnTo>
                      <a:lnTo>
                        <a:pt x="47" y="4"/>
                      </a:lnTo>
                      <a:lnTo>
                        <a:pt x="51" y="7"/>
                      </a:lnTo>
                      <a:lnTo>
                        <a:pt x="56" y="9"/>
                      </a:lnTo>
                      <a:lnTo>
                        <a:pt x="60" y="12"/>
                      </a:lnTo>
                      <a:lnTo>
                        <a:pt x="61" y="13"/>
                      </a:lnTo>
                      <a:lnTo>
                        <a:pt x="62" y="16"/>
                      </a:lnTo>
                      <a:lnTo>
                        <a:pt x="62" y="20"/>
                      </a:lnTo>
                      <a:lnTo>
                        <a:pt x="61" y="22"/>
                      </a:lnTo>
                      <a:lnTo>
                        <a:pt x="58" y="23"/>
                      </a:lnTo>
                      <a:lnTo>
                        <a:pt x="52" y="25"/>
                      </a:lnTo>
                      <a:lnTo>
                        <a:pt x="46" y="26"/>
                      </a:lnTo>
                      <a:lnTo>
                        <a:pt x="32" y="28"/>
                      </a:lnTo>
                      <a:lnTo>
                        <a:pt x="18" y="26"/>
                      </a:lnTo>
                      <a:lnTo>
                        <a:pt x="5" y="23"/>
                      </a:lnTo>
                      <a:lnTo>
                        <a:pt x="3" y="22"/>
                      </a:lnTo>
                      <a:lnTo>
                        <a:pt x="1" y="20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4" y="11"/>
                      </a:lnTo>
                      <a:lnTo>
                        <a:pt x="4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2" name="Freeform 627">
                  <a:extLst>
                    <a:ext uri="{FF2B5EF4-FFF2-40B4-BE49-F238E27FC236}">
                      <a16:creationId xmlns:a16="http://schemas.microsoft.com/office/drawing/2014/main" id="{94ACF109-B973-644B-9B43-C470302A93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07998" y="3720082"/>
                  <a:ext cx="184984" cy="119870"/>
                </a:xfrm>
                <a:custGeom>
                  <a:avLst/>
                  <a:gdLst>
                    <a:gd name="T0" fmla="*/ 2147483647 w 135"/>
                    <a:gd name="T1" fmla="*/ 2147483647 h 81"/>
                    <a:gd name="T2" fmla="*/ 2147483647 w 135"/>
                    <a:gd name="T3" fmla="*/ 2147483647 h 81"/>
                    <a:gd name="T4" fmla="*/ 2147483647 w 135"/>
                    <a:gd name="T5" fmla="*/ 2147483647 h 81"/>
                    <a:gd name="T6" fmla="*/ 2147483647 w 135"/>
                    <a:gd name="T7" fmla="*/ 2147483647 h 81"/>
                    <a:gd name="T8" fmla="*/ 2147483647 w 135"/>
                    <a:gd name="T9" fmla="*/ 2147483647 h 81"/>
                    <a:gd name="T10" fmla="*/ 2147483647 w 135"/>
                    <a:gd name="T11" fmla="*/ 2147483647 h 81"/>
                    <a:gd name="T12" fmla="*/ 2147483647 w 135"/>
                    <a:gd name="T13" fmla="*/ 2147483647 h 81"/>
                    <a:gd name="T14" fmla="*/ 2147483647 w 135"/>
                    <a:gd name="T15" fmla="*/ 2147483647 h 81"/>
                    <a:gd name="T16" fmla="*/ 2147483647 w 135"/>
                    <a:gd name="T17" fmla="*/ 2147483647 h 81"/>
                    <a:gd name="T18" fmla="*/ 2147483647 w 135"/>
                    <a:gd name="T19" fmla="*/ 2147483647 h 81"/>
                    <a:gd name="T20" fmla="*/ 2147483647 w 135"/>
                    <a:gd name="T21" fmla="*/ 2147483647 h 81"/>
                    <a:gd name="T22" fmla="*/ 2147483647 w 135"/>
                    <a:gd name="T23" fmla="*/ 2147483647 h 81"/>
                    <a:gd name="T24" fmla="*/ 2147483647 w 135"/>
                    <a:gd name="T25" fmla="*/ 2147483647 h 81"/>
                    <a:gd name="T26" fmla="*/ 2147483647 w 135"/>
                    <a:gd name="T27" fmla="*/ 2147483647 h 81"/>
                    <a:gd name="T28" fmla="*/ 2147483647 w 135"/>
                    <a:gd name="T29" fmla="*/ 0 h 81"/>
                    <a:gd name="T30" fmla="*/ 2147483647 w 135"/>
                    <a:gd name="T31" fmla="*/ 2147483647 h 81"/>
                    <a:gd name="T32" fmla="*/ 2147483647 w 135"/>
                    <a:gd name="T33" fmla="*/ 2147483647 h 81"/>
                    <a:gd name="T34" fmla="*/ 2147483647 w 135"/>
                    <a:gd name="T35" fmla="*/ 2147483647 h 81"/>
                    <a:gd name="T36" fmla="*/ 2147483647 w 135"/>
                    <a:gd name="T37" fmla="*/ 2147483647 h 81"/>
                    <a:gd name="T38" fmla="*/ 2147483647 w 135"/>
                    <a:gd name="T39" fmla="*/ 2147483647 h 81"/>
                    <a:gd name="T40" fmla="*/ 2147483647 w 135"/>
                    <a:gd name="T41" fmla="*/ 2147483647 h 81"/>
                    <a:gd name="T42" fmla="*/ 2147483647 w 135"/>
                    <a:gd name="T43" fmla="*/ 2147483647 h 81"/>
                    <a:gd name="T44" fmla="*/ 2147483647 w 135"/>
                    <a:gd name="T45" fmla="*/ 2147483647 h 81"/>
                    <a:gd name="T46" fmla="*/ 2147483647 w 135"/>
                    <a:gd name="T47" fmla="*/ 2147483647 h 81"/>
                    <a:gd name="T48" fmla="*/ 2147483647 w 135"/>
                    <a:gd name="T49" fmla="*/ 2147483647 h 81"/>
                    <a:gd name="T50" fmla="*/ 2147483647 w 135"/>
                    <a:gd name="T51" fmla="*/ 2147483647 h 81"/>
                    <a:gd name="T52" fmla="*/ 2147483647 w 135"/>
                    <a:gd name="T53" fmla="*/ 2147483647 h 81"/>
                    <a:gd name="T54" fmla="*/ 2147483647 w 135"/>
                    <a:gd name="T55" fmla="*/ 2147483647 h 81"/>
                    <a:gd name="T56" fmla="*/ 2147483647 w 135"/>
                    <a:gd name="T57" fmla="*/ 2147483647 h 81"/>
                    <a:gd name="T58" fmla="*/ 2147483647 w 135"/>
                    <a:gd name="T59" fmla="*/ 2147483647 h 81"/>
                    <a:gd name="T60" fmla="*/ 2147483647 w 135"/>
                    <a:gd name="T61" fmla="*/ 2147483647 h 81"/>
                    <a:gd name="T62" fmla="*/ 2147483647 w 135"/>
                    <a:gd name="T63" fmla="*/ 2147483647 h 81"/>
                    <a:gd name="T64" fmla="*/ 2147483647 w 135"/>
                    <a:gd name="T65" fmla="*/ 2147483647 h 8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35"/>
                    <a:gd name="T100" fmla="*/ 0 h 81"/>
                    <a:gd name="T101" fmla="*/ 135 w 135"/>
                    <a:gd name="T102" fmla="*/ 81 h 8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35" h="81">
                      <a:moveTo>
                        <a:pt x="135" y="48"/>
                      </a:moveTo>
                      <a:lnTo>
                        <a:pt x="130" y="47"/>
                      </a:lnTo>
                      <a:lnTo>
                        <a:pt x="126" y="46"/>
                      </a:lnTo>
                      <a:lnTo>
                        <a:pt x="117" y="41"/>
                      </a:lnTo>
                      <a:lnTo>
                        <a:pt x="115" y="41"/>
                      </a:lnTo>
                      <a:lnTo>
                        <a:pt x="113" y="41"/>
                      </a:lnTo>
                      <a:lnTo>
                        <a:pt x="110" y="43"/>
                      </a:lnTo>
                      <a:lnTo>
                        <a:pt x="106" y="46"/>
                      </a:lnTo>
                      <a:lnTo>
                        <a:pt x="103" y="46"/>
                      </a:lnTo>
                      <a:lnTo>
                        <a:pt x="101" y="46"/>
                      </a:lnTo>
                      <a:lnTo>
                        <a:pt x="94" y="42"/>
                      </a:lnTo>
                      <a:lnTo>
                        <a:pt x="89" y="39"/>
                      </a:lnTo>
                      <a:lnTo>
                        <a:pt x="86" y="33"/>
                      </a:lnTo>
                      <a:lnTo>
                        <a:pt x="80" y="28"/>
                      </a:lnTo>
                      <a:lnTo>
                        <a:pt x="77" y="27"/>
                      </a:lnTo>
                      <a:lnTo>
                        <a:pt x="73" y="27"/>
                      </a:lnTo>
                      <a:lnTo>
                        <a:pt x="70" y="27"/>
                      </a:lnTo>
                      <a:lnTo>
                        <a:pt x="68" y="27"/>
                      </a:lnTo>
                      <a:lnTo>
                        <a:pt x="68" y="26"/>
                      </a:lnTo>
                      <a:lnTo>
                        <a:pt x="69" y="22"/>
                      </a:lnTo>
                      <a:lnTo>
                        <a:pt x="68" y="21"/>
                      </a:lnTo>
                      <a:lnTo>
                        <a:pt x="67" y="20"/>
                      </a:lnTo>
                      <a:lnTo>
                        <a:pt x="61" y="19"/>
                      </a:lnTo>
                      <a:lnTo>
                        <a:pt x="58" y="19"/>
                      </a:lnTo>
                      <a:lnTo>
                        <a:pt x="54" y="17"/>
                      </a:lnTo>
                      <a:lnTo>
                        <a:pt x="51" y="15"/>
                      </a:lnTo>
                      <a:lnTo>
                        <a:pt x="50" y="13"/>
                      </a:lnTo>
                      <a:lnTo>
                        <a:pt x="45" y="8"/>
                      </a:lnTo>
                      <a:lnTo>
                        <a:pt x="39" y="3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27" y="1"/>
                      </a:lnTo>
                      <a:lnTo>
                        <a:pt x="21" y="3"/>
                      </a:lnTo>
                      <a:lnTo>
                        <a:pt x="17" y="3"/>
                      </a:lnTo>
                      <a:lnTo>
                        <a:pt x="14" y="2"/>
                      </a:lnTo>
                      <a:lnTo>
                        <a:pt x="13" y="7"/>
                      </a:lnTo>
                      <a:lnTo>
                        <a:pt x="13" y="10"/>
                      </a:lnTo>
                      <a:lnTo>
                        <a:pt x="13" y="15"/>
                      </a:lnTo>
                      <a:lnTo>
                        <a:pt x="12" y="19"/>
                      </a:lnTo>
                      <a:lnTo>
                        <a:pt x="8" y="21"/>
                      </a:lnTo>
                      <a:lnTo>
                        <a:pt x="4" y="23"/>
                      </a:lnTo>
                      <a:lnTo>
                        <a:pt x="2" y="26"/>
                      </a:lnTo>
                      <a:lnTo>
                        <a:pt x="0" y="30"/>
                      </a:lnTo>
                      <a:lnTo>
                        <a:pt x="2" y="32"/>
                      </a:lnTo>
                      <a:lnTo>
                        <a:pt x="4" y="33"/>
                      </a:lnTo>
                      <a:lnTo>
                        <a:pt x="9" y="35"/>
                      </a:lnTo>
                      <a:lnTo>
                        <a:pt x="14" y="38"/>
                      </a:lnTo>
                      <a:lnTo>
                        <a:pt x="23" y="46"/>
                      </a:lnTo>
                      <a:lnTo>
                        <a:pt x="26" y="47"/>
                      </a:lnTo>
                      <a:lnTo>
                        <a:pt x="30" y="47"/>
                      </a:lnTo>
                      <a:lnTo>
                        <a:pt x="33" y="47"/>
                      </a:lnTo>
                      <a:lnTo>
                        <a:pt x="37" y="48"/>
                      </a:lnTo>
                      <a:lnTo>
                        <a:pt x="42" y="54"/>
                      </a:lnTo>
                      <a:lnTo>
                        <a:pt x="45" y="56"/>
                      </a:lnTo>
                      <a:lnTo>
                        <a:pt x="49" y="59"/>
                      </a:lnTo>
                      <a:lnTo>
                        <a:pt x="77" y="71"/>
                      </a:lnTo>
                      <a:lnTo>
                        <a:pt x="91" y="77"/>
                      </a:lnTo>
                      <a:lnTo>
                        <a:pt x="105" y="80"/>
                      </a:lnTo>
                      <a:lnTo>
                        <a:pt x="112" y="81"/>
                      </a:lnTo>
                      <a:lnTo>
                        <a:pt x="119" y="80"/>
                      </a:lnTo>
                      <a:lnTo>
                        <a:pt x="125" y="79"/>
                      </a:lnTo>
                      <a:lnTo>
                        <a:pt x="131" y="75"/>
                      </a:lnTo>
                      <a:lnTo>
                        <a:pt x="133" y="73"/>
                      </a:lnTo>
                      <a:lnTo>
                        <a:pt x="134" y="70"/>
                      </a:lnTo>
                      <a:lnTo>
                        <a:pt x="135" y="62"/>
                      </a:lnTo>
                      <a:lnTo>
                        <a:pt x="135" y="55"/>
                      </a:lnTo>
                      <a:lnTo>
                        <a:pt x="135" y="4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3" name="Freeform 628">
                  <a:extLst>
                    <a:ext uri="{FF2B5EF4-FFF2-40B4-BE49-F238E27FC236}">
                      <a16:creationId xmlns:a16="http://schemas.microsoft.com/office/drawing/2014/main" id="{B9B7389B-4CD2-0E40-A21C-0F7FA9AFCB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0740" y="3780755"/>
                  <a:ext cx="84353" cy="39956"/>
                </a:xfrm>
                <a:custGeom>
                  <a:avLst/>
                  <a:gdLst>
                    <a:gd name="T0" fmla="*/ 2147483647 w 62"/>
                    <a:gd name="T1" fmla="*/ 2147483647 h 27"/>
                    <a:gd name="T2" fmla="*/ 2147483647 w 62"/>
                    <a:gd name="T3" fmla="*/ 2147483647 h 27"/>
                    <a:gd name="T4" fmla="*/ 2147483647 w 62"/>
                    <a:gd name="T5" fmla="*/ 2147483647 h 27"/>
                    <a:gd name="T6" fmla="*/ 2147483647 w 62"/>
                    <a:gd name="T7" fmla="*/ 2147483647 h 27"/>
                    <a:gd name="T8" fmla="*/ 2147483647 w 62"/>
                    <a:gd name="T9" fmla="*/ 2147483647 h 27"/>
                    <a:gd name="T10" fmla="*/ 2147483647 w 62"/>
                    <a:gd name="T11" fmla="*/ 2147483647 h 27"/>
                    <a:gd name="T12" fmla="*/ 2147483647 w 62"/>
                    <a:gd name="T13" fmla="*/ 2147483647 h 27"/>
                    <a:gd name="T14" fmla="*/ 2147483647 w 62"/>
                    <a:gd name="T15" fmla="*/ 2147483647 h 27"/>
                    <a:gd name="T16" fmla="*/ 2147483647 w 62"/>
                    <a:gd name="T17" fmla="*/ 0 h 27"/>
                    <a:gd name="T18" fmla="*/ 2147483647 w 62"/>
                    <a:gd name="T19" fmla="*/ 0 h 27"/>
                    <a:gd name="T20" fmla="*/ 2147483647 w 62"/>
                    <a:gd name="T21" fmla="*/ 0 h 27"/>
                    <a:gd name="T22" fmla="*/ 2147483647 w 62"/>
                    <a:gd name="T23" fmla="*/ 2147483647 h 27"/>
                    <a:gd name="T24" fmla="*/ 2147483647 w 62"/>
                    <a:gd name="T25" fmla="*/ 2147483647 h 27"/>
                    <a:gd name="T26" fmla="*/ 2147483647 w 62"/>
                    <a:gd name="T27" fmla="*/ 2147483647 h 27"/>
                    <a:gd name="T28" fmla="*/ 2147483647 w 62"/>
                    <a:gd name="T29" fmla="*/ 2147483647 h 27"/>
                    <a:gd name="T30" fmla="*/ 2147483647 w 62"/>
                    <a:gd name="T31" fmla="*/ 2147483647 h 27"/>
                    <a:gd name="T32" fmla="*/ 2147483647 w 62"/>
                    <a:gd name="T33" fmla="*/ 2147483647 h 27"/>
                    <a:gd name="T34" fmla="*/ 2147483647 w 62"/>
                    <a:gd name="T35" fmla="*/ 2147483647 h 27"/>
                    <a:gd name="T36" fmla="*/ 2147483647 w 62"/>
                    <a:gd name="T37" fmla="*/ 2147483647 h 27"/>
                    <a:gd name="T38" fmla="*/ 2147483647 w 62"/>
                    <a:gd name="T39" fmla="*/ 2147483647 h 27"/>
                    <a:gd name="T40" fmla="*/ 2147483647 w 62"/>
                    <a:gd name="T41" fmla="*/ 2147483647 h 27"/>
                    <a:gd name="T42" fmla="*/ 2147483647 w 62"/>
                    <a:gd name="T43" fmla="*/ 2147483647 h 27"/>
                    <a:gd name="T44" fmla="*/ 2147483647 w 62"/>
                    <a:gd name="T45" fmla="*/ 2147483647 h 27"/>
                    <a:gd name="T46" fmla="*/ 2147483647 w 62"/>
                    <a:gd name="T47" fmla="*/ 2147483647 h 27"/>
                    <a:gd name="T48" fmla="*/ 2147483647 w 62"/>
                    <a:gd name="T49" fmla="*/ 2147483647 h 27"/>
                    <a:gd name="T50" fmla="*/ 2147483647 w 62"/>
                    <a:gd name="T51" fmla="*/ 2147483647 h 27"/>
                    <a:gd name="T52" fmla="*/ 2147483647 w 62"/>
                    <a:gd name="T53" fmla="*/ 2147483647 h 27"/>
                    <a:gd name="T54" fmla="*/ 2147483647 w 62"/>
                    <a:gd name="T55" fmla="*/ 2147483647 h 27"/>
                    <a:gd name="T56" fmla="*/ 2147483647 w 62"/>
                    <a:gd name="T57" fmla="*/ 2147483647 h 27"/>
                    <a:gd name="T58" fmla="*/ 2147483647 w 62"/>
                    <a:gd name="T59" fmla="*/ 2147483647 h 27"/>
                    <a:gd name="T60" fmla="*/ 2147483647 w 62"/>
                    <a:gd name="T61" fmla="*/ 2147483647 h 27"/>
                    <a:gd name="T62" fmla="*/ 2147483647 w 62"/>
                    <a:gd name="T63" fmla="*/ 2147483647 h 27"/>
                    <a:gd name="T64" fmla="*/ 2147483647 w 62"/>
                    <a:gd name="T65" fmla="*/ 2147483647 h 27"/>
                    <a:gd name="T66" fmla="*/ 2147483647 w 62"/>
                    <a:gd name="T67" fmla="*/ 2147483647 h 27"/>
                    <a:gd name="T68" fmla="*/ 2147483647 w 62"/>
                    <a:gd name="T69" fmla="*/ 2147483647 h 27"/>
                    <a:gd name="T70" fmla="*/ 0 w 62"/>
                    <a:gd name="T71" fmla="*/ 2147483647 h 27"/>
                    <a:gd name="T72" fmla="*/ 0 w 62"/>
                    <a:gd name="T73" fmla="*/ 2147483647 h 27"/>
                    <a:gd name="T74" fmla="*/ 2147483647 w 62"/>
                    <a:gd name="T75" fmla="*/ 2147483647 h 27"/>
                    <a:gd name="T76" fmla="*/ 2147483647 w 62"/>
                    <a:gd name="T77" fmla="*/ 2147483647 h 27"/>
                    <a:gd name="T78" fmla="*/ 2147483647 w 62"/>
                    <a:gd name="T79" fmla="*/ 2147483647 h 27"/>
                    <a:gd name="T80" fmla="*/ 2147483647 w 62"/>
                    <a:gd name="T81" fmla="*/ 2147483647 h 27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2"/>
                    <a:gd name="T124" fmla="*/ 0 h 27"/>
                    <a:gd name="T125" fmla="*/ 62 w 62"/>
                    <a:gd name="T126" fmla="*/ 27 h 27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2" h="27">
                      <a:moveTo>
                        <a:pt x="4" y="12"/>
                      </a:moveTo>
                      <a:lnTo>
                        <a:pt x="4" y="12"/>
                      </a:lnTo>
                      <a:lnTo>
                        <a:pt x="6" y="8"/>
                      </a:lnTo>
                      <a:lnTo>
                        <a:pt x="7" y="6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23" y="2"/>
                      </a:lnTo>
                      <a:lnTo>
                        <a:pt x="33" y="0"/>
                      </a:lnTo>
                      <a:lnTo>
                        <a:pt x="37" y="0"/>
                      </a:lnTo>
                      <a:lnTo>
                        <a:pt x="40" y="1"/>
                      </a:lnTo>
                      <a:lnTo>
                        <a:pt x="43" y="2"/>
                      </a:lnTo>
                      <a:lnTo>
                        <a:pt x="45" y="4"/>
                      </a:lnTo>
                      <a:lnTo>
                        <a:pt x="47" y="4"/>
                      </a:lnTo>
                      <a:lnTo>
                        <a:pt x="51" y="7"/>
                      </a:lnTo>
                      <a:lnTo>
                        <a:pt x="56" y="8"/>
                      </a:lnTo>
                      <a:lnTo>
                        <a:pt x="59" y="12"/>
                      </a:lnTo>
                      <a:lnTo>
                        <a:pt x="61" y="13"/>
                      </a:lnTo>
                      <a:lnTo>
                        <a:pt x="62" y="15"/>
                      </a:lnTo>
                      <a:lnTo>
                        <a:pt x="62" y="20"/>
                      </a:lnTo>
                      <a:lnTo>
                        <a:pt x="61" y="21"/>
                      </a:lnTo>
                      <a:lnTo>
                        <a:pt x="58" y="23"/>
                      </a:lnTo>
                      <a:lnTo>
                        <a:pt x="52" y="25"/>
                      </a:lnTo>
                      <a:lnTo>
                        <a:pt x="45" y="26"/>
                      </a:lnTo>
                      <a:lnTo>
                        <a:pt x="32" y="27"/>
                      </a:lnTo>
                      <a:lnTo>
                        <a:pt x="18" y="26"/>
                      </a:lnTo>
                      <a:lnTo>
                        <a:pt x="5" y="23"/>
                      </a:lnTo>
                      <a:lnTo>
                        <a:pt x="2" y="21"/>
                      </a:lnTo>
                      <a:lnTo>
                        <a:pt x="1" y="20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4" y="11"/>
                      </a:lnTo>
                      <a:lnTo>
                        <a:pt x="4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4" name="Freeform 629">
                  <a:extLst>
                    <a:ext uri="{FF2B5EF4-FFF2-40B4-BE49-F238E27FC236}">
                      <a16:creationId xmlns:a16="http://schemas.microsoft.com/office/drawing/2014/main" id="{07D3A1B4-C69C-9E4F-AF86-84D3D0BBBC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06517" y="3717120"/>
                  <a:ext cx="184984" cy="121349"/>
                </a:xfrm>
                <a:custGeom>
                  <a:avLst/>
                  <a:gdLst>
                    <a:gd name="T0" fmla="*/ 2147483647 w 135"/>
                    <a:gd name="T1" fmla="*/ 2147483647 h 82"/>
                    <a:gd name="T2" fmla="*/ 2147483647 w 135"/>
                    <a:gd name="T3" fmla="*/ 2147483647 h 82"/>
                    <a:gd name="T4" fmla="*/ 2147483647 w 135"/>
                    <a:gd name="T5" fmla="*/ 2147483647 h 82"/>
                    <a:gd name="T6" fmla="*/ 2147483647 w 135"/>
                    <a:gd name="T7" fmla="*/ 2147483647 h 82"/>
                    <a:gd name="T8" fmla="*/ 2147483647 w 135"/>
                    <a:gd name="T9" fmla="*/ 2147483647 h 82"/>
                    <a:gd name="T10" fmla="*/ 2147483647 w 135"/>
                    <a:gd name="T11" fmla="*/ 2147483647 h 82"/>
                    <a:gd name="T12" fmla="*/ 2147483647 w 135"/>
                    <a:gd name="T13" fmla="*/ 2147483647 h 82"/>
                    <a:gd name="T14" fmla="*/ 2147483647 w 135"/>
                    <a:gd name="T15" fmla="*/ 2147483647 h 82"/>
                    <a:gd name="T16" fmla="*/ 2147483647 w 135"/>
                    <a:gd name="T17" fmla="*/ 2147483647 h 82"/>
                    <a:gd name="T18" fmla="*/ 2147483647 w 135"/>
                    <a:gd name="T19" fmla="*/ 2147483647 h 82"/>
                    <a:gd name="T20" fmla="*/ 2147483647 w 135"/>
                    <a:gd name="T21" fmla="*/ 2147483647 h 82"/>
                    <a:gd name="T22" fmla="*/ 2147483647 w 135"/>
                    <a:gd name="T23" fmla="*/ 2147483647 h 82"/>
                    <a:gd name="T24" fmla="*/ 2147483647 w 135"/>
                    <a:gd name="T25" fmla="*/ 2147483647 h 82"/>
                    <a:gd name="T26" fmla="*/ 2147483647 w 135"/>
                    <a:gd name="T27" fmla="*/ 2147483647 h 82"/>
                    <a:gd name="T28" fmla="*/ 2147483647 w 135"/>
                    <a:gd name="T29" fmla="*/ 2147483647 h 82"/>
                    <a:gd name="T30" fmla="*/ 2147483647 w 135"/>
                    <a:gd name="T31" fmla="*/ 2147483647 h 82"/>
                    <a:gd name="T32" fmla="*/ 2147483647 w 135"/>
                    <a:gd name="T33" fmla="*/ 2147483647 h 82"/>
                    <a:gd name="T34" fmla="*/ 2147483647 w 135"/>
                    <a:gd name="T35" fmla="*/ 2147483647 h 82"/>
                    <a:gd name="T36" fmla="*/ 2147483647 w 135"/>
                    <a:gd name="T37" fmla="*/ 2147483647 h 82"/>
                    <a:gd name="T38" fmla="*/ 2147483647 w 135"/>
                    <a:gd name="T39" fmla="*/ 0 h 82"/>
                    <a:gd name="T40" fmla="*/ 2147483647 w 135"/>
                    <a:gd name="T41" fmla="*/ 2147483647 h 82"/>
                    <a:gd name="T42" fmla="*/ 2147483647 w 135"/>
                    <a:gd name="T43" fmla="*/ 2147483647 h 82"/>
                    <a:gd name="T44" fmla="*/ 2147483647 w 135"/>
                    <a:gd name="T45" fmla="*/ 2147483647 h 82"/>
                    <a:gd name="T46" fmla="*/ 2147483647 w 135"/>
                    <a:gd name="T47" fmla="*/ 2147483647 h 82"/>
                    <a:gd name="T48" fmla="*/ 2147483647 w 135"/>
                    <a:gd name="T49" fmla="*/ 2147483647 h 82"/>
                    <a:gd name="T50" fmla="*/ 2147483647 w 135"/>
                    <a:gd name="T51" fmla="*/ 2147483647 h 82"/>
                    <a:gd name="T52" fmla="*/ 2147483647 w 135"/>
                    <a:gd name="T53" fmla="*/ 2147483647 h 82"/>
                    <a:gd name="T54" fmla="*/ 0 w 135"/>
                    <a:gd name="T55" fmla="*/ 2147483647 h 82"/>
                    <a:gd name="T56" fmla="*/ 2147483647 w 135"/>
                    <a:gd name="T57" fmla="*/ 2147483647 h 82"/>
                    <a:gd name="T58" fmla="*/ 2147483647 w 135"/>
                    <a:gd name="T59" fmla="*/ 2147483647 h 82"/>
                    <a:gd name="T60" fmla="*/ 2147483647 w 135"/>
                    <a:gd name="T61" fmla="*/ 2147483647 h 82"/>
                    <a:gd name="T62" fmla="*/ 2147483647 w 135"/>
                    <a:gd name="T63" fmla="*/ 2147483647 h 82"/>
                    <a:gd name="T64" fmla="*/ 2147483647 w 135"/>
                    <a:gd name="T65" fmla="*/ 2147483647 h 82"/>
                    <a:gd name="T66" fmla="*/ 2147483647 w 135"/>
                    <a:gd name="T67" fmla="*/ 2147483647 h 82"/>
                    <a:gd name="T68" fmla="*/ 2147483647 w 135"/>
                    <a:gd name="T69" fmla="*/ 2147483647 h 82"/>
                    <a:gd name="T70" fmla="*/ 2147483647 w 135"/>
                    <a:gd name="T71" fmla="*/ 2147483647 h 82"/>
                    <a:gd name="T72" fmla="*/ 2147483647 w 135"/>
                    <a:gd name="T73" fmla="*/ 2147483647 h 82"/>
                    <a:gd name="T74" fmla="*/ 2147483647 w 135"/>
                    <a:gd name="T75" fmla="*/ 2147483647 h 82"/>
                    <a:gd name="T76" fmla="*/ 2147483647 w 135"/>
                    <a:gd name="T77" fmla="*/ 2147483647 h 82"/>
                    <a:gd name="T78" fmla="*/ 2147483647 w 135"/>
                    <a:gd name="T79" fmla="*/ 2147483647 h 82"/>
                    <a:gd name="T80" fmla="*/ 2147483647 w 135"/>
                    <a:gd name="T81" fmla="*/ 2147483647 h 82"/>
                    <a:gd name="T82" fmla="*/ 2147483647 w 135"/>
                    <a:gd name="T83" fmla="*/ 2147483647 h 82"/>
                    <a:gd name="T84" fmla="*/ 2147483647 w 135"/>
                    <a:gd name="T85" fmla="*/ 2147483647 h 8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5"/>
                    <a:gd name="T130" fmla="*/ 0 h 82"/>
                    <a:gd name="T131" fmla="*/ 135 w 135"/>
                    <a:gd name="T132" fmla="*/ 82 h 8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5" h="82">
                      <a:moveTo>
                        <a:pt x="135" y="49"/>
                      </a:moveTo>
                      <a:lnTo>
                        <a:pt x="135" y="49"/>
                      </a:lnTo>
                      <a:lnTo>
                        <a:pt x="130" y="48"/>
                      </a:lnTo>
                      <a:lnTo>
                        <a:pt x="126" y="47"/>
                      </a:lnTo>
                      <a:lnTo>
                        <a:pt x="117" y="42"/>
                      </a:lnTo>
                      <a:lnTo>
                        <a:pt x="114" y="42"/>
                      </a:lnTo>
                      <a:lnTo>
                        <a:pt x="113" y="42"/>
                      </a:lnTo>
                      <a:lnTo>
                        <a:pt x="109" y="44"/>
                      </a:lnTo>
                      <a:lnTo>
                        <a:pt x="106" y="47"/>
                      </a:lnTo>
                      <a:lnTo>
                        <a:pt x="103" y="47"/>
                      </a:lnTo>
                      <a:lnTo>
                        <a:pt x="101" y="47"/>
                      </a:lnTo>
                      <a:lnTo>
                        <a:pt x="94" y="43"/>
                      </a:lnTo>
                      <a:lnTo>
                        <a:pt x="89" y="40"/>
                      </a:lnTo>
                      <a:lnTo>
                        <a:pt x="85" y="34"/>
                      </a:lnTo>
                      <a:lnTo>
                        <a:pt x="80" y="29"/>
                      </a:lnTo>
                      <a:lnTo>
                        <a:pt x="76" y="28"/>
                      </a:lnTo>
                      <a:lnTo>
                        <a:pt x="73" y="28"/>
                      </a:lnTo>
                      <a:lnTo>
                        <a:pt x="70" y="28"/>
                      </a:lnTo>
                      <a:lnTo>
                        <a:pt x="68" y="28"/>
                      </a:lnTo>
                      <a:lnTo>
                        <a:pt x="68" y="26"/>
                      </a:lnTo>
                      <a:lnTo>
                        <a:pt x="69" y="23"/>
                      </a:lnTo>
                      <a:lnTo>
                        <a:pt x="68" y="22"/>
                      </a:lnTo>
                      <a:lnTo>
                        <a:pt x="66" y="21"/>
                      </a:lnTo>
                      <a:lnTo>
                        <a:pt x="61" y="19"/>
                      </a:lnTo>
                      <a:lnTo>
                        <a:pt x="57" y="19"/>
                      </a:lnTo>
                      <a:lnTo>
                        <a:pt x="54" y="18"/>
                      </a:lnTo>
                      <a:lnTo>
                        <a:pt x="51" y="16"/>
                      </a:lnTo>
                      <a:lnTo>
                        <a:pt x="50" y="13"/>
                      </a:lnTo>
                      <a:lnTo>
                        <a:pt x="45" y="9"/>
                      </a:lnTo>
                      <a:lnTo>
                        <a:pt x="38" y="4"/>
                      </a:lnTo>
                      <a:lnTo>
                        <a:pt x="32" y="0"/>
                      </a:lnTo>
                      <a:lnTo>
                        <a:pt x="29" y="0"/>
                      </a:lnTo>
                      <a:lnTo>
                        <a:pt x="27" y="2"/>
                      </a:lnTo>
                      <a:lnTo>
                        <a:pt x="21" y="4"/>
                      </a:lnTo>
                      <a:lnTo>
                        <a:pt x="17" y="4"/>
                      </a:lnTo>
                      <a:lnTo>
                        <a:pt x="14" y="3"/>
                      </a:lnTo>
                      <a:lnTo>
                        <a:pt x="13" y="7"/>
                      </a:lnTo>
                      <a:lnTo>
                        <a:pt x="13" y="11"/>
                      </a:lnTo>
                      <a:lnTo>
                        <a:pt x="13" y="16"/>
                      </a:lnTo>
                      <a:lnTo>
                        <a:pt x="12" y="19"/>
                      </a:lnTo>
                      <a:lnTo>
                        <a:pt x="8" y="22"/>
                      </a:lnTo>
                      <a:lnTo>
                        <a:pt x="4" y="24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2"/>
                      </a:lnTo>
                      <a:lnTo>
                        <a:pt x="4" y="34"/>
                      </a:lnTo>
                      <a:lnTo>
                        <a:pt x="9" y="36"/>
                      </a:lnTo>
                      <a:lnTo>
                        <a:pt x="14" y="38"/>
                      </a:lnTo>
                      <a:lnTo>
                        <a:pt x="23" y="47"/>
                      </a:lnTo>
                      <a:lnTo>
                        <a:pt x="26" y="48"/>
                      </a:lnTo>
                      <a:lnTo>
                        <a:pt x="29" y="48"/>
                      </a:lnTo>
                      <a:lnTo>
                        <a:pt x="33" y="48"/>
                      </a:lnTo>
                      <a:lnTo>
                        <a:pt x="37" y="49"/>
                      </a:lnTo>
                      <a:lnTo>
                        <a:pt x="42" y="55"/>
                      </a:lnTo>
                      <a:lnTo>
                        <a:pt x="45" y="57"/>
                      </a:lnTo>
                      <a:lnTo>
                        <a:pt x="48" y="60"/>
                      </a:lnTo>
                      <a:lnTo>
                        <a:pt x="76" y="72"/>
                      </a:lnTo>
                      <a:lnTo>
                        <a:pt x="90" y="77"/>
                      </a:lnTo>
                      <a:lnTo>
                        <a:pt x="104" y="81"/>
                      </a:lnTo>
                      <a:lnTo>
                        <a:pt x="112" y="82"/>
                      </a:lnTo>
                      <a:lnTo>
                        <a:pt x="118" y="81"/>
                      </a:lnTo>
                      <a:lnTo>
                        <a:pt x="125" y="80"/>
                      </a:lnTo>
                      <a:lnTo>
                        <a:pt x="131" y="76"/>
                      </a:lnTo>
                      <a:lnTo>
                        <a:pt x="132" y="74"/>
                      </a:lnTo>
                      <a:lnTo>
                        <a:pt x="134" y="70"/>
                      </a:lnTo>
                      <a:lnTo>
                        <a:pt x="135" y="63"/>
                      </a:lnTo>
                      <a:lnTo>
                        <a:pt x="135" y="56"/>
                      </a:lnTo>
                      <a:lnTo>
                        <a:pt x="135" y="4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5" name="Freeform 630">
                  <a:extLst>
                    <a:ext uri="{FF2B5EF4-FFF2-40B4-BE49-F238E27FC236}">
                      <a16:creationId xmlns:a16="http://schemas.microsoft.com/office/drawing/2014/main" id="{ACBB1916-A401-954A-9103-CBDD58ACD0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6181" y="4032335"/>
                  <a:ext cx="69554" cy="59195"/>
                </a:xfrm>
                <a:custGeom>
                  <a:avLst/>
                  <a:gdLst>
                    <a:gd name="T0" fmla="*/ 2147483647 w 51"/>
                    <a:gd name="T1" fmla="*/ 2147483647 h 40"/>
                    <a:gd name="T2" fmla="*/ 2147483647 w 51"/>
                    <a:gd name="T3" fmla="*/ 2147483647 h 40"/>
                    <a:gd name="T4" fmla="*/ 2147483647 w 51"/>
                    <a:gd name="T5" fmla="*/ 2147483647 h 40"/>
                    <a:gd name="T6" fmla="*/ 2147483647 w 51"/>
                    <a:gd name="T7" fmla="*/ 2147483647 h 40"/>
                    <a:gd name="T8" fmla="*/ 2147483647 w 51"/>
                    <a:gd name="T9" fmla="*/ 0 h 40"/>
                    <a:gd name="T10" fmla="*/ 2147483647 w 51"/>
                    <a:gd name="T11" fmla="*/ 2147483647 h 40"/>
                    <a:gd name="T12" fmla="*/ 2147483647 w 51"/>
                    <a:gd name="T13" fmla="*/ 2147483647 h 40"/>
                    <a:gd name="T14" fmla="*/ 2147483647 w 51"/>
                    <a:gd name="T15" fmla="*/ 2147483647 h 40"/>
                    <a:gd name="T16" fmla="*/ 2147483647 w 51"/>
                    <a:gd name="T17" fmla="*/ 2147483647 h 40"/>
                    <a:gd name="T18" fmla="*/ 2147483647 w 51"/>
                    <a:gd name="T19" fmla="*/ 2147483647 h 40"/>
                    <a:gd name="T20" fmla="*/ 2147483647 w 51"/>
                    <a:gd name="T21" fmla="*/ 2147483647 h 40"/>
                    <a:gd name="T22" fmla="*/ 2147483647 w 51"/>
                    <a:gd name="T23" fmla="*/ 2147483647 h 40"/>
                    <a:gd name="T24" fmla="*/ 2147483647 w 51"/>
                    <a:gd name="T25" fmla="*/ 2147483647 h 40"/>
                    <a:gd name="T26" fmla="*/ 2147483647 w 51"/>
                    <a:gd name="T27" fmla="*/ 2147483647 h 40"/>
                    <a:gd name="T28" fmla="*/ 0 w 51"/>
                    <a:gd name="T29" fmla="*/ 2147483647 h 40"/>
                    <a:gd name="T30" fmla="*/ 0 w 51"/>
                    <a:gd name="T31" fmla="*/ 2147483647 h 40"/>
                    <a:gd name="T32" fmla="*/ 2147483647 w 51"/>
                    <a:gd name="T33" fmla="*/ 2147483647 h 40"/>
                    <a:gd name="T34" fmla="*/ 2147483647 w 51"/>
                    <a:gd name="T35" fmla="*/ 2147483647 h 40"/>
                    <a:gd name="T36" fmla="*/ 2147483647 w 51"/>
                    <a:gd name="T37" fmla="*/ 2147483647 h 40"/>
                    <a:gd name="T38" fmla="*/ 2147483647 w 51"/>
                    <a:gd name="T39" fmla="*/ 2147483647 h 40"/>
                    <a:gd name="T40" fmla="*/ 2147483647 w 51"/>
                    <a:gd name="T41" fmla="*/ 2147483647 h 40"/>
                    <a:gd name="T42" fmla="*/ 2147483647 w 51"/>
                    <a:gd name="T43" fmla="*/ 2147483647 h 40"/>
                    <a:gd name="T44" fmla="*/ 2147483647 w 51"/>
                    <a:gd name="T45" fmla="*/ 2147483647 h 40"/>
                    <a:gd name="T46" fmla="*/ 2147483647 w 51"/>
                    <a:gd name="T47" fmla="*/ 2147483647 h 40"/>
                    <a:gd name="T48" fmla="*/ 2147483647 w 51"/>
                    <a:gd name="T49" fmla="*/ 2147483647 h 40"/>
                    <a:gd name="T50" fmla="*/ 2147483647 w 51"/>
                    <a:gd name="T51" fmla="*/ 2147483647 h 40"/>
                    <a:gd name="T52" fmla="*/ 2147483647 w 51"/>
                    <a:gd name="T53" fmla="*/ 2147483647 h 40"/>
                    <a:gd name="T54" fmla="*/ 2147483647 w 51"/>
                    <a:gd name="T55" fmla="*/ 2147483647 h 40"/>
                    <a:gd name="T56" fmla="*/ 2147483647 w 51"/>
                    <a:gd name="T57" fmla="*/ 2147483647 h 40"/>
                    <a:gd name="T58" fmla="*/ 2147483647 w 51"/>
                    <a:gd name="T59" fmla="*/ 2147483647 h 40"/>
                    <a:gd name="T60" fmla="*/ 2147483647 w 51"/>
                    <a:gd name="T61" fmla="*/ 2147483647 h 40"/>
                    <a:gd name="T62" fmla="*/ 2147483647 w 51"/>
                    <a:gd name="T63" fmla="*/ 2147483647 h 40"/>
                    <a:gd name="T64" fmla="*/ 2147483647 w 51"/>
                    <a:gd name="T65" fmla="*/ 2147483647 h 40"/>
                    <a:gd name="T66" fmla="*/ 2147483647 w 51"/>
                    <a:gd name="T67" fmla="*/ 2147483647 h 40"/>
                    <a:gd name="T68" fmla="*/ 2147483647 w 51"/>
                    <a:gd name="T69" fmla="*/ 2147483647 h 4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51"/>
                    <a:gd name="T106" fmla="*/ 0 h 40"/>
                    <a:gd name="T107" fmla="*/ 51 w 51"/>
                    <a:gd name="T108" fmla="*/ 40 h 4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51" h="40">
                      <a:moveTo>
                        <a:pt x="47" y="13"/>
                      </a:moveTo>
                      <a:lnTo>
                        <a:pt x="51" y="7"/>
                      </a:lnTo>
                      <a:lnTo>
                        <a:pt x="51" y="4"/>
                      </a:lnTo>
                      <a:lnTo>
                        <a:pt x="51" y="2"/>
                      </a:lnTo>
                      <a:lnTo>
                        <a:pt x="48" y="0"/>
                      </a:lnTo>
                      <a:lnTo>
                        <a:pt x="46" y="1"/>
                      </a:lnTo>
                      <a:lnTo>
                        <a:pt x="41" y="2"/>
                      </a:lnTo>
                      <a:lnTo>
                        <a:pt x="34" y="3"/>
                      </a:lnTo>
                      <a:lnTo>
                        <a:pt x="23" y="4"/>
                      </a:lnTo>
                      <a:lnTo>
                        <a:pt x="18" y="6"/>
                      </a:lnTo>
                      <a:lnTo>
                        <a:pt x="13" y="8"/>
                      </a:lnTo>
                      <a:lnTo>
                        <a:pt x="12" y="9"/>
                      </a:lnTo>
                      <a:lnTo>
                        <a:pt x="8" y="15"/>
                      </a:lnTo>
                      <a:lnTo>
                        <a:pt x="1" y="20"/>
                      </a:lnTo>
                      <a:lnTo>
                        <a:pt x="0" y="21"/>
                      </a:lnTo>
                      <a:lnTo>
                        <a:pt x="0" y="23"/>
                      </a:lnTo>
                      <a:lnTo>
                        <a:pt x="1" y="27"/>
                      </a:lnTo>
                      <a:lnTo>
                        <a:pt x="5" y="33"/>
                      </a:lnTo>
                      <a:lnTo>
                        <a:pt x="5" y="35"/>
                      </a:lnTo>
                      <a:lnTo>
                        <a:pt x="5" y="38"/>
                      </a:lnTo>
                      <a:lnTo>
                        <a:pt x="5" y="39"/>
                      </a:lnTo>
                      <a:lnTo>
                        <a:pt x="8" y="39"/>
                      </a:lnTo>
                      <a:lnTo>
                        <a:pt x="10" y="38"/>
                      </a:lnTo>
                      <a:lnTo>
                        <a:pt x="14" y="38"/>
                      </a:lnTo>
                      <a:lnTo>
                        <a:pt x="17" y="39"/>
                      </a:lnTo>
                      <a:lnTo>
                        <a:pt x="22" y="40"/>
                      </a:lnTo>
                      <a:lnTo>
                        <a:pt x="26" y="39"/>
                      </a:lnTo>
                      <a:lnTo>
                        <a:pt x="27" y="36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2" y="27"/>
                      </a:lnTo>
                      <a:lnTo>
                        <a:pt x="38" y="26"/>
                      </a:lnTo>
                      <a:lnTo>
                        <a:pt x="41" y="24"/>
                      </a:lnTo>
                      <a:lnTo>
                        <a:pt x="43" y="19"/>
                      </a:lnTo>
                      <a:lnTo>
                        <a:pt x="47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6" name="Freeform 631">
                  <a:extLst>
                    <a:ext uri="{FF2B5EF4-FFF2-40B4-BE49-F238E27FC236}">
                      <a16:creationId xmlns:a16="http://schemas.microsoft.com/office/drawing/2014/main" id="{F67D07C8-4D10-DB40-99D7-5A68AB94A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1134" y="2931310"/>
                  <a:ext cx="1423637" cy="1093625"/>
                </a:xfrm>
                <a:custGeom>
                  <a:avLst/>
                  <a:gdLst>
                    <a:gd name="T0" fmla="*/ 2147483647 w 1042"/>
                    <a:gd name="T1" fmla="*/ 2147483647 h 739"/>
                    <a:gd name="T2" fmla="*/ 2147483647 w 1042"/>
                    <a:gd name="T3" fmla="*/ 2147483647 h 739"/>
                    <a:gd name="T4" fmla="*/ 2147483647 w 1042"/>
                    <a:gd name="T5" fmla="*/ 2147483647 h 739"/>
                    <a:gd name="T6" fmla="*/ 2147483647 w 1042"/>
                    <a:gd name="T7" fmla="*/ 2147483647 h 739"/>
                    <a:gd name="T8" fmla="*/ 2147483647 w 1042"/>
                    <a:gd name="T9" fmla="*/ 2147483647 h 739"/>
                    <a:gd name="T10" fmla="*/ 2147483647 w 1042"/>
                    <a:gd name="T11" fmla="*/ 2147483647 h 739"/>
                    <a:gd name="T12" fmla="*/ 2147483647 w 1042"/>
                    <a:gd name="T13" fmla="*/ 2147483647 h 739"/>
                    <a:gd name="T14" fmla="*/ 2147483647 w 1042"/>
                    <a:gd name="T15" fmla="*/ 2147483647 h 739"/>
                    <a:gd name="T16" fmla="*/ 2147483647 w 1042"/>
                    <a:gd name="T17" fmla="*/ 2147483647 h 739"/>
                    <a:gd name="T18" fmla="*/ 2147483647 w 1042"/>
                    <a:gd name="T19" fmla="*/ 2147483647 h 739"/>
                    <a:gd name="T20" fmla="*/ 2147483647 w 1042"/>
                    <a:gd name="T21" fmla="*/ 2147483647 h 739"/>
                    <a:gd name="T22" fmla="*/ 2147483647 w 1042"/>
                    <a:gd name="T23" fmla="*/ 2147483647 h 739"/>
                    <a:gd name="T24" fmla="*/ 2147483647 w 1042"/>
                    <a:gd name="T25" fmla="*/ 2147483647 h 739"/>
                    <a:gd name="T26" fmla="*/ 2147483647 w 1042"/>
                    <a:gd name="T27" fmla="*/ 2147483647 h 739"/>
                    <a:gd name="T28" fmla="*/ 2147483647 w 1042"/>
                    <a:gd name="T29" fmla="*/ 2147483647 h 739"/>
                    <a:gd name="T30" fmla="*/ 2147483647 w 1042"/>
                    <a:gd name="T31" fmla="*/ 2147483647 h 739"/>
                    <a:gd name="T32" fmla="*/ 2147483647 w 1042"/>
                    <a:gd name="T33" fmla="*/ 2147483647 h 739"/>
                    <a:gd name="T34" fmla="*/ 2147483647 w 1042"/>
                    <a:gd name="T35" fmla="*/ 2147483647 h 739"/>
                    <a:gd name="T36" fmla="*/ 2147483647 w 1042"/>
                    <a:gd name="T37" fmla="*/ 2147483647 h 739"/>
                    <a:gd name="T38" fmla="*/ 2147483647 w 1042"/>
                    <a:gd name="T39" fmla="*/ 2147483647 h 739"/>
                    <a:gd name="T40" fmla="*/ 2147483647 w 1042"/>
                    <a:gd name="T41" fmla="*/ 2147483647 h 739"/>
                    <a:gd name="T42" fmla="*/ 2147483647 w 1042"/>
                    <a:gd name="T43" fmla="*/ 2147483647 h 739"/>
                    <a:gd name="T44" fmla="*/ 2147483647 w 1042"/>
                    <a:gd name="T45" fmla="*/ 2147483647 h 739"/>
                    <a:gd name="T46" fmla="*/ 2147483647 w 1042"/>
                    <a:gd name="T47" fmla="*/ 2147483647 h 739"/>
                    <a:gd name="T48" fmla="*/ 2147483647 w 1042"/>
                    <a:gd name="T49" fmla="*/ 2147483647 h 739"/>
                    <a:gd name="T50" fmla="*/ 2147483647 w 1042"/>
                    <a:gd name="T51" fmla="*/ 2147483647 h 739"/>
                    <a:gd name="T52" fmla="*/ 2147483647 w 1042"/>
                    <a:gd name="T53" fmla="*/ 2147483647 h 739"/>
                    <a:gd name="T54" fmla="*/ 2147483647 w 1042"/>
                    <a:gd name="T55" fmla="*/ 2147483647 h 739"/>
                    <a:gd name="T56" fmla="*/ 2147483647 w 1042"/>
                    <a:gd name="T57" fmla="*/ 2147483647 h 739"/>
                    <a:gd name="T58" fmla="*/ 2147483647 w 1042"/>
                    <a:gd name="T59" fmla="*/ 2147483647 h 739"/>
                    <a:gd name="T60" fmla="*/ 2147483647 w 1042"/>
                    <a:gd name="T61" fmla="*/ 2147483647 h 739"/>
                    <a:gd name="T62" fmla="*/ 2147483647 w 1042"/>
                    <a:gd name="T63" fmla="*/ 2147483647 h 739"/>
                    <a:gd name="T64" fmla="*/ 2147483647 w 1042"/>
                    <a:gd name="T65" fmla="*/ 2147483647 h 739"/>
                    <a:gd name="T66" fmla="*/ 2147483647 w 1042"/>
                    <a:gd name="T67" fmla="*/ 2147483647 h 739"/>
                    <a:gd name="T68" fmla="*/ 2147483647 w 1042"/>
                    <a:gd name="T69" fmla="*/ 2147483647 h 739"/>
                    <a:gd name="T70" fmla="*/ 2147483647 w 1042"/>
                    <a:gd name="T71" fmla="*/ 2147483647 h 739"/>
                    <a:gd name="T72" fmla="*/ 2147483647 w 1042"/>
                    <a:gd name="T73" fmla="*/ 2147483647 h 739"/>
                    <a:gd name="T74" fmla="*/ 2147483647 w 1042"/>
                    <a:gd name="T75" fmla="*/ 2147483647 h 739"/>
                    <a:gd name="T76" fmla="*/ 2147483647 w 1042"/>
                    <a:gd name="T77" fmla="*/ 2147483647 h 739"/>
                    <a:gd name="T78" fmla="*/ 2147483647 w 1042"/>
                    <a:gd name="T79" fmla="*/ 2147483647 h 739"/>
                    <a:gd name="T80" fmla="*/ 2147483647 w 1042"/>
                    <a:gd name="T81" fmla="*/ 2147483647 h 739"/>
                    <a:gd name="T82" fmla="*/ 2147483647 w 1042"/>
                    <a:gd name="T83" fmla="*/ 2147483647 h 739"/>
                    <a:gd name="T84" fmla="*/ 2147483647 w 1042"/>
                    <a:gd name="T85" fmla="*/ 2147483647 h 739"/>
                    <a:gd name="T86" fmla="*/ 2147483647 w 1042"/>
                    <a:gd name="T87" fmla="*/ 2147483647 h 739"/>
                    <a:gd name="T88" fmla="*/ 2147483647 w 1042"/>
                    <a:gd name="T89" fmla="*/ 2147483647 h 739"/>
                    <a:gd name="T90" fmla="*/ 2147483647 w 1042"/>
                    <a:gd name="T91" fmla="*/ 2147483647 h 739"/>
                    <a:gd name="T92" fmla="*/ 2147483647 w 1042"/>
                    <a:gd name="T93" fmla="*/ 2147483647 h 739"/>
                    <a:gd name="T94" fmla="*/ 2147483647 w 1042"/>
                    <a:gd name="T95" fmla="*/ 2147483647 h 739"/>
                    <a:gd name="T96" fmla="*/ 2147483647 w 1042"/>
                    <a:gd name="T97" fmla="*/ 2147483647 h 739"/>
                    <a:gd name="T98" fmla="*/ 2147483647 w 1042"/>
                    <a:gd name="T99" fmla="*/ 2147483647 h 739"/>
                    <a:gd name="T100" fmla="*/ 2147483647 w 1042"/>
                    <a:gd name="T101" fmla="*/ 2147483647 h 739"/>
                    <a:gd name="T102" fmla="*/ 2147483647 w 1042"/>
                    <a:gd name="T103" fmla="*/ 2147483647 h 739"/>
                    <a:gd name="T104" fmla="*/ 2147483647 w 1042"/>
                    <a:gd name="T105" fmla="*/ 2147483647 h 739"/>
                    <a:gd name="T106" fmla="*/ 2147483647 w 1042"/>
                    <a:gd name="T107" fmla="*/ 2147483647 h 739"/>
                    <a:gd name="T108" fmla="*/ 2147483647 w 1042"/>
                    <a:gd name="T109" fmla="*/ 2147483647 h 739"/>
                    <a:gd name="T110" fmla="*/ 2147483647 w 1042"/>
                    <a:gd name="T111" fmla="*/ 2147483647 h 739"/>
                    <a:gd name="T112" fmla="*/ 2147483647 w 1042"/>
                    <a:gd name="T113" fmla="*/ 2147483647 h 739"/>
                    <a:gd name="T114" fmla="*/ 2147483647 w 1042"/>
                    <a:gd name="T115" fmla="*/ 2147483647 h 739"/>
                    <a:gd name="T116" fmla="*/ 2147483647 w 1042"/>
                    <a:gd name="T117" fmla="*/ 2147483647 h 739"/>
                    <a:gd name="T118" fmla="*/ 2147483647 w 1042"/>
                    <a:gd name="T119" fmla="*/ 2147483647 h 73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042"/>
                    <a:gd name="T181" fmla="*/ 0 h 739"/>
                    <a:gd name="T182" fmla="*/ 1042 w 1042"/>
                    <a:gd name="T183" fmla="*/ 739 h 73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042" h="739">
                      <a:moveTo>
                        <a:pt x="129" y="535"/>
                      </a:moveTo>
                      <a:lnTo>
                        <a:pt x="126" y="533"/>
                      </a:lnTo>
                      <a:lnTo>
                        <a:pt x="123" y="529"/>
                      </a:lnTo>
                      <a:lnTo>
                        <a:pt x="121" y="525"/>
                      </a:lnTo>
                      <a:lnTo>
                        <a:pt x="118" y="523"/>
                      </a:lnTo>
                      <a:lnTo>
                        <a:pt x="110" y="521"/>
                      </a:lnTo>
                      <a:lnTo>
                        <a:pt x="102" y="518"/>
                      </a:lnTo>
                      <a:lnTo>
                        <a:pt x="98" y="517"/>
                      </a:lnTo>
                      <a:lnTo>
                        <a:pt x="95" y="516"/>
                      </a:lnTo>
                      <a:lnTo>
                        <a:pt x="94" y="514"/>
                      </a:lnTo>
                      <a:lnTo>
                        <a:pt x="93" y="510"/>
                      </a:lnTo>
                      <a:lnTo>
                        <a:pt x="91" y="504"/>
                      </a:lnTo>
                      <a:lnTo>
                        <a:pt x="93" y="501"/>
                      </a:lnTo>
                      <a:lnTo>
                        <a:pt x="94" y="497"/>
                      </a:lnTo>
                      <a:lnTo>
                        <a:pt x="96" y="493"/>
                      </a:lnTo>
                      <a:lnTo>
                        <a:pt x="100" y="491"/>
                      </a:lnTo>
                      <a:lnTo>
                        <a:pt x="103" y="489"/>
                      </a:lnTo>
                      <a:lnTo>
                        <a:pt x="104" y="485"/>
                      </a:lnTo>
                      <a:lnTo>
                        <a:pt x="105" y="478"/>
                      </a:lnTo>
                      <a:lnTo>
                        <a:pt x="105" y="471"/>
                      </a:lnTo>
                      <a:lnTo>
                        <a:pt x="103" y="465"/>
                      </a:lnTo>
                      <a:lnTo>
                        <a:pt x="98" y="458"/>
                      </a:lnTo>
                      <a:lnTo>
                        <a:pt x="96" y="456"/>
                      </a:lnTo>
                      <a:lnTo>
                        <a:pt x="96" y="453"/>
                      </a:lnTo>
                      <a:lnTo>
                        <a:pt x="98" y="448"/>
                      </a:lnTo>
                      <a:lnTo>
                        <a:pt x="104" y="440"/>
                      </a:lnTo>
                      <a:lnTo>
                        <a:pt x="110" y="433"/>
                      </a:lnTo>
                      <a:lnTo>
                        <a:pt x="113" y="428"/>
                      </a:lnTo>
                      <a:lnTo>
                        <a:pt x="115" y="425"/>
                      </a:lnTo>
                      <a:lnTo>
                        <a:pt x="115" y="420"/>
                      </a:lnTo>
                      <a:lnTo>
                        <a:pt x="114" y="415"/>
                      </a:lnTo>
                      <a:lnTo>
                        <a:pt x="112" y="413"/>
                      </a:lnTo>
                      <a:lnTo>
                        <a:pt x="109" y="410"/>
                      </a:lnTo>
                      <a:lnTo>
                        <a:pt x="100" y="410"/>
                      </a:lnTo>
                      <a:lnTo>
                        <a:pt x="76" y="408"/>
                      </a:lnTo>
                      <a:lnTo>
                        <a:pt x="65" y="406"/>
                      </a:lnTo>
                      <a:lnTo>
                        <a:pt x="53" y="401"/>
                      </a:lnTo>
                      <a:lnTo>
                        <a:pt x="51" y="395"/>
                      </a:lnTo>
                      <a:lnTo>
                        <a:pt x="49" y="393"/>
                      </a:lnTo>
                      <a:lnTo>
                        <a:pt x="47" y="390"/>
                      </a:lnTo>
                      <a:lnTo>
                        <a:pt x="44" y="388"/>
                      </a:lnTo>
                      <a:lnTo>
                        <a:pt x="41" y="388"/>
                      </a:lnTo>
                      <a:lnTo>
                        <a:pt x="33" y="389"/>
                      </a:lnTo>
                      <a:lnTo>
                        <a:pt x="25" y="391"/>
                      </a:lnTo>
                      <a:lnTo>
                        <a:pt x="18" y="393"/>
                      </a:lnTo>
                      <a:lnTo>
                        <a:pt x="19" y="390"/>
                      </a:lnTo>
                      <a:lnTo>
                        <a:pt x="20" y="387"/>
                      </a:lnTo>
                      <a:lnTo>
                        <a:pt x="20" y="383"/>
                      </a:lnTo>
                      <a:lnTo>
                        <a:pt x="20" y="380"/>
                      </a:lnTo>
                      <a:lnTo>
                        <a:pt x="23" y="378"/>
                      </a:lnTo>
                      <a:lnTo>
                        <a:pt x="23" y="377"/>
                      </a:lnTo>
                      <a:lnTo>
                        <a:pt x="23" y="376"/>
                      </a:lnTo>
                      <a:lnTo>
                        <a:pt x="19" y="370"/>
                      </a:lnTo>
                      <a:lnTo>
                        <a:pt x="18" y="367"/>
                      </a:lnTo>
                      <a:lnTo>
                        <a:pt x="18" y="364"/>
                      </a:lnTo>
                      <a:lnTo>
                        <a:pt x="22" y="359"/>
                      </a:lnTo>
                      <a:lnTo>
                        <a:pt x="22" y="358"/>
                      </a:lnTo>
                      <a:lnTo>
                        <a:pt x="22" y="356"/>
                      </a:lnTo>
                      <a:lnTo>
                        <a:pt x="19" y="354"/>
                      </a:lnTo>
                      <a:lnTo>
                        <a:pt x="16" y="351"/>
                      </a:lnTo>
                      <a:lnTo>
                        <a:pt x="13" y="351"/>
                      </a:lnTo>
                      <a:lnTo>
                        <a:pt x="10" y="352"/>
                      </a:lnTo>
                      <a:lnTo>
                        <a:pt x="8" y="354"/>
                      </a:lnTo>
                      <a:lnTo>
                        <a:pt x="5" y="354"/>
                      </a:lnTo>
                      <a:lnTo>
                        <a:pt x="2" y="350"/>
                      </a:lnTo>
                      <a:lnTo>
                        <a:pt x="0" y="346"/>
                      </a:lnTo>
                      <a:lnTo>
                        <a:pt x="0" y="343"/>
                      </a:lnTo>
                      <a:lnTo>
                        <a:pt x="0" y="338"/>
                      </a:lnTo>
                      <a:lnTo>
                        <a:pt x="2" y="329"/>
                      </a:lnTo>
                      <a:lnTo>
                        <a:pt x="8" y="320"/>
                      </a:lnTo>
                      <a:lnTo>
                        <a:pt x="9" y="319"/>
                      </a:lnTo>
                      <a:lnTo>
                        <a:pt x="11" y="318"/>
                      </a:lnTo>
                      <a:lnTo>
                        <a:pt x="16" y="317"/>
                      </a:lnTo>
                      <a:lnTo>
                        <a:pt x="23" y="313"/>
                      </a:lnTo>
                      <a:lnTo>
                        <a:pt x="25" y="312"/>
                      </a:lnTo>
                      <a:lnTo>
                        <a:pt x="29" y="311"/>
                      </a:lnTo>
                      <a:lnTo>
                        <a:pt x="30" y="312"/>
                      </a:lnTo>
                      <a:lnTo>
                        <a:pt x="32" y="313"/>
                      </a:lnTo>
                      <a:lnTo>
                        <a:pt x="32" y="316"/>
                      </a:lnTo>
                      <a:lnTo>
                        <a:pt x="33" y="317"/>
                      </a:lnTo>
                      <a:lnTo>
                        <a:pt x="35" y="318"/>
                      </a:lnTo>
                      <a:lnTo>
                        <a:pt x="38" y="318"/>
                      </a:lnTo>
                      <a:lnTo>
                        <a:pt x="42" y="317"/>
                      </a:lnTo>
                      <a:lnTo>
                        <a:pt x="47" y="316"/>
                      </a:lnTo>
                      <a:lnTo>
                        <a:pt x="52" y="313"/>
                      </a:lnTo>
                      <a:lnTo>
                        <a:pt x="52" y="311"/>
                      </a:lnTo>
                      <a:lnTo>
                        <a:pt x="52" y="308"/>
                      </a:lnTo>
                      <a:lnTo>
                        <a:pt x="52" y="306"/>
                      </a:lnTo>
                      <a:lnTo>
                        <a:pt x="52" y="304"/>
                      </a:lnTo>
                      <a:lnTo>
                        <a:pt x="52" y="303"/>
                      </a:lnTo>
                      <a:lnTo>
                        <a:pt x="53" y="301"/>
                      </a:lnTo>
                      <a:lnTo>
                        <a:pt x="65" y="303"/>
                      </a:lnTo>
                      <a:lnTo>
                        <a:pt x="70" y="301"/>
                      </a:lnTo>
                      <a:lnTo>
                        <a:pt x="74" y="299"/>
                      </a:lnTo>
                      <a:lnTo>
                        <a:pt x="80" y="293"/>
                      </a:lnTo>
                      <a:lnTo>
                        <a:pt x="88" y="290"/>
                      </a:lnTo>
                      <a:lnTo>
                        <a:pt x="95" y="286"/>
                      </a:lnTo>
                      <a:lnTo>
                        <a:pt x="103" y="284"/>
                      </a:lnTo>
                      <a:lnTo>
                        <a:pt x="107" y="282"/>
                      </a:lnTo>
                      <a:lnTo>
                        <a:pt x="110" y="280"/>
                      </a:lnTo>
                      <a:lnTo>
                        <a:pt x="112" y="276"/>
                      </a:lnTo>
                      <a:lnTo>
                        <a:pt x="113" y="272"/>
                      </a:lnTo>
                      <a:lnTo>
                        <a:pt x="113" y="269"/>
                      </a:lnTo>
                      <a:lnTo>
                        <a:pt x="110" y="267"/>
                      </a:lnTo>
                      <a:lnTo>
                        <a:pt x="109" y="266"/>
                      </a:lnTo>
                      <a:lnTo>
                        <a:pt x="109" y="263"/>
                      </a:lnTo>
                      <a:lnTo>
                        <a:pt x="119" y="249"/>
                      </a:lnTo>
                      <a:lnTo>
                        <a:pt x="122" y="246"/>
                      </a:lnTo>
                      <a:lnTo>
                        <a:pt x="123" y="241"/>
                      </a:lnTo>
                      <a:lnTo>
                        <a:pt x="123" y="237"/>
                      </a:lnTo>
                      <a:lnTo>
                        <a:pt x="122" y="233"/>
                      </a:lnTo>
                      <a:lnTo>
                        <a:pt x="121" y="230"/>
                      </a:lnTo>
                      <a:lnTo>
                        <a:pt x="118" y="229"/>
                      </a:lnTo>
                      <a:lnTo>
                        <a:pt x="117" y="227"/>
                      </a:lnTo>
                      <a:lnTo>
                        <a:pt x="115" y="224"/>
                      </a:lnTo>
                      <a:lnTo>
                        <a:pt x="114" y="221"/>
                      </a:lnTo>
                      <a:lnTo>
                        <a:pt x="112" y="217"/>
                      </a:lnTo>
                      <a:lnTo>
                        <a:pt x="110" y="214"/>
                      </a:lnTo>
                      <a:lnTo>
                        <a:pt x="109" y="210"/>
                      </a:lnTo>
                      <a:lnTo>
                        <a:pt x="110" y="208"/>
                      </a:lnTo>
                      <a:lnTo>
                        <a:pt x="113" y="207"/>
                      </a:lnTo>
                      <a:lnTo>
                        <a:pt x="124" y="204"/>
                      </a:lnTo>
                      <a:lnTo>
                        <a:pt x="137" y="203"/>
                      </a:lnTo>
                      <a:lnTo>
                        <a:pt x="152" y="202"/>
                      </a:lnTo>
                      <a:lnTo>
                        <a:pt x="156" y="199"/>
                      </a:lnTo>
                      <a:lnTo>
                        <a:pt x="157" y="198"/>
                      </a:lnTo>
                      <a:lnTo>
                        <a:pt x="157" y="197"/>
                      </a:lnTo>
                      <a:lnTo>
                        <a:pt x="156" y="195"/>
                      </a:lnTo>
                      <a:lnTo>
                        <a:pt x="154" y="192"/>
                      </a:lnTo>
                      <a:lnTo>
                        <a:pt x="152" y="190"/>
                      </a:lnTo>
                      <a:lnTo>
                        <a:pt x="152" y="182"/>
                      </a:lnTo>
                      <a:lnTo>
                        <a:pt x="155" y="172"/>
                      </a:lnTo>
                      <a:lnTo>
                        <a:pt x="156" y="169"/>
                      </a:lnTo>
                      <a:lnTo>
                        <a:pt x="159" y="165"/>
                      </a:lnTo>
                      <a:lnTo>
                        <a:pt x="162" y="163"/>
                      </a:lnTo>
                      <a:lnTo>
                        <a:pt x="168" y="161"/>
                      </a:lnTo>
                      <a:lnTo>
                        <a:pt x="180" y="161"/>
                      </a:lnTo>
                      <a:lnTo>
                        <a:pt x="190" y="163"/>
                      </a:lnTo>
                      <a:lnTo>
                        <a:pt x="193" y="161"/>
                      </a:lnTo>
                      <a:lnTo>
                        <a:pt x="195" y="159"/>
                      </a:lnTo>
                      <a:lnTo>
                        <a:pt x="198" y="152"/>
                      </a:lnTo>
                      <a:lnTo>
                        <a:pt x="199" y="144"/>
                      </a:lnTo>
                      <a:lnTo>
                        <a:pt x="202" y="134"/>
                      </a:lnTo>
                      <a:lnTo>
                        <a:pt x="203" y="133"/>
                      </a:lnTo>
                      <a:lnTo>
                        <a:pt x="204" y="131"/>
                      </a:lnTo>
                      <a:lnTo>
                        <a:pt x="217" y="125"/>
                      </a:lnTo>
                      <a:lnTo>
                        <a:pt x="223" y="120"/>
                      </a:lnTo>
                      <a:lnTo>
                        <a:pt x="228" y="115"/>
                      </a:lnTo>
                      <a:lnTo>
                        <a:pt x="232" y="113"/>
                      </a:lnTo>
                      <a:lnTo>
                        <a:pt x="235" y="113"/>
                      </a:lnTo>
                      <a:lnTo>
                        <a:pt x="240" y="112"/>
                      </a:lnTo>
                      <a:lnTo>
                        <a:pt x="242" y="111"/>
                      </a:lnTo>
                      <a:lnTo>
                        <a:pt x="248" y="107"/>
                      </a:lnTo>
                      <a:lnTo>
                        <a:pt x="248" y="115"/>
                      </a:lnTo>
                      <a:lnTo>
                        <a:pt x="249" y="124"/>
                      </a:lnTo>
                      <a:lnTo>
                        <a:pt x="250" y="128"/>
                      </a:lnTo>
                      <a:lnTo>
                        <a:pt x="251" y="132"/>
                      </a:lnTo>
                      <a:lnTo>
                        <a:pt x="254" y="134"/>
                      </a:lnTo>
                      <a:lnTo>
                        <a:pt x="258" y="137"/>
                      </a:lnTo>
                      <a:lnTo>
                        <a:pt x="262" y="139"/>
                      </a:lnTo>
                      <a:lnTo>
                        <a:pt x="265" y="143"/>
                      </a:lnTo>
                      <a:lnTo>
                        <a:pt x="268" y="145"/>
                      </a:lnTo>
                      <a:lnTo>
                        <a:pt x="272" y="145"/>
                      </a:lnTo>
                      <a:lnTo>
                        <a:pt x="278" y="144"/>
                      </a:lnTo>
                      <a:lnTo>
                        <a:pt x="283" y="145"/>
                      </a:lnTo>
                      <a:lnTo>
                        <a:pt x="288" y="146"/>
                      </a:lnTo>
                      <a:lnTo>
                        <a:pt x="293" y="148"/>
                      </a:lnTo>
                      <a:lnTo>
                        <a:pt x="301" y="156"/>
                      </a:lnTo>
                      <a:lnTo>
                        <a:pt x="310" y="163"/>
                      </a:lnTo>
                      <a:lnTo>
                        <a:pt x="312" y="172"/>
                      </a:lnTo>
                      <a:lnTo>
                        <a:pt x="315" y="183"/>
                      </a:lnTo>
                      <a:lnTo>
                        <a:pt x="317" y="192"/>
                      </a:lnTo>
                      <a:lnTo>
                        <a:pt x="320" y="197"/>
                      </a:lnTo>
                      <a:lnTo>
                        <a:pt x="322" y="201"/>
                      </a:lnTo>
                      <a:lnTo>
                        <a:pt x="325" y="203"/>
                      </a:lnTo>
                      <a:lnTo>
                        <a:pt x="328" y="203"/>
                      </a:lnTo>
                      <a:lnTo>
                        <a:pt x="333" y="205"/>
                      </a:lnTo>
                      <a:lnTo>
                        <a:pt x="348" y="214"/>
                      </a:lnTo>
                      <a:lnTo>
                        <a:pt x="355" y="217"/>
                      </a:lnTo>
                      <a:lnTo>
                        <a:pt x="366" y="220"/>
                      </a:lnTo>
                      <a:lnTo>
                        <a:pt x="369" y="221"/>
                      </a:lnTo>
                      <a:lnTo>
                        <a:pt x="373" y="226"/>
                      </a:lnTo>
                      <a:lnTo>
                        <a:pt x="377" y="231"/>
                      </a:lnTo>
                      <a:lnTo>
                        <a:pt x="382" y="237"/>
                      </a:lnTo>
                      <a:lnTo>
                        <a:pt x="386" y="243"/>
                      </a:lnTo>
                      <a:lnTo>
                        <a:pt x="390" y="248"/>
                      </a:lnTo>
                      <a:lnTo>
                        <a:pt x="394" y="252"/>
                      </a:lnTo>
                      <a:lnTo>
                        <a:pt x="397" y="255"/>
                      </a:lnTo>
                      <a:lnTo>
                        <a:pt x="401" y="256"/>
                      </a:lnTo>
                      <a:lnTo>
                        <a:pt x="406" y="258"/>
                      </a:lnTo>
                      <a:lnTo>
                        <a:pt x="419" y="260"/>
                      </a:lnTo>
                      <a:lnTo>
                        <a:pt x="430" y="262"/>
                      </a:lnTo>
                      <a:lnTo>
                        <a:pt x="455" y="266"/>
                      </a:lnTo>
                      <a:lnTo>
                        <a:pt x="457" y="267"/>
                      </a:lnTo>
                      <a:lnTo>
                        <a:pt x="461" y="266"/>
                      </a:lnTo>
                      <a:lnTo>
                        <a:pt x="467" y="263"/>
                      </a:lnTo>
                      <a:lnTo>
                        <a:pt x="474" y="262"/>
                      </a:lnTo>
                      <a:lnTo>
                        <a:pt x="477" y="261"/>
                      </a:lnTo>
                      <a:lnTo>
                        <a:pt x="481" y="261"/>
                      </a:lnTo>
                      <a:lnTo>
                        <a:pt x="484" y="262"/>
                      </a:lnTo>
                      <a:lnTo>
                        <a:pt x="488" y="265"/>
                      </a:lnTo>
                      <a:lnTo>
                        <a:pt x="491" y="269"/>
                      </a:lnTo>
                      <a:lnTo>
                        <a:pt x="496" y="274"/>
                      </a:lnTo>
                      <a:lnTo>
                        <a:pt x="500" y="276"/>
                      </a:lnTo>
                      <a:lnTo>
                        <a:pt x="509" y="279"/>
                      </a:lnTo>
                      <a:lnTo>
                        <a:pt x="517" y="280"/>
                      </a:lnTo>
                      <a:lnTo>
                        <a:pt x="532" y="280"/>
                      </a:lnTo>
                      <a:lnTo>
                        <a:pt x="538" y="280"/>
                      </a:lnTo>
                      <a:lnTo>
                        <a:pt x="546" y="276"/>
                      </a:lnTo>
                      <a:lnTo>
                        <a:pt x="555" y="271"/>
                      </a:lnTo>
                      <a:lnTo>
                        <a:pt x="564" y="263"/>
                      </a:lnTo>
                      <a:lnTo>
                        <a:pt x="568" y="261"/>
                      </a:lnTo>
                      <a:lnTo>
                        <a:pt x="573" y="259"/>
                      </a:lnTo>
                      <a:lnTo>
                        <a:pt x="578" y="259"/>
                      </a:lnTo>
                      <a:lnTo>
                        <a:pt x="582" y="259"/>
                      </a:lnTo>
                      <a:lnTo>
                        <a:pt x="588" y="260"/>
                      </a:lnTo>
                      <a:lnTo>
                        <a:pt x="593" y="261"/>
                      </a:lnTo>
                      <a:lnTo>
                        <a:pt x="604" y="260"/>
                      </a:lnTo>
                      <a:lnTo>
                        <a:pt x="616" y="258"/>
                      </a:lnTo>
                      <a:lnTo>
                        <a:pt x="626" y="254"/>
                      </a:lnTo>
                      <a:lnTo>
                        <a:pt x="632" y="249"/>
                      </a:lnTo>
                      <a:lnTo>
                        <a:pt x="636" y="244"/>
                      </a:lnTo>
                      <a:lnTo>
                        <a:pt x="637" y="241"/>
                      </a:lnTo>
                      <a:lnTo>
                        <a:pt x="637" y="237"/>
                      </a:lnTo>
                      <a:lnTo>
                        <a:pt x="637" y="235"/>
                      </a:lnTo>
                      <a:lnTo>
                        <a:pt x="636" y="231"/>
                      </a:lnTo>
                      <a:lnTo>
                        <a:pt x="634" y="229"/>
                      </a:lnTo>
                      <a:lnTo>
                        <a:pt x="631" y="228"/>
                      </a:lnTo>
                      <a:lnTo>
                        <a:pt x="627" y="226"/>
                      </a:lnTo>
                      <a:lnTo>
                        <a:pt x="626" y="222"/>
                      </a:lnTo>
                      <a:lnTo>
                        <a:pt x="626" y="218"/>
                      </a:lnTo>
                      <a:lnTo>
                        <a:pt x="627" y="215"/>
                      </a:lnTo>
                      <a:lnTo>
                        <a:pt x="630" y="208"/>
                      </a:lnTo>
                      <a:lnTo>
                        <a:pt x="632" y="204"/>
                      </a:lnTo>
                      <a:lnTo>
                        <a:pt x="636" y="202"/>
                      </a:lnTo>
                      <a:lnTo>
                        <a:pt x="639" y="201"/>
                      </a:lnTo>
                      <a:lnTo>
                        <a:pt x="642" y="202"/>
                      </a:lnTo>
                      <a:lnTo>
                        <a:pt x="651" y="204"/>
                      </a:lnTo>
                      <a:lnTo>
                        <a:pt x="659" y="208"/>
                      </a:lnTo>
                      <a:lnTo>
                        <a:pt x="664" y="209"/>
                      </a:lnTo>
                      <a:lnTo>
                        <a:pt x="668" y="209"/>
                      </a:lnTo>
                      <a:lnTo>
                        <a:pt x="672" y="208"/>
                      </a:lnTo>
                      <a:lnTo>
                        <a:pt x="675" y="205"/>
                      </a:lnTo>
                      <a:lnTo>
                        <a:pt x="691" y="193"/>
                      </a:lnTo>
                      <a:lnTo>
                        <a:pt x="695" y="193"/>
                      </a:lnTo>
                      <a:lnTo>
                        <a:pt x="708" y="190"/>
                      </a:lnTo>
                      <a:lnTo>
                        <a:pt x="710" y="190"/>
                      </a:lnTo>
                      <a:lnTo>
                        <a:pt x="711" y="188"/>
                      </a:lnTo>
                      <a:lnTo>
                        <a:pt x="712" y="183"/>
                      </a:lnTo>
                      <a:lnTo>
                        <a:pt x="715" y="178"/>
                      </a:lnTo>
                      <a:lnTo>
                        <a:pt x="717" y="175"/>
                      </a:lnTo>
                      <a:lnTo>
                        <a:pt x="719" y="172"/>
                      </a:lnTo>
                      <a:lnTo>
                        <a:pt x="720" y="172"/>
                      </a:lnTo>
                      <a:lnTo>
                        <a:pt x="728" y="176"/>
                      </a:lnTo>
                      <a:lnTo>
                        <a:pt x="731" y="176"/>
                      </a:lnTo>
                      <a:lnTo>
                        <a:pt x="733" y="176"/>
                      </a:lnTo>
                      <a:lnTo>
                        <a:pt x="734" y="175"/>
                      </a:lnTo>
                      <a:lnTo>
                        <a:pt x="738" y="171"/>
                      </a:lnTo>
                      <a:lnTo>
                        <a:pt x="742" y="169"/>
                      </a:lnTo>
                      <a:lnTo>
                        <a:pt x="744" y="166"/>
                      </a:lnTo>
                      <a:lnTo>
                        <a:pt x="748" y="166"/>
                      </a:lnTo>
                      <a:lnTo>
                        <a:pt x="757" y="165"/>
                      </a:lnTo>
                      <a:lnTo>
                        <a:pt x="764" y="165"/>
                      </a:lnTo>
                      <a:lnTo>
                        <a:pt x="775" y="163"/>
                      </a:lnTo>
                      <a:lnTo>
                        <a:pt x="780" y="160"/>
                      </a:lnTo>
                      <a:lnTo>
                        <a:pt x="782" y="158"/>
                      </a:lnTo>
                      <a:lnTo>
                        <a:pt x="782" y="154"/>
                      </a:lnTo>
                      <a:lnTo>
                        <a:pt x="782" y="151"/>
                      </a:lnTo>
                      <a:lnTo>
                        <a:pt x="781" y="147"/>
                      </a:lnTo>
                      <a:lnTo>
                        <a:pt x="778" y="144"/>
                      </a:lnTo>
                      <a:lnTo>
                        <a:pt x="772" y="138"/>
                      </a:lnTo>
                      <a:lnTo>
                        <a:pt x="764" y="134"/>
                      </a:lnTo>
                      <a:lnTo>
                        <a:pt x="761" y="133"/>
                      </a:lnTo>
                      <a:lnTo>
                        <a:pt x="755" y="133"/>
                      </a:lnTo>
                      <a:lnTo>
                        <a:pt x="745" y="133"/>
                      </a:lnTo>
                      <a:lnTo>
                        <a:pt x="735" y="134"/>
                      </a:lnTo>
                      <a:lnTo>
                        <a:pt x="730" y="134"/>
                      </a:lnTo>
                      <a:lnTo>
                        <a:pt x="726" y="133"/>
                      </a:lnTo>
                      <a:lnTo>
                        <a:pt x="722" y="132"/>
                      </a:lnTo>
                      <a:lnTo>
                        <a:pt x="720" y="131"/>
                      </a:lnTo>
                      <a:lnTo>
                        <a:pt x="717" y="126"/>
                      </a:lnTo>
                      <a:lnTo>
                        <a:pt x="716" y="122"/>
                      </a:lnTo>
                      <a:lnTo>
                        <a:pt x="716" y="120"/>
                      </a:lnTo>
                      <a:lnTo>
                        <a:pt x="719" y="114"/>
                      </a:lnTo>
                      <a:lnTo>
                        <a:pt x="722" y="111"/>
                      </a:lnTo>
                      <a:lnTo>
                        <a:pt x="725" y="105"/>
                      </a:lnTo>
                      <a:lnTo>
                        <a:pt x="725" y="103"/>
                      </a:lnTo>
                      <a:lnTo>
                        <a:pt x="724" y="102"/>
                      </a:lnTo>
                      <a:lnTo>
                        <a:pt x="721" y="100"/>
                      </a:lnTo>
                      <a:lnTo>
                        <a:pt x="721" y="96"/>
                      </a:lnTo>
                      <a:lnTo>
                        <a:pt x="722" y="93"/>
                      </a:lnTo>
                      <a:lnTo>
                        <a:pt x="729" y="87"/>
                      </a:lnTo>
                      <a:lnTo>
                        <a:pt x="734" y="89"/>
                      </a:lnTo>
                      <a:lnTo>
                        <a:pt x="739" y="93"/>
                      </a:lnTo>
                      <a:lnTo>
                        <a:pt x="744" y="95"/>
                      </a:lnTo>
                      <a:lnTo>
                        <a:pt x="749" y="96"/>
                      </a:lnTo>
                      <a:lnTo>
                        <a:pt x="753" y="95"/>
                      </a:lnTo>
                      <a:lnTo>
                        <a:pt x="757" y="94"/>
                      </a:lnTo>
                      <a:lnTo>
                        <a:pt x="761" y="92"/>
                      </a:lnTo>
                      <a:lnTo>
                        <a:pt x="768" y="86"/>
                      </a:lnTo>
                      <a:lnTo>
                        <a:pt x="775" y="77"/>
                      </a:lnTo>
                      <a:lnTo>
                        <a:pt x="780" y="68"/>
                      </a:lnTo>
                      <a:lnTo>
                        <a:pt x="790" y="51"/>
                      </a:lnTo>
                      <a:lnTo>
                        <a:pt x="799" y="37"/>
                      </a:lnTo>
                      <a:lnTo>
                        <a:pt x="804" y="30"/>
                      </a:lnTo>
                      <a:lnTo>
                        <a:pt x="805" y="23"/>
                      </a:lnTo>
                      <a:lnTo>
                        <a:pt x="805" y="20"/>
                      </a:lnTo>
                      <a:lnTo>
                        <a:pt x="804" y="20"/>
                      </a:lnTo>
                      <a:lnTo>
                        <a:pt x="800" y="20"/>
                      </a:lnTo>
                      <a:lnTo>
                        <a:pt x="796" y="20"/>
                      </a:lnTo>
                      <a:lnTo>
                        <a:pt x="791" y="20"/>
                      </a:lnTo>
                      <a:lnTo>
                        <a:pt x="797" y="10"/>
                      </a:lnTo>
                      <a:lnTo>
                        <a:pt x="802" y="5"/>
                      </a:lnTo>
                      <a:lnTo>
                        <a:pt x="809" y="3"/>
                      </a:lnTo>
                      <a:lnTo>
                        <a:pt x="818" y="0"/>
                      </a:lnTo>
                      <a:lnTo>
                        <a:pt x="828" y="0"/>
                      </a:lnTo>
                      <a:lnTo>
                        <a:pt x="839" y="0"/>
                      </a:lnTo>
                      <a:lnTo>
                        <a:pt x="851" y="1"/>
                      </a:lnTo>
                      <a:lnTo>
                        <a:pt x="871" y="5"/>
                      </a:lnTo>
                      <a:lnTo>
                        <a:pt x="880" y="7"/>
                      </a:lnTo>
                      <a:lnTo>
                        <a:pt x="888" y="11"/>
                      </a:lnTo>
                      <a:lnTo>
                        <a:pt x="891" y="11"/>
                      </a:lnTo>
                      <a:lnTo>
                        <a:pt x="893" y="13"/>
                      </a:lnTo>
                      <a:lnTo>
                        <a:pt x="895" y="19"/>
                      </a:lnTo>
                      <a:lnTo>
                        <a:pt x="896" y="26"/>
                      </a:lnTo>
                      <a:lnTo>
                        <a:pt x="899" y="33"/>
                      </a:lnTo>
                      <a:lnTo>
                        <a:pt x="903" y="42"/>
                      </a:lnTo>
                      <a:lnTo>
                        <a:pt x="907" y="50"/>
                      </a:lnTo>
                      <a:lnTo>
                        <a:pt x="912" y="58"/>
                      </a:lnTo>
                      <a:lnTo>
                        <a:pt x="914" y="68"/>
                      </a:lnTo>
                      <a:lnTo>
                        <a:pt x="917" y="73"/>
                      </a:lnTo>
                      <a:lnTo>
                        <a:pt x="922" y="77"/>
                      </a:lnTo>
                      <a:lnTo>
                        <a:pt x="924" y="78"/>
                      </a:lnTo>
                      <a:lnTo>
                        <a:pt x="928" y="80"/>
                      </a:lnTo>
                      <a:lnTo>
                        <a:pt x="932" y="80"/>
                      </a:lnTo>
                      <a:lnTo>
                        <a:pt x="935" y="78"/>
                      </a:lnTo>
                      <a:lnTo>
                        <a:pt x="937" y="77"/>
                      </a:lnTo>
                      <a:lnTo>
                        <a:pt x="938" y="78"/>
                      </a:lnTo>
                      <a:lnTo>
                        <a:pt x="940" y="81"/>
                      </a:lnTo>
                      <a:lnTo>
                        <a:pt x="945" y="82"/>
                      </a:lnTo>
                      <a:lnTo>
                        <a:pt x="950" y="83"/>
                      </a:lnTo>
                      <a:lnTo>
                        <a:pt x="959" y="83"/>
                      </a:lnTo>
                      <a:lnTo>
                        <a:pt x="962" y="84"/>
                      </a:lnTo>
                      <a:lnTo>
                        <a:pt x="965" y="87"/>
                      </a:lnTo>
                      <a:lnTo>
                        <a:pt x="965" y="89"/>
                      </a:lnTo>
                      <a:lnTo>
                        <a:pt x="965" y="92"/>
                      </a:lnTo>
                      <a:lnTo>
                        <a:pt x="965" y="94"/>
                      </a:lnTo>
                      <a:lnTo>
                        <a:pt x="966" y="96"/>
                      </a:lnTo>
                      <a:lnTo>
                        <a:pt x="971" y="101"/>
                      </a:lnTo>
                      <a:lnTo>
                        <a:pt x="974" y="107"/>
                      </a:lnTo>
                      <a:lnTo>
                        <a:pt x="975" y="114"/>
                      </a:lnTo>
                      <a:lnTo>
                        <a:pt x="975" y="121"/>
                      </a:lnTo>
                      <a:lnTo>
                        <a:pt x="976" y="128"/>
                      </a:lnTo>
                      <a:lnTo>
                        <a:pt x="978" y="132"/>
                      </a:lnTo>
                      <a:lnTo>
                        <a:pt x="980" y="134"/>
                      </a:lnTo>
                      <a:lnTo>
                        <a:pt x="983" y="137"/>
                      </a:lnTo>
                      <a:lnTo>
                        <a:pt x="988" y="139"/>
                      </a:lnTo>
                      <a:lnTo>
                        <a:pt x="993" y="140"/>
                      </a:lnTo>
                      <a:lnTo>
                        <a:pt x="998" y="140"/>
                      </a:lnTo>
                      <a:lnTo>
                        <a:pt x="1001" y="139"/>
                      </a:lnTo>
                      <a:lnTo>
                        <a:pt x="1003" y="138"/>
                      </a:lnTo>
                      <a:lnTo>
                        <a:pt x="1007" y="134"/>
                      </a:lnTo>
                      <a:lnTo>
                        <a:pt x="1013" y="125"/>
                      </a:lnTo>
                      <a:lnTo>
                        <a:pt x="1015" y="124"/>
                      </a:lnTo>
                      <a:lnTo>
                        <a:pt x="1017" y="121"/>
                      </a:lnTo>
                      <a:lnTo>
                        <a:pt x="1025" y="120"/>
                      </a:lnTo>
                      <a:lnTo>
                        <a:pt x="1032" y="121"/>
                      </a:lnTo>
                      <a:lnTo>
                        <a:pt x="1040" y="122"/>
                      </a:lnTo>
                      <a:lnTo>
                        <a:pt x="1041" y="122"/>
                      </a:lnTo>
                      <a:lnTo>
                        <a:pt x="1041" y="124"/>
                      </a:lnTo>
                      <a:lnTo>
                        <a:pt x="1041" y="127"/>
                      </a:lnTo>
                      <a:lnTo>
                        <a:pt x="1039" y="134"/>
                      </a:lnTo>
                      <a:lnTo>
                        <a:pt x="1039" y="137"/>
                      </a:lnTo>
                      <a:lnTo>
                        <a:pt x="1039" y="139"/>
                      </a:lnTo>
                      <a:lnTo>
                        <a:pt x="1042" y="143"/>
                      </a:lnTo>
                      <a:lnTo>
                        <a:pt x="1042" y="144"/>
                      </a:lnTo>
                      <a:lnTo>
                        <a:pt x="1037" y="148"/>
                      </a:lnTo>
                      <a:lnTo>
                        <a:pt x="1032" y="153"/>
                      </a:lnTo>
                      <a:lnTo>
                        <a:pt x="1031" y="156"/>
                      </a:lnTo>
                      <a:lnTo>
                        <a:pt x="1030" y="159"/>
                      </a:lnTo>
                      <a:lnTo>
                        <a:pt x="1030" y="161"/>
                      </a:lnTo>
                      <a:lnTo>
                        <a:pt x="1031" y="165"/>
                      </a:lnTo>
                      <a:lnTo>
                        <a:pt x="1031" y="166"/>
                      </a:lnTo>
                      <a:lnTo>
                        <a:pt x="1031" y="169"/>
                      </a:lnTo>
                      <a:lnTo>
                        <a:pt x="1027" y="172"/>
                      </a:lnTo>
                      <a:lnTo>
                        <a:pt x="1025" y="178"/>
                      </a:lnTo>
                      <a:lnTo>
                        <a:pt x="1022" y="185"/>
                      </a:lnTo>
                      <a:lnTo>
                        <a:pt x="1017" y="191"/>
                      </a:lnTo>
                      <a:lnTo>
                        <a:pt x="1015" y="192"/>
                      </a:lnTo>
                      <a:lnTo>
                        <a:pt x="1011" y="195"/>
                      </a:lnTo>
                      <a:lnTo>
                        <a:pt x="1006" y="196"/>
                      </a:lnTo>
                      <a:lnTo>
                        <a:pt x="1001" y="195"/>
                      </a:lnTo>
                      <a:lnTo>
                        <a:pt x="990" y="191"/>
                      </a:lnTo>
                      <a:lnTo>
                        <a:pt x="988" y="191"/>
                      </a:lnTo>
                      <a:lnTo>
                        <a:pt x="985" y="191"/>
                      </a:lnTo>
                      <a:lnTo>
                        <a:pt x="983" y="193"/>
                      </a:lnTo>
                      <a:lnTo>
                        <a:pt x="982" y="195"/>
                      </a:lnTo>
                      <a:lnTo>
                        <a:pt x="980" y="199"/>
                      </a:lnTo>
                      <a:lnTo>
                        <a:pt x="979" y="203"/>
                      </a:lnTo>
                      <a:lnTo>
                        <a:pt x="980" y="211"/>
                      </a:lnTo>
                      <a:lnTo>
                        <a:pt x="982" y="218"/>
                      </a:lnTo>
                      <a:lnTo>
                        <a:pt x="985" y="227"/>
                      </a:lnTo>
                      <a:lnTo>
                        <a:pt x="987" y="230"/>
                      </a:lnTo>
                      <a:lnTo>
                        <a:pt x="987" y="234"/>
                      </a:lnTo>
                      <a:lnTo>
                        <a:pt x="987" y="239"/>
                      </a:lnTo>
                      <a:lnTo>
                        <a:pt x="984" y="242"/>
                      </a:lnTo>
                      <a:lnTo>
                        <a:pt x="980" y="249"/>
                      </a:lnTo>
                      <a:lnTo>
                        <a:pt x="975" y="256"/>
                      </a:lnTo>
                      <a:lnTo>
                        <a:pt x="974" y="252"/>
                      </a:lnTo>
                      <a:lnTo>
                        <a:pt x="970" y="248"/>
                      </a:lnTo>
                      <a:lnTo>
                        <a:pt x="966" y="247"/>
                      </a:lnTo>
                      <a:lnTo>
                        <a:pt x="965" y="247"/>
                      </a:lnTo>
                      <a:lnTo>
                        <a:pt x="962" y="248"/>
                      </a:lnTo>
                      <a:lnTo>
                        <a:pt x="956" y="254"/>
                      </a:lnTo>
                      <a:lnTo>
                        <a:pt x="954" y="258"/>
                      </a:lnTo>
                      <a:lnTo>
                        <a:pt x="948" y="260"/>
                      </a:lnTo>
                      <a:lnTo>
                        <a:pt x="947" y="262"/>
                      </a:lnTo>
                      <a:lnTo>
                        <a:pt x="945" y="265"/>
                      </a:lnTo>
                      <a:lnTo>
                        <a:pt x="943" y="267"/>
                      </a:lnTo>
                      <a:lnTo>
                        <a:pt x="942" y="269"/>
                      </a:lnTo>
                      <a:lnTo>
                        <a:pt x="932" y="275"/>
                      </a:lnTo>
                      <a:lnTo>
                        <a:pt x="922" y="281"/>
                      </a:lnTo>
                      <a:lnTo>
                        <a:pt x="921" y="282"/>
                      </a:lnTo>
                      <a:lnTo>
                        <a:pt x="918" y="281"/>
                      </a:lnTo>
                      <a:lnTo>
                        <a:pt x="915" y="278"/>
                      </a:lnTo>
                      <a:lnTo>
                        <a:pt x="910" y="276"/>
                      </a:lnTo>
                      <a:lnTo>
                        <a:pt x="905" y="276"/>
                      </a:lnTo>
                      <a:lnTo>
                        <a:pt x="902" y="278"/>
                      </a:lnTo>
                      <a:lnTo>
                        <a:pt x="899" y="279"/>
                      </a:lnTo>
                      <a:lnTo>
                        <a:pt x="898" y="280"/>
                      </a:lnTo>
                      <a:lnTo>
                        <a:pt x="896" y="285"/>
                      </a:lnTo>
                      <a:lnTo>
                        <a:pt x="896" y="291"/>
                      </a:lnTo>
                      <a:lnTo>
                        <a:pt x="895" y="295"/>
                      </a:lnTo>
                      <a:lnTo>
                        <a:pt x="886" y="299"/>
                      </a:lnTo>
                      <a:lnTo>
                        <a:pt x="884" y="301"/>
                      </a:lnTo>
                      <a:lnTo>
                        <a:pt x="880" y="304"/>
                      </a:lnTo>
                      <a:lnTo>
                        <a:pt x="874" y="312"/>
                      </a:lnTo>
                      <a:lnTo>
                        <a:pt x="870" y="316"/>
                      </a:lnTo>
                      <a:lnTo>
                        <a:pt x="865" y="318"/>
                      </a:lnTo>
                      <a:lnTo>
                        <a:pt x="861" y="318"/>
                      </a:lnTo>
                      <a:lnTo>
                        <a:pt x="858" y="319"/>
                      </a:lnTo>
                      <a:lnTo>
                        <a:pt x="849" y="325"/>
                      </a:lnTo>
                      <a:lnTo>
                        <a:pt x="844" y="327"/>
                      </a:lnTo>
                      <a:lnTo>
                        <a:pt x="838" y="327"/>
                      </a:lnTo>
                      <a:lnTo>
                        <a:pt x="835" y="327"/>
                      </a:lnTo>
                      <a:lnTo>
                        <a:pt x="833" y="329"/>
                      </a:lnTo>
                      <a:lnTo>
                        <a:pt x="830" y="332"/>
                      </a:lnTo>
                      <a:lnTo>
                        <a:pt x="829" y="336"/>
                      </a:lnTo>
                      <a:lnTo>
                        <a:pt x="827" y="338"/>
                      </a:lnTo>
                      <a:lnTo>
                        <a:pt x="824" y="341"/>
                      </a:lnTo>
                      <a:lnTo>
                        <a:pt x="820" y="343"/>
                      </a:lnTo>
                      <a:lnTo>
                        <a:pt x="813" y="344"/>
                      </a:lnTo>
                      <a:lnTo>
                        <a:pt x="806" y="343"/>
                      </a:lnTo>
                      <a:lnTo>
                        <a:pt x="805" y="343"/>
                      </a:lnTo>
                      <a:lnTo>
                        <a:pt x="804" y="342"/>
                      </a:lnTo>
                      <a:lnTo>
                        <a:pt x="805" y="339"/>
                      </a:lnTo>
                      <a:lnTo>
                        <a:pt x="806" y="338"/>
                      </a:lnTo>
                      <a:lnTo>
                        <a:pt x="809" y="337"/>
                      </a:lnTo>
                      <a:lnTo>
                        <a:pt x="811" y="336"/>
                      </a:lnTo>
                      <a:lnTo>
                        <a:pt x="814" y="335"/>
                      </a:lnTo>
                      <a:lnTo>
                        <a:pt x="814" y="332"/>
                      </a:lnTo>
                      <a:lnTo>
                        <a:pt x="813" y="330"/>
                      </a:lnTo>
                      <a:lnTo>
                        <a:pt x="813" y="327"/>
                      </a:lnTo>
                      <a:lnTo>
                        <a:pt x="813" y="326"/>
                      </a:lnTo>
                      <a:lnTo>
                        <a:pt x="816" y="319"/>
                      </a:lnTo>
                      <a:lnTo>
                        <a:pt x="820" y="312"/>
                      </a:lnTo>
                      <a:lnTo>
                        <a:pt x="822" y="304"/>
                      </a:lnTo>
                      <a:lnTo>
                        <a:pt x="822" y="297"/>
                      </a:lnTo>
                      <a:lnTo>
                        <a:pt x="822" y="294"/>
                      </a:lnTo>
                      <a:lnTo>
                        <a:pt x="819" y="292"/>
                      </a:lnTo>
                      <a:lnTo>
                        <a:pt x="816" y="291"/>
                      </a:lnTo>
                      <a:lnTo>
                        <a:pt x="814" y="291"/>
                      </a:lnTo>
                      <a:lnTo>
                        <a:pt x="808" y="298"/>
                      </a:lnTo>
                      <a:lnTo>
                        <a:pt x="800" y="306"/>
                      </a:lnTo>
                      <a:lnTo>
                        <a:pt x="786" y="322"/>
                      </a:lnTo>
                      <a:lnTo>
                        <a:pt x="785" y="324"/>
                      </a:lnTo>
                      <a:lnTo>
                        <a:pt x="785" y="327"/>
                      </a:lnTo>
                      <a:lnTo>
                        <a:pt x="783" y="330"/>
                      </a:lnTo>
                      <a:lnTo>
                        <a:pt x="781" y="332"/>
                      </a:lnTo>
                      <a:lnTo>
                        <a:pt x="780" y="333"/>
                      </a:lnTo>
                      <a:lnTo>
                        <a:pt x="777" y="333"/>
                      </a:lnTo>
                      <a:lnTo>
                        <a:pt x="771" y="335"/>
                      </a:lnTo>
                      <a:lnTo>
                        <a:pt x="767" y="335"/>
                      </a:lnTo>
                      <a:lnTo>
                        <a:pt x="764" y="333"/>
                      </a:lnTo>
                      <a:lnTo>
                        <a:pt x="761" y="331"/>
                      </a:lnTo>
                      <a:lnTo>
                        <a:pt x="758" y="331"/>
                      </a:lnTo>
                      <a:lnTo>
                        <a:pt x="754" y="333"/>
                      </a:lnTo>
                      <a:lnTo>
                        <a:pt x="752" y="337"/>
                      </a:lnTo>
                      <a:lnTo>
                        <a:pt x="749" y="342"/>
                      </a:lnTo>
                      <a:lnTo>
                        <a:pt x="749" y="346"/>
                      </a:lnTo>
                      <a:lnTo>
                        <a:pt x="750" y="348"/>
                      </a:lnTo>
                      <a:lnTo>
                        <a:pt x="752" y="349"/>
                      </a:lnTo>
                      <a:lnTo>
                        <a:pt x="754" y="350"/>
                      </a:lnTo>
                      <a:lnTo>
                        <a:pt x="757" y="355"/>
                      </a:lnTo>
                      <a:lnTo>
                        <a:pt x="758" y="358"/>
                      </a:lnTo>
                      <a:lnTo>
                        <a:pt x="761" y="362"/>
                      </a:lnTo>
                      <a:lnTo>
                        <a:pt x="764" y="365"/>
                      </a:lnTo>
                      <a:lnTo>
                        <a:pt x="766" y="367"/>
                      </a:lnTo>
                      <a:lnTo>
                        <a:pt x="766" y="370"/>
                      </a:lnTo>
                      <a:lnTo>
                        <a:pt x="766" y="373"/>
                      </a:lnTo>
                      <a:lnTo>
                        <a:pt x="766" y="375"/>
                      </a:lnTo>
                      <a:lnTo>
                        <a:pt x="771" y="378"/>
                      </a:lnTo>
                      <a:lnTo>
                        <a:pt x="775" y="380"/>
                      </a:lnTo>
                      <a:lnTo>
                        <a:pt x="780" y="380"/>
                      </a:lnTo>
                      <a:lnTo>
                        <a:pt x="786" y="378"/>
                      </a:lnTo>
                      <a:lnTo>
                        <a:pt x="796" y="375"/>
                      </a:lnTo>
                      <a:lnTo>
                        <a:pt x="805" y="369"/>
                      </a:lnTo>
                      <a:lnTo>
                        <a:pt x="808" y="369"/>
                      </a:lnTo>
                      <a:lnTo>
                        <a:pt x="809" y="369"/>
                      </a:lnTo>
                      <a:lnTo>
                        <a:pt x="813" y="370"/>
                      </a:lnTo>
                      <a:lnTo>
                        <a:pt x="815" y="371"/>
                      </a:lnTo>
                      <a:lnTo>
                        <a:pt x="819" y="373"/>
                      </a:lnTo>
                      <a:lnTo>
                        <a:pt x="825" y="373"/>
                      </a:lnTo>
                      <a:lnTo>
                        <a:pt x="832" y="374"/>
                      </a:lnTo>
                      <a:lnTo>
                        <a:pt x="834" y="374"/>
                      </a:lnTo>
                      <a:lnTo>
                        <a:pt x="835" y="376"/>
                      </a:lnTo>
                      <a:lnTo>
                        <a:pt x="837" y="378"/>
                      </a:lnTo>
                      <a:lnTo>
                        <a:pt x="834" y="383"/>
                      </a:lnTo>
                      <a:lnTo>
                        <a:pt x="832" y="387"/>
                      </a:lnTo>
                      <a:lnTo>
                        <a:pt x="829" y="389"/>
                      </a:lnTo>
                      <a:lnTo>
                        <a:pt x="820" y="390"/>
                      </a:lnTo>
                      <a:lnTo>
                        <a:pt x="813" y="391"/>
                      </a:lnTo>
                      <a:lnTo>
                        <a:pt x="806" y="395"/>
                      </a:lnTo>
                      <a:lnTo>
                        <a:pt x="800" y="400"/>
                      </a:lnTo>
                      <a:lnTo>
                        <a:pt x="795" y="405"/>
                      </a:lnTo>
                      <a:lnTo>
                        <a:pt x="790" y="410"/>
                      </a:lnTo>
                      <a:lnTo>
                        <a:pt x="786" y="416"/>
                      </a:lnTo>
                      <a:lnTo>
                        <a:pt x="783" y="423"/>
                      </a:lnTo>
                      <a:lnTo>
                        <a:pt x="780" y="428"/>
                      </a:lnTo>
                      <a:lnTo>
                        <a:pt x="780" y="429"/>
                      </a:lnTo>
                      <a:lnTo>
                        <a:pt x="781" y="431"/>
                      </a:lnTo>
                      <a:lnTo>
                        <a:pt x="785" y="433"/>
                      </a:lnTo>
                      <a:lnTo>
                        <a:pt x="797" y="450"/>
                      </a:lnTo>
                      <a:lnTo>
                        <a:pt x="797" y="453"/>
                      </a:lnTo>
                      <a:lnTo>
                        <a:pt x="796" y="456"/>
                      </a:lnTo>
                      <a:lnTo>
                        <a:pt x="795" y="459"/>
                      </a:lnTo>
                      <a:lnTo>
                        <a:pt x="795" y="463"/>
                      </a:lnTo>
                      <a:lnTo>
                        <a:pt x="796" y="466"/>
                      </a:lnTo>
                      <a:lnTo>
                        <a:pt x="799" y="470"/>
                      </a:lnTo>
                      <a:lnTo>
                        <a:pt x="799" y="471"/>
                      </a:lnTo>
                      <a:lnTo>
                        <a:pt x="799" y="473"/>
                      </a:lnTo>
                      <a:lnTo>
                        <a:pt x="804" y="474"/>
                      </a:lnTo>
                      <a:lnTo>
                        <a:pt x="808" y="476"/>
                      </a:lnTo>
                      <a:lnTo>
                        <a:pt x="810" y="478"/>
                      </a:lnTo>
                      <a:lnTo>
                        <a:pt x="811" y="480"/>
                      </a:lnTo>
                      <a:lnTo>
                        <a:pt x="815" y="496"/>
                      </a:lnTo>
                      <a:lnTo>
                        <a:pt x="818" y="501"/>
                      </a:lnTo>
                      <a:lnTo>
                        <a:pt x="822" y="504"/>
                      </a:lnTo>
                      <a:lnTo>
                        <a:pt x="823" y="506"/>
                      </a:lnTo>
                      <a:lnTo>
                        <a:pt x="823" y="510"/>
                      </a:lnTo>
                      <a:lnTo>
                        <a:pt x="822" y="512"/>
                      </a:lnTo>
                      <a:lnTo>
                        <a:pt x="819" y="516"/>
                      </a:lnTo>
                      <a:lnTo>
                        <a:pt x="811" y="521"/>
                      </a:lnTo>
                      <a:lnTo>
                        <a:pt x="808" y="525"/>
                      </a:lnTo>
                      <a:lnTo>
                        <a:pt x="804" y="528"/>
                      </a:lnTo>
                      <a:lnTo>
                        <a:pt x="802" y="530"/>
                      </a:lnTo>
                      <a:lnTo>
                        <a:pt x="802" y="531"/>
                      </a:lnTo>
                      <a:lnTo>
                        <a:pt x="804" y="533"/>
                      </a:lnTo>
                      <a:lnTo>
                        <a:pt x="806" y="535"/>
                      </a:lnTo>
                      <a:lnTo>
                        <a:pt x="809" y="535"/>
                      </a:lnTo>
                      <a:lnTo>
                        <a:pt x="814" y="535"/>
                      </a:lnTo>
                      <a:lnTo>
                        <a:pt x="819" y="534"/>
                      </a:lnTo>
                      <a:lnTo>
                        <a:pt x="824" y="534"/>
                      </a:lnTo>
                      <a:lnTo>
                        <a:pt x="825" y="534"/>
                      </a:lnTo>
                      <a:lnTo>
                        <a:pt x="827" y="536"/>
                      </a:lnTo>
                      <a:lnTo>
                        <a:pt x="828" y="541"/>
                      </a:lnTo>
                      <a:lnTo>
                        <a:pt x="825" y="546"/>
                      </a:lnTo>
                      <a:lnTo>
                        <a:pt x="823" y="549"/>
                      </a:lnTo>
                      <a:lnTo>
                        <a:pt x="820" y="550"/>
                      </a:lnTo>
                      <a:lnTo>
                        <a:pt x="816" y="550"/>
                      </a:lnTo>
                      <a:lnTo>
                        <a:pt x="814" y="550"/>
                      </a:lnTo>
                      <a:lnTo>
                        <a:pt x="811" y="553"/>
                      </a:lnTo>
                      <a:lnTo>
                        <a:pt x="810" y="554"/>
                      </a:lnTo>
                      <a:lnTo>
                        <a:pt x="811" y="556"/>
                      </a:lnTo>
                      <a:lnTo>
                        <a:pt x="815" y="559"/>
                      </a:lnTo>
                      <a:lnTo>
                        <a:pt x="816" y="562"/>
                      </a:lnTo>
                      <a:lnTo>
                        <a:pt x="816" y="566"/>
                      </a:lnTo>
                      <a:lnTo>
                        <a:pt x="815" y="574"/>
                      </a:lnTo>
                      <a:lnTo>
                        <a:pt x="815" y="576"/>
                      </a:lnTo>
                      <a:lnTo>
                        <a:pt x="816" y="580"/>
                      </a:lnTo>
                      <a:lnTo>
                        <a:pt x="816" y="581"/>
                      </a:lnTo>
                      <a:lnTo>
                        <a:pt x="815" y="582"/>
                      </a:lnTo>
                      <a:lnTo>
                        <a:pt x="811" y="582"/>
                      </a:lnTo>
                      <a:lnTo>
                        <a:pt x="809" y="582"/>
                      </a:lnTo>
                      <a:lnTo>
                        <a:pt x="806" y="584"/>
                      </a:lnTo>
                      <a:lnTo>
                        <a:pt x="804" y="586"/>
                      </a:lnTo>
                      <a:lnTo>
                        <a:pt x="800" y="591"/>
                      </a:lnTo>
                      <a:lnTo>
                        <a:pt x="797" y="595"/>
                      </a:lnTo>
                      <a:lnTo>
                        <a:pt x="794" y="601"/>
                      </a:lnTo>
                      <a:lnTo>
                        <a:pt x="790" y="605"/>
                      </a:lnTo>
                      <a:lnTo>
                        <a:pt x="785" y="608"/>
                      </a:lnTo>
                      <a:lnTo>
                        <a:pt x="783" y="612"/>
                      </a:lnTo>
                      <a:lnTo>
                        <a:pt x="782" y="614"/>
                      </a:lnTo>
                      <a:lnTo>
                        <a:pt x="780" y="623"/>
                      </a:lnTo>
                      <a:lnTo>
                        <a:pt x="778" y="626"/>
                      </a:lnTo>
                      <a:lnTo>
                        <a:pt x="778" y="631"/>
                      </a:lnTo>
                      <a:lnTo>
                        <a:pt x="777" y="632"/>
                      </a:lnTo>
                      <a:lnTo>
                        <a:pt x="776" y="633"/>
                      </a:lnTo>
                      <a:lnTo>
                        <a:pt x="771" y="635"/>
                      </a:lnTo>
                      <a:lnTo>
                        <a:pt x="767" y="637"/>
                      </a:lnTo>
                      <a:lnTo>
                        <a:pt x="764" y="639"/>
                      </a:lnTo>
                      <a:lnTo>
                        <a:pt x="763" y="642"/>
                      </a:lnTo>
                      <a:lnTo>
                        <a:pt x="764" y="644"/>
                      </a:lnTo>
                      <a:lnTo>
                        <a:pt x="766" y="646"/>
                      </a:lnTo>
                      <a:lnTo>
                        <a:pt x="767" y="648"/>
                      </a:lnTo>
                      <a:lnTo>
                        <a:pt x="767" y="650"/>
                      </a:lnTo>
                      <a:lnTo>
                        <a:pt x="767" y="651"/>
                      </a:lnTo>
                      <a:lnTo>
                        <a:pt x="755" y="658"/>
                      </a:lnTo>
                      <a:lnTo>
                        <a:pt x="750" y="663"/>
                      </a:lnTo>
                      <a:lnTo>
                        <a:pt x="749" y="665"/>
                      </a:lnTo>
                      <a:lnTo>
                        <a:pt x="748" y="668"/>
                      </a:lnTo>
                      <a:lnTo>
                        <a:pt x="748" y="669"/>
                      </a:lnTo>
                      <a:lnTo>
                        <a:pt x="749" y="669"/>
                      </a:lnTo>
                      <a:lnTo>
                        <a:pt x="750" y="670"/>
                      </a:lnTo>
                      <a:lnTo>
                        <a:pt x="750" y="671"/>
                      </a:lnTo>
                      <a:lnTo>
                        <a:pt x="749" y="672"/>
                      </a:lnTo>
                      <a:lnTo>
                        <a:pt x="743" y="672"/>
                      </a:lnTo>
                      <a:lnTo>
                        <a:pt x="738" y="674"/>
                      </a:lnTo>
                      <a:lnTo>
                        <a:pt x="734" y="677"/>
                      </a:lnTo>
                      <a:lnTo>
                        <a:pt x="731" y="682"/>
                      </a:lnTo>
                      <a:lnTo>
                        <a:pt x="729" y="684"/>
                      </a:lnTo>
                      <a:lnTo>
                        <a:pt x="724" y="687"/>
                      </a:lnTo>
                      <a:lnTo>
                        <a:pt x="719" y="688"/>
                      </a:lnTo>
                      <a:lnTo>
                        <a:pt x="716" y="687"/>
                      </a:lnTo>
                      <a:lnTo>
                        <a:pt x="715" y="686"/>
                      </a:lnTo>
                      <a:lnTo>
                        <a:pt x="715" y="683"/>
                      </a:lnTo>
                      <a:lnTo>
                        <a:pt x="715" y="680"/>
                      </a:lnTo>
                      <a:lnTo>
                        <a:pt x="712" y="678"/>
                      </a:lnTo>
                      <a:lnTo>
                        <a:pt x="711" y="678"/>
                      </a:lnTo>
                      <a:lnTo>
                        <a:pt x="707" y="682"/>
                      </a:lnTo>
                      <a:lnTo>
                        <a:pt x="705" y="684"/>
                      </a:lnTo>
                      <a:lnTo>
                        <a:pt x="701" y="686"/>
                      </a:lnTo>
                      <a:lnTo>
                        <a:pt x="697" y="687"/>
                      </a:lnTo>
                      <a:lnTo>
                        <a:pt x="689" y="686"/>
                      </a:lnTo>
                      <a:lnTo>
                        <a:pt x="682" y="684"/>
                      </a:lnTo>
                      <a:lnTo>
                        <a:pt x="679" y="684"/>
                      </a:lnTo>
                      <a:lnTo>
                        <a:pt x="678" y="686"/>
                      </a:lnTo>
                      <a:lnTo>
                        <a:pt x="677" y="691"/>
                      </a:lnTo>
                      <a:lnTo>
                        <a:pt x="675" y="693"/>
                      </a:lnTo>
                      <a:lnTo>
                        <a:pt x="674" y="694"/>
                      </a:lnTo>
                      <a:lnTo>
                        <a:pt x="674" y="700"/>
                      </a:lnTo>
                      <a:lnTo>
                        <a:pt x="672" y="703"/>
                      </a:lnTo>
                      <a:lnTo>
                        <a:pt x="668" y="707"/>
                      </a:lnTo>
                      <a:lnTo>
                        <a:pt x="664" y="708"/>
                      </a:lnTo>
                      <a:lnTo>
                        <a:pt x="663" y="707"/>
                      </a:lnTo>
                      <a:lnTo>
                        <a:pt x="663" y="704"/>
                      </a:lnTo>
                      <a:lnTo>
                        <a:pt x="663" y="702"/>
                      </a:lnTo>
                      <a:lnTo>
                        <a:pt x="663" y="700"/>
                      </a:lnTo>
                      <a:lnTo>
                        <a:pt x="660" y="700"/>
                      </a:lnTo>
                      <a:lnTo>
                        <a:pt x="659" y="700"/>
                      </a:lnTo>
                      <a:lnTo>
                        <a:pt x="656" y="702"/>
                      </a:lnTo>
                      <a:lnTo>
                        <a:pt x="653" y="708"/>
                      </a:lnTo>
                      <a:lnTo>
                        <a:pt x="648" y="710"/>
                      </a:lnTo>
                      <a:lnTo>
                        <a:pt x="642" y="713"/>
                      </a:lnTo>
                      <a:lnTo>
                        <a:pt x="636" y="715"/>
                      </a:lnTo>
                      <a:lnTo>
                        <a:pt x="630" y="719"/>
                      </a:lnTo>
                      <a:lnTo>
                        <a:pt x="625" y="723"/>
                      </a:lnTo>
                      <a:lnTo>
                        <a:pt x="623" y="726"/>
                      </a:lnTo>
                      <a:lnTo>
                        <a:pt x="622" y="728"/>
                      </a:lnTo>
                      <a:lnTo>
                        <a:pt x="623" y="731"/>
                      </a:lnTo>
                      <a:lnTo>
                        <a:pt x="625" y="733"/>
                      </a:lnTo>
                      <a:lnTo>
                        <a:pt x="626" y="735"/>
                      </a:lnTo>
                      <a:lnTo>
                        <a:pt x="627" y="738"/>
                      </a:lnTo>
                      <a:lnTo>
                        <a:pt x="625" y="739"/>
                      </a:lnTo>
                      <a:lnTo>
                        <a:pt x="622" y="739"/>
                      </a:lnTo>
                      <a:lnTo>
                        <a:pt x="613" y="735"/>
                      </a:lnTo>
                      <a:lnTo>
                        <a:pt x="612" y="733"/>
                      </a:lnTo>
                      <a:lnTo>
                        <a:pt x="612" y="732"/>
                      </a:lnTo>
                      <a:lnTo>
                        <a:pt x="613" y="729"/>
                      </a:lnTo>
                      <a:lnTo>
                        <a:pt x="613" y="727"/>
                      </a:lnTo>
                      <a:lnTo>
                        <a:pt x="612" y="725"/>
                      </a:lnTo>
                      <a:lnTo>
                        <a:pt x="611" y="721"/>
                      </a:lnTo>
                      <a:lnTo>
                        <a:pt x="611" y="720"/>
                      </a:lnTo>
                      <a:lnTo>
                        <a:pt x="612" y="719"/>
                      </a:lnTo>
                      <a:lnTo>
                        <a:pt x="615" y="716"/>
                      </a:lnTo>
                      <a:lnTo>
                        <a:pt x="616" y="715"/>
                      </a:lnTo>
                      <a:lnTo>
                        <a:pt x="617" y="714"/>
                      </a:lnTo>
                      <a:lnTo>
                        <a:pt x="617" y="713"/>
                      </a:lnTo>
                      <a:lnTo>
                        <a:pt x="616" y="712"/>
                      </a:lnTo>
                      <a:lnTo>
                        <a:pt x="615" y="712"/>
                      </a:lnTo>
                      <a:lnTo>
                        <a:pt x="611" y="712"/>
                      </a:lnTo>
                      <a:lnTo>
                        <a:pt x="608" y="713"/>
                      </a:lnTo>
                      <a:lnTo>
                        <a:pt x="607" y="714"/>
                      </a:lnTo>
                      <a:lnTo>
                        <a:pt x="606" y="715"/>
                      </a:lnTo>
                      <a:lnTo>
                        <a:pt x="604" y="716"/>
                      </a:lnTo>
                      <a:lnTo>
                        <a:pt x="590" y="718"/>
                      </a:lnTo>
                      <a:lnTo>
                        <a:pt x="588" y="714"/>
                      </a:lnTo>
                      <a:lnTo>
                        <a:pt x="584" y="712"/>
                      </a:lnTo>
                      <a:lnTo>
                        <a:pt x="578" y="708"/>
                      </a:lnTo>
                      <a:lnTo>
                        <a:pt x="570" y="704"/>
                      </a:lnTo>
                      <a:lnTo>
                        <a:pt x="562" y="701"/>
                      </a:lnTo>
                      <a:lnTo>
                        <a:pt x="560" y="700"/>
                      </a:lnTo>
                      <a:lnTo>
                        <a:pt x="560" y="699"/>
                      </a:lnTo>
                      <a:lnTo>
                        <a:pt x="560" y="695"/>
                      </a:lnTo>
                      <a:lnTo>
                        <a:pt x="561" y="690"/>
                      </a:lnTo>
                      <a:lnTo>
                        <a:pt x="561" y="688"/>
                      </a:lnTo>
                      <a:lnTo>
                        <a:pt x="561" y="687"/>
                      </a:lnTo>
                      <a:lnTo>
                        <a:pt x="556" y="681"/>
                      </a:lnTo>
                      <a:lnTo>
                        <a:pt x="551" y="678"/>
                      </a:lnTo>
                      <a:lnTo>
                        <a:pt x="546" y="676"/>
                      </a:lnTo>
                      <a:lnTo>
                        <a:pt x="538" y="677"/>
                      </a:lnTo>
                      <a:lnTo>
                        <a:pt x="527" y="681"/>
                      </a:lnTo>
                      <a:lnTo>
                        <a:pt x="518" y="683"/>
                      </a:lnTo>
                      <a:lnTo>
                        <a:pt x="510" y="688"/>
                      </a:lnTo>
                      <a:lnTo>
                        <a:pt x="507" y="689"/>
                      </a:lnTo>
                      <a:lnTo>
                        <a:pt x="502" y="690"/>
                      </a:lnTo>
                      <a:lnTo>
                        <a:pt x="494" y="689"/>
                      </a:lnTo>
                      <a:lnTo>
                        <a:pt x="491" y="690"/>
                      </a:lnTo>
                      <a:lnTo>
                        <a:pt x="489" y="693"/>
                      </a:lnTo>
                      <a:lnTo>
                        <a:pt x="484" y="691"/>
                      </a:lnTo>
                      <a:lnTo>
                        <a:pt x="481" y="691"/>
                      </a:lnTo>
                      <a:lnTo>
                        <a:pt x="479" y="693"/>
                      </a:lnTo>
                      <a:lnTo>
                        <a:pt x="479" y="695"/>
                      </a:lnTo>
                      <a:lnTo>
                        <a:pt x="477" y="696"/>
                      </a:lnTo>
                      <a:lnTo>
                        <a:pt x="479" y="700"/>
                      </a:lnTo>
                      <a:lnTo>
                        <a:pt x="484" y="707"/>
                      </a:lnTo>
                      <a:lnTo>
                        <a:pt x="484" y="712"/>
                      </a:lnTo>
                      <a:lnTo>
                        <a:pt x="484" y="713"/>
                      </a:lnTo>
                      <a:lnTo>
                        <a:pt x="482" y="714"/>
                      </a:lnTo>
                      <a:lnTo>
                        <a:pt x="479" y="716"/>
                      </a:lnTo>
                      <a:lnTo>
                        <a:pt x="475" y="718"/>
                      </a:lnTo>
                      <a:lnTo>
                        <a:pt x="471" y="716"/>
                      </a:lnTo>
                      <a:lnTo>
                        <a:pt x="466" y="715"/>
                      </a:lnTo>
                      <a:lnTo>
                        <a:pt x="467" y="713"/>
                      </a:lnTo>
                      <a:lnTo>
                        <a:pt x="466" y="710"/>
                      </a:lnTo>
                      <a:lnTo>
                        <a:pt x="466" y="709"/>
                      </a:lnTo>
                      <a:lnTo>
                        <a:pt x="462" y="708"/>
                      </a:lnTo>
                      <a:lnTo>
                        <a:pt x="456" y="708"/>
                      </a:lnTo>
                      <a:lnTo>
                        <a:pt x="455" y="707"/>
                      </a:lnTo>
                      <a:lnTo>
                        <a:pt x="453" y="706"/>
                      </a:lnTo>
                      <a:lnTo>
                        <a:pt x="453" y="702"/>
                      </a:lnTo>
                      <a:lnTo>
                        <a:pt x="453" y="699"/>
                      </a:lnTo>
                      <a:lnTo>
                        <a:pt x="452" y="697"/>
                      </a:lnTo>
                      <a:lnTo>
                        <a:pt x="451" y="697"/>
                      </a:lnTo>
                      <a:lnTo>
                        <a:pt x="446" y="699"/>
                      </a:lnTo>
                      <a:lnTo>
                        <a:pt x="443" y="699"/>
                      </a:lnTo>
                      <a:lnTo>
                        <a:pt x="441" y="699"/>
                      </a:lnTo>
                      <a:lnTo>
                        <a:pt x="439" y="697"/>
                      </a:lnTo>
                      <a:lnTo>
                        <a:pt x="439" y="695"/>
                      </a:lnTo>
                      <a:lnTo>
                        <a:pt x="442" y="690"/>
                      </a:lnTo>
                      <a:lnTo>
                        <a:pt x="446" y="687"/>
                      </a:lnTo>
                      <a:lnTo>
                        <a:pt x="449" y="682"/>
                      </a:lnTo>
                      <a:lnTo>
                        <a:pt x="451" y="677"/>
                      </a:lnTo>
                      <a:lnTo>
                        <a:pt x="451" y="675"/>
                      </a:lnTo>
                      <a:lnTo>
                        <a:pt x="448" y="675"/>
                      </a:lnTo>
                      <a:lnTo>
                        <a:pt x="443" y="675"/>
                      </a:lnTo>
                      <a:lnTo>
                        <a:pt x="441" y="674"/>
                      </a:lnTo>
                      <a:lnTo>
                        <a:pt x="439" y="671"/>
                      </a:lnTo>
                      <a:lnTo>
                        <a:pt x="439" y="667"/>
                      </a:lnTo>
                      <a:lnTo>
                        <a:pt x="439" y="661"/>
                      </a:lnTo>
                      <a:lnTo>
                        <a:pt x="439" y="658"/>
                      </a:lnTo>
                      <a:lnTo>
                        <a:pt x="438" y="657"/>
                      </a:lnTo>
                      <a:lnTo>
                        <a:pt x="435" y="657"/>
                      </a:lnTo>
                      <a:lnTo>
                        <a:pt x="432" y="657"/>
                      </a:lnTo>
                      <a:lnTo>
                        <a:pt x="425" y="658"/>
                      </a:lnTo>
                      <a:lnTo>
                        <a:pt x="419" y="659"/>
                      </a:lnTo>
                      <a:lnTo>
                        <a:pt x="416" y="658"/>
                      </a:lnTo>
                      <a:lnTo>
                        <a:pt x="415" y="657"/>
                      </a:lnTo>
                      <a:lnTo>
                        <a:pt x="413" y="652"/>
                      </a:lnTo>
                      <a:lnTo>
                        <a:pt x="413" y="649"/>
                      </a:lnTo>
                      <a:lnTo>
                        <a:pt x="413" y="645"/>
                      </a:lnTo>
                      <a:lnTo>
                        <a:pt x="414" y="640"/>
                      </a:lnTo>
                      <a:lnTo>
                        <a:pt x="418" y="632"/>
                      </a:lnTo>
                      <a:lnTo>
                        <a:pt x="422" y="624"/>
                      </a:lnTo>
                      <a:lnTo>
                        <a:pt x="424" y="619"/>
                      </a:lnTo>
                      <a:lnTo>
                        <a:pt x="425" y="614"/>
                      </a:lnTo>
                      <a:lnTo>
                        <a:pt x="427" y="604"/>
                      </a:lnTo>
                      <a:lnTo>
                        <a:pt x="425" y="581"/>
                      </a:lnTo>
                      <a:lnTo>
                        <a:pt x="424" y="576"/>
                      </a:lnTo>
                      <a:lnTo>
                        <a:pt x="422" y="572"/>
                      </a:lnTo>
                      <a:lnTo>
                        <a:pt x="416" y="569"/>
                      </a:lnTo>
                      <a:lnTo>
                        <a:pt x="414" y="568"/>
                      </a:lnTo>
                      <a:lnTo>
                        <a:pt x="413" y="569"/>
                      </a:lnTo>
                      <a:lnTo>
                        <a:pt x="408" y="571"/>
                      </a:lnTo>
                      <a:lnTo>
                        <a:pt x="401" y="572"/>
                      </a:lnTo>
                      <a:lnTo>
                        <a:pt x="399" y="571"/>
                      </a:lnTo>
                      <a:lnTo>
                        <a:pt x="397" y="568"/>
                      </a:lnTo>
                      <a:lnTo>
                        <a:pt x="397" y="566"/>
                      </a:lnTo>
                      <a:lnTo>
                        <a:pt x="399" y="563"/>
                      </a:lnTo>
                      <a:lnTo>
                        <a:pt x="400" y="560"/>
                      </a:lnTo>
                      <a:lnTo>
                        <a:pt x="399" y="557"/>
                      </a:lnTo>
                      <a:lnTo>
                        <a:pt x="395" y="555"/>
                      </a:lnTo>
                      <a:lnTo>
                        <a:pt x="391" y="554"/>
                      </a:lnTo>
                      <a:lnTo>
                        <a:pt x="383" y="553"/>
                      </a:lnTo>
                      <a:lnTo>
                        <a:pt x="375" y="553"/>
                      </a:lnTo>
                      <a:lnTo>
                        <a:pt x="366" y="555"/>
                      </a:lnTo>
                      <a:lnTo>
                        <a:pt x="353" y="560"/>
                      </a:lnTo>
                      <a:lnTo>
                        <a:pt x="336" y="568"/>
                      </a:lnTo>
                      <a:lnTo>
                        <a:pt x="321" y="576"/>
                      </a:lnTo>
                      <a:lnTo>
                        <a:pt x="315" y="579"/>
                      </a:lnTo>
                      <a:lnTo>
                        <a:pt x="310" y="579"/>
                      </a:lnTo>
                      <a:lnTo>
                        <a:pt x="307" y="578"/>
                      </a:lnTo>
                      <a:lnTo>
                        <a:pt x="305" y="576"/>
                      </a:lnTo>
                      <a:lnTo>
                        <a:pt x="301" y="575"/>
                      </a:lnTo>
                      <a:lnTo>
                        <a:pt x="297" y="575"/>
                      </a:lnTo>
                      <a:lnTo>
                        <a:pt x="287" y="578"/>
                      </a:lnTo>
                      <a:lnTo>
                        <a:pt x="275" y="579"/>
                      </a:lnTo>
                      <a:lnTo>
                        <a:pt x="273" y="579"/>
                      </a:lnTo>
                      <a:lnTo>
                        <a:pt x="272" y="581"/>
                      </a:lnTo>
                      <a:lnTo>
                        <a:pt x="270" y="584"/>
                      </a:lnTo>
                      <a:lnTo>
                        <a:pt x="268" y="587"/>
                      </a:lnTo>
                      <a:lnTo>
                        <a:pt x="264" y="582"/>
                      </a:lnTo>
                      <a:lnTo>
                        <a:pt x="259" y="579"/>
                      </a:lnTo>
                      <a:lnTo>
                        <a:pt x="256" y="578"/>
                      </a:lnTo>
                      <a:lnTo>
                        <a:pt x="255" y="579"/>
                      </a:lnTo>
                      <a:lnTo>
                        <a:pt x="253" y="580"/>
                      </a:lnTo>
                      <a:lnTo>
                        <a:pt x="250" y="581"/>
                      </a:lnTo>
                      <a:lnTo>
                        <a:pt x="245" y="580"/>
                      </a:lnTo>
                      <a:lnTo>
                        <a:pt x="241" y="579"/>
                      </a:lnTo>
                      <a:lnTo>
                        <a:pt x="232" y="574"/>
                      </a:lnTo>
                      <a:lnTo>
                        <a:pt x="230" y="574"/>
                      </a:lnTo>
                      <a:lnTo>
                        <a:pt x="228" y="574"/>
                      </a:lnTo>
                      <a:lnTo>
                        <a:pt x="225" y="576"/>
                      </a:lnTo>
                      <a:lnTo>
                        <a:pt x="221" y="579"/>
                      </a:lnTo>
                      <a:lnTo>
                        <a:pt x="218" y="579"/>
                      </a:lnTo>
                      <a:lnTo>
                        <a:pt x="216" y="579"/>
                      </a:lnTo>
                      <a:lnTo>
                        <a:pt x="209" y="575"/>
                      </a:lnTo>
                      <a:lnTo>
                        <a:pt x="204" y="572"/>
                      </a:lnTo>
                      <a:lnTo>
                        <a:pt x="201" y="566"/>
                      </a:lnTo>
                      <a:lnTo>
                        <a:pt x="195" y="561"/>
                      </a:lnTo>
                      <a:lnTo>
                        <a:pt x="192" y="560"/>
                      </a:lnTo>
                      <a:lnTo>
                        <a:pt x="188" y="560"/>
                      </a:lnTo>
                      <a:lnTo>
                        <a:pt x="185" y="560"/>
                      </a:lnTo>
                      <a:lnTo>
                        <a:pt x="183" y="560"/>
                      </a:lnTo>
                      <a:lnTo>
                        <a:pt x="183" y="559"/>
                      </a:lnTo>
                      <a:lnTo>
                        <a:pt x="184" y="555"/>
                      </a:lnTo>
                      <a:lnTo>
                        <a:pt x="183" y="554"/>
                      </a:lnTo>
                      <a:lnTo>
                        <a:pt x="182" y="553"/>
                      </a:lnTo>
                      <a:lnTo>
                        <a:pt x="176" y="552"/>
                      </a:lnTo>
                      <a:lnTo>
                        <a:pt x="173" y="552"/>
                      </a:lnTo>
                      <a:lnTo>
                        <a:pt x="169" y="550"/>
                      </a:lnTo>
                      <a:lnTo>
                        <a:pt x="166" y="548"/>
                      </a:lnTo>
                      <a:lnTo>
                        <a:pt x="165" y="546"/>
                      </a:lnTo>
                      <a:lnTo>
                        <a:pt x="160" y="541"/>
                      </a:lnTo>
                      <a:lnTo>
                        <a:pt x="154" y="536"/>
                      </a:lnTo>
                      <a:lnTo>
                        <a:pt x="147" y="533"/>
                      </a:lnTo>
                      <a:lnTo>
                        <a:pt x="145" y="533"/>
                      </a:lnTo>
                      <a:lnTo>
                        <a:pt x="142" y="534"/>
                      </a:lnTo>
                      <a:lnTo>
                        <a:pt x="136" y="536"/>
                      </a:lnTo>
                      <a:lnTo>
                        <a:pt x="132" y="536"/>
                      </a:lnTo>
                      <a:lnTo>
                        <a:pt x="129" y="5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7" name="Freeform 634">
                  <a:extLst>
                    <a:ext uri="{FF2B5EF4-FFF2-40B4-BE49-F238E27FC236}">
                      <a16:creationId xmlns:a16="http://schemas.microsoft.com/office/drawing/2014/main" id="{BEF4E4C2-36E3-F94B-8025-9173E8F1F9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4035" y="3505498"/>
                  <a:ext cx="389206" cy="432123"/>
                </a:xfrm>
                <a:custGeom>
                  <a:avLst/>
                  <a:gdLst>
                    <a:gd name="T0" fmla="*/ 2147483647 w 285"/>
                    <a:gd name="T1" fmla="*/ 0 h 292"/>
                    <a:gd name="T2" fmla="*/ 2147483647 w 285"/>
                    <a:gd name="T3" fmla="*/ 2147483647 h 292"/>
                    <a:gd name="T4" fmla="*/ 2147483647 w 285"/>
                    <a:gd name="T5" fmla="*/ 2147483647 h 292"/>
                    <a:gd name="T6" fmla="*/ 2147483647 w 285"/>
                    <a:gd name="T7" fmla="*/ 2147483647 h 292"/>
                    <a:gd name="T8" fmla="*/ 2147483647 w 285"/>
                    <a:gd name="T9" fmla="*/ 2147483647 h 292"/>
                    <a:gd name="T10" fmla="*/ 2147483647 w 285"/>
                    <a:gd name="T11" fmla="*/ 2147483647 h 292"/>
                    <a:gd name="T12" fmla="*/ 2147483647 w 285"/>
                    <a:gd name="T13" fmla="*/ 2147483647 h 292"/>
                    <a:gd name="T14" fmla="*/ 2147483647 w 285"/>
                    <a:gd name="T15" fmla="*/ 2147483647 h 292"/>
                    <a:gd name="T16" fmla="*/ 2147483647 w 285"/>
                    <a:gd name="T17" fmla="*/ 2147483647 h 292"/>
                    <a:gd name="T18" fmla="*/ 2147483647 w 285"/>
                    <a:gd name="T19" fmla="*/ 2147483647 h 292"/>
                    <a:gd name="T20" fmla="*/ 2147483647 w 285"/>
                    <a:gd name="T21" fmla="*/ 2147483647 h 292"/>
                    <a:gd name="T22" fmla="*/ 2147483647 w 285"/>
                    <a:gd name="T23" fmla="*/ 2147483647 h 292"/>
                    <a:gd name="T24" fmla="*/ 2147483647 w 285"/>
                    <a:gd name="T25" fmla="*/ 2147483647 h 292"/>
                    <a:gd name="T26" fmla="*/ 2147483647 w 285"/>
                    <a:gd name="T27" fmla="*/ 2147483647 h 292"/>
                    <a:gd name="T28" fmla="*/ 2147483647 w 285"/>
                    <a:gd name="T29" fmla="*/ 2147483647 h 292"/>
                    <a:gd name="T30" fmla="*/ 2147483647 w 285"/>
                    <a:gd name="T31" fmla="*/ 2147483647 h 292"/>
                    <a:gd name="T32" fmla="*/ 2147483647 w 285"/>
                    <a:gd name="T33" fmla="*/ 2147483647 h 292"/>
                    <a:gd name="T34" fmla="*/ 2147483647 w 285"/>
                    <a:gd name="T35" fmla="*/ 2147483647 h 292"/>
                    <a:gd name="T36" fmla="*/ 2147483647 w 285"/>
                    <a:gd name="T37" fmla="*/ 2147483647 h 292"/>
                    <a:gd name="T38" fmla="*/ 2147483647 w 285"/>
                    <a:gd name="T39" fmla="*/ 2147483647 h 292"/>
                    <a:gd name="T40" fmla="*/ 2147483647 w 285"/>
                    <a:gd name="T41" fmla="*/ 2147483647 h 292"/>
                    <a:gd name="T42" fmla="*/ 2147483647 w 285"/>
                    <a:gd name="T43" fmla="*/ 2147483647 h 292"/>
                    <a:gd name="T44" fmla="*/ 2147483647 w 285"/>
                    <a:gd name="T45" fmla="*/ 2147483647 h 292"/>
                    <a:gd name="T46" fmla="*/ 2147483647 w 285"/>
                    <a:gd name="T47" fmla="*/ 2147483647 h 292"/>
                    <a:gd name="T48" fmla="*/ 2147483647 w 285"/>
                    <a:gd name="T49" fmla="*/ 2147483647 h 292"/>
                    <a:gd name="T50" fmla="*/ 2147483647 w 285"/>
                    <a:gd name="T51" fmla="*/ 2147483647 h 292"/>
                    <a:gd name="T52" fmla="*/ 2147483647 w 285"/>
                    <a:gd name="T53" fmla="*/ 2147483647 h 292"/>
                    <a:gd name="T54" fmla="*/ 2147483647 w 285"/>
                    <a:gd name="T55" fmla="*/ 2147483647 h 292"/>
                    <a:gd name="T56" fmla="*/ 2147483647 w 285"/>
                    <a:gd name="T57" fmla="*/ 2147483647 h 292"/>
                    <a:gd name="T58" fmla="*/ 2147483647 w 285"/>
                    <a:gd name="T59" fmla="*/ 2147483647 h 292"/>
                    <a:gd name="T60" fmla="*/ 2147483647 w 285"/>
                    <a:gd name="T61" fmla="*/ 2147483647 h 292"/>
                    <a:gd name="T62" fmla="*/ 2147483647 w 285"/>
                    <a:gd name="T63" fmla="*/ 2147483647 h 292"/>
                    <a:gd name="T64" fmla="*/ 2147483647 w 285"/>
                    <a:gd name="T65" fmla="*/ 2147483647 h 292"/>
                    <a:gd name="T66" fmla="*/ 2147483647 w 285"/>
                    <a:gd name="T67" fmla="*/ 2147483647 h 292"/>
                    <a:gd name="T68" fmla="*/ 2147483647 w 285"/>
                    <a:gd name="T69" fmla="*/ 2147483647 h 292"/>
                    <a:gd name="T70" fmla="*/ 2147483647 w 285"/>
                    <a:gd name="T71" fmla="*/ 2147483647 h 292"/>
                    <a:gd name="T72" fmla="*/ 2147483647 w 285"/>
                    <a:gd name="T73" fmla="*/ 2147483647 h 292"/>
                    <a:gd name="T74" fmla="*/ 2147483647 w 285"/>
                    <a:gd name="T75" fmla="*/ 2147483647 h 292"/>
                    <a:gd name="T76" fmla="*/ 2147483647 w 285"/>
                    <a:gd name="T77" fmla="*/ 2147483647 h 292"/>
                    <a:gd name="T78" fmla="*/ 2147483647 w 285"/>
                    <a:gd name="T79" fmla="*/ 2147483647 h 292"/>
                    <a:gd name="T80" fmla="*/ 2147483647 w 285"/>
                    <a:gd name="T81" fmla="*/ 2147483647 h 292"/>
                    <a:gd name="T82" fmla="*/ 2147483647 w 285"/>
                    <a:gd name="T83" fmla="*/ 2147483647 h 292"/>
                    <a:gd name="T84" fmla="*/ 2147483647 w 285"/>
                    <a:gd name="T85" fmla="*/ 2147483647 h 292"/>
                    <a:gd name="T86" fmla="*/ 2147483647 w 285"/>
                    <a:gd name="T87" fmla="*/ 2147483647 h 292"/>
                    <a:gd name="T88" fmla="*/ 2147483647 w 285"/>
                    <a:gd name="T89" fmla="*/ 2147483647 h 292"/>
                    <a:gd name="T90" fmla="*/ 2147483647 w 285"/>
                    <a:gd name="T91" fmla="*/ 2147483647 h 292"/>
                    <a:gd name="T92" fmla="*/ 2147483647 w 285"/>
                    <a:gd name="T93" fmla="*/ 2147483647 h 292"/>
                    <a:gd name="T94" fmla="*/ 2147483647 w 285"/>
                    <a:gd name="T95" fmla="*/ 2147483647 h 292"/>
                    <a:gd name="T96" fmla="*/ 2147483647 w 285"/>
                    <a:gd name="T97" fmla="*/ 2147483647 h 292"/>
                    <a:gd name="T98" fmla="*/ 2147483647 w 285"/>
                    <a:gd name="T99" fmla="*/ 2147483647 h 292"/>
                    <a:gd name="T100" fmla="*/ 2147483647 w 285"/>
                    <a:gd name="T101" fmla="*/ 2147483647 h 292"/>
                    <a:gd name="T102" fmla="*/ 2147483647 w 285"/>
                    <a:gd name="T103" fmla="*/ 2147483647 h 29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85"/>
                    <a:gd name="T157" fmla="*/ 0 h 292"/>
                    <a:gd name="T158" fmla="*/ 285 w 285"/>
                    <a:gd name="T159" fmla="*/ 292 h 29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85" h="292">
                      <a:moveTo>
                        <a:pt x="228" y="5"/>
                      </a:moveTo>
                      <a:lnTo>
                        <a:pt x="235" y="3"/>
                      </a:lnTo>
                      <a:lnTo>
                        <a:pt x="243" y="1"/>
                      </a:lnTo>
                      <a:lnTo>
                        <a:pt x="251" y="0"/>
                      </a:lnTo>
                      <a:lnTo>
                        <a:pt x="254" y="0"/>
                      </a:lnTo>
                      <a:lnTo>
                        <a:pt x="257" y="2"/>
                      </a:lnTo>
                      <a:lnTo>
                        <a:pt x="259" y="5"/>
                      </a:lnTo>
                      <a:lnTo>
                        <a:pt x="261" y="7"/>
                      </a:lnTo>
                      <a:lnTo>
                        <a:pt x="263" y="13"/>
                      </a:lnTo>
                      <a:lnTo>
                        <a:pt x="266" y="17"/>
                      </a:lnTo>
                      <a:lnTo>
                        <a:pt x="268" y="20"/>
                      </a:lnTo>
                      <a:lnTo>
                        <a:pt x="272" y="24"/>
                      </a:lnTo>
                      <a:lnTo>
                        <a:pt x="278" y="27"/>
                      </a:lnTo>
                      <a:lnTo>
                        <a:pt x="282" y="31"/>
                      </a:lnTo>
                      <a:lnTo>
                        <a:pt x="285" y="34"/>
                      </a:lnTo>
                      <a:lnTo>
                        <a:pt x="285" y="39"/>
                      </a:lnTo>
                      <a:lnTo>
                        <a:pt x="284" y="44"/>
                      </a:lnTo>
                      <a:lnTo>
                        <a:pt x="282" y="49"/>
                      </a:lnTo>
                      <a:lnTo>
                        <a:pt x="280" y="53"/>
                      </a:lnTo>
                      <a:lnTo>
                        <a:pt x="273" y="62"/>
                      </a:lnTo>
                      <a:lnTo>
                        <a:pt x="270" y="64"/>
                      </a:lnTo>
                      <a:lnTo>
                        <a:pt x="265" y="65"/>
                      </a:lnTo>
                      <a:lnTo>
                        <a:pt x="259" y="64"/>
                      </a:lnTo>
                      <a:lnTo>
                        <a:pt x="254" y="62"/>
                      </a:lnTo>
                      <a:lnTo>
                        <a:pt x="251" y="58"/>
                      </a:lnTo>
                      <a:lnTo>
                        <a:pt x="245" y="54"/>
                      </a:lnTo>
                      <a:lnTo>
                        <a:pt x="239" y="53"/>
                      </a:lnTo>
                      <a:lnTo>
                        <a:pt x="237" y="53"/>
                      </a:lnTo>
                      <a:lnTo>
                        <a:pt x="234" y="54"/>
                      </a:lnTo>
                      <a:lnTo>
                        <a:pt x="230" y="58"/>
                      </a:lnTo>
                      <a:lnTo>
                        <a:pt x="226" y="63"/>
                      </a:lnTo>
                      <a:lnTo>
                        <a:pt x="225" y="68"/>
                      </a:lnTo>
                      <a:lnTo>
                        <a:pt x="225" y="70"/>
                      </a:lnTo>
                      <a:lnTo>
                        <a:pt x="226" y="71"/>
                      </a:lnTo>
                      <a:lnTo>
                        <a:pt x="229" y="78"/>
                      </a:lnTo>
                      <a:lnTo>
                        <a:pt x="229" y="84"/>
                      </a:lnTo>
                      <a:lnTo>
                        <a:pt x="229" y="90"/>
                      </a:lnTo>
                      <a:lnTo>
                        <a:pt x="226" y="96"/>
                      </a:lnTo>
                      <a:lnTo>
                        <a:pt x="226" y="100"/>
                      </a:lnTo>
                      <a:lnTo>
                        <a:pt x="226" y="102"/>
                      </a:lnTo>
                      <a:lnTo>
                        <a:pt x="232" y="107"/>
                      </a:lnTo>
                      <a:lnTo>
                        <a:pt x="232" y="109"/>
                      </a:lnTo>
                      <a:lnTo>
                        <a:pt x="232" y="111"/>
                      </a:lnTo>
                      <a:lnTo>
                        <a:pt x="229" y="115"/>
                      </a:lnTo>
                      <a:lnTo>
                        <a:pt x="228" y="118"/>
                      </a:lnTo>
                      <a:lnTo>
                        <a:pt x="228" y="122"/>
                      </a:lnTo>
                      <a:lnTo>
                        <a:pt x="229" y="126"/>
                      </a:lnTo>
                      <a:lnTo>
                        <a:pt x="230" y="130"/>
                      </a:lnTo>
                      <a:lnTo>
                        <a:pt x="228" y="134"/>
                      </a:lnTo>
                      <a:lnTo>
                        <a:pt x="225" y="137"/>
                      </a:lnTo>
                      <a:lnTo>
                        <a:pt x="221" y="141"/>
                      </a:lnTo>
                      <a:lnTo>
                        <a:pt x="214" y="152"/>
                      </a:lnTo>
                      <a:lnTo>
                        <a:pt x="207" y="162"/>
                      </a:lnTo>
                      <a:lnTo>
                        <a:pt x="202" y="171"/>
                      </a:lnTo>
                      <a:lnTo>
                        <a:pt x="195" y="179"/>
                      </a:lnTo>
                      <a:lnTo>
                        <a:pt x="188" y="186"/>
                      </a:lnTo>
                      <a:lnTo>
                        <a:pt x="182" y="196"/>
                      </a:lnTo>
                      <a:lnTo>
                        <a:pt x="179" y="199"/>
                      </a:lnTo>
                      <a:lnTo>
                        <a:pt x="177" y="200"/>
                      </a:lnTo>
                      <a:lnTo>
                        <a:pt x="172" y="201"/>
                      </a:lnTo>
                      <a:lnTo>
                        <a:pt x="167" y="200"/>
                      </a:lnTo>
                      <a:lnTo>
                        <a:pt x="163" y="200"/>
                      </a:lnTo>
                      <a:lnTo>
                        <a:pt x="159" y="201"/>
                      </a:lnTo>
                      <a:lnTo>
                        <a:pt x="157" y="205"/>
                      </a:lnTo>
                      <a:lnTo>
                        <a:pt x="153" y="209"/>
                      </a:lnTo>
                      <a:lnTo>
                        <a:pt x="150" y="211"/>
                      </a:lnTo>
                      <a:lnTo>
                        <a:pt x="148" y="213"/>
                      </a:lnTo>
                      <a:lnTo>
                        <a:pt x="145" y="216"/>
                      </a:lnTo>
                      <a:lnTo>
                        <a:pt x="145" y="217"/>
                      </a:lnTo>
                      <a:lnTo>
                        <a:pt x="145" y="219"/>
                      </a:lnTo>
                      <a:lnTo>
                        <a:pt x="148" y="220"/>
                      </a:lnTo>
                      <a:lnTo>
                        <a:pt x="150" y="222"/>
                      </a:lnTo>
                      <a:lnTo>
                        <a:pt x="153" y="223"/>
                      </a:lnTo>
                      <a:lnTo>
                        <a:pt x="154" y="225"/>
                      </a:lnTo>
                      <a:lnTo>
                        <a:pt x="155" y="228"/>
                      </a:lnTo>
                      <a:lnTo>
                        <a:pt x="157" y="231"/>
                      </a:lnTo>
                      <a:lnTo>
                        <a:pt x="157" y="237"/>
                      </a:lnTo>
                      <a:lnTo>
                        <a:pt x="159" y="239"/>
                      </a:lnTo>
                      <a:lnTo>
                        <a:pt x="160" y="242"/>
                      </a:lnTo>
                      <a:lnTo>
                        <a:pt x="165" y="247"/>
                      </a:lnTo>
                      <a:lnTo>
                        <a:pt x="168" y="249"/>
                      </a:lnTo>
                      <a:lnTo>
                        <a:pt x="169" y="251"/>
                      </a:lnTo>
                      <a:lnTo>
                        <a:pt x="169" y="258"/>
                      </a:lnTo>
                      <a:lnTo>
                        <a:pt x="167" y="264"/>
                      </a:lnTo>
                      <a:lnTo>
                        <a:pt x="165" y="271"/>
                      </a:lnTo>
                      <a:lnTo>
                        <a:pt x="152" y="270"/>
                      </a:lnTo>
                      <a:lnTo>
                        <a:pt x="144" y="269"/>
                      </a:lnTo>
                      <a:lnTo>
                        <a:pt x="138" y="269"/>
                      </a:lnTo>
                      <a:lnTo>
                        <a:pt x="135" y="270"/>
                      </a:lnTo>
                      <a:lnTo>
                        <a:pt x="132" y="273"/>
                      </a:lnTo>
                      <a:lnTo>
                        <a:pt x="131" y="275"/>
                      </a:lnTo>
                      <a:lnTo>
                        <a:pt x="130" y="279"/>
                      </a:lnTo>
                      <a:lnTo>
                        <a:pt x="127" y="283"/>
                      </a:lnTo>
                      <a:lnTo>
                        <a:pt x="122" y="287"/>
                      </a:lnTo>
                      <a:lnTo>
                        <a:pt x="117" y="289"/>
                      </a:lnTo>
                      <a:lnTo>
                        <a:pt x="112" y="292"/>
                      </a:lnTo>
                      <a:lnTo>
                        <a:pt x="111" y="287"/>
                      </a:lnTo>
                      <a:lnTo>
                        <a:pt x="111" y="282"/>
                      </a:lnTo>
                      <a:lnTo>
                        <a:pt x="110" y="273"/>
                      </a:lnTo>
                      <a:lnTo>
                        <a:pt x="110" y="271"/>
                      </a:lnTo>
                      <a:lnTo>
                        <a:pt x="106" y="270"/>
                      </a:lnTo>
                      <a:lnTo>
                        <a:pt x="99" y="269"/>
                      </a:lnTo>
                      <a:lnTo>
                        <a:pt x="98" y="267"/>
                      </a:lnTo>
                      <a:lnTo>
                        <a:pt x="98" y="264"/>
                      </a:lnTo>
                      <a:lnTo>
                        <a:pt x="99" y="260"/>
                      </a:lnTo>
                      <a:lnTo>
                        <a:pt x="99" y="257"/>
                      </a:lnTo>
                      <a:lnTo>
                        <a:pt x="97" y="255"/>
                      </a:lnTo>
                      <a:lnTo>
                        <a:pt x="94" y="254"/>
                      </a:lnTo>
                      <a:lnTo>
                        <a:pt x="89" y="254"/>
                      </a:lnTo>
                      <a:lnTo>
                        <a:pt x="77" y="257"/>
                      </a:lnTo>
                      <a:lnTo>
                        <a:pt x="65" y="260"/>
                      </a:lnTo>
                      <a:lnTo>
                        <a:pt x="58" y="258"/>
                      </a:lnTo>
                      <a:lnTo>
                        <a:pt x="51" y="258"/>
                      </a:lnTo>
                      <a:lnTo>
                        <a:pt x="45" y="256"/>
                      </a:lnTo>
                      <a:lnTo>
                        <a:pt x="37" y="256"/>
                      </a:lnTo>
                      <a:lnTo>
                        <a:pt x="27" y="256"/>
                      </a:lnTo>
                      <a:lnTo>
                        <a:pt x="17" y="257"/>
                      </a:lnTo>
                      <a:lnTo>
                        <a:pt x="11" y="254"/>
                      </a:lnTo>
                      <a:lnTo>
                        <a:pt x="7" y="252"/>
                      </a:lnTo>
                      <a:lnTo>
                        <a:pt x="3" y="251"/>
                      </a:lnTo>
                      <a:lnTo>
                        <a:pt x="9" y="236"/>
                      </a:lnTo>
                      <a:lnTo>
                        <a:pt x="13" y="228"/>
                      </a:lnTo>
                      <a:lnTo>
                        <a:pt x="18" y="222"/>
                      </a:lnTo>
                      <a:lnTo>
                        <a:pt x="22" y="220"/>
                      </a:lnTo>
                      <a:lnTo>
                        <a:pt x="27" y="219"/>
                      </a:lnTo>
                      <a:lnTo>
                        <a:pt x="31" y="217"/>
                      </a:lnTo>
                      <a:lnTo>
                        <a:pt x="32" y="216"/>
                      </a:lnTo>
                      <a:lnTo>
                        <a:pt x="32" y="213"/>
                      </a:lnTo>
                      <a:lnTo>
                        <a:pt x="30" y="210"/>
                      </a:lnTo>
                      <a:lnTo>
                        <a:pt x="28" y="207"/>
                      </a:lnTo>
                      <a:lnTo>
                        <a:pt x="26" y="204"/>
                      </a:lnTo>
                      <a:lnTo>
                        <a:pt x="25" y="200"/>
                      </a:lnTo>
                      <a:lnTo>
                        <a:pt x="23" y="193"/>
                      </a:lnTo>
                      <a:lnTo>
                        <a:pt x="22" y="190"/>
                      </a:lnTo>
                      <a:lnTo>
                        <a:pt x="19" y="186"/>
                      </a:lnTo>
                      <a:lnTo>
                        <a:pt x="7" y="172"/>
                      </a:lnTo>
                      <a:lnTo>
                        <a:pt x="2" y="165"/>
                      </a:lnTo>
                      <a:lnTo>
                        <a:pt x="0" y="160"/>
                      </a:lnTo>
                      <a:lnTo>
                        <a:pt x="0" y="156"/>
                      </a:lnTo>
                      <a:lnTo>
                        <a:pt x="7" y="160"/>
                      </a:lnTo>
                      <a:lnTo>
                        <a:pt x="12" y="161"/>
                      </a:lnTo>
                      <a:lnTo>
                        <a:pt x="17" y="162"/>
                      </a:lnTo>
                      <a:lnTo>
                        <a:pt x="22" y="162"/>
                      </a:lnTo>
                      <a:lnTo>
                        <a:pt x="32" y="162"/>
                      </a:lnTo>
                      <a:lnTo>
                        <a:pt x="36" y="162"/>
                      </a:lnTo>
                      <a:lnTo>
                        <a:pt x="40" y="162"/>
                      </a:lnTo>
                      <a:lnTo>
                        <a:pt x="50" y="166"/>
                      </a:lnTo>
                      <a:lnTo>
                        <a:pt x="55" y="166"/>
                      </a:lnTo>
                      <a:lnTo>
                        <a:pt x="58" y="166"/>
                      </a:lnTo>
                      <a:lnTo>
                        <a:pt x="59" y="165"/>
                      </a:lnTo>
                      <a:lnTo>
                        <a:pt x="65" y="160"/>
                      </a:lnTo>
                      <a:lnTo>
                        <a:pt x="72" y="159"/>
                      </a:lnTo>
                      <a:lnTo>
                        <a:pt x="78" y="158"/>
                      </a:lnTo>
                      <a:lnTo>
                        <a:pt x="84" y="158"/>
                      </a:lnTo>
                      <a:lnTo>
                        <a:pt x="82" y="154"/>
                      </a:lnTo>
                      <a:lnTo>
                        <a:pt x="82" y="149"/>
                      </a:lnTo>
                      <a:lnTo>
                        <a:pt x="82" y="143"/>
                      </a:lnTo>
                      <a:lnTo>
                        <a:pt x="84" y="137"/>
                      </a:lnTo>
                      <a:lnTo>
                        <a:pt x="89" y="133"/>
                      </a:lnTo>
                      <a:lnTo>
                        <a:pt x="94" y="128"/>
                      </a:lnTo>
                      <a:lnTo>
                        <a:pt x="101" y="126"/>
                      </a:lnTo>
                      <a:lnTo>
                        <a:pt x="111" y="121"/>
                      </a:lnTo>
                      <a:lnTo>
                        <a:pt x="112" y="118"/>
                      </a:lnTo>
                      <a:lnTo>
                        <a:pt x="113" y="117"/>
                      </a:lnTo>
                      <a:lnTo>
                        <a:pt x="116" y="115"/>
                      </a:lnTo>
                      <a:lnTo>
                        <a:pt x="117" y="114"/>
                      </a:lnTo>
                      <a:lnTo>
                        <a:pt x="127" y="110"/>
                      </a:lnTo>
                      <a:lnTo>
                        <a:pt x="131" y="109"/>
                      </a:lnTo>
                      <a:lnTo>
                        <a:pt x="134" y="107"/>
                      </a:lnTo>
                      <a:lnTo>
                        <a:pt x="138" y="101"/>
                      </a:lnTo>
                      <a:lnTo>
                        <a:pt x="143" y="90"/>
                      </a:lnTo>
                      <a:lnTo>
                        <a:pt x="144" y="86"/>
                      </a:lnTo>
                      <a:lnTo>
                        <a:pt x="145" y="85"/>
                      </a:lnTo>
                      <a:lnTo>
                        <a:pt x="148" y="84"/>
                      </a:lnTo>
                      <a:lnTo>
                        <a:pt x="150" y="83"/>
                      </a:lnTo>
                      <a:lnTo>
                        <a:pt x="153" y="81"/>
                      </a:lnTo>
                      <a:lnTo>
                        <a:pt x="153" y="76"/>
                      </a:lnTo>
                      <a:lnTo>
                        <a:pt x="152" y="71"/>
                      </a:lnTo>
                      <a:lnTo>
                        <a:pt x="150" y="62"/>
                      </a:lnTo>
                      <a:lnTo>
                        <a:pt x="152" y="62"/>
                      </a:lnTo>
                      <a:lnTo>
                        <a:pt x="154" y="62"/>
                      </a:lnTo>
                      <a:lnTo>
                        <a:pt x="158" y="63"/>
                      </a:lnTo>
                      <a:lnTo>
                        <a:pt x="162" y="63"/>
                      </a:lnTo>
                      <a:lnTo>
                        <a:pt x="165" y="63"/>
                      </a:lnTo>
                      <a:lnTo>
                        <a:pt x="169" y="60"/>
                      </a:lnTo>
                      <a:lnTo>
                        <a:pt x="171" y="59"/>
                      </a:lnTo>
                      <a:lnTo>
                        <a:pt x="171" y="58"/>
                      </a:lnTo>
                      <a:lnTo>
                        <a:pt x="168" y="54"/>
                      </a:lnTo>
                      <a:lnTo>
                        <a:pt x="167" y="52"/>
                      </a:lnTo>
                      <a:lnTo>
                        <a:pt x="167" y="50"/>
                      </a:lnTo>
                      <a:lnTo>
                        <a:pt x="168" y="50"/>
                      </a:lnTo>
                      <a:lnTo>
                        <a:pt x="173" y="46"/>
                      </a:lnTo>
                      <a:lnTo>
                        <a:pt x="178" y="43"/>
                      </a:lnTo>
                      <a:lnTo>
                        <a:pt x="182" y="38"/>
                      </a:lnTo>
                      <a:lnTo>
                        <a:pt x="182" y="35"/>
                      </a:lnTo>
                      <a:lnTo>
                        <a:pt x="182" y="32"/>
                      </a:lnTo>
                      <a:lnTo>
                        <a:pt x="181" y="30"/>
                      </a:lnTo>
                      <a:lnTo>
                        <a:pt x="178" y="27"/>
                      </a:lnTo>
                      <a:lnTo>
                        <a:pt x="177" y="25"/>
                      </a:lnTo>
                      <a:lnTo>
                        <a:pt x="174" y="22"/>
                      </a:lnTo>
                      <a:lnTo>
                        <a:pt x="174" y="20"/>
                      </a:lnTo>
                      <a:lnTo>
                        <a:pt x="176" y="18"/>
                      </a:lnTo>
                      <a:lnTo>
                        <a:pt x="177" y="15"/>
                      </a:lnTo>
                      <a:lnTo>
                        <a:pt x="179" y="14"/>
                      </a:lnTo>
                      <a:lnTo>
                        <a:pt x="200" y="7"/>
                      </a:lnTo>
                      <a:lnTo>
                        <a:pt x="205" y="6"/>
                      </a:lnTo>
                      <a:lnTo>
                        <a:pt x="210" y="5"/>
                      </a:lnTo>
                      <a:lnTo>
                        <a:pt x="216" y="5"/>
                      </a:lnTo>
                      <a:lnTo>
                        <a:pt x="221" y="6"/>
                      </a:lnTo>
                      <a:lnTo>
                        <a:pt x="225" y="6"/>
                      </a:lnTo>
                      <a:lnTo>
                        <a:pt x="228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8" name="Freeform 635">
                  <a:extLst>
                    <a:ext uri="{FF2B5EF4-FFF2-40B4-BE49-F238E27FC236}">
                      <a16:creationId xmlns:a16="http://schemas.microsoft.com/office/drawing/2014/main" id="{2D417D5B-4231-6640-B786-6AAC0157E6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44799" y="3452226"/>
                  <a:ext cx="334451" cy="298934"/>
                </a:xfrm>
                <a:custGeom>
                  <a:avLst/>
                  <a:gdLst>
                    <a:gd name="T0" fmla="*/ 2147483647 w 244"/>
                    <a:gd name="T1" fmla="*/ 2147483647 h 202"/>
                    <a:gd name="T2" fmla="*/ 2147483647 w 244"/>
                    <a:gd name="T3" fmla="*/ 2147483647 h 202"/>
                    <a:gd name="T4" fmla="*/ 2147483647 w 244"/>
                    <a:gd name="T5" fmla="*/ 2147483647 h 202"/>
                    <a:gd name="T6" fmla="*/ 2147483647 w 244"/>
                    <a:gd name="T7" fmla="*/ 2147483647 h 202"/>
                    <a:gd name="T8" fmla="*/ 2147483647 w 244"/>
                    <a:gd name="T9" fmla="*/ 2147483647 h 202"/>
                    <a:gd name="T10" fmla="*/ 2147483647 w 244"/>
                    <a:gd name="T11" fmla="*/ 2147483647 h 202"/>
                    <a:gd name="T12" fmla="*/ 2147483647 w 244"/>
                    <a:gd name="T13" fmla="*/ 2147483647 h 202"/>
                    <a:gd name="T14" fmla="*/ 2147483647 w 244"/>
                    <a:gd name="T15" fmla="*/ 2147483647 h 202"/>
                    <a:gd name="T16" fmla="*/ 2147483647 w 244"/>
                    <a:gd name="T17" fmla="*/ 2147483647 h 202"/>
                    <a:gd name="T18" fmla="*/ 2147483647 w 244"/>
                    <a:gd name="T19" fmla="*/ 2147483647 h 202"/>
                    <a:gd name="T20" fmla="*/ 2147483647 w 244"/>
                    <a:gd name="T21" fmla="*/ 2147483647 h 202"/>
                    <a:gd name="T22" fmla="*/ 2147483647 w 244"/>
                    <a:gd name="T23" fmla="*/ 2147483647 h 202"/>
                    <a:gd name="T24" fmla="*/ 2147483647 w 244"/>
                    <a:gd name="T25" fmla="*/ 2147483647 h 202"/>
                    <a:gd name="T26" fmla="*/ 2147483647 w 244"/>
                    <a:gd name="T27" fmla="*/ 2147483647 h 202"/>
                    <a:gd name="T28" fmla="*/ 2147483647 w 244"/>
                    <a:gd name="T29" fmla="*/ 0 h 202"/>
                    <a:gd name="T30" fmla="*/ 2147483647 w 244"/>
                    <a:gd name="T31" fmla="*/ 2147483647 h 202"/>
                    <a:gd name="T32" fmla="*/ 2147483647 w 244"/>
                    <a:gd name="T33" fmla="*/ 2147483647 h 202"/>
                    <a:gd name="T34" fmla="*/ 2147483647 w 244"/>
                    <a:gd name="T35" fmla="*/ 2147483647 h 202"/>
                    <a:gd name="T36" fmla="*/ 2147483647 w 244"/>
                    <a:gd name="T37" fmla="*/ 2147483647 h 202"/>
                    <a:gd name="T38" fmla="*/ 2147483647 w 244"/>
                    <a:gd name="T39" fmla="*/ 2147483647 h 202"/>
                    <a:gd name="T40" fmla="*/ 2147483647 w 244"/>
                    <a:gd name="T41" fmla="*/ 2147483647 h 202"/>
                    <a:gd name="T42" fmla="*/ 2147483647 w 244"/>
                    <a:gd name="T43" fmla="*/ 2147483647 h 202"/>
                    <a:gd name="T44" fmla="*/ 2147483647 w 244"/>
                    <a:gd name="T45" fmla="*/ 2147483647 h 202"/>
                    <a:gd name="T46" fmla="*/ 2147483647 w 244"/>
                    <a:gd name="T47" fmla="*/ 2147483647 h 202"/>
                    <a:gd name="T48" fmla="*/ 2147483647 w 244"/>
                    <a:gd name="T49" fmla="*/ 2147483647 h 202"/>
                    <a:gd name="T50" fmla="*/ 2147483647 w 244"/>
                    <a:gd name="T51" fmla="*/ 2147483647 h 202"/>
                    <a:gd name="T52" fmla="*/ 2147483647 w 244"/>
                    <a:gd name="T53" fmla="*/ 2147483647 h 202"/>
                    <a:gd name="T54" fmla="*/ 2147483647 w 244"/>
                    <a:gd name="T55" fmla="*/ 2147483647 h 202"/>
                    <a:gd name="T56" fmla="*/ 2147483647 w 244"/>
                    <a:gd name="T57" fmla="*/ 2147483647 h 202"/>
                    <a:gd name="T58" fmla="*/ 2147483647 w 244"/>
                    <a:gd name="T59" fmla="*/ 2147483647 h 202"/>
                    <a:gd name="T60" fmla="*/ 2147483647 w 244"/>
                    <a:gd name="T61" fmla="*/ 2147483647 h 202"/>
                    <a:gd name="T62" fmla="*/ 2147483647 w 244"/>
                    <a:gd name="T63" fmla="*/ 2147483647 h 202"/>
                    <a:gd name="T64" fmla="*/ 2147483647 w 244"/>
                    <a:gd name="T65" fmla="*/ 2147483647 h 202"/>
                    <a:gd name="T66" fmla="*/ 2147483647 w 244"/>
                    <a:gd name="T67" fmla="*/ 2147483647 h 202"/>
                    <a:gd name="T68" fmla="*/ 2147483647 w 244"/>
                    <a:gd name="T69" fmla="*/ 2147483647 h 202"/>
                    <a:gd name="T70" fmla="*/ 2147483647 w 244"/>
                    <a:gd name="T71" fmla="*/ 2147483647 h 202"/>
                    <a:gd name="T72" fmla="*/ 2147483647 w 244"/>
                    <a:gd name="T73" fmla="*/ 2147483647 h 202"/>
                    <a:gd name="T74" fmla="*/ 2147483647 w 244"/>
                    <a:gd name="T75" fmla="*/ 2147483647 h 202"/>
                    <a:gd name="T76" fmla="*/ 2147483647 w 244"/>
                    <a:gd name="T77" fmla="*/ 2147483647 h 202"/>
                    <a:gd name="T78" fmla="*/ 2147483647 w 244"/>
                    <a:gd name="T79" fmla="*/ 2147483647 h 202"/>
                    <a:gd name="T80" fmla="*/ 2147483647 w 244"/>
                    <a:gd name="T81" fmla="*/ 2147483647 h 202"/>
                    <a:gd name="T82" fmla="*/ 2147483647 w 244"/>
                    <a:gd name="T83" fmla="*/ 2147483647 h 202"/>
                    <a:gd name="T84" fmla="*/ 2147483647 w 244"/>
                    <a:gd name="T85" fmla="*/ 2147483647 h 202"/>
                    <a:gd name="T86" fmla="*/ 2147483647 w 244"/>
                    <a:gd name="T87" fmla="*/ 2147483647 h 202"/>
                    <a:gd name="T88" fmla="*/ 2147483647 w 244"/>
                    <a:gd name="T89" fmla="*/ 2147483647 h 202"/>
                    <a:gd name="T90" fmla="*/ 2147483647 w 244"/>
                    <a:gd name="T91" fmla="*/ 2147483647 h 202"/>
                    <a:gd name="T92" fmla="*/ 2147483647 w 244"/>
                    <a:gd name="T93" fmla="*/ 2147483647 h 202"/>
                    <a:gd name="T94" fmla="*/ 2147483647 w 244"/>
                    <a:gd name="T95" fmla="*/ 2147483647 h 202"/>
                    <a:gd name="T96" fmla="*/ 2147483647 w 244"/>
                    <a:gd name="T97" fmla="*/ 2147483647 h 202"/>
                    <a:gd name="T98" fmla="*/ 2147483647 w 244"/>
                    <a:gd name="T99" fmla="*/ 2147483647 h 202"/>
                    <a:gd name="T100" fmla="*/ 2147483647 w 244"/>
                    <a:gd name="T101" fmla="*/ 2147483647 h 202"/>
                    <a:gd name="T102" fmla="*/ 2147483647 w 244"/>
                    <a:gd name="T103" fmla="*/ 2147483647 h 202"/>
                    <a:gd name="T104" fmla="*/ 2147483647 w 244"/>
                    <a:gd name="T105" fmla="*/ 2147483647 h 202"/>
                    <a:gd name="T106" fmla="*/ 2147483647 w 244"/>
                    <a:gd name="T107" fmla="*/ 2147483647 h 202"/>
                    <a:gd name="T108" fmla="*/ 0 w 244"/>
                    <a:gd name="T109" fmla="*/ 2147483647 h 202"/>
                    <a:gd name="T110" fmla="*/ 2147483647 w 244"/>
                    <a:gd name="T111" fmla="*/ 2147483647 h 202"/>
                    <a:gd name="T112" fmla="*/ 0 w 244"/>
                    <a:gd name="T113" fmla="*/ 2147483647 h 202"/>
                    <a:gd name="T114" fmla="*/ 2147483647 w 244"/>
                    <a:gd name="T115" fmla="*/ 2147483647 h 202"/>
                    <a:gd name="T116" fmla="*/ 2147483647 w 244"/>
                    <a:gd name="T117" fmla="*/ 2147483647 h 20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44"/>
                    <a:gd name="T178" fmla="*/ 0 h 202"/>
                    <a:gd name="T179" fmla="*/ 244 w 244"/>
                    <a:gd name="T180" fmla="*/ 202 h 20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44" h="202">
                      <a:moveTo>
                        <a:pt x="17" y="63"/>
                      </a:moveTo>
                      <a:lnTo>
                        <a:pt x="30" y="66"/>
                      </a:lnTo>
                      <a:lnTo>
                        <a:pt x="36" y="67"/>
                      </a:lnTo>
                      <a:lnTo>
                        <a:pt x="44" y="67"/>
                      </a:lnTo>
                      <a:lnTo>
                        <a:pt x="45" y="67"/>
                      </a:lnTo>
                      <a:lnTo>
                        <a:pt x="46" y="66"/>
                      </a:lnTo>
                      <a:lnTo>
                        <a:pt x="49" y="62"/>
                      </a:lnTo>
                      <a:lnTo>
                        <a:pt x="50" y="58"/>
                      </a:lnTo>
                      <a:lnTo>
                        <a:pt x="52" y="55"/>
                      </a:lnTo>
                      <a:lnTo>
                        <a:pt x="55" y="54"/>
                      </a:lnTo>
                      <a:lnTo>
                        <a:pt x="56" y="54"/>
                      </a:lnTo>
                      <a:lnTo>
                        <a:pt x="59" y="54"/>
                      </a:lnTo>
                      <a:lnTo>
                        <a:pt x="61" y="54"/>
                      </a:lnTo>
                      <a:lnTo>
                        <a:pt x="64" y="49"/>
                      </a:lnTo>
                      <a:lnTo>
                        <a:pt x="66" y="45"/>
                      </a:lnTo>
                      <a:lnTo>
                        <a:pt x="70" y="36"/>
                      </a:lnTo>
                      <a:lnTo>
                        <a:pt x="72" y="34"/>
                      </a:lnTo>
                      <a:lnTo>
                        <a:pt x="75" y="32"/>
                      </a:lnTo>
                      <a:lnTo>
                        <a:pt x="80" y="31"/>
                      </a:lnTo>
                      <a:lnTo>
                        <a:pt x="84" y="30"/>
                      </a:lnTo>
                      <a:lnTo>
                        <a:pt x="88" y="28"/>
                      </a:lnTo>
                      <a:lnTo>
                        <a:pt x="92" y="25"/>
                      </a:lnTo>
                      <a:lnTo>
                        <a:pt x="94" y="24"/>
                      </a:lnTo>
                      <a:lnTo>
                        <a:pt x="97" y="25"/>
                      </a:lnTo>
                      <a:lnTo>
                        <a:pt x="98" y="26"/>
                      </a:lnTo>
                      <a:lnTo>
                        <a:pt x="101" y="28"/>
                      </a:lnTo>
                      <a:lnTo>
                        <a:pt x="107" y="28"/>
                      </a:lnTo>
                      <a:lnTo>
                        <a:pt x="112" y="28"/>
                      </a:lnTo>
                      <a:lnTo>
                        <a:pt x="117" y="30"/>
                      </a:lnTo>
                      <a:lnTo>
                        <a:pt x="122" y="34"/>
                      </a:lnTo>
                      <a:lnTo>
                        <a:pt x="125" y="35"/>
                      </a:lnTo>
                      <a:lnTo>
                        <a:pt x="126" y="35"/>
                      </a:lnTo>
                      <a:lnTo>
                        <a:pt x="130" y="32"/>
                      </a:lnTo>
                      <a:lnTo>
                        <a:pt x="134" y="32"/>
                      </a:lnTo>
                      <a:lnTo>
                        <a:pt x="140" y="32"/>
                      </a:lnTo>
                      <a:lnTo>
                        <a:pt x="148" y="31"/>
                      </a:lnTo>
                      <a:lnTo>
                        <a:pt x="153" y="31"/>
                      </a:lnTo>
                      <a:lnTo>
                        <a:pt x="158" y="30"/>
                      </a:lnTo>
                      <a:lnTo>
                        <a:pt x="163" y="28"/>
                      </a:lnTo>
                      <a:lnTo>
                        <a:pt x="168" y="24"/>
                      </a:lnTo>
                      <a:lnTo>
                        <a:pt x="174" y="17"/>
                      </a:lnTo>
                      <a:lnTo>
                        <a:pt x="179" y="7"/>
                      </a:lnTo>
                      <a:lnTo>
                        <a:pt x="187" y="3"/>
                      </a:lnTo>
                      <a:lnTo>
                        <a:pt x="191" y="0"/>
                      </a:lnTo>
                      <a:lnTo>
                        <a:pt x="192" y="0"/>
                      </a:lnTo>
                      <a:lnTo>
                        <a:pt x="193" y="2"/>
                      </a:lnTo>
                      <a:lnTo>
                        <a:pt x="193" y="5"/>
                      </a:lnTo>
                      <a:lnTo>
                        <a:pt x="191" y="9"/>
                      </a:lnTo>
                      <a:lnTo>
                        <a:pt x="190" y="12"/>
                      </a:lnTo>
                      <a:lnTo>
                        <a:pt x="190" y="13"/>
                      </a:lnTo>
                      <a:lnTo>
                        <a:pt x="191" y="15"/>
                      </a:lnTo>
                      <a:lnTo>
                        <a:pt x="195" y="16"/>
                      </a:lnTo>
                      <a:lnTo>
                        <a:pt x="197" y="17"/>
                      </a:lnTo>
                      <a:lnTo>
                        <a:pt x="199" y="19"/>
                      </a:lnTo>
                      <a:lnTo>
                        <a:pt x="199" y="23"/>
                      </a:lnTo>
                      <a:lnTo>
                        <a:pt x="200" y="29"/>
                      </a:lnTo>
                      <a:lnTo>
                        <a:pt x="200" y="34"/>
                      </a:lnTo>
                      <a:lnTo>
                        <a:pt x="200" y="36"/>
                      </a:lnTo>
                      <a:lnTo>
                        <a:pt x="202" y="36"/>
                      </a:lnTo>
                      <a:lnTo>
                        <a:pt x="206" y="35"/>
                      </a:lnTo>
                      <a:lnTo>
                        <a:pt x="211" y="32"/>
                      </a:lnTo>
                      <a:lnTo>
                        <a:pt x="214" y="32"/>
                      </a:lnTo>
                      <a:lnTo>
                        <a:pt x="216" y="32"/>
                      </a:lnTo>
                      <a:lnTo>
                        <a:pt x="230" y="29"/>
                      </a:lnTo>
                      <a:lnTo>
                        <a:pt x="238" y="28"/>
                      </a:lnTo>
                      <a:lnTo>
                        <a:pt x="244" y="28"/>
                      </a:lnTo>
                      <a:lnTo>
                        <a:pt x="244" y="29"/>
                      </a:lnTo>
                      <a:lnTo>
                        <a:pt x="243" y="29"/>
                      </a:lnTo>
                      <a:lnTo>
                        <a:pt x="244" y="29"/>
                      </a:lnTo>
                      <a:lnTo>
                        <a:pt x="244" y="36"/>
                      </a:lnTo>
                      <a:lnTo>
                        <a:pt x="243" y="38"/>
                      </a:lnTo>
                      <a:lnTo>
                        <a:pt x="242" y="41"/>
                      </a:lnTo>
                      <a:lnTo>
                        <a:pt x="239" y="42"/>
                      </a:lnTo>
                      <a:lnTo>
                        <a:pt x="235" y="42"/>
                      </a:lnTo>
                      <a:lnTo>
                        <a:pt x="230" y="41"/>
                      </a:lnTo>
                      <a:lnTo>
                        <a:pt x="224" y="41"/>
                      </a:lnTo>
                      <a:lnTo>
                        <a:pt x="219" y="42"/>
                      </a:lnTo>
                      <a:lnTo>
                        <a:pt x="214" y="43"/>
                      </a:lnTo>
                      <a:lnTo>
                        <a:pt x="193" y="50"/>
                      </a:lnTo>
                      <a:lnTo>
                        <a:pt x="191" y="51"/>
                      </a:lnTo>
                      <a:lnTo>
                        <a:pt x="190" y="54"/>
                      </a:lnTo>
                      <a:lnTo>
                        <a:pt x="188" y="56"/>
                      </a:lnTo>
                      <a:lnTo>
                        <a:pt x="188" y="58"/>
                      </a:lnTo>
                      <a:lnTo>
                        <a:pt x="191" y="61"/>
                      </a:lnTo>
                      <a:lnTo>
                        <a:pt x="192" y="63"/>
                      </a:lnTo>
                      <a:lnTo>
                        <a:pt x="195" y="66"/>
                      </a:lnTo>
                      <a:lnTo>
                        <a:pt x="196" y="68"/>
                      </a:lnTo>
                      <a:lnTo>
                        <a:pt x="196" y="71"/>
                      </a:lnTo>
                      <a:lnTo>
                        <a:pt x="196" y="74"/>
                      </a:lnTo>
                      <a:lnTo>
                        <a:pt x="192" y="79"/>
                      </a:lnTo>
                      <a:lnTo>
                        <a:pt x="187" y="82"/>
                      </a:lnTo>
                      <a:lnTo>
                        <a:pt x="182" y="86"/>
                      </a:lnTo>
                      <a:lnTo>
                        <a:pt x="181" y="86"/>
                      </a:lnTo>
                      <a:lnTo>
                        <a:pt x="181" y="88"/>
                      </a:lnTo>
                      <a:lnTo>
                        <a:pt x="182" y="90"/>
                      </a:lnTo>
                      <a:lnTo>
                        <a:pt x="185" y="94"/>
                      </a:lnTo>
                      <a:lnTo>
                        <a:pt x="185" y="95"/>
                      </a:lnTo>
                      <a:lnTo>
                        <a:pt x="183" y="96"/>
                      </a:lnTo>
                      <a:lnTo>
                        <a:pt x="179" y="99"/>
                      </a:lnTo>
                      <a:lnTo>
                        <a:pt x="176" y="99"/>
                      </a:lnTo>
                      <a:lnTo>
                        <a:pt x="172" y="99"/>
                      </a:lnTo>
                      <a:lnTo>
                        <a:pt x="168" y="98"/>
                      </a:lnTo>
                      <a:lnTo>
                        <a:pt x="166" y="98"/>
                      </a:lnTo>
                      <a:lnTo>
                        <a:pt x="164" y="98"/>
                      </a:lnTo>
                      <a:lnTo>
                        <a:pt x="166" y="107"/>
                      </a:lnTo>
                      <a:lnTo>
                        <a:pt x="167" y="112"/>
                      </a:lnTo>
                      <a:lnTo>
                        <a:pt x="167" y="117"/>
                      </a:lnTo>
                      <a:lnTo>
                        <a:pt x="164" y="119"/>
                      </a:lnTo>
                      <a:lnTo>
                        <a:pt x="162" y="120"/>
                      </a:lnTo>
                      <a:lnTo>
                        <a:pt x="159" y="121"/>
                      </a:lnTo>
                      <a:lnTo>
                        <a:pt x="158" y="122"/>
                      </a:lnTo>
                      <a:lnTo>
                        <a:pt x="157" y="126"/>
                      </a:lnTo>
                      <a:lnTo>
                        <a:pt x="152" y="137"/>
                      </a:lnTo>
                      <a:lnTo>
                        <a:pt x="148" y="143"/>
                      </a:lnTo>
                      <a:lnTo>
                        <a:pt x="145" y="145"/>
                      </a:lnTo>
                      <a:lnTo>
                        <a:pt x="141" y="146"/>
                      </a:lnTo>
                      <a:lnTo>
                        <a:pt x="131" y="150"/>
                      </a:lnTo>
                      <a:lnTo>
                        <a:pt x="130" y="151"/>
                      </a:lnTo>
                      <a:lnTo>
                        <a:pt x="127" y="153"/>
                      </a:lnTo>
                      <a:lnTo>
                        <a:pt x="126" y="154"/>
                      </a:lnTo>
                      <a:lnTo>
                        <a:pt x="125" y="157"/>
                      </a:lnTo>
                      <a:lnTo>
                        <a:pt x="115" y="162"/>
                      </a:lnTo>
                      <a:lnTo>
                        <a:pt x="108" y="164"/>
                      </a:lnTo>
                      <a:lnTo>
                        <a:pt x="103" y="169"/>
                      </a:lnTo>
                      <a:lnTo>
                        <a:pt x="98" y="173"/>
                      </a:lnTo>
                      <a:lnTo>
                        <a:pt x="96" y="179"/>
                      </a:lnTo>
                      <a:lnTo>
                        <a:pt x="96" y="185"/>
                      </a:lnTo>
                      <a:lnTo>
                        <a:pt x="96" y="190"/>
                      </a:lnTo>
                      <a:lnTo>
                        <a:pt x="98" y="194"/>
                      </a:lnTo>
                      <a:lnTo>
                        <a:pt x="92" y="194"/>
                      </a:lnTo>
                      <a:lnTo>
                        <a:pt x="86" y="195"/>
                      </a:lnTo>
                      <a:lnTo>
                        <a:pt x="79" y="196"/>
                      </a:lnTo>
                      <a:lnTo>
                        <a:pt x="73" y="201"/>
                      </a:lnTo>
                      <a:lnTo>
                        <a:pt x="72" y="202"/>
                      </a:lnTo>
                      <a:lnTo>
                        <a:pt x="69" y="202"/>
                      </a:lnTo>
                      <a:lnTo>
                        <a:pt x="64" y="202"/>
                      </a:lnTo>
                      <a:lnTo>
                        <a:pt x="54" y="198"/>
                      </a:lnTo>
                      <a:lnTo>
                        <a:pt x="50" y="198"/>
                      </a:lnTo>
                      <a:lnTo>
                        <a:pt x="46" y="198"/>
                      </a:lnTo>
                      <a:lnTo>
                        <a:pt x="36" y="198"/>
                      </a:lnTo>
                      <a:lnTo>
                        <a:pt x="31" y="198"/>
                      </a:lnTo>
                      <a:lnTo>
                        <a:pt x="26" y="197"/>
                      </a:lnTo>
                      <a:lnTo>
                        <a:pt x="21" y="196"/>
                      </a:lnTo>
                      <a:lnTo>
                        <a:pt x="14" y="192"/>
                      </a:lnTo>
                      <a:lnTo>
                        <a:pt x="16" y="189"/>
                      </a:lnTo>
                      <a:lnTo>
                        <a:pt x="21" y="182"/>
                      </a:lnTo>
                      <a:lnTo>
                        <a:pt x="27" y="175"/>
                      </a:lnTo>
                      <a:lnTo>
                        <a:pt x="32" y="169"/>
                      </a:lnTo>
                      <a:lnTo>
                        <a:pt x="35" y="165"/>
                      </a:lnTo>
                      <a:lnTo>
                        <a:pt x="36" y="160"/>
                      </a:lnTo>
                      <a:lnTo>
                        <a:pt x="35" y="158"/>
                      </a:lnTo>
                      <a:lnTo>
                        <a:pt x="33" y="157"/>
                      </a:lnTo>
                      <a:lnTo>
                        <a:pt x="30" y="154"/>
                      </a:lnTo>
                      <a:lnTo>
                        <a:pt x="23" y="152"/>
                      </a:lnTo>
                      <a:lnTo>
                        <a:pt x="17" y="149"/>
                      </a:lnTo>
                      <a:lnTo>
                        <a:pt x="13" y="147"/>
                      </a:lnTo>
                      <a:lnTo>
                        <a:pt x="11" y="146"/>
                      </a:lnTo>
                      <a:lnTo>
                        <a:pt x="9" y="145"/>
                      </a:lnTo>
                      <a:lnTo>
                        <a:pt x="9" y="141"/>
                      </a:lnTo>
                      <a:lnTo>
                        <a:pt x="9" y="138"/>
                      </a:lnTo>
                      <a:lnTo>
                        <a:pt x="8" y="134"/>
                      </a:lnTo>
                      <a:lnTo>
                        <a:pt x="8" y="131"/>
                      </a:lnTo>
                      <a:lnTo>
                        <a:pt x="2" y="118"/>
                      </a:lnTo>
                      <a:lnTo>
                        <a:pt x="0" y="114"/>
                      </a:lnTo>
                      <a:lnTo>
                        <a:pt x="0" y="111"/>
                      </a:lnTo>
                      <a:lnTo>
                        <a:pt x="2" y="107"/>
                      </a:lnTo>
                      <a:lnTo>
                        <a:pt x="4" y="105"/>
                      </a:lnTo>
                      <a:lnTo>
                        <a:pt x="4" y="102"/>
                      </a:lnTo>
                      <a:lnTo>
                        <a:pt x="3" y="100"/>
                      </a:lnTo>
                      <a:lnTo>
                        <a:pt x="2" y="98"/>
                      </a:lnTo>
                      <a:lnTo>
                        <a:pt x="0" y="95"/>
                      </a:lnTo>
                      <a:lnTo>
                        <a:pt x="2" y="93"/>
                      </a:lnTo>
                      <a:lnTo>
                        <a:pt x="2" y="92"/>
                      </a:lnTo>
                      <a:lnTo>
                        <a:pt x="6" y="88"/>
                      </a:lnTo>
                      <a:lnTo>
                        <a:pt x="9" y="85"/>
                      </a:lnTo>
                      <a:lnTo>
                        <a:pt x="13" y="79"/>
                      </a:lnTo>
                      <a:lnTo>
                        <a:pt x="16" y="70"/>
                      </a:lnTo>
                      <a:lnTo>
                        <a:pt x="17" y="6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9" name="Freeform 636">
                  <a:extLst>
                    <a:ext uri="{FF2B5EF4-FFF2-40B4-BE49-F238E27FC236}">
                      <a16:creationId xmlns:a16="http://schemas.microsoft.com/office/drawing/2014/main" id="{E9F43D3D-D143-EB4B-ACC1-3E8FCDA3A8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2555" y="3504018"/>
                  <a:ext cx="390686" cy="430643"/>
                </a:xfrm>
                <a:custGeom>
                  <a:avLst/>
                  <a:gdLst>
                    <a:gd name="T0" fmla="*/ 2147483647 w 285"/>
                    <a:gd name="T1" fmla="*/ 0 h 291"/>
                    <a:gd name="T2" fmla="*/ 2147483647 w 285"/>
                    <a:gd name="T3" fmla="*/ 2147483647 h 291"/>
                    <a:gd name="T4" fmla="*/ 2147483647 w 285"/>
                    <a:gd name="T5" fmla="*/ 2147483647 h 291"/>
                    <a:gd name="T6" fmla="*/ 2147483647 w 285"/>
                    <a:gd name="T7" fmla="*/ 2147483647 h 291"/>
                    <a:gd name="T8" fmla="*/ 2147483647 w 285"/>
                    <a:gd name="T9" fmla="*/ 2147483647 h 291"/>
                    <a:gd name="T10" fmla="*/ 2147483647 w 285"/>
                    <a:gd name="T11" fmla="*/ 2147483647 h 291"/>
                    <a:gd name="T12" fmla="*/ 2147483647 w 285"/>
                    <a:gd name="T13" fmla="*/ 2147483647 h 291"/>
                    <a:gd name="T14" fmla="*/ 2147483647 w 285"/>
                    <a:gd name="T15" fmla="*/ 2147483647 h 291"/>
                    <a:gd name="T16" fmla="*/ 2147483647 w 285"/>
                    <a:gd name="T17" fmla="*/ 2147483647 h 291"/>
                    <a:gd name="T18" fmla="*/ 2147483647 w 285"/>
                    <a:gd name="T19" fmla="*/ 2147483647 h 291"/>
                    <a:gd name="T20" fmla="*/ 2147483647 w 285"/>
                    <a:gd name="T21" fmla="*/ 2147483647 h 291"/>
                    <a:gd name="T22" fmla="*/ 2147483647 w 285"/>
                    <a:gd name="T23" fmla="*/ 2147483647 h 291"/>
                    <a:gd name="T24" fmla="*/ 2147483647 w 285"/>
                    <a:gd name="T25" fmla="*/ 2147483647 h 291"/>
                    <a:gd name="T26" fmla="*/ 2147483647 w 285"/>
                    <a:gd name="T27" fmla="*/ 2147483647 h 291"/>
                    <a:gd name="T28" fmla="*/ 2147483647 w 285"/>
                    <a:gd name="T29" fmla="*/ 2147483647 h 291"/>
                    <a:gd name="T30" fmla="*/ 2147483647 w 285"/>
                    <a:gd name="T31" fmla="*/ 2147483647 h 291"/>
                    <a:gd name="T32" fmla="*/ 2147483647 w 285"/>
                    <a:gd name="T33" fmla="*/ 2147483647 h 291"/>
                    <a:gd name="T34" fmla="*/ 2147483647 w 285"/>
                    <a:gd name="T35" fmla="*/ 2147483647 h 291"/>
                    <a:gd name="T36" fmla="*/ 2147483647 w 285"/>
                    <a:gd name="T37" fmla="*/ 2147483647 h 291"/>
                    <a:gd name="T38" fmla="*/ 2147483647 w 285"/>
                    <a:gd name="T39" fmla="*/ 2147483647 h 291"/>
                    <a:gd name="T40" fmla="*/ 2147483647 w 285"/>
                    <a:gd name="T41" fmla="*/ 2147483647 h 291"/>
                    <a:gd name="T42" fmla="*/ 2147483647 w 285"/>
                    <a:gd name="T43" fmla="*/ 2147483647 h 291"/>
                    <a:gd name="T44" fmla="*/ 2147483647 w 285"/>
                    <a:gd name="T45" fmla="*/ 2147483647 h 291"/>
                    <a:gd name="T46" fmla="*/ 2147483647 w 285"/>
                    <a:gd name="T47" fmla="*/ 2147483647 h 291"/>
                    <a:gd name="T48" fmla="*/ 2147483647 w 285"/>
                    <a:gd name="T49" fmla="*/ 2147483647 h 291"/>
                    <a:gd name="T50" fmla="*/ 2147483647 w 285"/>
                    <a:gd name="T51" fmla="*/ 2147483647 h 291"/>
                    <a:gd name="T52" fmla="*/ 2147483647 w 285"/>
                    <a:gd name="T53" fmla="*/ 2147483647 h 291"/>
                    <a:gd name="T54" fmla="*/ 2147483647 w 285"/>
                    <a:gd name="T55" fmla="*/ 2147483647 h 291"/>
                    <a:gd name="T56" fmla="*/ 2147483647 w 285"/>
                    <a:gd name="T57" fmla="*/ 2147483647 h 291"/>
                    <a:gd name="T58" fmla="*/ 2147483647 w 285"/>
                    <a:gd name="T59" fmla="*/ 2147483647 h 291"/>
                    <a:gd name="T60" fmla="*/ 2147483647 w 285"/>
                    <a:gd name="T61" fmla="*/ 2147483647 h 291"/>
                    <a:gd name="T62" fmla="*/ 2147483647 w 285"/>
                    <a:gd name="T63" fmla="*/ 2147483647 h 291"/>
                    <a:gd name="T64" fmla="*/ 2147483647 w 285"/>
                    <a:gd name="T65" fmla="*/ 2147483647 h 291"/>
                    <a:gd name="T66" fmla="*/ 2147483647 w 285"/>
                    <a:gd name="T67" fmla="*/ 2147483647 h 291"/>
                    <a:gd name="T68" fmla="*/ 0 w 285"/>
                    <a:gd name="T69" fmla="*/ 2147483647 h 291"/>
                    <a:gd name="T70" fmla="*/ 2147483647 w 285"/>
                    <a:gd name="T71" fmla="*/ 2147483647 h 291"/>
                    <a:gd name="T72" fmla="*/ 2147483647 w 285"/>
                    <a:gd name="T73" fmla="*/ 2147483647 h 291"/>
                    <a:gd name="T74" fmla="*/ 2147483647 w 285"/>
                    <a:gd name="T75" fmla="*/ 2147483647 h 291"/>
                    <a:gd name="T76" fmla="*/ 2147483647 w 285"/>
                    <a:gd name="T77" fmla="*/ 2147483647 h 291"/>
                    <a:gd name="T78" fmla="*/ 2147483647 w 285"/>
                    <a:gd name="T79" fmla="*/ 2147483647 h 291"/>
                    <a:gd name="T80" fmla="*/ 2147483647 w 285"/>
                    <a:gd name="T81" fmla="*/ 2147483647 h 291"/>
                    <a:gd name="T82" fmla="*/ 2147483647 w 285"/>
                    <a:gd name="T83" fmla="*/ 2147483647 h 291"/>
                    <a:gd name="T84" fmla="*/ 2147483647 w 285"/>
                    <a:gd name="T85" fmla="*/ 2147483647 h 291"/>
                    <a:gd name="T86" fmla="*/ 2147483647 w 285"/>
                    <a:gd name="T87" fmla="*/ 2147483647 h 291"/>
                    <a:gd name="T88" fmla="*/ 2147483647 w 285"/>
                    <a:gd name="T89" fmla="*/ 2147483647 h 291"/>
                    <a:gd name="T90" fmla="*/ 2147483647 w 285"/>
                    <a:gd name="T91" fmla="*/ 2147483647 h 291"/>
                    <a:gd name="T92" fmla="*/ 2147483647 w 285"/>
                    <a:gd name="T93" fmla="*/ 2147483647 h 291"/>
                    <a:gd name="T94" fmla="*/ 2147483647 w 285"/>
                    <a:gd name="T95" fmla="*/ 2147483647 h 291"/>
                    <a:gd name="T96" fmla="*/ 2147483647 w 285"/>
                    <a:gd name="T97" fmla="*/ 2147483647 h 291"/>
                    <a:gd name="T98" fmla="*/ 2147483647 w 285"/>
                    <a:gd name="T99" fmla="*/ 2147483647 h 291"/>
                    <a:gd name="T100" fmla="*/ 2147483647 w 285"/>
                    <a:gd name="T101" fmla="*/ 2147483647 h 291"/>
                    <a:gd name="T102" fmla="*/ 2147483647 w 285"/>
                    <a:gd name="T103" fmla="*/ 2147483647 h 291"/>
                    <a:gd name="T104" fmla="*/ 2147483647 w 285"/>
                    <a:gd name="T105" fmla="*/ 2147483647 h 291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85"/>
                    <a:gd name="T160" fmla="*/ 0 h 291"/>
                    <a:gd name="T161" fmla="*/ 285 w 285"/>
                    <a:gd name="T162" fmla="*/ 291 h 291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85" h="291">
                      <a:moveTo>
                        <a:pt x="227" y="4"/>
                      </a:moveTo>
                      <a:lnTo>
                        <a:pt x="227" y="4"/>
                      </a:lnTo>
                      <a:lnTo>
                        <a:pt x="235" y="3"/>
                      </a:lnTo>
                      <a:lnTo>
                        <a:pt x="243" y="1"/>
                      </a:lnTo>
                      <a:lnTo>
                        <a:pt x="250" y="0"/>
                      </a:lnTo>
                      <a:lnTo>
                        <a:pt x="254" y="0"/>
                      </a:lnTo>
                      <a:lnTo>
                        <a:pt x="257" y="2"/>
                      </a:lnTo>
                      <a:lnTo>
                        <a:pt x="259" y="4"/>
                      </a:lnTo>
                      <a:lnTo>
                        <a:pt x="260" y="7"/>
                      </a:lnTo>
                      <a:lnTo>
                        <a:pt x="263" y="13"/>
                      </a:lnTo>
                      <a:lnTo>
                        <a:pt x="266" y="16"/>
                      </a:lnTo>
                      <a:lnTo>
                        <a:pt x="268" y="20"/>
                      </a:lnTo>
                      <a:lnTo>
                        <a:pt x="272" y="23"/>
                      </a:lnTo>
                      <a:lnTo>
                        <a:pt x="278" y="27"/>
                      </a:lnTo>
                      <a:lnTo>
                        <a:pt x="282" y="31"/>
                      </a:lnTo>
                      <a:lnTo>
                        <a:pt x="285" y="34"/>
                      </a:lnTo>
                      <a:lnTo>
                        <a:pt x="285" y="39"/>
                      </a:lnTo>
                      <a:lnTo>
                        <a:pt x="283" y="44"/>
                      </a:lnTo>
                      <a:lnTo>
                        <a:pt x="282" y="48"/>
                      </a:lnTo>
                      <a:lnTo>
                        <a:pt x="279" y="53"/>
                      </a:lnTo>
                      <a:lnTo>
                        <a:pt x="273" y="61"/>
                      </a:lnTo>
                      <a:lnTo>
                        <a:pt x="269" y="64"/>
                      </a:lnTo>
                      <a:lnTo>
                        <a:pt x="264" y="65"/>
                      </a:lnTo>
                      <a:lnTo>
                        <a:pt x="259" y="64"/>
                      </a:lnTo>
                      <a:lnTo>
                        <a:pt x="254" y="61"/>
                      </a:lnTo>
                      <a:lnTo>
                        <a:pt x="250" y="58"/>
                      </a:lnTo>
                      <a:lnTo>
                        <a:pt x="245" y="54"/>
                      </a:lnTo>
                      <a:lnTo>
                        <a:pt x="239" y="53"/>
                      </a:lnTo>
                      <a:lnTo>
                        <a:pt x="236" y="53"/>
                      </a:lnTo>
                      <a:lnTo>
                        <a:pt x="234" y="54"/>
                      </a:lnTo>
                      <a:lnTo>
                        <a:pt x="230" y="58"/>
                      </a:lnTo>
                      <a:lnTo>
                        <a:pt x="226" y="63"/>
                      </a:lnTo>
                      <a:lnTo>
                        <a:pt x="225" y="67"/>
                      </a:lnTo>
                      <a:lnTo>
                        <a:pt x="225" y="70"/>
                      </a:lnTo>
                      <a:lnTo>
                        <a:pt x="226" y="71"/>
                      </a:lnTo>
                      <a:lnTo>
                        <a:pt x="229" y="78"/>
                      </a:lnTo>
                      <a:lnTo>
                        <a:pt x="229" y="84"/>
                      </a:lnTo>
                      <a:lnTo>
                        <a:pt x="229" y="90"/>
                      </a:lnTo>
                      <a:lnTo>
                        <a:pt x="226" y="96"/>
                      </a:lnTo>
                      <a:lnTo>
                        <a:pt x="226" y="99"/>
                      </a:lnTo>
                      <a:lnTo>
                        <a:pt x="226" y="102"/>
                      </a:lnTo>
                      <a:lnTo>
                        <a:pt x="231" y="106"/>
                      </a:lnTo>
                      <a:lnTo>
                        <a:pt x="231" y="109"/>
                      </a:lnTo>
                      <a:lnTo>
                        <a:pt x="231" y="111"/>
                      </a:lnTo>
                      <a:lnTo>
                        <a:pt x="229" y="115"/>
                      </a:lnTo>
                      <a:lnTo>
                        <a:pt x="227" y="118"/>
                      </a:lnTo>
                      <a:lnTo>
                        <a:pt x="227" y="122"/>
                      </a:lnTo>
                      <a:lnTo>
                        <a:pt x="229" y="125"/>
                      </a:lnTo>
                      <a:lnTo>
                        <a:pt x="230" y="130"/>
                      </a:lnTo>
                      <a:lnTo>
                        <a:pt x="227" y="134"/>
                      </a:lnTo>
                      <a:lnTo>
                        <a:pt x="225" y="137"/>
                      </a:lnTo>
                      <a:lnTo>
                        <a:pt x="221" y="141"/>
                      </a:lnTo>
                      <a:lnTo>
                        <a:pt x="213" y="151"/>
                      </a:lnTo>
                      <a:lnTo>
                        <a:pt x="207" y="162"/>
                      </a:lnTo>
                      <a:lnTo>
                        <a:pt x="202" y="170"/>
                      </a:lnTo>
                      <a:lnTo>
                        <a:pt x="194" y="179"/>
                      </a:lnTo>
                      <a:lnTo>
                        <a:pt x="188" y="186"/>
                      </a:lnTo>
                      <a:lnTo>
                        <a:pt x="182" y="195"/>
                      </a:lnTo>
                      <a:lnTo>
                        <a:pt x="179" y="199"/>
                      </a:lnTo>
                      <a:lnTo>
                        <a:pt x="177" y="200"/>
                      </a:lnTo>
                      <a:lnTo>
                        <a:pt x="172" y="201"/>
                      </a:lnTo>
                      <a:lnTo>
                        <a:pt x="166" y="200"/>
                      </a:lnTo>
                      <a:lnTo>
                        <a:pt x="163" y="200"/>
                      </a:lnTo>
                      <a:lnTo>
                        <a:pt x="159" y="201"/>
                      </a:lnTo>
                      <a:lnTo>
                        <a:pt x="156" y="205"/>
                      </a:lnTo>
                      <a:lnTo>
                        <a:pt x="153" y="208"/>
                      </a:lnTo>
                      <a:lnTo>
                        <a:pt x="150" y="211"/>
                      </a:lnTo>
                      <a:lnTo>
                        <a:pt x="147" y="213"/>
                      </a:lnTo>
                      <a:lnTo>
                        <a:pt x="145" y="216"/>
                      </a:lnTo>
                      <a:lnTo>
                        <a:pt x="145" y="217"/>
                      </a:lnTo>
                      <a:lnTo>
                        <a:pt x="145" y="219"/>
                      </a:lnTo>
                      <a:lnTo>
                        <a:pt x="147" y="220"/>
                      </a:lnTo>
                      <a:lnTo>
                        <a:pt x="150" y="221"/>
                      </a:lnTo>
                      <a:lnTo>
                        <a:pt x="153" y="223"/>
                      </a:lnTo>
                      <a:lnTo>
                        <a:pt x="154" y="225"/>
                      </a:lnTo>
                      <a:lnTo>
                        <a:pt x="155" y="227"/>
                      </a:lnTo>
                      <a:lnTo>
                        <a:pt x="156" y="231"/>
                      </a:lnTo>
                      <a:lnTo>
                        <a:pt x="156" y="237"/>
                      </a:lnTo>
                      <a:lnTo>
                        <a:pt x="159" y="239"/>
                      </a:lnTo>
                      <a:lnTo>
                        <a:pt x="160" y="242"/>
                      </a:lnTo>
                      <a:lnTo>
                        <a:pt x="165" y="246"/>
                      </a:lnTo>
                      <a:lnTo>
                        <a:pt x="168" y="249"/>
                      </a:lnTo>
                      <a:lnTo>
                        <a:pt x="169" y="251"/>
                      </a:lnTo>
                      <a:lnTo>
                        <a:pt x="169" y="258"/>
                      </a:lnTo>
                      <a:lnTo>
                        <a:pt x="166" y="264"/>
                      </a:lnTo>
                      <a:lnTo>
                        <a:pt x="165" y="271"/>
                      </a:lnTo>
                      <a:lnTo>
                        <a:pt x="151" y="270"/>
                      </a:lnTo>
                      <a:lnTo>
                        <a:pt x="144" y="269"/>
                      </a:lnTo>
                      <a:lnTo>
                        <a:pt x="137" y="269"/>
                      </a:lnTo>
                      <a:lnTo>
                        <a:pt x="135" y="270"/>
                      </a:lnTo>
                      <a:lnTo>
                        <a:pt x="132" y="272"/>
                      </a:lnTo>
                      <a:lnTo>
                        <a:pt x="131" y="275"/>
                      </a:lnTo>
                      <a:lnTo>
                        <a:pt x="130" y="278"/>
                      </a:lnTo>
                      <a:lnTo>
                        <a:pt x="127" y="283"/>
                      </a:lnTo>
                      <a:lnTo>
                        <a:pt x="122" y="287"/>
                      </a:lnTo>
                      <a:lnTo>
                        <a:pt x="117" y="289"/>
                      </a:lnTo>
                      <a:lnTo>
                        <a:pt x="112" y="291"/>
                      </a:lnTo>
                      <a:lnTo>
                        <a:pt x="111" y="287"/>
                      </a:lnTo>
                      <a:lnTo>
                        <a:pt x="111" y="282"/>
                      </a:lnTo>
                      <a:lnTo>
                        <a:pt x="109" y="272"/>
                      </a:lnTo>
                      <a:lnTo>
                        <a:pt x="109" y="271"/>
                      </a:lnTo>
                      <a:lnTo>
                        <a:pt x="106" y="270"/>
                      </a:lnTo>
                      <a:lnTo>
                        <a:pt x="99" y="269"/>
                      </a:lnTo>
                      <a:lnTo>
                        <a:pt x="98" y="266"/>
                      </a:lnTo>
                      <a:lnTo>
                        <a:pt x="98" y="264"/>
                      </a:lnTo>
                      <a:lnTo>
                        <a:pt x="99" y="259"/>
                      </a:lnTo>
                      <a:lnTo>
                        <a:pt x="99" y="257"/>
                      </a:lnTo>
                      <a:lnTo>
                        <a:pt x="97" y="255"/>
                      </a:lnTo>
                      <a:lnTo>
                        <a:pt x="94" y="253"/>
                      </a:lnTo>
                      <a:lnTo>
                        <a:pt x="89" y="253"/>
                      </a:lnTo>
                      <a:lnTo>
                        <a:pt x="76" y="257"/>
                      </a:lnTo>
                      <a:lnTo>
                        <a:pt x="65" y="259"/>
                      </a:lnTo>
                      <a:lnTo>
                        <a:pt x="57" y="258"/>
                      </a:lnTo>
                      <a:lnTo>
                        <a:pt x="51" y="258"/>
                      </a:lnTo>
                      <a:lnTo>
                        <a:pt x="45" y="256"/>
                      </a:lnTo>
                      <a:lnTo>
                        <a:pt x="37" y="256"/>
                      </a:lnTo>
                      <a:lnTo>
                        <a:pt x="27" y="256"/>
                      </a:lnTo>
                      <a:lnTo>
                        <a:pt x="17" y="257"/>
                      </a:lnTo>
                      <a:lnTo>
                        <a:pt x="10" y="253"/>
                      </a:lnTo>
                      <a:lnTo>
                        <a:pt x="6" y="252"/>
                      </a:lnTo>
                      <a:lnTo>
                        <a:pt x="3" y="251"/>
                      </a:lnTo>
                      <a:lnTo>
                        <a:pt x="9" y="236"/>
                      </a:lnTo>
                      <a:lnTo>
                        <a:pt x="13" y="227"/>
                      </a:lnTo>
                      <a:lnTo>
                        <a:pt x="18" y="221"/>
                      </a:lnTo>
                      <a:lnTo>
                        <a:pt x="22" y="220"/>
                      </a:lnTo>
                      <a:lnTo>
                        <a:pt x="27" y="219"/>
                      </a:lnTo>
                      <a:lnTo>
                        <a:pt x="31" y="217"/>
                      </a:lnTo>
                      <a:lnTo>
                        <a:pt x="32" y="216"/>
                      </a:lnTo>
                      <a:lnTo>
                        <a:pt x="32" y="213"/>
                      </a:lnTo>
                      <a:lnTo>
                        <a:pt x="29" y="210"/>
                      </a:lnTo>
                      <a:lnTo>
                        <a:pt x="28" y="207"/>
                      </a:lnTo>
                      <a:lnTo>
                        <a:pt x="26" y="204"/>
                      </a:lnTo>
                      <a:lnTo>
                        <a:pt x="24" y="200"/>
                      </a:lnTo>
                      <a:lnTo>
                        <a:pt x="23" y="193"/>
                      </a:lnTo>
                      <a:lnTo>
                        <a:pt x="22" y="189"/>
                      </a:lnTo>
                      <a:lnTo>
                        <a:pt x="19" y="186"/>
                      </a:lnTo>
                      <a:lnTo>
                        <a:pt x="6" y="172"/>
                      </a:lnTo>
                      <a:lnTo>
                        <a:pt x="1" y="165"/>
                      </a:lnTo>
                      <a:lnTo>
                        <a:pt x="0" y="160"/>
                      </a:lnTo>
                      <a:lnTo>
                        <a:pt x="0" y="156"/>
                      </a:lnTo>
                      <a:lnTo>
                        <a:pt x="6" y="160"/>
                      </a:lnTo>
                      <a:lnTo>
                        <a:pt x="12" y="161"/>
                      </a:lnTo>
                      <a:lnTo>
                        <a:pt x="17" y="162"/>
                      </a:lnTo>
                      <a:lnTo>
                        <a:pt x="22" y="162"/>
                      </a:lnTo>
                      <a:lnTo>
                        <a:pt x="32" y="162"/>
                      </a:lnTo>
                      <a:lnTo>
                        <a:pt x="36" y="162"/>
                      </a:lnTo>
                      <a:lnTo>
                        <a:pt x="39" y="162"/>
                      </a:lnTo>
                      <a:lnTo>
                        <a:pt x="50" y="166"/>
                      </a:lnTo>
                      <a:lnTo>
                        <a:pt x="55" y="166"/>
                      </a:lnTo>
                      <a:lnTo>
                        <a:pt x="57" y="166"/>
                      </a:lnTo>
                      <a:lnTo>
                        <a:pt x="59" y="165"/>
                      </a:lnTo>
                      <a:lnTo>
                        <a:pt x="65" y="160"/>
                      </a:lnTo>
                      <a:lnTo>
                        <a:pt x="71" y="159"/>
                      </a:lnTo>
                      <a:lnTo>
                        <a:pt x="78" y="157"/>
                      </a:lnTo>
                      <a:lnTo>
                        <a:pt x="84" y="157"/>
                      </a:lnTo>
                      <a:lnTo>
                        <a:pt x="81" y="154"/>
                      </a:lnTo>
                      <a:lnTo>
                        <a:pt x="81" y="149"/>
                      </a:lnTo>
                      <a:lnTo>
                        <a:pt x="81" y="143"/>
                      </a:lnTo>
                      <a:lnTo>
                        <a:pt x="84" y="137"/>
                      </a:lnTo>
                      <a:lnTo>
                        <a:pt x="89" y="133"/>
                      </a:lnTo>
                      <a:lnTo>
                        <a:pt x="94" y="128"/>
                      </a:lnTo>
                      <a:lnTo>
                        <a:pt x="100" y="125"/>
                      </a:lnTo>
                      <a:lnTo>
                        <a:pt x="111" y="121"/>
                      </a:lnTo>
                      <a:lnTo>
                        <a:pt x="112" y="118"/>
                      </a:lnTo>
                      <a:lnTo>
                        <a:pt x="113" y="117"/>
                      </a:lnTo>
                      <a:lnTo>
                        <a:pt x="116" y="115"/>
                      </a:lnTo>
                      <a:lnTo>
                        <a:pt x="117" y="114"/>
                      </a:lnTo>
                      <a:lnTo>
                        <a:pt x="127" y="110"/>
                      </a:lnTo>
                      <a:lnTo>
                        <a:pt x="131" y="109"/>
                      </a:lnTo>
                      <a:lnTo>
                        <a:pt x="133" y="106"/>
                      </a:lnTo>
                      <a:lnTo>
                        <a:pt x="137" y="101"/>
                      </a:lnTo>
                      <a:lnTo>
                        <a:pt x="142" y="90"/>
                      </a:lnTo>
                      <a:lnTo>
                        <a:pt x="144" y="86"/>
                      </a:lnTo>
                      <a:lnTo>
                        <a:pt x="145" y="85"/>
                      </a:lnTo>
                      <a:lnTo>
                        <a:pt x="147" y="84"/>
                      </a:lnTo>
                      <a:lnTo>
                        <a:pt x="150" y="83"/>
                      </a:lnTo>
                      <a:lnTo>
                        <a:pt x="153" y="80"/>
                      </a:lnTo>
                      <a:lnTo>
                        <a:pt x="153" y="76"/>
                      </a:lnTo>
                      <a:lnTo>
                        <a:pt x="151" y="71"/>
                      </a:lnTo>
                      <a:lnTo>
                        <a:pt x="150" y="61"/>
                      </a:lnTo>
                      <a:lnTo>
                        <a:pt x="151" y="61"/>
                      </a:lnTo>
                      <a:lnTo>
                        <a:pt x="154" y="61"/>
                      </a:lnTo>
                      <a:lnTo>
                        <a:pt x="158" y="63"/>
                      </a:lnTo>
                      <a:lnTo>
                        <a:pt x="161" y="63"/>
                      </a:lnTo>
                      <a:lnTo>
                        <a:pt x="165" y="63"/>
                      </a:lnTo>
                      <a:lnTo>
                        <a:pt x="169" y="60"/>
                      </a:lnTo>
                      <a:lnTo>
                        <a:pt x="170" y="59"/>
                      </a:lnTo>
                      <a:lnTo>
                        <a:pt x="170" y="58"/>
                      </a:lnTo>
                      <a:lnTo>
                        <a:pt x="168" y="54"/>
                      </a:lnTo>
                      <a:lnTo>
                        <a:pt x="166" y="52"/>
                      </a:lnTo>
                      <a:lnTo>
                        <a:pt x="166" y="50"/>
                      </a:lnTo>
                      <a:lnTo>
                        <a:pt x="168" y="50"/>
                      </a:lnTo>
                      <a:lnTo>
                        <a:pt x="173" y="46"/>
                      </a:lnTo>
                      <a:lnTo>
                        <a:pt x="178" y="42"/>
                      </a:lnTo>
                      <a:lnTo>
                        <a:pt x="182" y="38"/>
                      </a:lnTo>
                      <a:lnTo>
                        <a:pt x="182" y="35"/>
                      </a:lnTo>
                      <a:lnTo>
                        <a:pt x="182" y="32"/>
                      </a:lnTo>
                      <a:lnTo>
                        <a:pt x="180" y="29"/>
                      </a:lnTo>
                      <a:lnTo>
                        <a:pt x="178" y="27"/>
                      </a:lnTo>
                      <a:lnTo>
                        <a:pt x="177" y="25"/>
                      </a:lnTo>
                      <a:lnTo>
                        <a:pt x="174" y="22"/>
                      </a:lnTo>
                      <a:lnTo>
                        <a:pt x="174" y="20"/>
                      </a:lnTo>
                      <a:lnTo>
                        <a:pt x="175" y="18"/>
                      </a:lnTo>
                      <a:lnTo>
                        <a:pt x="177" y="15"/>
                      </a:lnTo>
                      <a:lnTo>
                        <a:pt x="179" y="14"/>
                      </a:lnTo>
                      <a:lnTo>
                        <a:pt x="199" y="7"/>
                      </a:lnTo>
                      <a:lnTo>
                        <a:pt x="205" y="6"/>
                      </a:lnTo>
                      <a:lnTo>
                        <a:pt x="210" y="4"/>
                      </a:lnTo>
                      <a:lnTo>
                        <a:pt x="216" y="4"/>
                      </a:lnTo>
                      <a:lnTo>
                        <a:pt x="221" y="6"/>
                      </a:lnTo>
                      <a:lnTo>
                        <a:pt x="225" y="6"/>
                      </a:lnTo>
                      <a:lnTo>
                        <a:pt x="227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0" name="Freeform 637">
                  <a:extLst>
                    <a:ext uri="{FF2B5EF4-FFF2-40B4-BE49-F238E27FC236}">
                      <a16:creationId xmlns:a16="http://schemas.microsoft.com/office/drawing/2014/main" id="{0CEE2989-E7B9-8A44-BE18-FB58200F1E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44798" y="3450746"/>
                  <a:ext cx="332972" cy="298934"/>
                </a:xfrm>
                <a:custGeom>
                  <a:avLst/>
                  <a:gdLst>
                    <a:gd name="T0" fmla="*/ 2147483647 w 244"/>
                    <a:gd name="T1" fmla="*/ 2147483647 h 202"/>
                    <a:gd name="T2" fmla="*/ 2147483647 w 244"/>
                    <a:gd name="T3" fmla="*/ 2147483647 h 202"/>
                    <a:gd name="T4" fmla="*/ 2147483647 w 244"/>
                    <a:gd name="T5" fmla="*/ 2147483647 h 202"/>
                    <a:gd name="T6" fmla="*/ 2147483647 w 244"/>
                    <a:gd name="T7" fmla="*/ 2147483647 h 202"/>
                    <a:gd name="T8" fmla="*/ 2147483647 w 244"/>
                    <a:gd name="T9" fmla="*/ 2147483647 h 202"/>
                    <a:gd name="T10" fmla="*/ 2147483647 w 244"/>
                    <a:gd name="T11" fmla="*/ 2147483647 h 202"/>
                    <a:gd name="T12" fmla="*/ 2147483647 w 244"/>
                    <a:gd name="T13" fmla="*/ 2147483647 h 202"/>
                    <a:gd name="T14" fmla="*/ 2147483647 w 244"/>
                    <a:gd name="T15" fmla="*/ 2147483647 h 202"/>
                    <a:gd name="T16" fmla="*/ 2147483647 w 244"/>
                    <a:gd name="T17" fmla="*/ 2147483647 h 202"/>
                    <a:gd name="T18" fmla="*/ 2147483647 w 244"/>
                    <a:gd name="T19" fmla="*/ 2147483647 h 202"/>
                    <a:gd name="T20" fmla="*/ 2147483647 w 244"/>
                    <a:gd name="T21" fmla="*/ 2147483647 h 202"/>
                    <a:gd name="T22" fmla="*/ 2147483647 w 244"/>
                    <a:gd name="T23" fmla="*/ 2147483647 h 202"/>
                    <a:gd name="T24" fmla="*/ 2147483647 w 244"/>
                    <a:gd name="T25" fmla="*/ 2147483647 h 202"/>
                    <a:gd name="T26" fmla="*/ 2147483647 w 244"/>
                    <a:gd name="T27" fmla="*/ 2147483647 h 202"/>
                    <a:gd name="T28" fmla="*/ 2147483647 w 244"/>
                    <a:gd name="T29" fmla="*/ 2147483647 h 202"/>
                    <a:gd name="T30" fmla="*/ 2147483647 w 244"/>
                    <a:gd name="T31" fmla="*/ 2147483647 h 202"/>
                    <a:gd name="T32" fmla="*/ 2147483647 w 244"/>
                    <a:gd name="T33" fmla="*/ 2147483647 h 202"/>
                    <a:gd name="T34" fmla="*/ 2147483647 w 244"/>
                    <a:gd name="T35" fmla="*/ 2147483647 h 202"/>
                    <a:gd name="T36" fmla="*/ 2147483647 w 244"/>
                    <a:gd name="T37" fmla="*/ 2147483647 h 202"/>
                    <a:gd name="T38" fmla="*/ 2147483647 w 244"/>
                    <a:gd name="T39" fmla="*/ 2147483647 h 202"/>
                    <a:gd name="T40" fmla="*/ 2147483647 w 244"/>
                    <a:gd name="T41" fmla="*/ 2147483647 h 202"/>
                    <a:gd name="T42" fmla="*/ 2147483647 w 244"/>
                    <a:gd name="T43" fmla="*/ 2147483647 h 202"/>
                    <a:gd name="T44" fmla="*/ 2147483647 w 244"/>
                    <a:gd name="T45" fmla="*/ 2147483647 h 202"/>
                    <a:gd name="T46" fmla="*/ 2147483647 w 244"/>
                    <a:gd name="T47" fmla="*/ 2147483647 h 202"/>
                    <a:gd name="T48" fmla="*/ 2147483647 w 244"/>
                    <a:gd name="T49" fmla="*/ 2147483647 h 202"/>
                    <a:gd name="T50" fmla="*/ 2147483647 w 244"/>
                    <a:gd name="T51" fmla="*/ 2147483647 h 202"/>
                    <a:gd name="T52" fmla="*/ 2147483647 w 244"/>
                    <a:gd name="T53" fmla="*/ 2147483647 h 202"/>
                    <a:gd name="T54" fmla="*/ 2147483647 w 244"/>
                    <a:gd name="T55" fmla="*/ 2147483647 h 202"/>
                    <a:gd name="T56" fmla="*/ 2147483647 w 244"/>
                    <a:gd name="T57" fmla="*/ 2147483647 h 202"/>
                    <a:gd name="T58" fmla="*/ 2147483647 w 244"/>
                    <a:gd name="T59" fmla="*/ 2147483647 h 202"/>
                    <a:gd name="T60" fmla="*/ 2147483647 w 244"/>
                    <a:gd name="T61" fmla="*/ 2147483647 h 202"/>
                    <a:gd name="T62" fmla="*/ 2147483647 w 244"/>
                    <a:gd name="T63" fmla="*/ 2147483647 h 202"/>
                    <a:gd name="T64" fmla="*/ 2147483647 w 244"/>
                    <a:gd name="T65" fmla="*/ 2147483647 h 202"/>
                    <a:gd name="T66" fmla="*/ 2147483647 w 244"/>
                    <a:gd name="T67" fmla="*/ 2147483647 h 202"/>
                    <a:gd name="T68" fmla="*/ 2147483647 w 244"/>
                    <a:gd name="T69" fmla="*/ 2147483647 h 202"/>
                    <a:gd name="T70" fmla="*/ 2147483647 w 244"/>
                    <a:gd name="T71" fmla="*/ 2147483647 h 202"/>
                    <a:gd name="T72" fmla="*/ 2147483647 w 244"/>
                    <a:gd name="T73" fmla="*/ 2147483647 h 202"/>
                    <a:gd name="T74" fmla="*/ 2147483647 w 244"/>
                    <a:gd name="T75" fmla="*/ 2147483647 h 202"/>
                    <a:gd name="T76" fmla="*/ 2147483647 w 244"/>
                    <a:gd name="T77" fmla="*/ 2147483647 h 202"/>
                    <a:gd name="T78" fmla="*/ 2147483647 w 244"/>
                    <a:gd name="T79" fmla="*/ 2147483647 h 202"/>
                    <a:gd name="T80" fmla="*/ 2147483647 w 244"/>
                    <a:gd name="T81" fmla="*/ 2147483647 h 202"/>
                    <a:gd name="T82" fmla="*/ 2147483647 w 244"/>
                    <a:gd name="T83" fmla="*/ 2147483647 h 202"/>
                    <a:gd name="T84" fmla="*/ 2147483647 w 244"/>
                    <a:gd name="T85" fmla="*/ 2147483647 h 202"/>
                    <a:gd name="T86" fmla="*/ 2147483647 w 244"/>
                    <a:gd name="T87" fmla="*/ 2147483647 h 202"/>
                    <a:gd name="T88" fmla="*/ 2147483647 w 244"/>
                    <a:gd name="T89" fmla="*/ 2147483647 h 202"/>
                    <a:gd name="T90" fmla="*/ 2147483647 w 244"/>
                    <a:gd name="T91" fmla="*/ 2147483647 h 202"/>
                    <a:gd name="T92" fmla="*/ 2147483647 w 244"/>
                    <a:gd name="T93" fmla="*/ 2147483647 h 202"/>
                    <a:gd name="T94" fmla="*/ 2147483647 w 244"/>
                    <a:gd name="T95" fmla="*/ 2147483647 h 202"/>
                    <a:gd name="T96" fmla="*/ 2147483647 w 244"/>
                    <a:gd name="T97" fmla="*/ 2147483647 h 202"/>
                    <a:gd name="T98" fmla="*/ 2147483647 w 244"/>
                    <a:gd name="T99" fmla="*/ 2147483647 h 202"/>
                    <a:gd name="T100" fmla="*/ 2147483647 w 244"/>
                    <a:gd name="T101" fmla="*/ 2147483647 h 202"/>
                    <a:gd name="T102" fmla="*/ 2147483647 w 244"/>
                    <a:gd name="T103" fmla="*/ 2147483647 h 202"/>
                    <a:gd name="T104" fmla="*/ 2147483647 w 244"/>
                    <a:gd name="T105" fmla="*/ 2147483647 h 202"/>
                    <a:gd name="T106" fmla="*/ 2147483647 w 244"/>
                    <a:gd name="T107" fmla="*/ 2147483647 h 202"/>
                    <a:gd name="T108" fmla="*/ 2147483647 w 244"/>
                    <a:gd name="T109" fmla="*/ 2147483647 h 202"/>
                    <a:gd name="T110" fmla="*/ 2147483647 w 244"/>
                    <a:gd name="T111" fmla="*/ 2147483647 h 202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44"/>
                    <a:gd name="T169" fmla="*/ 0 h 202"/>
                    <a:gd name="T170" fmla="*/ 244 w 244"/>
                    <a:gd name="T171" fmla="*/ 202 h 202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44" h="202">
                      <a:moveTo>
                        <a:pt x="17" y="63"/>
                      </a:moveTo>
                      <a:lnTo>
                        <a:pt x="17" y="63"/>
                      </a:lnTo>
                      <a:lnTo>
                        <a:pt x="29" y="65"/>
                      </a:lnTo>
                      <a:lnTo>
                        <a:pt x="36" y="67"/>
                      </a:lnTo>
                      <a:lnTo>
                        <a:pt x="43" y="67"/>
                      </a:lnTo>
                      <a:lnTo>
                        <a:pt x="45" y="67"/>
                      </a:lnTo>
                      <a:lnTo>
                        <a:pt x="46" y="65"/>
                      </a:lnTo>
                      <a:lnTo>
                        <a:pt x="48" y="62"/>
                      </a:lnTo>
                      <a:lnTo>
                        <a:pt x="50" y="58"/>
                      </a:lnTo>
                      <a:lnTo>
                        <a:pt x="52" y="55"/>
                      </a:lnTo>
                      <a:lnTo>
                        <a:pt x="55" y="54"/>
                      </a:lnTo>
                      <a:lnTo>
                        <a:pt x="56" y="54"/>
                      </a:lnTo>
                      <a:lnTo>
                        <a:pt x="59" y="54"/>
                      </a:lnTo>
                      <a:lnTo>
                        <a:pt x="61" y="54"/>
                      </a:lnTo>
                      <a:lnTo>
                        <a:pt x="64" y="49"/>
                      </a:lnTo>
                      <a:lnTo>
                        <a:pt x="66" y="45"/>
                      </a:lnTo>
                      <a:lnTo>
                        <a:pt x="70" y="36"/>
                      </a:lnTo>
                      <a:lnTo>
                        <a:pt x="71" y="33"/>
                      </a:lnTo>
                      <a:lnTo>
                        <a:pt x="75" y="32"/>
                      </a:lnTo>
                      <a:lnTo>
                        <a:pt x="80" y="31"/>
                      </a:lnTo>
                      <a:lnTo>
                        <a:pt x="84" y="30"/>
                      </a:lnTo>
                      <a:lnTo>
                        <a:pt x="88" y="27"/>
                      </a:lnTo>
                      <a:lnTo>
                        <a:pt x="92" y="25"/>
                      </a:lnTo>
                      <a:lnTo>
                        <a:pt x="94" y="24"/>
                      </a:lnTo>
                      <a:lnTo>
                        <a:pt x="97" y="25"/>
                      </a:lnTo>
                      <a:lnTo>
                        <a:pt x="98" y="26"/>
                      </a:lnTo>
                      <a:lnTo>
                        <a:pt x="100" y="27"/>
                      </a:lnTo>
                      <a:lnTo>
                        <a:pt x="107" y="27"/>
                      </a:lnTo>
                      <a:lnTo>
                        <a:pt x="112" y="27"/>
                      </a:lnTo>
                      <a:lnTo>
                        <a:pt x="117" y="30"/>
                      </a:lnTo>
                      <a:lnTo>
                        <a:pt x="122" y="33"/>
                      </a:lnTo>
                      <a:lnTo>
                        <a:pt x="125" y="35"/>
                      </a:lnTo>
                      <a:lnTo>
                        <a:pt x="126" y="35"/>
                      </a:lnTo>
                      <a:lnTo>
                        <a:pt x="130" y="32"/>
                      </a:lnTo>
                      <a:lnTo>
                        <a:pt x="133" y="32"/>
                      </a:lnTo>
                      <a:lnTo>
                        <a:pt x="140" y="32"/>
                      </a:lnTo>
                      <a:lnTo>
                        <a:pt x="147" y="31"/>
                      </a:lnTo>
                      <a:lnTo>
                        <a:pt x="153" y="31"/>
                      </a:lnTo>
                      <a:lnTo>
                        <a:pt x="158" y="30"/>
                      </a:lnTo>
                      <a:lnTo>
                        <a:pt x="163" y="27"/>
                      </a:lnTo>
                      <a:lnTo>
                        <a:pt x="168" y="24"/>
                      </a:lnTo>
                      <a:lnTo>
                        <a:pt x="174" y="17"/>
                      </a:lnTo>
                      <a:lnTo>
                        <a:pt x="179" y="7"/>
                      </a:lnTo>
                      <a:lnTo>
                        <a:pt x="187" y="3"/>
                      </a:lnTo>
                      <a:lnTo>
                        <a:pt x="191" y="0"/>
                      </a:lnTo>
                      <a:lnTo>
                        <a:pt x="192" y="0"/>
                      </a:lnTo>
                      <a:lnTo>
                        <a:pt x="193" y="1"/>
                      </a:lnTo>
                      <a:lnTo>
                        <a:pt x="193" y="5"/>
                      </a:lnTo>
                      <a:lnTo>
                        <a:pt x="191" y="8"/>
                      </a:lnTo>
                      <a:lnTo>
                        <a:pt x="189" y="12"/>
                      </a:lnTo>
                      <a:lnTo>
                        <a:pt x="189" y="13"/>
                      </a:lnTo>
                      <a:lnTo>
                        <a:pt x="191" y="14"/>
                      </a:lnTo>
                      <a:lnTo>
                        <a:pt x="194" y="16"/>
                      </a:lnTo>
                      <a:lnTo>
                        <a:pt x="197" y="17"/>
                      </a:lnTo>
                      <a:lnTo>
                        <a:pt x="198" y="19"/>
                      </a:lnTo>
                      <a:lnTo>
                        <a:pt x="198" y="23"/>
                      </a:lnTo>
                      <a:lnTo>
                        <a:pt x="200" y="29"/>
                      </a:lnTo>
                      <a:lnTo>
                        <a:pt x="200" y="33"/>
                      </a:lnTo>
                      <a:lnTo>
                        <a:pt x="200" y="36"/>
                      </a:lnTo>
                      <a:lnTo>
                        <a:pt x="202" y="36"/>
                      </a:lnTo>
                      <a:lnTo>
                        <a:pt x="206" y="35"/>
                      </a:lnTo>
                      <a:lnTo>
                        <a:pt x="211" y="32"/>
                      </a:lnTo>
                      <a:lnTo>
                        <a:pt x="213" y="32"/>
                      </a:lnTo>
                      <a:lnTo>
                        <a:pt x="216" y="32"/>
                      </a:lnTo>
                      <a:lnTo>
                        <a:pt x="230" y="29"/>
                      </a:lnTo>
                      <a:lnTo>
                        <a:pt x="238" y="27"/>
                      </a:lnTo>
                      <a:lnTo>
                        <a:pt x="244" y="27"/>
                      </a:lnTo>
                      <a:lnTo>
                        <a:pt x="244" y="29"/>
                      </a:lnTo>
                      <a:lnTo>
                        <a:pt x="243" y="29"/>
                      </a:lnTo>
                      <a:lnTo>
                        <a:pt x="244" y="29"/>
                      </a:lnTo>
                      <a:lnTo>
                        <a:pt x="244" y="36"/>
                      </a:lnTo>
                      <a:lnTo>
                        <a:pt x="243" y="38"/>
                      </a:lnTo>
                      <a:lnTo>
                        <a:pt x="241" y="40"/>
                      </a:lnTo>
                      <a:lnTo>
                        <a:pt x="239" y="42"/>
                      </a:lnTo>
                      <a:lnTo>
                        <a:pt x="235" y="42"/>
                      </a:lnTo>
                      <a:lnTo>
                        <a:pt x="230" y="40"/>
                      </a:lnTo>
                      <a:lnTo>
                        <a:pt x="224" y="40"/>
                      </a:lnTo>
                      <a:lnTo>
                        <a:pt x="219" y="42"/>
                      </a:lnTo>
                      <a:lnTo>
                        <a:pt x="213" y="43"/>
                      </a:lnTo>
                      <a:lnTo>
                        <a:pt x="193" y="50"/>
                      </a:lnTo>
                      <a:lnTo>
                        <a:pt x="191" y="51"/>
                      </a:lnTo>
                      <a:lnTo>
                        <a:pt x="189" y="54"/>
                      </a:lnTo>
                      <a:lnTo>
                        <a:pt x="188" y="56"/>
                      </a:lnTo>
                      <a:lnTo>
                        <a:pt x="188" y="58"/>
                      </a:lnTo>
                      <a:lnTo>
                        <a:pt x="191" y="61"/>
                      </a:lnTo>
                      <a:lnTo>
                        <a:pt x="192" y="63"/>
                      </a:lnTo>
                      <a:lnTo>
                        <a:pt x="194" y="65"/>
                      </a:lnTo>
                      <a:lnTo>
                        <a:pt x="196" y="68"/>
                      </a:lnTo>
                      <a:lnTo>
                        <a:pt x="196" y="71"/>
                      </a:lnTo>
                      <a:lnTo>
                        <a:pt x="196" y="74"/>
                      </a:lnTo>
                      <a:lnTo>
                        <a:pt x="192" y="78"/>
                      </a:lnTo>
                      <a:lnTo>
                        <a:pt x="187" y="82"/>
                      </a:lnTo>
                      <a:lnTo>
                        <a:pt x="182" y="86"/>
                      </a:lnTo>
                      <a:lnTo>
                        <a:pt x="180" y="86"/>
                      </a:lnTo>
                      <a:lnTo>
                        <a:pt x="180" y="88"/>
                      </a:lnTo>
                      <a:lnTo>
                        <a:pt x="182" y="90"/>
                      </a:lnTo>
                      <a:lnTo>
                        <a:pt x="184" y="94"/>
                      </a:lnTo>
                      <a:lnTo>
                        <a:pt x="184" y="95"/>
                      </a:lnTo>
                      <a:lnTo>
                        <a:pt x="183" y="96"/>
                      </a:lnTo>
                      <a:lnTo>
                        <a:pt x="179" y="99"/>
                      </a:lnTo>
                      <a:lnTo>
                        <a:pt x="175" y="99"/>
                      </a:lnTo>
                      <a:lnTo>
                        <a:pt x="172" y="99"/>
                      </a:lnTo>
                      <a:lnTo>
                        <a:pt x="168" y="97"/>
                      </a:lnTo>
                      <a:lnTo>
                        <a:pt x="165" y="97"/>
                      </a:lnTo>
                      <a:lnTo>
                        <a:pt x="164" y="97"/>
                      </a:lnTo>
                      <a:lnTo>
                        <a:pt x="165" y="107"/>
                      </a:lnTo>
                      <a:lnTo>
                        <a:pt x="167" y="112"/>
                      </a:lnTo>
                      <a:lnTo>
                        <a:pt x="167" y="116"/>
                      </a:lnTo>
                      <a:lnTo>
                        <a:pt x="164" y="119"/>
                      </a:lnTo>
                      <a:lnTo>
                        <a:pt x="161" y="120"/>
                      </a:lnTo>
                      <a:lnTo>
                        <a:pt x="159" y="121"/>
                      </a:lnTo>
                      <a:lnTo>
                        <a:pt x="158" y="122"/>
                      </a:lnTo>
                      <a:lnTo>
                        <a:pt x="156" y="126"/>
                      </a:lnTo>
                      <a:lnTo>
                        <a:pt x="151" y="137"/>
                      </a:lnTo>
                      <a:lnTo>
                        <a:pt x="147" y="142"/>
                      </a:lnTo>
                      <a:lnTo>
                        <a:pt x="145" y="145"/>
                      </a:lnTo>
                      <a:lnTo>
                        <a:pt x="141" y="146"/>
                      </a:lnTo>
                      <a:lnTo>
                        <a:pt x="131" y="150"/>
                      </a:lnTo>
                      <a:lnTo>
                        <a:pt x="130" y="151"/>
                      </a:lnTo>
                      <a:lnTo>
                        <a:pt x="127" y="153"/>
                      </a:lnTo>
                      <a:lnTo>
                        <a:pt x="126" y="154"/>
                      </a:lnTo>
                      <a:lnTo>
                        <a:pt x="125" y="157"/>
                      </a:lnTo>
                      <a:lnTo>
                        <a:pt x="114" y="161"/>
                      </a:lnTo>
                      <a:lnTo>
                        <a:pt x="108" y="164"/>
                      </a:lnTo>
                      <a:lnTo>
                        <a:pt x="103" y="169"/>
                      </a:lnTo>
                      <a:lnTo>
                        <a:pt x="98" y="173"/>
                      </a:lnTo>
                      <a:lnTo>
                        <a:pt x="95" y="179"/>
                      </a:lnTo>
                      <a:lnTo>
                        <a:pt x="95" y="185"/>
                      </a:lnTo>
                      <a:lnTo>
                        <a:pt x="95" y="190"/>
                      </a:lnTo>
                      <a:lnTo>
                        <a:pt x="98" y="193"/>
                      </a:lnTo>
                      <a:lnTo>
                        <a:pt x="92" y="193"/>
                      </a:lnTo>
                      <a:lnTo>
                        <a:pt x="85" y="195"/>
                      </a:lnTo>
                      <a:lnTo>
                        <a:pt x="79" y="196"/>
                      </a:lnTo>
                      <a:lnTo>
                        <a:pt x="73" y="201"/>
                      </a:lnTo>
                      <a:lnTo>
                        <a:pt x="71" y="202"/>
                      </a:lnTo>
                      <a:lnTo>
                        <a:pt x="69" y="202"/>
                      </a:lnTo>
                      <a:lnTo>
                        <a:pt x="64" y="202"/>
                      </a:lnTo>
                      <a:lnTo>
                        <a:pt x="53" y="198"/>
                      </a:lnTo>
                      <a:lnTo>
                        <a:pt x="50" y="198"/>
                      </a:lnTo>
                      <a:lnTo>
                        <a:pt x="46" y="198"/>
                      </a:lnTo>
                      <a:lnTo>
                        <a:pt x="36" y="198"/>
                      </a:lnTo>
                      <a:lnTo>
                        <a:pt x="31" y="198"/>
                      </a:lnTo>
                      <a:lnTo>
                        <a:pt x="26" y="197"/>
                      </a:lnTo>
                      <a:lnTo>
                        <a:pt x="20" y="196"/>
                      </a:lnTo>
                      <a:lnTo>
                        <a:pt x="14" y="192"/>
                      </a:lnTo>
                      <a:lnTo>
                        <a:pt x="15" y="189"/>
                      </a:lnTo>
                      <a:lnTo>
                        <a:pt x="20" y="182"/>
                      </a:lnTo>
                      <a:lnTo>
                        <a:pt x="27" y="174"/>
                      </a:lnTo>
                      <a:lnTo>
                        <a:pt x="32" y="169"/>
                      </a:lnTo>
                      <a:lnTo>
                        <a:pt x="34" y="165"/>
                      </a:lnTo>
                      <a:lnTo>
                        <a:pt x="36" y="160"/>
                      </a:lnTo>
                      <a:lnTo>
                        <a:pt x="34" y="158"/>
                      </a:lnTo>
                      <a:lnTo>
                        <a:pt x="33" y="157"/>
                      </a:lnTo>
                      <a:lnTo>
                        <a:pt x="29" y="154"/>
                      </a:lnTo>
                      <a:lnTo>
                        <a:pt x="23" y="152"/>
                      </a:lnTo>
                      <a:lnTo>
                        <a:pt x="17" y="148"/>
                      </a:lnTo>
                      <a:lnTo>
                        <a:pt x="13" y="147"/>
                      </a:lnTo>
                      <a:lnTo>
                        <a:pt x="10" y="146"/>
                      </a:lnTo>
                      <a:lnTo>
                        <a:pt x="9" y="145"/>
                      </a:lnTo>
                      <a:lnTo>
                        <a:pt x="9" y="141"/>
                      </a:lnTo>
                      <a:lnTo>
                        <a:pt x="9" y="138"/>
                      </a:lnTo>
                      <a:lnTo>
                        <a:pt x="8" y="134"/>
                      </a:lnTo>
                      <a:lnTo>
                        <a:pt x="8" y="131"/>
                      </a:lnTo>
                      <a:lnTo>
                        <a:pt x="1" y="118"/>
                      </a:lnTo>
                      <a:lnTo>
                        <a:pt x="0" y="114"/>
                      </a:lnTo>
                      <a:lnTo>
                        <a:pt x="0" y="110"/>
                      </a:lnTo>
                      <a:lnTo>
                        <a:pt x="1" y="107"/>
                      </a:lnTo>
                      <a:lnTo>
                        <a:pt x="4" y="105"/>
                      </a:lnTo>
                      <a:lnTo>
                        <a:pt x="4" y="102"/>
                      </a:lnTo>
                      <a:lnTo>
                        <a:pt x="3" y="100"/>
                      </a:lnTo>
                      <a:lnTo>
                        <a:pt x="1" y="97"/>
                      </a:lnTo>
                      <a:lnTo>
                        <a:pt x="0" y="95"/>
                      </a:lnTo>
                      <a:lnTo>
                        <a:pt x="1" y="93"/>
                      </a:lnTo>
                      <a:lnTo>
                        <a:pt x="1" y="91"/>
                      </a:lnTo>
                      <a:lnTo>
                        <a:pt x="5" y="88"/>
                      </a:lnTo>
                      <a:lnTo>
                        <a:pt x="9" y="84"/>
                      </a:lnTo>
                      <a:lnTo>
                        <a:pt x="13" y="78"/>
                      </a:lnTo>
                      <a:lnTo>
                        <a:pt x="15" y="70"/>
                      </a:lnTo>
                      <a:lnTo>
                        <a:pt x="17" y="6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1" name="Freeform 638">
                  <a:extLst>
                    <a:ext uri="{FF2B5EF4-FFF2-40B4-BE49-F238E27FC236}">
                      <a16:creationId xmlns:a16="http://schemas.microsoft.com/office/drawing/2014/main" id="{4ECF18C2-2DA7-5B4D-AB30-75336C5594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9367" y="3834031"/>
                  <a:ext cx="19239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2147483647 h 10"/>
                    <a:gd name="T6" fmla="*/ 2147483647 w 14"/>
                    <a:gd name="T7" fmla="*/ 2147483647 h 10"/>
                    <a:gd name="T8" fmla="*/ 2147483647 w 14"/>
                    <a:gd name="T9" fmla="*/ 2147483647 h 10"/>
                    <a:gd name="T10" fmla="*/ 2147483647 w 14"/>
                    <a:gd name="T11" fmla="*/ 0 h 10"/>
                    <a:gd name="T12" fmla="*/ 2147483647 w 14"/>
                    <a:gd name="T13" fmla="*/ 2147483647 h 10"/>
                    <a:gd name="T14" fmla="*/ 2147483647 w 14"/>
                    <a:gd name="T15" fmla="*/ 2147483647 h 10"/>
                    <a:gd name="T16" fmla="*/ 2147483647 w 14"/>
                    <a:gd name="T17" fmla="*/ 2147483647 h 10"/>
                    <a:gd name="T18" fmla="*/ 2147483647 w 14"/>
                    <a:gd name="T19" fmla="*/ 2147483647 h 10"/>
                    <a:gd name="T20" fmla="*/ 0 w 14"/>
                    <a:gd name="T21" fmla="*/ 2147483647 h 10"/>
                    <a:gd name="T22" fmla="*/ 0 w 14"/>
                    <a:gd name="T23" fmla="*/ 2147483647 h 10"/>
                    <a:gd name="T24" fmla="*/ 2147483647 w 14"/>
                    <a:gd name="T25" fmla="*/ 2147483647 h 10"/>
                    <a:gd name="T26" fmla="*/ 2147483647 w 14"/>
                    <a:gd name="T27" fmla="*/ 2147483647 h 10"/>
                    <a:gd name="T28" fmla="*/ 2147483647 w 14"/>
                    <a:gd name="T29" fmla="*/ 2147483647 h 1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4"/>
                    <a:gd name="T46" fmla="*/ 0 h 10"/>
                    <a:gd name="T47" fmla="*/ 14 w 14"/>
                    <a:gd name="T48" fmla="*/ 10 h 1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4" h="10">
                      <a:moveTo>
                        <a:pt x="8" y="7"/>
                      </a:moveTo>
                      <a:lnTo>
                        <a:pt x="11" y="4"/>
                      </a:lnTo>
                      <a:lnTo>
                        <a:pt x="13" y="3"/>
                      </a:lnTo>
                      <a:lnTo>
                        <a:pt x="14" y="2"/>
                      </a:lnTo>
                      <a:lnTo>
                        <a:pt x="14" y="1"/>
                      </a:lnTo>
                      <a:lnTo>
                        <a:pt x="14" y="0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3" y="10"/>
                      </a:lnTo>
                      <a:lnTo>
                        <a:pt x="4" y="9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2" name="Freeform 639">
                  <a:extLst>
                    <a:ext uri="{FF2B5EF4-FFF2-40B4-BE49-F238E27FC236}">
                      <a16:creationId xmlns:a16="http://schemas.microsoft.com/office/drawing/2014/main" id="{E210B123-8A24-EF4B-A959-4D04B1EC2C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8550" y="3431505"/>
                  <a:ext cx="449881" cy="449881"/>
                </a:xfrm>
                <a:custGeom>
                  <a:avLst/>
                  <a:gdLst>
                    <a:gd name="T0" fmla="*/ 0 w 329"/>
                    <a:gd name="T1" fmla="*/ 2147483647 h 304"/>
                    <a:gd name="T2" fmla="*/ 2147483647 w 329"/>
                    <a:gd name="T3" fmla="*/ 0 h 304"/>
                    <a:gd name="T4" fmla="*/ 2147483647 w 329"/>
                    <a:gd name="T5" fmla="*/ 2147483647 h 304"/>
                    <a:gd name="T6" fmla="*/ 2147483647 w 329"/>
                    <a:gd name="T7" fmla="*/ 2147483647 h 304"/>
                    <a:gd name="T8" fmla="*/ 2147483647 w 329"/>
                    <a:gd name="T9" fmla="*/ 2147483647 h 304"/>
                    <a:gd name="T10" fmla="*/ 2147483647 w 329"/>
                    <a:gd name="T11" fmla="*/ 2147483647 h 304"/>
                    <a:gd name="T12" fmla="*/ 2147483647 w 329"/>
                    <a:gd name="T13" fmla="*/ 2147483647 h 304"/>
                    <a:gd name="T14" fmla="*/ 2147483647 w 329"/>
                    <a:gd name="T15" fmla="*/ 2147483647 h 304"/>
                    <a:gd name="T16" fmla="*/ 2147483647 w 329"/>
                    <a:gd name="T17" fmla="*/ 2147483647 h 304"/>
                    <a:gd name="T18" fmla="*/ 2147483647 w 329"/>
                    <a:gd name="T19" fmla="*/ 2147483647 h 304"/>
                    <a:gd name="T20" fmla="*/ 2147483647 w 329"/>
                    <a:gd name="T21" fmla="*/ 2147483647 h 304"/>
                    <a:gd name="T22" fmla="*/ 2147483647 w 329"/>
                    <a:gd name="T23" fmla="*/ 2147483647 h 304"/>
                    <a:gd name="T24" fmla="*/ 2147483647 w 329"/>
                    <a:gd name="T25" fmla="*/ 2147483647 h 304"/>
                    <a:gd name="T26" fmla="*/ 2147483647 w 329"/>
                    <a:gd name="T27" fmla="*/ 2147483647 h 304"/>
                    <a:gd name="T28" fmla="*/ 2147483647 w 329"/>
                    <a:gd name="T29" fmla="*/ 2147483647 h 304"/>
                    <a:gd name="T30" fmla="*/ 2147483647 w 329"/>
                    <a:gd name="T31" fmla="*/ 2147483647 h 304"/>
                    <a:gd name="T32" fmla="*/ 2147483647 w 329"/>
                    <a:gd name="T33" fmla="*/ 2147483647 h 304"/>
                    <a:gd name="T34" fmla="*/ 2147483647 w 329"/>
                    <a:gd name="T35" fmla="*/ 2147483647 h 304"/>
                    <a:gd name="T36" fmla="*/ 2147483647 w 329"/>
                    <a:gd name="T37" fmla="*/ 2147483647 h 304"/>
                    <a:gd name="T38" fmla="*/ 2147483647 w 329"/>
                    <a:gd name="T39" fmla="*/ 2147483647 h 304"/>
                    <a:gd name="T40" fmla="*/ 2147483647 w 329"/>
                    <a:gd name="T41" fmla="*/ 2147483647 h 304"/>
                    <a:gd name="T42" fmla="*/ 2147483647 w 329"/>
                    <a:gd name="T43" fmla="*/ 2147483647 h 304"/>
                    <a:gd name="T44" fmla="*/ 2147483647 w 329"/>
                    <a:gd name="T45" fmla="*/ 2147483647 h 304"/>
                    <a:gd name="T46" fmla="*/ 2147483647 w 329"/>
                    <a:gd name="T47" fmla="*/ 2147483647 h 304"/>
                    <a:gd name="T48" fmla="*/ 2147483647 w 329"/>
                    <a:gd name="T49" fmla="*/ 2147483647 h 304"/>
                    <a:gd name="T50" fmla="*/ 2147483647 w 329"/>
                    <a:gd name="T51" fmla="*/ 2147483647 h 304"/>
                    <a:gd name="T52" fmla="*/ 2147483647 w 329"/>
                    <a:gd name="T53" fmla="*/ 2147483647 h 304"/>
                    <a:gd name="T54" fmla="*/ 2147483647 w 329"/>
                    <a:gd name="T55" fmla="*/ 2147483647 h 304"/>
                    <a:gd name="T56" fmla="*/ 2147483647 w 329"/>
                    <a:gd name="T57" fmla="*/ 2147483647 h 304"/>
                    <a:gd name="T58" fmla="*/ 2147483647 w 329"/>
                    <a:gd name="T59" fmla="*/ 2147483647 h 304"/>
                    <a:gd name="T60" fmla="*/ 2147483647 w 329"/>
                    <a:gd name="T61" fmla="*/ 2147483647 h 304"/>
                    <a:gd name="T62" fmla="*/ 2147483647 w 329"/>
                    <a:gd name="T63" fmla="*/ 2147483647 h 304"/>
                    <a:gd name="T64" fmla="*/ 2147483647 w 329"/>
                    <a:gd name="T65" fmla="*/ 2147483647 h 304"/>
                    <a:gd name="T66" fmla="*/ 2147483647 w 329"/>
                    <a:gd name="T67" fmla="*/ 2147483647 h 304"/>
                    <a:gd name="T68" fmla="*/ 2147483647 w 329"/>
                    <a:gd name="T69" fmla="*/ 2147483647 h 304"/>
                    <a:gd name="T70" fmla="*/ 2147483647 w 329"/>
                    <a:gd name="T71" fmla="*/ 2147483647 h 304"/>
                    <a:gd name="T72" fmla="*/ 2147483647 w 329"/>
                    <a:gd name="T73" fmla="*/ 2147483647 h 304"/>
                    <a:gd name="T74" fmla="*/ 2147483647 w 329"/>
                    <a:gd name="T75" fmla="*/ 2147483647 h 304"/>
                    <a:gd name="T76" fmla="*/ 2147483647 w 329"/>
                    <a:gd name="T77" fmla="*/ 2147483647 h 304"/>
                    <a:gd name="T78" fmla="*/ 2147483647 w 329"/>
                    <a:gd name="T79" fmla="*/ 2147483647 h 304"/>
                    <a:gd name="T80" fmla="*/ 2147483647 w 329"/>
                    <a:gd name="T81" fmla="*/ 2147483647 h 304"/>
                    <a:gd name="T82" fmla="*/ 2147483647 w 329"/>
                    <a:gd name="T83" fmla="*/ 2147483647 h 304"/>
                    <a:gd name="T84" fmla="*/ 2147483647 w 329"/>
                    <a:gd name="T85" fmla="*/ 2147483647 h 304"/>
                    <a:gd name="T86" fmla="*/ 2147483647 w 329"/>
                    <a:gd name="T87" fmla="*/ 2147483647 h 304"/>
                    <a:gd name="T88" fmla="*/ 2147483647 w 329"/>
                    <a:gd name="T89" fmla="*/ 2147483647 h 304"/>
                    <a:gd name="T90" fmla="*/ 2147483647 w 329"/>
                    <a:gd name="T91" fmla="*/ 2147483647 h 304"/>
                    <a:gd name="T92" fmla="*/ 2147483647 w 329"/>
                    <a:gd name="T93" fmla="*/ 2147483647 h 304"/>
                    <a:gd name="T94" fmla="*/ 2147483647 w 329"/>
                    <a:gd name="T95" fmla="*/ 2147483647 h 304"/>
                    <a:gd name="T96" fmla="*/ 2147483647 w 329"/>
                    <a:gd name="T97" fmla="*/ 2147483647 h 304"/>
                    <a:gd name="T98" fmla="*/ 2147483647 w 329"/>
                    <a:gd name="T99" fmla="*/ 2147483647 h 304"/>
                    <a:gd name="T100" fmla="*/ 2147483647 w 329"/>
                    <a:gd name="T101" fmla="*/ 2147483647 h 304"/>
                    <a:gd name="T102" fmla="*/ 2147483647 w 329"/>
                    <a:gd name="T103" fmla="*/ 2147483647 h 304"/>
                    <a:gd name="T104" fmla="*/ 2147483647 w 329"/>
                    <a:gd name="T105" fmla="*/ 2147483647 h 304"/>
                    <a:gd name="T106" fmla="*/ 2147483647 w 329"/>
                    <a:gd name="T107" fmla="*/ 2147483647 h 304"/>
                    <a:gd name="T108" fmla="*/ 2147483647 w 329"/>
                    <a:gd name="T109" fmla="*/ 2147483647 h 304"/>
                    <a:gd name="T110" fmla="*/ 2147483647 w 329"/>
                    <a:gd name="T111" fmla="*/ 2147483647 h 304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329"/>
                    <a:gd name="T169" fmla="*/ 0 h 304"/>
                    <a:gd name="T170" fmla="*/ 329 w 329"/>
                    <a:gd name="T171" fmla="*/ 304 h 304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329" h="304">
                      <a:moveTo>
                        <a:pt x="7" y="44"/>
                      </a:moveTo>
                      <a:lnTo>
                        <a:pt x="3" y="36"/>
                      </a:lnTo>
                      <a:lnTo>
                        <a:pt x="2" y="26"/>
                      </a:lnTo>
                      <a:lnTo>
                        <a:pt x="0" y="17"/>
                      </a:lnTo>
                      <a:lnTo>
                        <a:pt x="0" y="7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4" y="3"/>
                      </a:lnTo>
                      <a:lnTo>
                        <a:pt x="18" y="8"/>
                      </a:lnTo>
                      <a:lnTo>
                        <a:pt x="23" y="13"/>
                      </a:lnTo>
                      <a:lnTo>
                        <a:pt x="27" y="16"/>
                      </a:lnTo>
                      <a:lnTo>
                        <a:pt x="29" y="17"/>
                      </a:lnTo>
                      <a:lnTo>
                        <a:pt x="33" y="17"/>
                      </a:lnTo>
                      <a:lnTo>
                        <a:pt x="37" y="17"/>
                      </a:lnTo>
                      <a:lnTo>
                        <a:pt x="43" y="14"/>
                      </a:lnTo>
                      <a:lnTo>
                        <a:pt x="49" y="11"/>
                      </a:lnTo>
                      <a:lnTo>
                        <a:pt x="55" y="7"/>
                      </a:lnTo>
                      <a:lnTo>
                        <a:pt x="61" y="4"/>
                      </a:lnTo>
                      <a:lnTo>
                        <a:pt x="62" y="4"/>
                      </a:lnTo>
                      <a:lnTo>
                        <a:pt x="64" y="4"/>
                      </a:lnTo>
                      <a:lnTo>
                        <a:pt x="66" y="7"/>
                      </a:lnTo>
                      <a:lnTo>
                        <a:pt x="68" y="11"/>
                      </a:lnTo>
                      <a:lnTo>
                        <a:pt x="66" y="13"/>
                      </a:lnTo>
                      <a:lnTo>
                        <a:pt x="66" y="18"/>
                      </a:lnTo>
                      <a:lnTo>
                        <a:pt x="68" y="23"/>
                      </a:lnTo>
                      <a:lnTo>
                        <a:pt x="69" y="25"/>
                      </a:lnTo>
                      <a:lnTo>
                        <a:pt x="71" y="29"/>
                      </a:lnTo>
                      <a:lnTo>
                        <a:pt x="74" y="30"/>
                      </a:lnTo>
                      <a:lnTo>
                        <a:pt x="78" y="32"/>
                      </a:lnTo>
                      <a:lnTo>
                        <a:pt x="85" y="33"/>
                      </a:lnTo>
                      <a:lnTo>
                        <a:pt x="87" y="42"/>
                      </a:lnTo>
                      <a:lnTo>
                        <a:pt x="88" y="44"/>
                      </a:lnTo>
                      <a:lnTo>
                        <a:pt x="89" y="45"/>
                      </a:lnTo>
                      <a:lnTo>
                        <a:pt x="94" y="46"/>
                      </a:lnTo>
                      <a:lnTo>
                        <a:pt x="104" y="48"/>
                      </a:lnTo>
                      <a:lnTo>
                        <a:pt x="108" y="49"/>
                      </a:lnTo>
                      <a:lnTo>
                        <a:pt x="111" y="51"/>
                      </a:lnTo>
                      <a:lnTo>
                        <a:pt x="113" y="53"/>
                      </a:lnTo>
                      <a:lnTo>
                        <a:pt x="117" y="56"/>
                      </a:lnTo>
                      <a:lnTo>
                        <a:pt x="125" y="61"/>
                      </a:lnTo>
                      <a:lnTo>
                        <a:pt x="127" y="64"/>
                      </a:lnTo>
                      <a:lnTo>
                        <a:pt x="130" y="65"/>
                      </a:lnTo>
                      <a:lnTo>
                        <a:pt x="134" y="65"/>
                      </a:lnTo>
                      <a:lnTo>
                        <a:pt x="137" y="65"/>
                      </a:lnTo>
                      <a:lnTo>
                        <a:pt x="140" y="65"/>
                      </a:lnTo>
                      <a:lnTo>
                        <a:pt x="144" y="63"/>
                      </a:lnTo>
                      <a:lnTo>
                        <a:pt x="149" y="61"/>
                      </a:lnTo>
                      <a:lnTo>
                        <a:pt x="153" y="61"/>
                      </a:lnTo>
                      <a:lnTo>
                        <a:pt x="156" y="61"/>
                      </a:lnTo>
                      <a:lnTo>
                        <a:pt x="162" y="61"/>
                      </a:lnTo>
                      <a:lnTo>
                        <a:pt x="165" y="61"/>
                      </a:lnTo>
                      <a:lnTo>
                        <a:pt x="168" y="59"/>
                      </a:lnTo>
                      <a:lnTo>
                        <a:pt x="170" y="58"/>
                      </a:lnTo>
                      <a:lnTo>
                        <a:pt x="173" y="53"/>
                      </a:lnTo>
                      <a:lnTo>
                        <a:pt x="174" y="49"/>
                      </a:lnTo>
                      <a:lnTo>
                        <a:pt x="174" y="43"/>
                      </a:lnTo>
                      <a:lnTo>
                        <a:pt x="183" y="42"/>
                      </a:lnTo>
                      <a:lnTo>
                        <a:pt x="191" y="38"/>
                      </a:lnTo>
                      <a:lnTo>
                        <a:pt x="205" y="30"/>
                      </a:lnTo>
                      <a:lnTo>
                        <a:pt x="210" y="27"/>
                      </a:lnTo>
                      <a:lnTo>
                        <a:pt x="215" y="26"/>
                      </a:lnTo>
                      <a:lnTo>
                        <a:pt x="221" y="21"/>
                      </a:lnTo>
                      <a:lnTo>
                        <a:pt x="224" y="26"/>
                      </a:lnTo>
                      <a:lnTo>
                        <a:pt x="228" y="29"/>
                      </a:lnTo>
                      <a:lnTo>
                        <a:pt x="231" y="29"/>
                      </a:lnTo>
                      <a:lnTo>
                        <a:pt x="234" y="30"/>
                      </a:lnTo>
                      <a:lnTo>
                        <a:pt x="239" y="32"/>
                      </a:lnTo>
                      <a:lnTo>
                        <a:pt x="245" y="35"/>
                      </a:lnTo>
                      <a:lnTo>
                        <a:pt x="257" y="36"/>
                      </a:lnTo>
                      <a:lnTo>
                        <a:pt x="263" y="38"/>
                      </a:lnTo>
                      <a:lnTo>
                        <a:pt x="266" y="40"/>
                      </a:lnTo>
                      <a:lnTo>
                        <a:pt x="268" y="43"/>
                      </a:lnTo>
                      <a:lnTo>
                        <a:pt x="273" y="48"/>
                      </a:lnTo>
                      <a:lnTo>
                        <a:pt x="280" y="51"/>
                      </a:lnTo>
                      <a:lnTo>
                        <a:pt x="292" y="55"/>
                      </a:lnTo>
                      <a:lnTo>
                        <a:pt x="296" y="57"/>
                      </a:lnTo>
                      <a:lnTo>
                        <a:pt x="299" y="61"/>
                      </a:lnTo>
                      <a:lnTo>
                        <a:pt x="300" y="64"/>
                      </a:lnTo>
                      <a:lnTo>
                        <a:pt x="300" y="69"/>
                      </a:lnTo>
                      <a:lnTo>
                        <a:pt x="300" y="77"/>
                      </a:lnTo>
                      <a:lnTo>
                        <a:pt x="299" y="84"/>
                      </a:lnTo>
                      <a:lnTo>
                        <a:pt x="296" y="93"/>
                      </a:lnTo>
                      <a:lnTo>
                        <a:pt x="292" y="99"/>
                      </a:lnTo>
                      <a:lnTo>
                        <a:pt x="289" y="102"/>
                      </a:lnTo>
                      <a:lnTo>
                        <a:pt x="285" y="106"/>
                      </a:lnTo>
                      <a:lnTo>
                        <a:pt x="285" y="107"/>
                      </a:lnTo>
                      <a:lnTo>
                        <a:pt x="283" y="109"/>
                      </a:lnTo>
                      <a:lnTo>
                        <a:pt x="285" y="112"/>
                      </a:lnTo>
                      <a:lnTo>
                        <a:pt x="286" y="114"/>
                      </a:lnTo>
                      <a:lnTo>
                        <a:pt x="287" y="116"/>
                      </a:lnTo>
                      <a:lnTo>
                        <a:pt x="287" y="119"/>
                      </a:lnTo>
                      <a:lnTo>
                        <a:pt x="285" y="121"/>
                      </a:lnTo>
                      <a:lnTo>
                        <a:pt x="283" y="125"/>
                      </a:lnTo>
                      <a:lnTo>
                        <a:pt x="283" y="128"/>
                      </a:lnTo>
                      <a:lnTo>
                        <a:pt x="285" y="132"/>
                      </a:lnTo>
                      <a:lnTo>
                        <a:pt x="291" y="145"/>
                      </a:lnTo>
                      <a:lnTo>
                        <a:pt x="291" y="148"/>
                      </a:lnTo>
                      <a:lnTo>
                        <a:pt x="292" y="152"/>
                      </a:lnTo>
                      <a:lnTo>
                        <a:pt x="292" y="155"/>
                      </a:lnTo>
                      <a:lnTo>
                        <a:pt x="292" y="159"/>
                      </a:lnTo>
                      <a:lnTo>
                        <a:pt x="294" y="160"/>
                      </a:lnTo>
                      <a:lnTo>
                        <a:pt x="296" y="161"/>
                      </a:lnTo>
                      <a:lnTo>
                        <a:pt x="300" y="163"/>
                      </a:lnTo>
                      <a:lnTo>
                        <a:pt x="306" y="166"/>
                      </a:lnTo>
                      <a:lnTo>
                        <a:pt x="313" y="168"/>
                      </a:lnTo>
                      <a:lnTo>
                        <a:pt x="316" y="171"/>
                      </a:lnTo>
                      <a:lnTo>
                        <a:pt x="318" y="172"/>
                      </a:lnTo>
                      <a:lnTo>
                        <a:pt x="319" y="174"/>
                      </a:lnTo>
                      <a:lnTo>
                        <a:pt x="318" y="179"/>
                      </a:lnTo>
                      <a:lnTo>
                        <a:pt x="315" y="183"/>
                      </a:lnTo>
                      <a:lnTo>
                        <a:pt x="310" y="189"/>
                      </a:lnTo>
                      <a:lnTo>
                        <a:pt x="304" y="196"/>
                      </a:lnTo>
                      <a:lnTo>
                        <a:pt x="299" y="203"/>
                      </a:lnTo>
                      <a:lnTo>
                        <a:pt x="297" y="206"/>
                      </a:lnTo>
                      <a:lnTo>
                        <a:pt x="297" y="210"/>
                      </a:lnTo>
                      <a:lnTo>
                        <a:pt x="299" y="215"/>
                      </a:lnTo>
                      <a:lnTo>
                        <a:pt x="304" y="222"/>
                      </a:lnTo>
                      <a:lnTo>
                        <a:pt x="316" y="236"/>
                      </a:lnTo>
                      <a:lnTo>
                        <a:pt x="319" y="240"/>
                      </a:lnTo>
                      <a:lnTo>
                        <a:pt x="320" y="243"/>
                      </a:lnTo>
                      <a:lnTo>
                        <a:pt x="322" y="250"/>
                      </a:lnTo>
                      <a:lnTo>
                        <a:pt x="323" y="254"/>
                      </a:lnTo>
                      <a:lnTo>
                        <a:pt x="325" y="257"/>
                      </a:lnTo>
                      <a:lnTo>
                        <a:pt x="327" y="260"/>
                      </a:lnTo>
                      <a:lnTo>
                        <a:pt x="329" y="263"/>
                      </a:lnTo>
                      <a:lnTo>
                        <a:pt x="329" y="266"/>
                      </a:lnTo>
                      <a:lnTo>
                        <a:pt x="328" y="267"/>
                      </a:lnTo>
                      <a:lnTo>
                        <a:pt x="324" y="269"/>
                      </a:lnTo>
                      <a:lnTo>
                        <a:pt x="319" y="270"/>
                      </a:lnTo>
                      <a:lnTo>
                        <a:pt x="315" y="272"/>
                      </a:lnTo>
                      <a:lnTo>
                        <a:pt x="310" y="278"/>
                      </a:lnTo>
                      <a:lnTo>
                        <a:pt x="306" y="286"/>
                      </a:lnTo>
                      <a:lnTo>
                        <a:pt x="300" y="301"/>
                      </a:lnTo>
                      <a:lnTo>
                        <a:pt x="297" y="302"/>
                      </a:lnTo>
                      <a:lnTo>
                        <a:pt x="296" y="302"/>
                      </a:lnTo>
                      <a:lnTo>
                        <a:pt x="295" y="302"/>
                      </a:lnTo>
                      <a:lnTo>
                        <a:pt x="289" y="301"/>
                      </a:lnTo>
                      <a:lnTo>
                        <a:pt x="283" y="300"/>
                      </a:lnTo>
                      <a:lnTo>
                        <a:pt x="277" y="301"/>
                      </a:lnTo>
                      <a:lnTo>
                        <a:pt x="271" y="302"/>
                      </a:lnTo>
                      <a:lnTo>
                        <a:pt x="262" y="304"/>
                      </a:lnTo>
                      <a:lnTo>
                        <a:pt x="253" y="304"/>
                      </a:lnTo>
                      <a:lnTo>
                        <a:pt x="245" y="300"/>
                      </a:lnTo>
                      <a:lnTo>
                        <a:pt x="239" y="295"/>
                      </a:lnTo>
                      <a:lnTo>
                        <a:pt x="233" y="289"/>
                      </a:lnTo>
                      <a:lnTo>
                        <a:pt x="229" y="283"/>
                      </a:lnTo>
                      <a:lnTo>
                        <a:pt x="225" y="275"/>
                      </a:lnTo>
                      <a:lnTo>
                        <a:pt x="224" y="267"/>
                      </a:lnTo>
                      <a:lnTo>
                        <a:pt x="221" y="265"/>
                      </a:lnTo>
                      <a:lnTo>
                        <a:pt x="219" y="263"/>
                      </a:lnTo>
                      <a:lnTo>
                        <a:pt x="215" y="263"/>
                      </a:lnTo>
                      <a:lnTo>
                        <a:pt x="212" y="265"/>
                      </a:lnTo>
                      <a:lnTo>
                        <a:pt x="207" y="270"/>
                      </a:lnTo>
                      <a:lnTo>
                        <a:pt x="201" y="274"/>
                      </a:lnTo>
                      <a:lnTo>
                        <a:pt x="193" y="278"/>
                      </a:lnTo>
                      <a:lnTo>
                        <a:pt x="186" y="280"/>
                      </a:lnTo>
                      <a:lnTo>
                        <a:pt x="177" y="280"/>
                      </a:lnTo>
                      <a:lnTo>
                        <a:pt x="169" y="278"/>
                      </a:lnTo>
                      <a:lnTo>
                        <a:pt x="160" y="273"/>
                      </a:lnTo>
                      <a:lnTo>
                        <a:pt x="153" y="265"/>
                      </a:lnTo>
                      <a:lnTo>
                        <a:pt x="150" y="263"/>
                      </a:lnTo>
                      <a:lnTo>
                        <a:pt x="149" y="263"/>
                      </a:lnTo>
                      <a:lnTo>
                        <a:pt x="148" y="262"/>
                      </a:lnTo>
                      <a:lnTo>
                        <a:pt x="145" y="257"/>
                      </a:lnTo>
                      <a:lnTo>
                        <a:pt x="140" y="253"/>
                      </a:lnTo>
                      <a:lnTo>
                        <a:pt x="135" y="250"/>
                      </a:lnTo>
                      <a:lnTo>
                        <a:pt x="132" y="250"/>
                      </a:lnTo>
                      <a:lnTo>
                        <a:pt x="131" y="248"/>
                      </a:lnTo>
                      <a:lnTo>
                        <a:pt x="130" y="247"/>
                      </a:lnTo>
                      <a:lnTo>
                        <a:pt x="130" y="244"/>
                      </a:lnTo>
                      <a:lnTo>
                        <a:pt x="129" y="240"/>
                      </a:lnTo>
                      <a:lnTo>
                        <a:pt x="126" y="236"/>
                      </a:lnTo>
                      <a:lnTo>
                        <a:pt x="122" y="233"/>
                      </a:lnTo>
                      <a:lnTo>
                        <a:pt x="122" y="228"/>
                      </a:lnTo>
                      <a:lnTo>
                        <a:pt x="120" y="223"/>
                      </a:lnTo>
                      <a:lnTo>
                        <a:pt x="118" y="221"/>
                      </a:lnTo>
                      <a:lnTo>
                        <a:pt x="116" y="217"/>
                      </a:lnTo>
                      <a:lnTo>
                        <a:pt x="112" y="211"/>
                      </a:lnTo>
                      <a:lnTo>
                        <a:pt x="108" y="204"/>
                      </a:lnTo>
                      <a:lnTo>
                        <a:pt x="104" y="203"/>
                      </a:lnTo>
                      <a:lnTo>
                        <a:pt x="99" y="200"/>
                      </a:lnTo>
                      <a:lnTo>
                        <a:pt x="98" y="197"/>
                      </a:lnTo>
                      <a:lnTo>
                        <a:pt x="97" y="196"/>
                      </a:lnTo>
                      <a:lnTo>
                        <a:pt x="94" y="193"/>
                      </a:lnTo>
                      <a:lnTo>
                        <a:pt x="92" y="193"/>
                      </a:lnTo>
                      <a:lnTo>
                        <a:pt x="90" y="195"/>
                      </a:lnTo>
                      <a:lnTo>
                        <a:pt x="87" y="199"/>
                      </a:lnTo>
                      <a:lnTo>
                        <a:pt x="75" y="190"/>
                      </a:lnTo>
                      <a:lnTo>
                        <a:pt x="71" y="186"/>
                      </a:lnTo>
                      <a:lnTo>
                        <a:pt x="69" y="183"/>
                      </a:lnTo>
                      <a:lnTo>
                        <a:pt x="66" y="179"/>
                      </a:lnTo>
                      <a:lnTo>
                        <a:pt x="65" y="174"/>
                      </a:lnTo>
                      <a:lnTo>
                        <a:pt x="65" y="159"/>
                      </a:lnTo>
                      <a:lnTo>
                        <a:pt x="64" y="154"/>
                      </a:lnTo>
                      <a:lnTo>
                        <a:pt x="61" y="151"/>
                      </a:lnTo>
                      <a:lnTo>
                        <a:pt x="52" y="145"/>
                      </a:lnTo>
                      <a:lnTo>
                        <a:pt x="45" y="140"/>
                      </a:lnTo>
                      <a:lnTo>
                        <a:pt x="40" y="135"/>
                      </a:lnTo>
                      <a:lnTo>
                        <a:pt x="35" y="131"/>
                      </a:lnTo>
                      <a:lnTo>
                        <a:pt x="33" y="127"/>
                      </a:lnTo>
                      <a:lnTo>
                        <a:pt x="33" y="122"/>
                      </a:lnTo>
                      <a:lnTo>
                        <a:pt x="32" y="121"/>
                      </a:lnTo>
                      <a:lnTo>
                        <a:pt x="31" y="120"/>
                      </a:lnTo>
                      <a:lnTo>
                        <a:pt x="27" y="118"/>
                      </a:lnTo>
                      <a:lnTo>
                        <a:pt x="23" y="114"/>
                      </a:lnTo>
                      <a:lnTo>
                        <a:pt x="22" y="110"/>
                      </a:lnTo>
                      <a:lnTo>
                        <a:pt x="22" y="108"/>
                      </a:lnTo>
                      <a:lnTo>
                        <a:pt x="23" y="107"/>
                      </a:lnTo>
                      <a:lnTo>
                        <a:pt x="28" y="100"/>
                      </a:lnTo>
                      <a:lnTo>
                        <a:pt x="33" y="94"/>
                      </a:lnTo>
                      <a:lnTo>
                        <a:pt x="36" y="90"/>
                      </a:lnTo>
                      <a:lnTo>
                        <a:pt x="37" y="87"/>
                      </a:lnTo>
                      <a:lnTo>
                        <a:pt x="37" y="83"/>
                      </a:lnTo>
                      <a:lnTo>
                        <a:pt x="36" y="80"/>
                      </a:lnTo>
                      <a:lnTo>
                        <a:pt x="32" y="76"/>
                      </a:lnTo>
                      <a:lnTo>
                        <a:pt x="28" y="74"/>
                      </a:lnTo>
                      <a:lnTo>
                        <a:pt x="23" y="71"/>
                      </a:lnTo>
                      <a:lnTo>
                        <a:pt x="22" y="69"/>
                      </a:lnTo>
                      <a:lnTo>
                        <a:pt x="21" y="67"/>
                      </a:lnTo>
                      <a:lnTo>
                        <a:pt x="19" y="59"/>
                      </a:lnTo>
                      <a:lnTo>
                        <a:pt x="19" y="57"/>
                      </a:lnTo>
                      <a:lnTo>
                        <a:pt x="17" y="55"/>
                      </a:lnTo>
                      <a:lnTo>
                        <a:pt x="12" y="50"/>
                      </a:lnTo>
                      <a:lnTo>
                        <a:pt x="7" y="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3" name="Freeform 640">
                  <a:extLst>
                    <a:ext uri="{FF2B5EF4-FFF2-40B4-BE49-F238E27FC236}">
                      <a16:creationId xmlns:a16="http://schemas.microsoft.com/office/drawing/2014/main" id="{6DD2FE5B-F05B-104C-A81A-EEE92E1A7F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7890" y="3831070"/>
                  <a:ext cx="19238" cy="16278"/>
                </a:xfrm>
                <a:custGeom>
                  <a:avLst/>
                  <a:gdLst>
                    <a:gd name="T0" fmla="*/ 2147483647 w 14"/>
                    <a:gd name="T1" fmla="*/ 2147483647 h 11"/>
                    <a:gd name="T2" fmla="*/ 2147483647 w 14"/>
                    <a:gd name="T3" fmla="*/ 2147483647 h 11"/>
                    <a:gd name="T4" fmla="*/ 2147483647 w 14"/>
                    <a:gd name="T5" fmla="*/ 2147483647 h 11"/>
                    <a:gd name="T6" fmla="*/ 2147483647 w 14"/>
                    <a:gd name="T7" fmla="*/ 2147483647 h 11"/>
                    <a:gd name="T8" fmla="*/ 2147483647 w 14"/>
                    <a:gd name="T9" fmla="*/ 2147483647 h 11"/>
                    <a:gd name="T10" fmla="*/ 2147483647 w 14"/>
                    <a:gd name="T11" fmla="*/ 2147483647 h 11"/>
                    <a:gd name="T12" fmla="*/ 2147483647 w 14"/>
                    <a:gd name="T13" fmla="*/ 2147483647 h 11"/>
                    <a:gd name="T14" fmla="*/ 2147483647 w 14"/>
                    <a:gd name="T15" fmla="*/ 0 h 11"/>
                    <a:gd name="T16" fmla="*/ 2147483647 w 14"/>
                    <a:gd name="T17" fmla="*/ 0 h 11"/>
                    <a:gd name="T18" fmla="*/ 2147483647 w 14"/>
                    <a:gd name="T19" fmla="*/ 2147483647 h 11"/>
                    <a:gd name="T20" fmla="*/ 2147483647 w 14"/>
                    <a:gd name="T21" fmla="*/ 2147483647 h 11"/>
                    <a:gd name="T22" fmla="*/ 2147483647 w 14"/>
                    <a:gd name="T23" fmla="*/ 2147483647 h 11"/>
                    <a:gd name="T24" fmla="*/ 2147483647 w 14"/>
                    <a:gd name="T25" fmla="*/ 2147483647 h 11"/>
                    <a:gd name="T26" fmla="*/ 2147483647 w 14"/>
                    <a:gd name="T27" fmla="*/ 2147483647 h 11"/>
                    <a:gd name="T28" fmla="*/ 2147483647 w 14"/>
                    <a:gd name="T29" fmla="*/ 2147483647 h 11"/>
                    <a:gd name="T30" fmla="*/ 0 w 14"/>
                    <a:gd name="T31" fmla="*/ 2147483647 h 11"/>
                    <a:gd name="T32" fmla="*/ 0 w 14"/>
                    <a:gd name="T33" fmla="*/ 2147483647 h 11"/>
                    <a:gd name="T34" fmla="*/ 0 w 14"/>
                    <a:gd name="T35" fmla="*/ 2147483647 h 11"/>
                    <a:gd name="T36" fmla="*/ 2147483647 w 14"/>
                    <a:gd name="T37" fmla="*/ 2147483647 h 11"/>
                    <a:gd name="T38" fmla="*/ 2147483647 w 14"/>
                    <a:gd name="T39" fmla="*/ 2147483647 h 11"/>
                    <a:gd name="T40" fmla="*/ 2147483647 w 14"/>
                    <a:gd name="T41" fmla="*/ 2147483647 h 11"/>
                    <a:gd name="T42" fmla="*/ 2147483647 w 14"/>
                    <a:gd name="T43" fmla="*/ 2147483647 h 11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"/>
                    <a:gd name="T67" fmla="*/ 0 h 11"/>
                    <a:gd name="T68" fmla="*/ 14 w 14"/>
                    <a:gd name="T69" fmla="*/ 11 h 11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" h="11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10" y="5"/>
                      </a:lnTo>
                      <a:lnTo>
                        <a:pt x="13" y="4"/>
                      </a:lnTo>
                      <a:lnTo>
                        <a:pt x="14" y="3"/>
                      </a:lnTo>
                      <a:lnTo>
                        <a:pt x="14" y="2"/>
                      </a:lnTo>
                      <a:lnTo>
                        <a:pt x="14" y="0"/>
                      </a:lnTo>
                      <a:lnTo>
                        <a:pt x="12" y="2"/>
                      </a:lnTo>
                      <a:lnTo>
                        <a:pt x="9" y="3"/>
                      </a:lnTo>
                      <a:lnTo>
                        <a:pt x="4" y="8"/>
                      </a:lnTo>
                      <a:lnTo>
                        <a:pt x="3" y="8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3" y="11"/>
                      </a:lnTo>
                      <a:lnTo>
                        <a:pt x="4" y="1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4" name="Freeform 641">
                  <a:extLst>
                    <a:ext uri="{FF2B5EF4-FFF2-40B4-BE49-F238E27FC236}">
                      <a16:creationId xmlns:a16="http://schemas.microsoft.com/office/drawing/2014/main" id="{D02FBC9E-6B61-9C4D-871B-81FD83EFB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7071" y="3430028"/>
                  <a:ext cx="449881" cy="448402"/>
                </a:xfrm>
                <a:custGeom>
                  <a:avLst/>
                  <a:gdLst>
                    <a:gd name="T0" fmla="*/ 0 w 329"/>
                    <a:gd name="T1" fmla="*/ 2147483647 h 303"/>
                    <a:gd name="T2" fmla="*/ 2147483647 w 329"/>
                    <a:gd name="T3" fmla="*/ 0 h 303"/>
                    <a:gd name="T4" fmla="*/ 2147483647 w 329"/>
                    <a:gd name="T5" fmla="*/ 2147483647 h 303"/>
                    <a:gd name="T6" fmla="*/ 2147483647 w 329"/>
                    <a:gd name="T7" fmla="*/ 2147483647 h 303"/>
                    <a:gd name="T8" fmla="*/ 2147483647 w 329"/>
                    <a:gd name="T9" fmla="*/ 2147483647 h 303"/>
                    <a:gd name="T10" fmla="*/ 2147483647 w 329"/>
                    <a:gd name="T11" fmla="*/ 2147483647 h 303"/>
                    <a:gd name="T12" fmla="*/ 2147483647 w 329"/>
                    <a:gd name="T13" fmla="*/ 2147483647 h 303"/>
                    <a:gd name="T14" fmla="*/ 2147483647 w 329"/>
                    <a:gd name="T15" fmla="*/ 2147483647 h 303"/>
                    <a:gd name="T16" fmla="*/ 2147483647 w 329"/>
                    <a:gd name="T17" fmla="*/ 2147483647 h 303"/>
                    <a:gd name="T18" fmla="*/ 2147483647 w 329"/>
                    <a:gd name="T19" fmla="*/ 2147483647 h 303"/>
                    <a:gd name="T20" fmla="*/ 2147483647 w 329"/>
                    <a:gd name="T21" fmla="*/ 2147483647 h 303"/>
                    <a:gd name="T22" fmla="*/ 2147483647 w 329"/>
                    <a:gd name="T23" fmla="*/ 2147483647 h 303"/>
                    <a:gd name="T24" fmla="*/ 2147483647 w 329"/>
                    <a:gd name="T25" fmla="*/ 2147483647 h 303"/>
                    <a:gd name="T26" fmla="*/ 2147483647 w 329"/>
                    <a:gd name="T27" fmla="*/ 2147483647 h 303"/>
                    <a:gd name="T28" fmla="*/ 2147483647 w 329"/>
                    <a:gd name="T29" fmla="*/ 2147483647 h 303"/>
                    <a:gd name="T30" fmla="*/ 2147483647 w 329"/>
                    <a:gd name="T31" fmla="*/ 2147483647 h 303"/>
                    <a:gd name="T32" fmla="*/ 2147483647 w 329"/>
                    <a:gd name="T33" fmla="*/ 2147483647 h 303"/>
                    <a:gd name="T34" fmla="*/ 2147483647 w 329"/>
                    <a:gd name="T35" fmla="*/ 2147483647 h 303"/>
                    <a:gd name="T36" fmla="*/ 2147483647 w 329"/>
                    <a:gd name="T37" fmla="*/ 2147483647 h 303"/>
                    <a:gd name="T38" fmla="*/ 2147483647 w 329"/>
                    <a:gd name="T39" fmla="*/ 2147483647 h 303"/>
                    <a:gd name="T40" fmla="*/ 2147483647 w 329"/>
                    <a:gd name="T41" fmla="*/ 2147483647 h 303"/>
                    <a:gd name="T42" fmla="*/ 2147483647 w 329"/>
                    <a:gd name="T43" fmla="*/ 2147483647 h 303"/>
                    <a:gd name="T44" fmla="*/ 2147483647 w 329"/>
                    <a:gd name="T45" fmla="*/ 2147483647 h 303"/>
                    <a:gd name="T46" fmla="*/ 2147483647 w 329"/>
                    <a:gd name="T47" fmla="*/ 2147483647 h 303"/>
                    <a:gd name="T48" fmla="*/ 2147483647 w 329"/>
                    <a:gd name="T49" fmla="*/ 2147483647 h 303"/>
                    <a:gd name="T50" fmla="*/ 2147483647 w 329"/>
                    <a:gd name="T51" fmla="*/ 2147483647 h 303"/>
                    <a:gd name="T52" fmla="*/ 2147483647 w 329"/>
                    <a:gd name="T53" fmla="*/ 2147483647 h 303"/>
                    <a:gd name="T54" fmla="*/ 2147483647 w 329"/>
                    <a:gd name="T55" fmla="*/ 2147483647 h 303"/>
                    <a:gd name="T56" fmla="*/ 2147483647 w 329"/>
                    <a:gd name="T57" fmla="*/ 2147483647 h 303"/>
                    <a:gd name="T58" fmla="*/ 2147483647 w 329"/>
                    <a:gd name="T59" fmla="*/ 2147483647 h 303"/>
                    <a:gd name="T60" fmla="*/ 2147483647 w 329"/>
                    <a:gd name="T61" fmla="*/ 2147483647 h 303"/>
                    <a:gd name="T62" fmla="*/ 2147483647 w 329"/>
                    <a:gd name="T63" fmla="*/ 2147483647 h 303"/>
                    <a:gd name="T64" fmla="*/ 2147483647 w 329"/>
                    <a:gd name="T65" fmla="*/ 2147483647 h 303"/>
                    <a:gd name="T66" fmla="*/ 2147483647 w 329"/>
                    <a:gd name="T67" fmla="*/ 2147483647 h 303"/>
                    <a:gd name="T68" fmla="*/ 2147483647 w 329"/>
                    <a:gd name="T69" fmla="*/ 2147483647 h 303"/>
                    <a:gd name="T70" fmla="*/ 2147483647 w 329"/>
                    <a:gd name="T71" fmla="*/ 2147483647 h 303"/>
                    <a:gd name="T72" fmla="*/ 2147483647 w 329"/>
                    <a:gd name="T73" fmla="*/ 2147483647 h 303"/>
                    <a:gd name="T74" fmla="*/ 2147483647 w 329"/>
                    <a:gd name="T75" fmla="*/ 2147483647 h 303"/>
                    <a:gd name="T76" fmla="*/ 2147483647 w 329"/>
                    <a:gd name="T77" fmla="*/ 2147483647 h 303"/>
                    <a:gd name="T78" fmla="*/ 2147483647 w 329"/>
                    <a:gd name="T79" fmla="*/ 2147483647 h 303"/>
                    <a:gd name="T80" fmla="*/ 2147483647 w 329"/>
                    <a:gd name="T81" fmla="*/ 2147483647 h 303"/>
                    <a:gd name="T82" fmla="*/ 2147483647 w 329"/>
                    <a:gd name="T83" fmla="*/ 2147483647 h 303"/>
                    <a:gd name="T84" fmla="*/ 2147483647 w 329"/>
                    <a:gd name="T85" fmla="*/ 2147483647 h 303"/>
                    <a:gd name="T86" fmla="*/ 2147483647 w 329"/>
                    <a:gd name="T87" fmla="*/ 2147483647 h 303"/>
                    <a:gd name="T88" fmla="*/ 2147483647 w 329"/>
                    <a:gd name="T89" fmla="*/ 2147483647 h 303"/>
                    <a:gd name="T90" fmla="*/ 2147483647 w 329"/>
                    <a:gd name="T91" fmla="*/ 2147483647 h 303"/>
                    <a:gd name="T92" fmla="*/ 2147483647 w 329"/>
                    <a:gd name="T93" fmla="*/ 2147483647 h 303"/>
                    <a:gd name="T94" fmla="*/ 2147483647 w 329"/>
                    <a:gd name="T95" fmla="*/ 2147483647 h 303"/>
                    <a:gd name="T96" fmla="*/ 2147483647 w 329"/>
                    <a:gd name="T97" fmla="*/ 2147483647 h 303"/>
                    <a:gd name="T98" fmla="*/ 2147483647 w 329"/>
                    <a:gd name="T99" fmla="*/ 2147483647 h 303"/>
                    <a:gd name="T100" fmla="*/ 2147483647 w 329"/>
                    <a:gd name="T101" fmla="*/ 2147483647 h 303"/>
                    <a:gd name="T102" fmla="*/ 2147483647 w 329"/>
                    <a:gd name="T103" fmla="*/ 2147483647 h 303"/>
                    <a:gd name="T104" fmla="*/ 2147483647 w 329"/>
                    <a:gd name="T105" fmla="*/ 2147483647 h 303"/>
                    <a:gd name="T106" fmla="*/ 2147483647 w 329"/>
                    <a:gd name="T107" fmla="*/ 2147483647 h 303"/>
                    <a:gd name="T108" fmla="*/ 2147483647 w 329"/>
                    <a:gd name="T109" fmla="*/ 2147483647 h 303"/>
                    <a:gd name="T110" fmla="*/ 2147483647 w 329"/>
                    <a:gd name="T111" fmla="*/ 2147483647 h 303"/>
                    <a:gd name="T112" fmla="*/ 2147483647 w 329"/>
                    <a:gd name="T113" fmla="*/ 2147483647 h 303"/>
                    <a:gd name="T114" fmla="*/ 2147483647 w 329"/>
                    <a:gd name="T115" fmla="*/ 2147483647 h 303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29"/>
                    <a:gd name="T175" fmla="*/ 0 h 303"/>
                    <a:gd name="T176" fmla="*/ 329 w 329"/>
                    <a:gd name="T177" fmla="*/ 303 h 303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29" h="303">
                      <a:moveTo>
                        <a:pt x="6" y="44"/>
                      </a:moveTo>
                      <a:lnTo>
                        <a:pt x="6" y="44"/>
                      </a:lnTo>
                      <a:lnTo>
                        <a:pt x="3" y="36"/>
                      </a:lnTo>
                      <a:lnTo>
                        <a:pt x="1" y="26"/>
                      </a:lnTo>
                      <a:lnTo>
                        <a:pt x="0" y="17"/>
                      </a:lnTo>
                      <a:lnTo>
                        <a:pt x="0" y="7"/>
                      </a:lnTo>
                      <a:lnTo>
                        <a:pt x="1" y="4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1" y="0"/>
                      </a:lnTo>
                      <a:lnTo>
                        <a:pt x="14" y="2"/>
                      </a:lnTo>
                      <a:lnTo>
                        <a:pt x="18" y="8"/>
                      </a:lnTo>
                      <a:lnTo>
                        <a:pt x="23" y="13"/>
                      </a:lnTo>
                      <a:lnTo>
                        <a:pt x="27" y="15"/>
                      </a:lnTo>
                      <a:lnTo>
                        <a:pt x="29" y="17"/>
                      </a:lnTo>
                      <a:lnTo>
                        <a:pt x="33" y="17"/>
                      </a:lnTo>
                      <a:lnTo>
                        <a:pt x="37" y="17"/>
                      </a:lnTo>
                      <a:lnTo>
                        <a:pt x="43" y="14"/>
                      </a:lnTo>
                      <a:lnTo>
                        <a:pt x="48" y="11"/>
                      </a:lnTo>
                      <a:lnTo>
                        <a:pt x="55" y="7"/>
                      </a:lnTo>
                      <a:lnTo>
                        <a:pt x="61" y="4"/>
                      </a:lnTo>
                      <a:lnTo>
                        <a:pt x="62" y="4"/>
                      </a:lnTo>
                      <a:lnTo>
                        <a:pt x="63" y="4"/>
                      </a:lnTo>
                      <a:lnTo>
                        <a:pt x="66" y="7"/>
                      </a:lnTo>
                      <a:lnTo>
                        <a:pt x="67" y="11"/>
                      </a:lnTo>
                      <a:lnTo>
                        <a:pt x="66" y="13"/>
                      </a:lnTo>
                      <a:lnTo>
                        <a:pt x="66" y="18"/>
                      </a:lnTo>
                      <a:lnTo>
                        <a:pt x="67" y="22"/>
                      </a:lnTo>
                      <a:lnTo>
                        <a:pt x="69" y="25"/>
                      </a:lnTo>
                      <a:lnTo>
                        <a:pt x="71" y="28"/>
                      </a:lnTo>
                      <a:lnTo>
                        <a:pt x="74" y="30"/>
                      </a:lnTo>
                      <a:lnTo>
                        <a:pt x="77" y="32"/>
                      </a:lnTo>
                      <a:lnTo>
                        <a:pt x="85" y="33"/>
                      </a:lnTo>
                      <a:lnTo>
                        <a:pt x="86" y="41"/>
                      </a:lnTo>
                      <a:lnTo>
                        <a:pt x="88" y="44"/>
                      </a:lnTo>
                      <a:lnTo>
                        <a:pt x="89" y="45"/>
                      </a:lnTo>
                      <a:lnTo>
                        <a:pt x="94" y="46"/>
                      </a:lnTo>
                      <a:lnTo>
                        <a:pt x="104" y="47"/>
                      </a:lnTo>
                      <a:lnTo>
                        <a:pt x="108" y="49"/>
                      </a:lnTo>
                      <a:lnTo>
                        <a:pt x="110" y="51"/>
                      </a:lnTo>
                      <a:lnTo>
                        <a:pt x="113" y="53"/>
                      </a:lnTo>
                      <a:lnTo>
                        <a:pt x="117" y="56"/>
                      </a:lnTo>
                      <a:lnTo>
                        <a:pt x="124" y="60"/>
                      </a:lnTo>
                      <a:lnTo>
                        <a:pt x="127" y="64"/>
                      </a:lnTo>
                      <a:lnTo>
                        <a:pt x="130" y="65"/>
                      </a:lnTo>
                      <a:lnTo>
                        <a:pt x="133" y="65"/>
                      </a:lnTo>
                      <a:lnTo>
                        <a:pt x="137" y="65"/>
                      </a:lnTo>
                      <a:lnTo>
                        <a:pt x="140" y="65"/>
                      </a:lnTo>
                      <a:lnTo>
                        <a:pt x="143" y="63"/>
                      </a:lnTo>
                      <a:lnTo>
                        <a:pt x="149" y="60"/>
                      </a:lnTo>
                      <a:lnTo>
                        <a:pt x="152" y="60"/>
                      </a:lnTo>
                      <a:lnTo>
                        <a:pt x="156" y="60"/>
                      </a:lnTo>
                      <a:lnTo>
                        <a:pt x="161" y="60"/>
                      </a:lnTo>
                      <a:lnTo>
                        <a:pt x="165" y="60"/>
                      </a:lnTo>
                      <a:lnTo>
                        <a:pt x="168" y="59"/>
                      </a:lnTo>
                      <a:lnTo>
                        <a:pt x="170" y="58"/>
                      </a:lnTo>
                      <a:lnTo>
                        <a:pt x="173" y="53"/>
                      </a:lnTo>
                      <a:lnTo>
                        <a:pt x="174" y="49"/>
                      </a:lnTo>
                      <a:lnTo>
                        <a:pt x="174" y="43"/>
                      </a:lnTo>
                      <a:lnTo>
                        <a:pt x="183" y="41"/>
                      </a:lnTo>
                      <a:lnTo>
                        <a:pt x="190" y="38"/>
                      </a:lnTo>
                      <a:lnTo>
                        <a:pt x="204" y="30"/>
                      </a:lnTo>
                      <a:lnTo>
                        <a:pt x="210" y="27"/>
                      </a:lnTo>
                      <a:lnTo>
                        <a:pt x="215" y="26"/>
                      </a:lnTo>
                      <a:lnTo>
                        <a:pt x="221" y="21"/>
                      </a:lnTo>
                      <a:lnTo>
                        <a:pt x="223" y="26"/>
                      </a:lnTo>
                      <a:lnTo>
                        <a:pt x="227" y="28"/>
                      </a:lnTo>
                      <a:lnTo>
                        <a:pt x="231" y="28"/>
                      </a:lnTo>
                      <a:lnTo>
                        <a:pt x="234" y="30"/>
                      </a:lnTo>
                      <a:lnTo>
                        <a:pt x="239" y="32"/>
                      </a:lnTo>
                      <a:lnTo>
                        <a:pt x="245" y="34"/>
                      </a:lnTo>
                      <a:lnTo>
                        <a:pt x="256" y="36"/>
                      </a:lnTo>
                      <a:lnTo>
                        <a:pt x="263" y="38"/>
                      </a:lnTo>
                      <a:lnTo>
                        <a:pt x="265" y="40"/>
                      </a:lnTo>
                      <a:lnTo>
                        <a:pt x="268" y="43"/>
                      </a:lnTo>
                      <a:lnTo>
                        <a:pt x="273" y="47"/>
                      </a:lnTo>
                      <a:lnTo>
                        <a:pt x="279" y="51"/>
                      </a:lnTo>
                      <a:lnTo>
                        <a:pt x="292" y="54"/>
                      </a:lnTo>
                      <a:lnTo>
                        <a:pt x="296" y="57"/>
                      </a:lnTo>
                      <a:lnTo>
                        <a:pt x="298" y="60"/>
                      </a:lnTo>
                      <a:lnTo>
                        <a:pt x="300" y="64"/>
                      </a:lnTo>
                      <a:lnTo>
                        <a:pt x="300" y="69"/>
                      </a:lnTo>
                      <a:lnTo>
                        <a:pt x="300" y="77"/>
                      </a:lnTo>
                      <a:lnTo>
                        <a:pt x="298" y="84"/>
                      </a:lnTo>
                      <a:lnTo>
                        <a:pt x="296" y="92"/>
                      </a:lnTo>
                      <a:lnTo>
                        <a:pt x="292" y="98"/>
                      </a:lnTo>
                      <a:lnTo>
                        <a:pt x="288" y="102"/>
                      </a:lnTo>
                      <a:lnTo>
                        <a:pt x="284" y="105"/>
                      </a:lnTo>
                      <a:lnTo>
                        <a:pt x="284" y="107"/>
                      </a:lnTo>
                      <a:lnTo>
                        <a:pt x="283" y="109"/>
                      </a:lnTo>
                      <a:lnTo>
                        <a:pt x="284" y="111"/>
                      </a:lnTo>
                      <a:lnTo>
                        <a:pt x="286" y="114"/>
                      </a:lnTo>
                      <a:lnTo>
                        <a:pt x="287" y="116"/>
                      </a:lnTo>
                      <a:lnTo>
                        <a:pt x="287" y="119"/>
                      </a:lnTo>
                      <a:lnTo>
                        <a:pt x="284" y="121"/>
                      </a:lnTo>
                      <a:lnTo>
                        <a:pt x="283" y="124"/>
                      </a:lnTo>
                      <a:lnTo>
                        <a:pt x="283" y="128"/>
                      </a:lnTo>
                      <a:lnTo>
                        <a:pt x="284" y="132"/>
                      </a:lnTo>
                      <a:lnTo>
                        <a:pt x="291" y="145"/>
                      </a:lnTo>
                      <a:lnTo>
                        <a:pt x="291" y="148"/>
                      </a:lnTo>
                      <a:lnTo>
                        <a:pt x="292" y="152"/>
                      </a:lnTo>
                      <a:lnTo>
                        <a:pt x="292" y="155"/>
                      </a:lnTo>
                      <a:lnTo>
                        <a:pt x="292" y="159"/>
                      </a:lnTo>
                      <a:lnTo>
                        <a:pt x="293" y="160"/>
                      </a:lnTo>
                      <a:lnTo>
                        <a:pt x="296" y="161"/>
                      </a:lnTo>
                      <a:lnTo>
                        <a:pt x="300" y="162"/>
                      </a:lnTo>
                      <a:lnTo>
                        <a:pt x="306" y="166"/>
                      </a:lnTo>
                      <a:lnTo>
                        <a:pt x="312" y="168"/>
                      </a:lnTo>
                      <a:lnTo>
                        <a:pt x="316" y="171"/>
                      </a:lnTo>
                      <a:lnTo>
                        <a:pt x="317" y="172"/>
                      </a:lnTo>
                      <a:lnTo>
                        <a:pt x="319" y="174"/>
                      </a:lnTo>
                      <a:lnTo>
                        <a:pt x="317" y="179"/>
                      </a:lnTo>
                      <a:lnTo>
                        <a:pt x="315" y="183"/>
                      </a:lnTo>
                      <a:lnTo>
                        <a:pt x="310" y="188"/>
                      </a:lnTo>
                      <a:lnTo>
                        <a:pt x="303" y="196"/>
                      </a:lnTo>
                      <a:lnTo>
                        <a:pt x="298" y="203"/>
                      </a:lnTo>
                      <a:lnTo>
                        <a:pt x="297" y="206"/>
                      </a:lnTo>
                      <a:lnTo>
                        <a:pt x="297" y="210"/>
                      </a:lnTo>
                      <a:lnTo>
                        <a:pt x="298" y="215"/>
                      </a:lnTo>
                      <a:lnTo>
                        <a:pt x="303" y="222"/>
                      </a:lnTo>
                      <a:lnTo>
                        <a:pt x="316" y="236"/>
                      </a:lnTo>
                      <a:lnTo>
                        <a:pt x="319" y="239"/>
                      </a:lnTo>
                      <a:lnTo>
                        <a:pt x="320" y="243"/>
                      </a:lnTo>
                      <a:lnTo>
                        <a:pt x="321" y="250"/>
                      </a:lnTo>
                      <a:lnTo>
                        <a:pt x="323" y="254"/>
                      </a:lnTo>
                      <a:lnTo>
                        <a:pt x="325" y="257"/>
                      </a:lnTo>
                      <a:lnTo>
                        <a:pt x="326" y="260"/>
                      </a:lnTo>
                      <a:lnTo>
                        <a:pt x="329" y="263"/>
                      </a:lnTo>
                      <a:lnTo>
                        <a:pt x="329" y="266"/>
                      </a:lnTo>
                      <a:lnTo>
                        <a:pt x="328" y="267"/>
                      </a:lnTo>
                      <a:lnTo>
                        <a:pt x="324" y="269"/>
                      </a:lnTo>
                      <a:lnTo>
                        <a:pt x="319" y="270"/>
                      </a:lnTo>
                      <a:lnTo>
                        <a:pt x="315" y="271"/>
                      </a:lnTo>
                      <a:lnTo>
                        <a:pt x="310" y="277"/>
                      </a:lnTo>
                      <a:lnTo>
                        <a:pt x="306" y="286"/>
                      </a:lnTo>
                      <a:lnTo>
                        <a:pt x="300" y="301"/>
                      </a:lnTo>
                      <a:lnTo>
                        <a:pt x="297" y="302"/>
                      </a:lnTo>
                      <a:lnTo>
                        <a:pt x="296" y="302"/>
                      </a:lnTo>
                      <a:lnTo>
                        <a:pt x="295" y="302"/>
                      </a:lnTo>
                      <a:lnTo>
                        <a:pt x="288" y="301"/>
                      </a:lnTo>
                      <a:lnTo>
                        <a:pt x="283" y="300"/>
                      </a:lnTo>
                      <a:lnTo>
                        <a:pt x="277" y="301"/>
                      </a:lnTo>
                      <a:lnTo>
                        <a:pt x="270" y="302"/>
                      </a:lnTo>
                      <a:lnTo>
                        <a:pt x="262" y="303"/>
                      </a:lnTo>
                      <a:lnTo>
                        <a:pt x="253" y="303"/>
                      </a:lnTo>
                      <a:lnTo>
                        <a:pt x="245" y="300"/>
                      </a:lnTo>
                      <a:lnTo>
                        <a:pt x="239" y="295"/>
                      </a:lnTo>
                      <a:lnTo>
                        <a:pt x="232" y="289"/>
                      </a:lnTo>
                      <a:lnTo>
                        <a:pt x="229" y="283"/>
                      </a:lnTo>
                      <a:lnTo>
                        <a:pt x="225" y="275"/>
                      </a:lnTo>
                      <a:lnTo>
                        <a:pt x="223" y="267"/>
                      </a:lnTo>
                      <a:lnTo>
                        <a:pt x="221" y="264"/>
                      </a:lnTo>
                      <a:lnTo>
                        <a:pt x="218" y="263"/>
                      </a:lnTo>
                      <a:lnTo>
                        <a:pt x="215" y="263"/>
                      </a:lnTo>
                      <a:lnTo>
                        <a:pt x="212" y="264"/>
                      </a:lnTo>
                      <a:lnTo>
                        <a:pt x="207" y="270"/>
                      </a:lnTo>
                      <a:lnTo>
                        <a:pt x="201" y="274"/>
                      </a:lnTo>
                      <a:lnTo>
                        <a:pt x="193" y="277"/>
                      </a:lnTo>
                      <a:lnTo>
                        <a:pt x="185" y="280"/>
                      </a:lnTo>
                      <a:lnTo>
                        <a:pt x="176" y="280"/>
                      </a:lnTo>
                      <a:lnTo>
                        <a:pt x="169" y="277"/>
                      </a:lnTo>
                      <a:lnTo>
                        <a:pt x="160" y="273"/>
                      </a:lnTo>
                      <a:lnTo>
                        <a:pt x="152" y="264"/>
                      </a:lnTo>
                      <a:lnTo>
                        <a:pt x="150" y="263"/>
                      </a:lnTo>
                      <a:lnTo>
                        <a:pt x="149" y="263"/>
                      </a:lnTo>
                      <a:lnTo>
                        <a:pt x="147" y="262"/>
                      </a:lnTo>
                      <a:lnTo>
                        <a:pt x="145" y="257"/>
                      </a:lnTo>
                      <a:lnTo>
                        <a:pt x="140" y="252"/>
                      </a:lnTo>
                      <a:lnTo>
                        <a:pt x="135" y="250"/>
                      </a:lnTo>
                      <a:lnTo>
                        <a:pt x="132" y="250"/>
                      </a:lnTo>
                      <a:lnTo>
                        <a:pt x="131" y="248"/>
                      </a:lnTo>
                      <a:lnTo>
                        <a:pt x="130" y="247"/>
                      </a:lnTo>
                      <a:lnTo>
                        <a:pt x="130" y="244"/>
                      </a:lnTo>
                      <a:lnTo>
                        <a:pt x="128" y="239"/>
                      </a:lnTo>
                      <a:lnTo>
                        <a:pt x="126" y="236"/>
                      </a:lnTo>
                      <a:lnTo>
                        <a:pt x="122" y="232"/>
                      </a:lnTo>
                      <a:lnTo>
                        <a:pt x="122" y="228"/>
                      </a:lnTo>
                      <a:lnTo>
                        <a:pt x="119" y="223"/>
                      </a:lnTo>
                      <a:lnTo>
                        <a:pt x="118" y="220"/>
                      </a:lnTo>
                      <a:lnTo>
                        <a:pt x="116" y="217"/>
                      </a:lnTo>
                      <a:lnTo>
                        <a:pt x="112" y="211"/>
                      </a:lnTo>
                      <a:lnTo>
                        <a:pt x="108" y="204"/>
                      </a:lnTo>
                      <a:lnTo>
                        <a:pt x="104" y="203"/>
                      </a:lnTo>
                      <a:lnTo>
                        <a:pt x="99" y="200"/>
                      </a:lnTo>
                      <a:lnTo>
                        <a:pt x="98" y="197"/>
                      </a:lnTo>
                      <a:lnTo>
                        <a:pt x="96" y="196"/>
                      </a:lnTo>
                      <a:lnTo>
                        <a:pt x="94" y="193"/>
                      </a:lnTo>
                      <a:lnTo>
                        <a:pt x="91" y="193"/>
                      </a:lnTo>
                      <a:lnTo>
                        <a:pt x="90" y="194"/>
                      </a:lnTo>
                      <a:lnTo>
                        <a:pt x="86" y="199"/>
                      </a:lnTo>
                      <a:lnTo>
                        <a:pt x="75" y="190"/>
                      </a:lnTo>
                      <a:lnTo>
                        <a:pt x="71" y="186"/>
                      </a:lnTo>
                      <a:lnTo>
                        <a:pt x="69" y="183"/>
                      </a:lnTo>
                      <a:lnTo>
                        <a:pt x="66" y="179"/>
                      </a:lnTo>
                      <a:lnTo>
                        <a:pt x="65" y="174"/>
                      </a:lnTo>
                      <a:lnTo>
                        <a:pt x="65" y="159"/>
                      </a:lnTo>
                      <a:lnTo>
                        <a:pt x="63" y="154"/>
                      </a:lnTo>
                      <a:lnTo>
                        <a:pt x="61" y="151"/>
                      </a:lnTo>
                      <a:lnTo>
                        <a:pt x="52" y="145"/>
                      </a:lnTo>
                      <a:lnTo>
                        <a:pt x="44" y="140"/>
                      </a:lnTo>
                      <a:lnTo>
                        <a:pt x="39" y="135"/>
                      </a:lnTo>
                      <a:lnTo>
                        <a:pt x="34" y="130"/>
                      </a:lnTo>
                      <a:lnTo>
                        <a:pt x="33" y="127"/>
                      </a:lnTo>
                      <a:lnTo>
                        <a:pt x="33" y="122"/>
                      </a:lnTo>
                      <a:lnTo>
                        <a:pt x="32" y="121"/>
                      </a:lnTo>
                      <a:lnTo>
                        <a:pt x="30" y="120"/>
                      </a:lnTo>
                      <a:lnTo>
                        <a:pt x="27" y="117"/>
                      </a:lnTo>
                      <a:lnTo>
                        <a:pt x="23" y="114"/>
                      </a:lnTo>
                      <a:lnTo>
                        <a:pt x="22" y="110"/>
                      </a:lnTo>
                      <a:lnTo>
                        <a:pt x="22" y="108"/>
                      </a:lnTo>
                      <a:lnTo>
                        <a:pt x="23" y="107"/>
                      </a:lnTo>
                      <a:lnTo>
                        <a:pt x="28" y="100"/>
                      </a:lnTo>
                      <a:lnTo>
                        <a:pt x="33" y="94"/>
                      </a:lnTo>
                      <a:lnTo>
                        <a:pt x="36" y="90"/>
                      </a:lnTo>
                      <a:lnTo>
                        <a:pt x="37" y="86"/>
                      </a:lnTo>
                      <a:lnTo>
                        <a:pt x="37" y="83"/>
                      </a:lnTo>
                      <a:lnTo>
                        <a:pt x="36" y="79"/>
                      </a:lnTo>
                      <a:lnTo>
                        <a:pt x="32" y="76"/>
                      </a:lnTo>
                      <a:lnTo>
                        <a:pt x="28" y="73"/>
                      </a:lnTo>
                      <a:lnTo>
                        <a:pt x="23" y="71"/>
                      </a:lnTo>
                      <a:lnTo>
                        <a:pt x="22" y="69"/>
                      </a:lnTo>
                      <a:lnTo>
                        <a:pt x="20" y="66"/>
                      </a:lnTo>
                      <a:lnTo>
                        <a:pt x="19" y="59"/>
                      </a:lnTo>
                      <a:lnTo>
                        <a:pt x="19" y="57"/>
                      </a:lnTo>
                      <a:lnTo>
                        <a:pt x="16" y="54"/>
                      </a:lnTo>
                      <a:lnTo>
                        <a:pt x="11" y="50"/>
                      </a:lnTo>
                      <a:lnTo>
                        <a:pt x="6" y="4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5" name="Freeform 642">
                  <a:extLst>
                    <a:ext uri="{FF2B5EF4-FFF2-40B4-BE49-F238E27FC236}">
                      <a16:creationId xmlns:a16="http://schemas.microsoft.com/office/drawing/2014/main" id="{35F38600-0683-F04F-9F35-3962ABBF23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1685" y="3493662"/>
                  <a:ext cx="276736" cy="257498"/>
                </a:xfrm>
                <a:custGeom>
                  <a:avLst/>
                  <a:gdLst>
                    <a:gd name="T0" fmla="*/ 2147483647 w 202"/>
                    <a:gd name="T1" fmla="*/ 2147483647 h 174"/>
                    <a:gd name="T2" fmla="*/ 2147483647 w 202"/>
                    <a:gd name="T3" fmla="*/ 2147483647 h 174"/>
                    <a:gd name="T4" fmla="*/ 2147483647 w 202"/>
                    <a:gd name="T5" fmla="*/ 2147483647 h 174"/>
                    <a:gd name="T6" fmla="*/ 2147483647 w 202"/>
                    <a:gd name="T7" fmla="*/ 2147483647 h 174"/>
                    <a:gd name="T8" fmla="*/ 2147483647 w 202"/>
                    <a:gd name="T9" fmla="*/ 2147483647 h 174"/>
                    <a:gd name="T10" fmla="*/ 2147483647 w 202"/>
                    <a:gd name="T11" fmla="*/ 2147483647 h 174"/>
                    <a:gd name="T12" fmla="*/ 2147483647 w 202"/>
                    <a:gd name="T13" fmla="*/ 2147483647 h 174"/>
                    <a:gd name="T14" fmla="*/ 2147483647 w 202"/>
                    <a:gd name="T15" fmla="*/ 2147483647 h 174"/>
                    <a:gd name="T16" fmla="*/ 2147483647 w 202"/>
                    <a:gd name="T17" fmla="*/ 2147483647 h 174"/>
                    <a:gd name="T18" fmla="*/ 2147483647 w 202"/>
                    <a:gd name="T19" fmla="*/ 2147483647 h 174"/>
                    <a:gd name="T20" fmla="*/ 2147483647 w 202"/>
                    <a:gd name="T21" fmla="*/ 2147483647 h 174"/>
                    <a:gd name="T22" fmla="*/ 2147483647 w 202"/>
                    <a:gd name="T23" fmla="*/ 2147483647 h 174"/>
                    <a:gd name="T24" fmla="*/ 2147483647 w 202"/>
                    <a:gd name="T25" fmla="*/ 2147483647 h 174"/>
                    <a:gd name="T26" fmla="*/ 2147483647 w 202"/>
                    <a:gd name="T27" fmla="*/ 2147483647 h 174"/>
                    <a:gd name="T28" fmla="*/ 2147483647 w 202"/>
                    <a:gd name="T29" fmla="*/ 2147483647 h 174"/>
                    <a:gd name="T30" fmla="*/ 2147483647 w 202"/>
                    <a:gd name="T31" fmla="*/ 2147483647 h 174"/>
                    <a:gd name="T32" fmla="*/ 2147483647 w 202"/>
                    <a:gd name="T33" fmla="*/ 2147483647 h 174"/>
                    <a:gd name="T34" fmla="*/ 2147483647 w 202"/>
                    <a:gd name="T35" fmla="*/ 2147483647 h 174"/>
                    <a:gd name="T36" fmla="*/ 2147483647 w 202"/>
                    <a:gd name="T37" fmla="*/ 2147483647 h 174"/>
                    <a:gd name="T38" fmla="*/ 2147483647 w 202"/>
                    <a:gd name="T39" fmla="*/ 0 h 174"/>
                    <a:gd name="T40" fmla="*/ 2147483647 w 202"/>
                    <a:gd name="T41" fmla="*/ 2147483647 h 174"/>
                    <a:gd name="T42" fmla="*/ 2147483647 w 202"/>
                    <a:gd name="T43" fmla="*/ 2147483647 h 174"/>
                    <a:gd name="T44" fmla="*/ 2147483647 w 202"/>
                    <a:gd name="T45" fmla="*/ 2147483647 h 174"/>
                    <a:gd name="T46" fmla="*/ 2147483647 w 202"/>
                    <a:gd name="T47" fmla="*/ 2147483647 h 174"/>
                    <a:gd name="T48" fmla="*/ 2147483647 w 202"/>
                    <a:gd name="T49" fmla="*/ 2147483647 h 174"/>
                    <a:gd name="T50" fmla="*/ 2147483647 w 202"/>
                    <a:gd name="T51" fmla="*/ 2147483647 h 174"/>
                    <a:gd name="T52" fmla="*/ 2147483647 w 202"/>
                    <a:gd name="T53" fmla="*/ 2147483647 h 174"/>
                    <a:gd name="T54" fmla="*/ 0 w 202"/>
                    <a:gd name="T55" fmla="*/ 2147483647 h 174"/>
                    <a:gd name="T56" fmla="*/ 2147483647 w 202"/>
                    <a:gd name="T57" fmla="*/ 2147483647 h 174"/>
                    <a:gd name="T58" fmla="*/ 2147483647 w 202"/>
                    <a:gd name="T59" fmla="*/ 2147483647 h 174"/>
                    <a:gd name="T60" fmla="*/ 2147483647 w 202"/>
                    <a:gd name="T61" fmla="*/ 2147483647 h 174"/>
                    <a:gd name="T62" fmla="*/ 2147483647 w 202"/>
                    <a:gd name="T63" fmla="*/ 2147483647 h 174"/>
                    <a:gd name="T64" fmla="*/ 2147483647 w 202"/>
                    <a:gd name="T65" fmla="*/ 2147483647 h 174"/>
                    <a:gd name="T66" fmla="*/ 2147483647 w 202"/>
                    <a:gd name="T67" fmla="*/ 2147483647 h 174"/>
                    <a:gd name="T68" fmla="*/ 2147483647 w 202"/>
                    <a:gd name="T69" fmla="*/ 2147483647 h 174"/>
                    <a:gd name="T70" fmla="*/ 2147483647 w 202"/>
                    <a:gd name="T71" fmla="*/ 2147483647 h 174"/>
                    <a:gd name="T72" fmla="*/ 2147483647 w 202"/>
                    <a:gd name="T73" fmla="*/ 2147483647 h 174"/>
                    <a:gd name="T74" fmla="*/ 2147483647 w 202"/>
                    <a:gd name="T75" fmla="*/ 2147483647 h 174"/>
                    <a:gd name="T76" fmla="*/ 2147483647 w 202"/>
                    <a:gd name="T77" fmla="*/ 2147483647 h 174"/>
                    <a:gd name="T78" fmla="*/ 2147483647 w 202"/>
                    <a:gd name="T79" fmla="*/ 2147483647 h 174"/>
                    <a:gd name="T80" fmla="*/ 2147483647 w 202"/>
                    <a:gd name="T81" fmla="*/ 2147483647 h 174"/>
                    <a:gd name="T82" fmla="*/ 2147483647 w 202"/>
                    <a:gd name="T83" fmla="*/ 2147483647 h 174"/>
                    <a:gd name="T84" fmla="*/ 2147483647 w 202"/>
                    <a:gd name="T85" fmla="*/ 2147483647 h 174"/>
                    <a:gd name="T86" fmla="*/ 2147483647 w 202"/>
                    <a:gd name="T87" fmla="*/ 2147483647 h 174"/>
                    <a:gd name="T88" fmla="*/ 2147483647 w 202"/>
                    <a:gd name="T89" fmla="*/ 2147483647 h 174"/>
                    <a:gd name="T90" fmla="*/ 2147483647 w 202"/>
                    <a:gd name="T91" fmla="*/ 2147483647 h 174"/>
                    <a:gd name="T92" fmla="*/ 2147483647 w 202"/>
                    <a:gd name="T93" fmla="*/ 2147483647 h 174"/>
                    <a:gd name="T94" fmla="*/ 2147483647 w 202"/>
                    <a:gd name="T95" fmla="*/ 2147483647 h 174"/>
                    <a:gd name="T96" fmla="*/ 2147483647 w 202"/>
                    <a:gd name="T97" fmla="*/ 2147483647 h 174"/>
                    <a:gd name="T98" fmla="*/ 2147483647 w 202"/>
                    <a:gd name="T99" fmla="*/ 2147483647 h 174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2"/>
                    <a:gd name="T151" fmla="*/ 0 h 174"/>
                    <a:gd name="T152" fmla="*/ 202 w 202"/>
                    <a:gd name="T153" fmla="*/ 174 h 174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2" h="174">
                      <a:moveTo>
                        <a:pt x="202" y="157"/>
                      </a:moveTo>
                      <a:lnTo>
                        <a:pt x="190" y="148"/>
                      </a:lnTo>
                      <a:lnTo>
                        <a:pt x="186" y="144"/>
                      </a:lnTo>
                      <a:lnTo>
                        <a:pt x="184" y="141"/>
                      </a:lnTo>
                      <a:lnTo>
                        <a:pt x="181" y="137"/>
                      </a:lnTo>
                      <a:lnTo>
                        <a:pt x="180" y="132"/>
                      </a:lnTo>
                      <a:lnTo>
                        <a:pt x="180" y="117"/>
                      </a:lnTo>
                      <a:lnTo>
                        <a:pt x="179" y="112"/>
                      </a:lnTo>
                      <a:lnTo>
                        <a:pt x="176" y="109"/>
                      </a:lnTo>
                      <a:lnTo>
                        <a:pt x="167" y="103"/>
                      </a:lnTo>
                      <a:lnTo>
                        <a:pt x="160" y="98"/>
                      </a:lnTo>
                      <a:lnTo>
                        <a:pt x="155" y="93"/>
                      </a:lnTo>
                      <a:lnTo>
                        <a:pt x="150" y="89"/>
                      </a:lnTo>
                      <a:lnTo>
                        <a:pt x="148" y="85"/>
                      </a:lnTo>
                      <a:lnTo>
                        <a:pt x="148" y="80"/>
                      </a:lnTo>
                      <a:lnTo>
                        <a:pt x="147" y="79"/>
                      </a:lnTo>
                      <a:lnTo>
                        <a:pt x="146" y="78"/>
                      </a:lnTo>
                      <a:lnTo>
                        <a:pt x="142" y="76"/>
                      </a:lnTo>
                      <a:lnTo>
                        <a:pt x="138" y="72"/>
                      </a:lnTo>
                      <a:lnTo>
                        <a:pt x="137" y="68"/>
                      </a:lnTo>
                      <a:lnTo>
                        <a:pt x="137" y="66"/>
                      </a:lnTo>
                      <a:lnTo>
                        <a:pt x="138" y="65"/>
                      </a:lnTo>
                      <a:lnTo>
                        <a:pt x="143" y="58"/>
                      </a:lnTo>
                      <a:lnTo>
                        <a:pt x="148" y="52"/>
                      </a:lnTo>
                      <a:lnTo>
                        <a:pt x="151" y="48"/>
                      </a:lnTo>
                      <a:lnTo>
                        <a:pt x="152" y="45"/>
                      </a:lnTo>
                      <a:lnTo>
                        <a:pt x="152" y="41"/>
                      </a:lnTo>
                      <a:lnTo>
                        <a:pt x="151" y="38"/>
                      </a:lnTo>
                      <a:lnTo>
                        <a:pt x="147" y="34"/>
                      </a:lnTo>
                      <a:lnTo>
                        <a:pt x="143" y="32"/>
                      </a:lnTo>
                      <a:lnTo>
                        <a:pt x="138" y="29"/>
                      </a:lnTo>
                      <a:lnTo>
                        <a:pt x="137" y="27"/>
                      </a:lnTo>
                      <a:lnTo>
                        <a:pt x="136" y="25"/>
                      </a:lnTo>
                      <a:lnTo>
                        <a:pt x="134" y="17"/>
                      </a:lnTo>
                      <a:lnTo>
                        <a:pt x="134" y="15"/>
                      </a:lnTo>
                      <a:lnTo>
                        <a:pt x="132" y="13"/>
                      </a:lnTo>
                      <a:lnTo>
                        <a:pt x="127" y="8"/>
                      </a:lnTo>
                      <a:lnTo>
                        <a:pt x="122" y="2"/>
                      </a:lnTo>
                      <a:lnTo>
                        <a:pt x="111" y="2"/>
                      </a:lnTo>
                      <a:lnTo>
                        <a:pt x="100" y="0"/>
                      </a:lnTo>
                      <a:lnTo>
                        <a:pt x="94" y="1"/>
                      </a:lnTo>
                      <a:lnTo>
                        <a:pt x="87" y="3"/>
                      </a:lnTo>
                      <a:lnTo>
                        <a:pt x="84" y="4"/>
                      </a:lnTo>
                      <a:lnTo>
                        <a:pt x="78" y="8"/>
                      </a:lnTo>
                      <a:lnTo>
                        <a:pt x="75" y="13"/>
                      </a:lnTo>
                      <a:lnTo>
                        <a:pt x="72" y="19"/>
                      </a:lnTo>
                      <a:lnTo>
                        <a:pt x="71" y="22"/>
                      </a:lnTo>
                      <a:lnTo>
                        <a:pt x="68" y="34"/>
                      </a:lnTo>
                      <a:lnTo>
                        <a:pt x="64" y="45"/>
                      </a:lnTo>
                      <a:lnTo>
                        <a:pt x="59" y="55"/>
                      </a:lnTo>
                      <a:lnTo>
                        <a:pt x="54" y="64"/>
                      </a:lnTo>
                      <a:lnTo>
                        <a:pt x="45" y="71"/>
                      </a:lnTo>
                      <a:lnTo>
                        <a:pt x="35" y="79"/>
                      </a:lnTo>
                      <a:lnTo>
                        <a:pt x="11" y="93"/>
                      </a:lnTo>
                      <a:lnTo>
                        <a:pt x="5" y="98"/>
                      </a:lnTo>
                      <a:lnTo>
                        <a:pt x="0" y="104"/>
                      </a:lnTo>
                      <a:lnTo>
                        <a:pt x="5" y="110"/>
                      </a:lnTo>
                      <a:lnTo>
                        <a:pt x="9" y="116"/>
                      </a:lnTo>
                      <a:lnTo>
                        <a:pt x="16" y="129"/>
                      </a:lnTo>
                      <a:lnTo>
                        <a:pt x="21" y="129"/>
                      </a:lnTo>
                      <a:lnTo>
                        <a:pt x="25" y="130"/>
                      </a:lnTo>
                      <a:lnTo>
                        <a:pt x="35" y="132"/>
                      </a:lnTo>
                      <a:lnTo>
                        <a:pt x="45" y="134"/>
                      </a:lnTo>
                      <a:lnTo>
                        <a:pt x="53" y="136"/>
                      </a:lnTo>
                      <a:lnTo>
                        <a:pt x="61" y="140"/>
                      </a:lnTo>
                      <a:lnTo>
                        <a:pt x="67" y="143"/>
                      </a:lnTo>
                      <a:lnTo>
                        <a:pt x="75" y="145"/>
                      </a:lnTo>
                      <a:lnTo>
                        <a:pt x="81" y="147"/>
                      </a:lnTo>
                      <a:lnTo>
                        <a:pt x="89" y="150"/>
                      </a:lnTo>
                      <a:lnTo>
                        <a:pt x="91" y="154"/>
                      </a:lnTo>
                      <a:lnTo>
                        <a:pt x="92" y="155"/>
                      </a:lnTo>
                      <a:lnTo>
                        <a:pt x="94" y="156"/>
                      </a:lnTo>
                      <a:lnTo>
                        <a:pt x="99" y="155"/>
                      </a:lnTo>
                      <a:lnTo>
                        <a:pt x="101" y="155"/>
                      </a:lnTo>
                      <a:lnTo>
                        <a:pt x="103" y="155"/>
                      </a:lnTo>
                      <a:lnTo>
                        <a:pt x="104" y="158"/>
                      </a:lnTo>
                      <a:lnTo>
                        <a:pt x="105" y="162"/>
                      </a:lnTo>
                      <a:lnTo>
                        <a:pt x="105" y="164"/>
                      </a:lnTo>
                      <a:lnTo>
                        <a:pt x="106" y="167"/>
                      </a:lnTo>
                      <a:lnTo>
                        <a:pt x="110" y="168"/>
                      </a:lnTo>
                      <a:lnTo>
                        <a:pt x="115" y="167"/>
                      </a:lnTo>
                      <a:lnTo>
                        <a:pt x="119" y="167"/>
                      </a:lnTo>
                      <a:lnTo>
                        <a:pt x="124" y="167"/>
                      </a:lnTo>
                      <a:lnTo>
                        <a:pt x="130" y="167"/>
                      </a:lnTo>
                      <a:lnTo>
                        <a:pt x="137" y="169"/>
                      </a:lnTo>
                      <a:lnTo>
                        <a:pt x="150" y="174"/>
                      </a:lnTo>
                      <a:lnTo>
                        <a:pt x="153" y="168"/>
                      </a:lnTo>
                      <a:lnTo>
                        <a:pt x="157" y="163"/>
                      </a:lnTo>
                      <a:lnTo>
                        <a:pt x="164" y="161"/>
                      </a:lnTo>
                      <a:lnTo>
                        <a:pt x="170" y="158"/>
                      </a:lnTo>
                      <a:lnTo>
                        <a:pt x="176" y="158"/>
                      </a:lnTo>
                      <a:lnTo>
                        <a:pt x="181" y="160"/>
                      </a:lnTo>
                      <a:lnTo>
                        <a:pt x="186" y="161"/>
                      </a:lnTo>
                      <a:lnTo>
                        <a:pt x="191" y="163"/>
                      </a:lnTo>
                      <a:lnTo>
                        <a:pt x="193" y="161"/>
                      </a:lnTo>
                      <a:lnTo>
                        <a:pt x="194" y="161"/>
                      </a:lnTo>
                      <a:lnTo>
                        <a:pt x="197" y="161"/>
                      </a:lnTo>
                      <a:lnTo>
                        <a:pt x="198" y="161"/>
                      </a:lnTo>
                      <a:lnTo>
                        <a:pt x="199" y="161"/>
                      </a:lnTo>
                      <a:lnTo>
                        <a:pt x="202" y="15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6" name="Freeform 643">
                  <a:extLst>
                    <a:ext uri="{FF2B5EF4-FFF2-40B4-BE49-F238E27FC236}">
                      <a16:creationId xmlns:a16="http://schemas.microsoft.com/office/drawing/2014/main" id="{BDC2A5D5-1AF3-3042-9BD8-8B4F9A506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7387" y="3727479"/>
                  <a:ext cx="63635" cy="69554"/>
                </a:xfrm>
                <a:custGeom>
                  <a:avLst/>
                  <a:gdLst>
                    <a:gd name="T0" fmla="*/ 2147483647 w 47"/>
                    <a:gd name="T1" fmla="*/ 2147483647 h 47"/>
                    <a:gd name="T2" fmla="*/ 2147483647 w 47"/>
                    <a:gd name="T3" fmla="*/ 2147483647 h 47"/>
                    <a:gd name="T4" fmla="*/ 2147483647 w 47"/>
                    <a:gd name="T5" fmla="*/ 2147483647 h 47"/>
                    <a:gd name="T6" fmla="*/ 2147483647 w 47"/>
                    <a:gd name="T7" fmla="*/ 0 h 47"/>
                    <a:gd name="T8" fmla="*/ 2147483647 w 47"/>
                    <a:gd name="T9" fmla="*/ 0 h 47"/>
                    <a:gd name="T10" fmla="*/ 2147483647 w 47"/>
                    <a:gd name="T11" fmla="*/ 2147483647 h 47"/>
                    <a:gd name="T12" fmla="*/ 2147483647 w 47"/>
                    <a:gd name="T13" fmla="*/ 2147483647 h 47"/>
                    <a:gd name="T14" fmla="*/ 2147483647 w 47"/>
                    <a:gd name="T15" fmla="*/ 2147483647 h 47"/>
                    <a:gd name="T16" fmla="*/ 0 w 47"/>
                    <a:gd name="T17" fmla="*/ 2147483647 h 47"/>
                    <a:gd name="T18" fmla="*/ 0 w 47"/>
                    <a:gd name="T19" fmla="*/ 2147483647 h 47"/>
                    <a:gd name="T20" fmla="*/ 2147483647 w 47"/>
                    <a:gd name="T21" fmla="*/ 2147483647 h 47"/>
                    <a:gd name="T22" fmla="*/ 2147483647 w 47"/>
                    <a:gd name="T23" fmla="*/ 2147483647 h 47"/>
                    <a:gd name="T24" fmla="*/ 2147483647 w 47"/>
                    <a:gd name="T25" fmla="*/ 2147483647 h 47"/>
                    <a:gd name="T26" fmla="*/ 2147483647 w 47"/>
                    <a:gd name="T27" fmla="*/ 2147483647 h 47"/>
                    <a:gd name="T28" fmla="*/ 2147483647 w 47"/>
                    <a:gd name="T29" fmla="*/ 2147483647 h 47"/>
                    <a:gd name="T30" fmla="*/ 2147483647 w 47"/>
                    <a:gd name="T31" fmla="*/ 2147483647 h 47"/>
                    <a:gd name="T32" fmla="*/ 2147483647 w 47"/>
                    <a:gd name="T33" fmla="*/ 2147483647 h 47"/>
                    <a:gd name="T34" fmla="*/ 2147483647 w 47"/>
                    <a:gd name="T35" fmla="*/ 2147483647 h 47"/>
                    <a:gd name="T36" fmla="*/ 2147483647 w 47"/>
                    <a:gd name="T37" fmla="*/ 2147483647 h 47"/>
                    <a:gd name="T38" fmla="*/ 2147483647 w 47"/>
                    <a:gd name="T39" fmla="*/ 2147483647 h 47"/>
                    <a:gd name="T40" fmla="*/ 2147483647 w 47"/>
                    <a:gd name="T41" fmla="*/ 2147483647 h 47"/>
                    <a:gd name="T42" fmla="*/ 2147483647 w 47"/>
                    <a:gd name="T43" fmla="*/ 2147483647 h 47"/>
                    <a:gd name="T44" fmla="*/ 2147483647 w 47"/>
                    <a:gd name="T45" fmla="*/ 2147483647 h 47"/>
                    <a:gd name="T46" fmla="*/ 2147483647 w 47"/>
                    <a:gd name="T47" fmla="*/ 2147483647 h 47"/>
                    <a:gd name="T48" fmla="*/ 2147483647 w 47"/>
                    <a:gd name="T49" fmla="*/ 2147483647 h 47"/>
                    <a:gd name="T50" fmla="*/ 2147483647 w 47"/>
                    <a:gd name="T51" fmla="*/ 2147483647 h 47"/>
                    <a:gd name="T52" fmla="*/ 2147483647 w 47"/>
                    <a:gd name="T53" fmla="*/ 2147483647 h 47"/>
                    <a:gd name="T54" fmla="*/ 2147483647 w 47"/>
                    <a:gd name="T55" fmla="*/ 2147483647 h 47"/>
                    <a:gd name="T56" fmla="*/ 2147483647 w 47"/>
                    <a:gd name="T57" fmla="*/ 2147483647 h 4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47"/>
                    <a:gd name="T88" fmla="*/ 0 h 47"/>
                    <a:gd name="T89" fmla="*/ 47 w 47"/>
                    <a:gd name="T90" fmla="*/ 47 h 4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47" h="47">
                      <a:moveTo>
                        <a:pt x="41" y="5"/>
                      </a:moveTo>
                      <a:lnTo>
                        <a:pt x="36" y="3"/>
                      </a:lnTo>
                      <a:lnTo>
                        <a:pt x="31" y="2"/>
                      </a:lnTo>
                      <a:lnTo>
                        <a:pt x="26" y="0"/>
                      </a:lnTo>
                      <a:lnTo>
                        <a:pt x="20" y="0"/>
                      </a:lnTo>
                      <a:lnTo>
                        <a:pt x="14" y="3"/>
                      </a:lnTo>
                      <a:lnTo>
                        <a:pt x="7" y="5"/>
                      </a:lnTo>
                      <a:lnTo>
                        <a:pt x="3" y="10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1" y="19"/>
                      </a:lnTo>
                      <a:lnTo>
                        <a:pt x="5" y="22"/>
                      </a:lnTo>
                      <a:lnTo>
                        <a:pt x="11" y="28"/>
                      </a:lnTo>
                      <a:lnTo>
                        <a:pt x="19" y="31"/>
                      </a:lnTo>
                      <a:lnTo>
                        <a:pt x="25" y="37"/>
                      </a:lnTo>
                      <a:lnTo>
                        <a:pt x="31" y="43"/>
                      </a:lnTo>
                      <a:lnTo>
                        <a:pt x="34" y="46"/>
                      </a:lnTo>
                      <a:lnTo>
                        <a:pt x="38" y="47"/>
                      </a:lnTo>
                      <a:lnTo>
                        <a:pt x="41" y="47"/>
                      </a:lnTo>
                      <a:lnTo>
                        <a:pt x="47" y="46"/>
                      </a:lnTo>
                      <a:lnTo>
                        <a:pt x="43" y="38"/>
                      </a:lnTo>
                      <a:lnTo>
                        <a:pt x="41" y="31"/>
                      </a:lnTo>
                      <a:lnTo>
                        <a:pt x="39" y="24"/>
                      </a:lnTo>
                      <a:lnTo>
                        <a:pt x="35" y="17"/>
                      </a:lnTo>
                      <a:lnTo>
                        <a:pt x="34" y="14"/>
                      </a:lnTo>
                      <a:lnTo>
                        <a:pt x="34" y="11"/>
                      </a:lnTo>
                      <a:lnTo>
                        <a:pt x="35" y="10"/>
                      </a:lnTo>
                      <a:lnTo>
                        <a:pt x="39" y="8"/>
                      </a:lnTo>
                      <a:lnTo>
                        <a:pt x="4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7" name="Freeform 644">
                  <a:extLst>
                    <a:ext uri="{FF2B5EF4-FFF2-40B4-BE49-F238E27FC236}">
                      <a16:creationId xmlns:a16="http://schemas.microsoft.com/office/drawing/2014/main" id="{C4FE4B92-BBAC-744D-A4FE-578AF85721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8724" y="3490699"/>
                  <a:ext cx="276736" cy="258977"/>
                </a:xfrm>
                <a:custGeom>
                  <a:avLst/>
                  <a:gdLst>
                    <a:gd name="T0" fmla="*/ 2147483647 w 202"/>
                    <a:gd name="T1" fmla="*/ 2147483647 h 175"/>
                    <a:gd name="T2" fmla="*/ 2147483647 w 202"/>
                    <a:gd name="T3" fmla="*/ 2147483647 h 175"/>
                    <a:gd name="T4" fmla="*/ 2147483647 w 202"/>
                    <a:gd name="T5" fmla="*/ 2147483647 h 175"/>
                    <a:gd name="T6" fmla="*/ 2147483647 w 202"/>
                    <a:gd name="T7" fmla="*/ 2147483647 h 175"/>
                    <a:gd name="T8" fmla="*/ 2147483647 w 202"/>
                    <a:gd name="T9" fmla="*/ 2147483647 h 175"/>
                    <a:gd name="T10" fmla="*/ 2147483647 w 202"/>
                    <a:gd name="T11" fmla="*/ 2147483647 h 175"/>
                    <a:gd name="T12" fmla="*/ 2147483647 w 202"/>
                    <a:gd name="T13" fmla="*/ 2147483647 h 175"/>
                    <a:gd name="T14" fmla="*/ 2147483647 w 202"/>
                    <a:gd name="T15" fmla="*/ 2147483647 h 175"/>
                    <a:gd name="T16" fmla="*/ 2147483647 w 202"/>
                    <a:gd name="T17" fmla="*/ 2147483647 h 175"/>
                    <a:gd name="T18" fmla="*/ 2147483647 w 202"/>
                    <a:gd name="T19" fmla="*/ 2147483647 h 175"/>
                    <a:gd name="T20" fmla="*/ 2147483647 w 202"/>
                    <a:gd name="T21" fmla="*/ 2147483647 h 175"/>
                    <a:gd name="T22" fmla="*/ 2147483647 w 202"/>
                    <a:gd name="T23" fmla="*/ 2147483647 h 175"/>
                    <a:gd name="T24" fmla="*/ 2147483647 w 202"/>
                    <a:gd name="T25" fmla="*/ 2147483647 h 175"/>
                    <a:gd name="T26" fmla="*/ 2147483647 w 202"/>
                    <a:gd name="T27" fmla="*/ 2147483647 h 175"/>
                    <a:gd name="T28" fmla="*/ 2147483647 w 202"/>
                    <a:gd name="T29" fmla="*/ 2147483647 h 175"/>
                    <a:gd name="T30" fmla="*/ 2147483647 w 202"/>
                    <a:gd name="T31" fmla="*/ 2147483647 h 175"/>
                    <a:gd name="T32" fmla="*/ 2147483647 w 202"/>
                    <a:gd name="T33" fmla="*/ 0 h 175"/>
                    <a:gd name="T34" fmla="*/ 2147483647 w 202"/>
                    <a:gd name="T35" fmla="*/ 2147483647 h 175"/>
                    <a:gd name="T36" fmla="*/ 2147483647 w 202"/>
                    <a:gd name="T37" fmla="*/ 2147483647 h 175"/>
                    <a:gd name="T38" fmla="*/ 2147483647 w 202"/>
                    <a:gd name="T39" fmla="*/ 2147483647 h 175"/>
                    <a:gd name="T40" fmla="*/ 2147483647 w 202"/>
                    <a:gd name="T41" fmla="*/ 2147483647 h 175"/>
                    <a:gd name="T42" fmla="*/ 2147483647 w 202"/>
                    <a:gd name="T43" fmla="*/ 2147483647 h 175"/>
                    <a:gd name="T44" fmla="*/ 2147483647 w 202"/>
                    <a:gd name="T45" fmla="*/ 2147483647 h 175"/>
                    <a:gd name="T46" fmla="*/ 2147483647 w 202"/>
                    <a:gd name="T47" fmla="*/ 2147483647 h 175"/>
                    <a:gd name="T48" fmla="*/ 2147483647 w 202"/>
                    <a:gd name="T49" fmla="*/ 2147483647 h 175"/>
                    <a:gd name="T50" fmla="*/ 2147483647 w 202"/>
                    <a:gd name="T51" fmla="*/ 2147483647 h 175"/>
                    <a:gd name="T52" fmla="*/ 2147483647 w 202"/>
                    <a:gd name="T53" fmla="*/ 2147483647 h 175"/>
                    <a:gd name="T54" fmla="*/ 2147483647 w 202"/>
                    <a:gd name="T55" fmla="*/ 2147483647 h 175"/>
                    <a:gd name="T56" fmla="*/ 2147483647 w 202"/>
                    <a:gd name="T57" fmla="*/ 2147483647 h 175"/>
                    <a:gd name="T58" fmla="*/ 2147483647 w 202"/>
                    <a:gd name="T59" fmla="*/ 2147483647 h 175"/>
                    <a:gd name="T60" fmla="*/ 2147483647 w 202"/>
                    <a:gd name="T61" fmla="*/ 2147483647 h 175"/>
                    <a:gd name="T62" fmla="*/ 2147483647 w 202"/>
                    <a:gd name="T63" fmla="*/ 2147483647 h 175"/>
                    <a:gd name="T64" fmla="*/ 2147483647 w 202"/>
                    <a:gd name="T65" fmla="*/ 2147483647 h 175"/>
                    <a:gd name="T66" fmla="*/ 2147483647 w 202"/>
                    <a:gd name="T67" fmla="*/ 2147483647 h 175"/>
                    <a:gd name="T68" fmla="*/ 2147483647 w 202"/>
                    <a:gd name="T69" fmla="*/ 2147483647 h 175"/>
                    <a:gd name="T70" fmla="*/ 2147483647 w 202"/>
                    <a:gd name="T71" fmla="*/ 2147483647 h 175"/>
                    <a:gd name="T72" fmla="*/ 2147483647 w 202"/>
                    <a:gd name="T73" fmla="*/ 2147483647 h 175"/>
                    <a:gd name="T74" fmla="*/ 2147483647 w 202"/>
                    <a:gd name="T75" fmla="*/ 2147483647 h 175"/>
                    <a:gd name="T76" fmla="*/ 2147483647 w 202"/>
                    <a:gd name="T77" fmla="*/ 2147483647 h 175"/>
                    <a:gd name="T78" fmla="*/ 2147483647 w 202"/>
                    <a:gd name="T79" fmla="*/ 2147483647 h 175"/>
                    <a:gd name="T80" fmla="*/ 2147483647 w 202"/>
                    <a:gd name="T81" fmla="*/ 2147483647 h 175"/>
                    <a:gd name="T82" fmla="*/ 2147483647 w 202"/>
                    <a:gd name="T83" fmla="*/ 2147483647 h 175"/>
                    <a:gd name="T84" fmla="*/ 2147483647 w 202"/>
                    <a:gd name="T85" fmla="*/ 2147483647 h 175"/>
                    <a:gd name="T86" fmla="*/ 2147483647 w 202"/>
                    <a:gd name="T87" fmla="*/ 2147483647 h 17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02"/>
                    <a:gd name="T133" fmla="*/ 0 h 175"/>
                    <a:gd name="T134" fmla="*/ 202 w 202"/>
                    <a:gd name="T135" fmla="*/ 175 h 175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02" h="175">
                      <a:moveTo>
                        <a:pt x="202" y="158"/>
                      </a:moveTo>
                      <a:lnTo>
                        <a:pt x="202" y="158"/>
                      </a:lnTo>
                      <a:lnTo>
                        <a:pt x="191" y="149"/>
                      </a:lnTo>
                      <a:lnTo>
                        <a:pt x="187" y="145"/>
                      </a:lnTo>
                      <a:lnTo>
                        <a:pt x="185" y="142"/>
                      </a:lnTo>
                      <a:lnTo>
                        <a:pt x="182" y="138"/>
                      </a:lnTo>
                      <a:lnTo>
                        <a:pt x="181" y="133"/>
                      </a:lnTo>
                      <a:lnTo>
                        <a:pt x="181" y="118"/>
                      </a:lnTo>
                      <a:lnTo>
                        <a:pt x="179" y="113"/>
                      </a:lnTo>
                      <a:lnTo>
                        <a:pt x="177" y="110"/>
                      </a:lnTo>
                      <a:lnTo>
                        <a:pt x="168" y="104"/>
                      </a:lnTo>
                      <a:lnTo>
                        <a:pt x="160" y="99"/>
                      </a:lnTo>
                      <a:lnTo>
                        <a:pt x="155" y="94"/>
                      </a:lnTo>
                      <a:lnTo>
                        <a:pt x="150" y="89"/>
                      </a:lnTo>
                      <a:lnTo>
                        <a:pt x="149" y="86"/>
                      </a:lnTo>
                      <a:lnTo>
                        <a:pt x="149" y="81"/>
                      </a:lnTo>
                      <a:lnTo>
                        <a:pt x="148" y="80"/>
                      </a:lnTo>
                      <a:lnTo>
                        <a:pt x="146" y="79"/>
                      </a:lnTo>
                      <a:lnTo>
                        <a:pt x="143" y="76"/>
                      </a:lnTo>
                      <a:lnTo>
                        <a:pt x="139" y="73"/>
                      </a:lnTo>
                      <a:lnTo>
                        <a:pt x="138" y="69"/>
                      </a:lnTo>
                      <a:lnTo>
                        <a:pt x="138" y="67"/>
                      </a:lnTo>
                      <a:lnTo>
                        <a:pt x="139" y="66"/>
                      </a:lnTo>
                      <a:lnTo>
                        <a:pt x="144" y="59"/>
                      </a:lnTo>
                      <a:lnTo>
                        <a:pt x="149" y="53"/>
                      </a:lnTo>
                      <a:lnTo>
                        <a:pt x="152" y="49"/>
                      </a:lnTo>
                      <a:lnTo>
                        <a:pt x="153" y="45"/>
                      </a:lnTo>
                      <a:lnTo>
                        <a:pt x="153" y="42"/>
                      </a:lnTo>
                      <a:lnTo>
                        <a:pt x="152" y="38"/>
                      </a:lnTo>
                      <a:lnTo>
                        <a:pt x="148" y="35"/>
                      </a:lnTo>
                      <a:lnTo>
                        <a:pt x="144" y="32"/>
                      </a:lnTo>
                      <a:lnTo>
                        <a:pt x="139" y="30"/>
                      </a:lnTo>
                      <a:lnTo>
                        <a:pt x="138" y="28"/>
                      </a:lnTo>
                      <a:lnTo>
                        <a:pt x="136" y="25"/>
                      </a:lnTo>
                      <a:lnTo>
                        <a:pt x="135" y="18"/>
                      </a:lnTo>
                      <a:lnTo>
                        <a:pt x="135" y="16"/>
                      </a:lnTo>
                      <a:lnTo>
                        <a:pt x="132" y="13"/>
                      </a:lnTo>
                      <a:lnTo>
                        <a:pt x="127" y="9"/>
                      </a:lnTo>
                      <a:lnTo>
                        <a:pt x="122" y="3"/>
                      </a:lnTo>
                      <a:lnTo>
                        <a:pt x="112" y="3"/>
                      </a:lnTo>
                      <a:lnTo>
                        <a:pt x="101" y="0"/>
                      </a:lnTo>
                      <a:lnTo>
                        <a:pt x="94" y="2"/>
                      </a:lnTo>
                      <a:lnTo>
                        <a:pt x="88" y="4"/>
                      </a:lnTo>
                      <a:lnTo>
                        <a:pt x="84" y="5"/>
                      </a:lnTo>
                      <a:lnTo>
                        <a:pt x="79" y="9"/>
                      </a:lnTo>
                      <a:lnTo>
                        <a:pt x="75" y="13"/>
                      </a:lnTo>
                      <a:lnTo>
                        <a:pt x="73" y="19"/>
                      </a:lnTo>
                      <a:lnTo>
                        <a:pt x="72" y="23"/>
                      </a:lnTo>
                      <a:lnTo>
                        <a:pt x="69" y="35"/>
                      </a:lnTo>
                      <a:lnTo>
                        <a:pt x="65" y="45"/>
                      </a:lnTo>
                      <a:lnTo>
                        <a:pt x="60" y="56"/>
                      </a:lnTo>
                      <a:lnTo>
                        <a:pt x="55" y="64"/>
                      </a:lnTo>
                      <a:lnTo>
                        <a:pt x="46" y="72"/>
                      </a:lnTo>
                      <a:lnTo>
                        <a:pt x="36" y="80"/>
                      </a:lnTo>
                      <a:lnTo>
                        <a:pt x="12" y="94"/>
                      </a:lnTo>
                      <a:lnTo>
                        <a:pt x="6" y="99"/>
                      </a:lnTo>
                      <a:lnTo>
                        <a:pt x="0" y="105"/>
                      </a:lnTo>
                      <a:lnTo>
                        <a:pt x="6" y="111"/>
                      </a:lnTo>
                      <a:lnTo>
                        <a:pt x="9" y="117"/>
                      </a:lnTo>
                      <a:lnTo>
                        <a:pt x="17" y="130"/>
                      </a:lnTo>
                      <a:lnTo>
                        <a:pt x="22" y="130"/>
                      </a:lnTo>
                      <a:lnTo>
                        <a:pt x="26" y="131"/>
                      </a:lnTo>
                      <a:lnTo>
                        <a:pt x="36" y="133"/>
                      </a:lnTo>
                      <a:lnTo>
                        <a:pt x="46" y="134"/>
                      </a:lnTo>
                      <a:lnTo>
                        <a:pt x="54" y="137"/>
                      </a:lnTo>
                      <a:lnTo>
                        <a:pt x="61" y="140"/>
                      </a:lnTo>
                      <a:lnTo>
                        <a:pt x="68" y="144"/>
                      </a:lnTo>
                      <a:lnTo>
                        <a:pt x="75" y="146"/>
                      </a:lnTo>
                      <a:lnTo>
                        <a:pt x="82" y="147"/>
                      </a:lnTo>
                      <a:lnTo>
                        <a:pt x="89" y="151"/>
                      </a:lnTo>
                      <a:lnTo>
                        <a:pt x="92" y="155"/>
                      </a:lnTo>
                      <a:lnTo>
                        <a:pt x="93" y="156"/>
                      </a:lnTo>
                      <a:lnTo>
                        <a:pt x="94" y="157"/>
                      </a:lnTo>
                      <a:lnTo>
                        <a:pt x="99" y="156"/>
                      </a:lnTo>
                      <a:lnTo>
                        <a:pt x="102" y="156"/>
                      </a:lnTo>
                      <a:lnTo>
                        <a:pt x="103" y="156"/>
                      </a:lnTo>
                      <a:lnTo>
                        <a:pt x="105" y="159"/>
                      </a:lnTo>
                      <a:lnTo>
                        <a:pt x="106" y="163"/>
                      </a:lnTo>
                      <a:lnTo>
                        <a:pt x="106" y="165"/>
                      </a:lnTo>
                      <a:lnTo>
                        <a:pt x="107" y="168"/>
                      </a:lnTo>
                      <a:lnTo>
                        <a:pt x="111" y="169"/>
                      </a:lnTo>
                      <a:lnTo>
                        <a:pt x="116" y="168"/>
                      </a:lnTo>
                      <a:lnTo>
                        <a:pt x="120" y="168"/>
                      </a:lnTo>
                      <a:lnTo>
                        <a:pt x="125" y="168"/>
                      </a:lnTo>
                      <a:lnTo>
                        <a:pt x="131" y="168"/>
                      </a:lnTo>
                      <a:lnTo>
                        <a:pt x="138" y="170"/>
                      </a:lnTo>
                      <a:lnTo>
                        <a:pt x="150" y="175"/>
                      </a:lnTo>
                      <a:lnTo>
                        <a:pt x="154" y="169"/>
                      </a:lnTo>
                      <a:lnTo>
                        <a:pt x="158" y="164"/>
                      </a:lnTo>
                      <a:lnTo>
                        <a:pt x="164" y="162"/>
                      </a:lnTo>
                      <a:lnTo>
                        <a:pt x="171" y="159"/>
                      </a:lnTo>
                      <a:lnTo>
                        <a:pt x="177" y="159"/>
                      </a:lnTo>
                      <a:lnTo>
                        <a:pt x="182" y="160"/>
                      </a:lnTo>
                      <a:lnTo>
                        <a:pt x="187" y="162"/>
                      </a:lnTo>
                      <a:lnTo>
                        <a:pt x="192" y="164"/>
                      </a:lnTo>
                      <a:lnTo>
                        <a:pt x="193" y="162"/>
                      </a:lnTo>
                      <a:lnTo>
                        <a:pt x="195" y="162"/>
                      </a:lnTo>
                      <a:lnTo>
                        <a:pt x="197" y="162"/>
                      </a:lnTo>
                      <a:lnTo>
                        <a:pt x="199" y="162"/>
                      </a:lnTo>
                      <a:lnTo>
                        <a:pt x="200" y="162"/>
                      </a:lnTo>
                      <a:lnTo>
                        <a:pt x="202" y="15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8" name="Freeform 645">
                  <a:extLst>
                    <a:ext uri="{FF2B5EF4-FFF2-40B4-BE49-F238E27FC236}">
                      <a16:creationId xmlns:a16="http://schemas.microsoft.com/office/drawing/2014/main" id="{530DF6E3-BEB2-B24F-A70B-140933FF0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4426" y="3726001"/>
                  <a:ext cx="63635" cy="69554"/>
                </a:xfrm>
                <a:custGeom>
                  <a:avLst/>
                  <a:gdLst>
                    <a:gd name="T0" fmla="*/ 2147483647 w 47"/>
                    <a:gd name="T1" fmla="*/ 2147483647 h 47"/>
                    <a:gd name="T2" fmla="*/ 2147483647 w 47"/>
                    <a:gd name="T3" fmla="*/ 2147483647 h 47"/>
                    <a:gd name="T4" fmla="*/ 2147483647 w 47"/>
                    <a:gd name="T5" fmla="*/ 2147483647 h 47"/>
                    <a:gd name="T6" fmla="*/ 2147483647 w 47"/>
                    <a:gd name="T7" fmla="*/ 2147483647 h 47"/>
                    <a:gd name="T8" fmla="*/ 2147483647 w 47"/>
                    <a:gd name="T9" fmla="*/ 0 h 47"/>
                    <a:gd name="T10" fmla="*/ 2147483647 w 47"/>
                    <a:gd name="T11" fmla="*/ 0 h 47"/>
                    <a:gd name="T12" fmla="*/ 2147483647 w 47"/>
                    <a:gd name="T13" fmla="*/ 0 h 47"/>
                    <a:gd name="T14" fmla="*/ 2147483647 w 47"/>
                    <a:gd name="T15" fmla="*/ 2147483647 h 47"/>
                    <a:gd name="T16" fmla="*/ 2147483647 w 47"/>
                    <a:gd name="T17" fmla="*/ 2147483647 h 47"/>
                    <a:gd name="T18" fmla="*/ 2147483647 w 47"/>
                    <a:gd name="T19" fmla="*/ 2147483647 h 47"/>
                    <a:gd name="T20" fmla="*/ 0 w 47"/>
                    <a:gd name="T21" fmla="*/ 2147483647 h 47"/>
                    <a:gd name="T22" fmla="*/ 0 w 47"/>
                    <a:gd name="T23" fmla="*/ 2147483647 h 47"/>
                    <a:gd name="T24" fmla="*/ 0 w 47"/>
                    <a:gd name="T25" fmla="*/ 2147483647 h 47"/>
                    <a:gd name="T26" fmla="*/ 2147483647 w 47"/>
                    <a:gd name="T27" fmla="*/ 2147483647 h 47"/>
                    <a:gd name="T28" fmla="*/ 2147483647 w 47"/>
                    <a:gd name="T29" fmla="*/ 2147483647 h 47"/>
                    <a:gd name="T30" fmla="*/ 2147483647 w 47"/>
                    <a:gd name="T31" fmla="*/ 2147483647 h 47"/>
                    <a:gd name="T32" fmla="*/ 2147483647 w 47"/>
                    <a:gd name="T33" fmla="*/ 2147483647 h 47"/>
                    <a:gd name="T34" fmla="*/ 2147483647 w 47"/>
                    <a:gd name="T35" fmla="*/ 2147483647 h 47"/>
                    <a:gd name="T36" fmla="*/ 2147483647 w 47"/>
                    <a:gd name="T37" fmla="*/ 2147483647 h 47"/>
                    <a:gd name="T38" fmla="*/ 2147483647 w 47"/>
                    <a:gd name="T39" fmla="*/ 2147483647 h 47"/>
                    <a:gd name="T40" fmla="*/ 2147483647 w 47"/>
                    <a:gd name="T41" fmla="*/ 2147483647 h 47"/>
                    <a:gd name="T42" fmla="*/ 2147483647 w 47"/>
                    <a:gd name="T43" fmla="*/ 2147483647 h 47"/>
                    <a:gd name="T44" fmla="*/ 2147483647 w 47"/>
                    <a:gd name="T45" fmla="*/ 2147483647 h 47"/>
                    <a:gd name="T46" fmla="*/ 2147483647 w 47"/>
                    <a:gd name="T47" fmla="*/ 2147483647 h 47"/>
                    <a:gd name="T48" fmla="*/ 2147483647 w 47"/>
                    <a:gd name="T49" fmla="*/ 2147483647 h 47"/>
                    <a:gd name="T50" fmla="*/ 2147483647 w 47"/>
                    <a:gd name="T51" fmla="*/ 2147483647 h 47"/>
                    <a:gd name="T52" fmla="*/ 2147483647 w 47"/>
                    <a:gd name="T53" fmla="*/ 2147483647 h 47"/>
                    <a:gd name="T54" fmla="*/ 2147483647 w 47"/>
                    <a:gd name="T55" fmla="*/ 2147483647 h 47"/>
                    <a:gd name="T56" fmla="*/ 2147483647 w 47"/>
                    <a:gd name="T57" fmla="*/ 2147483647 h 47"/>
                    <a:gd name="T58" fmla="*/ 2147483647 w 47"/>
                    <a:gd name="T59" fmla="*/ 2147483647 h 47"/>
                    <a:gd name="T60" fmla="*/ 2147483647 w 47"/>
                    <a:gd name="T61" fmla="*/ 2147483647 h 47"/>
                    <a:gd name="T62" fmla="*/ 2147483647 w 47"/>
                    <a:gd name="T63" fmla="*/ 2147483647 h 47"/>
                    <a:gd name="T64" fmla="*/ 2147483647 w 47"/>
                    <a:gd name="T65" fmla="*/ 2147483647 h 47"/>
                    <a:gd name="T66" fmla="*/ 2147483647 w 47"/>
                    <a:gd name="T67" fmla="*/ 2147483647 h 47"/>
                    <a:gd name="T68" fmla="*/ 2147483647 w 47"/>
                    <a:gd name="T69" fmla="*/ 2147483647 h 47"/>
                    <a:gd name="T70" fmla="*/ 2147483647 w 47"/>
                    <a:gd name="T71" fmla="*/ 2147483647 h 47"/>
                    <a:gd name="T72" fmla="*/ 2147483647 w 47"/>
                    <a:gd name="T73" fmla="*/ 2147483647 h 47"/>
                    <a:gd name="T74" fmla="*/ 2147483647 w 47"/>
                    <a:gd name="T75" fmla="*/ 2147483647 h 47"/>
                    <a:gd name="T76" fmla="*/ 2147483647 w 47"/>
                    <a:gd name="T77" fmla="*/ 2147483647 h 47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47"/>
                    <a:gd name="T118" fmla="*/ 0 h 47"/>
                    <a:gd name="T119" fmla="*/ 47 w 47"/>
                    <a:gd name="T120" fmla="*/ 47 h 47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47" h="47">
                      <a:moveTo>
                        <a:pt x="42" y="5"/>
                      </a:moveTo>
                      <a:lnTo>
                        <a:pt x="42" y="5"/>
                      </a:lnTo>
                      <a:lnTo>
                        <a:pt x="37" y="3"/>
                      </a:lnTo>
                      <a:lnTo>
                        <a:pt x="32" y="1"/>
                      </a:lnTo>
                      <a:lnTo>
                        <a:pt x="27" y="0"/>
                      </a:lnTo>
                      <a:lnTo>
                        <a:pt x="21" y="0"/>
                      </a:lnTo>
                      <a:lnTo>
                        <a:pt x="14" y="3"/>
                      </a:lnTo>
                      <a:lnTo>
                        <a:pt x="8" y="5"/>
                      </a:lnTo>
                      <a:lnTo>
                        <a:pt x="4" y="10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2" y="19"/>
                      </a:lnTo>
                      <a:lnTo>
                        <a:pt x="5" y="22"/>
                      </a:lnTo>
                      <a:lnTo>
                        <a:pt x="12" y="28"/>
                      </a:lnTo>
                      <a:lnTo>
                        <a:pt x="19" y="31"/>
                      </a:lnTo>
                      <a:lnTo>
                        <a:pt x="26" y="37"/>
                      </a:lnTo>
                      <a:lnTo>
                        <a:pt x="32" y="43"/>
                      </a:lnTo>
                      <a:lnTo>
                        <a:pt x="35" y="45"/>
                      </a:lnTo>
                      <a:lnTo>
                        <a:pt x="38" y="47"/>
                      </a:lnTo>
                      <a:lnTo>
                        <a:pt x="42" y="47"/>
                      </a:lnTo>
                      <a:lnTo>
                        <a:pt x="47" y="45"/>
                      </a:lnTo>
                      <a:lnTo>
                        <a:pt x="43" y="38"/>
                      </a:lnTo>
                      <a:lnTo>
                        <a:pt x="42" y="31"/>
                      </a:lnTo>
                      <a:lnTo>
                        <a:pt x="40" y="24"/>
                      </a:lnTo>
                      <a:lnTo>
                        <a:pt x="36" y="17"/>
                      </a:lnTo>
                      <a:lnTo>
                        <a:pt x="35" y="13"/>
                      </a:lnTo>
                      <a:lnTo>
                        <a:pt x="35" y="11"/>
                      </a:lnTo>
                      <a:lnTo>
                        <a:pt x="36" y="10"/>
                      </a:lnTo>
                      <a:lnTo>
                        <a:pt x="40" y="7"/>
                      </a:lnTo>
                      <a:lnTo>
                        <a:pt x="42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9" name="Freeform 646">
                  <a:extLst>
                    <a:ext uri="{FF2B5EF4-FFF2-40B4-BE49-F238E27FC236}">
                      <a16:creationId xmlns:a16="http://schemas.microsoft.com/office/drawing/2014/main" id="{DBDAC331-86FE-8446-8E5B-38C8D00AD1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12461" y="3838471"/>
                  <a:ext cx="25157" cy="47356"/>
                </a:xfrm>
                <a:custGeom>
                  <a:avLst/>
                  <a:gdLst>
                    <a:gd name="T0" fmla="*/ 2147483647 w 19"/>
                    <a:gd name="T1" fmla="*/ 2147483647 h 32"/>
                    <a:gd name="T2" fmla="*/ 2147483647 w 19"/>
                    <a:gd name="T3" fmla="*/ 2147483647 h 32"/>
                    <a:gd name="T4" fmla="*/ 2147483647 w 19"/>
                    <a:gd name="T5" fmla="*/ 2147483647 h 32"/>
                    <a:gd name="T6" fmla="*/ 0 w 19"/>
                    <a:gd name="T7" fmla="*/ 2147483647 h 32"/>
                    <a:gd name="T8" fmla="*/ 2147483647 w 19"/>
                    <a:gd name="T9" fmla="*/ 2147483647 h 32"/>
                    <a:gd name="T10" fmla="*/ 2147483647 w 19"/>
                    <a:gd name="T11" fmla="*/ 2147483647 h 32"/>
                    <a:gd name="T12" fmla="*/ 2147483647 w 19"/>
                    <a:gd name="T13" fmla="*/ 2147483647 h 32"/>
                    <a:gd name="T14" fmla="*/ 2147483647 w 19"/>
                    <a:gd name="T15" fmla="*/ 2147483647 h 32"/>
                    <a:gd name="T16" fmla="*/ 2147483647 w 19"/>
                    <a:gd name="T17" fmla="*/ 2147483647 h 32"/>
                    <a:gd name="T18" fmla="*/ 2147483647 w 19"/>
                    <a:gd name="T19" fmla="*/ 2147483647 h 32"/>
                    <a:gd name="T20" fmla="*/ 2147483647 w 19"/>
                    <a:gd name="T21" fmla="*/ 2147483647 h 32"/>
                    <a:gd name="T22" fmla="*/ 2147483647 w 19"/>
                    <a:gd name="T23" fmla="*/ 2147483647 h 32"/>
                    <a:gd name="T24" fmla="*/ 2147483647 w 19"/>
                    <a:gd name="T25" fmla="*/ 2147483647 h 32"/>
                    <a:gd name="T26" fmla="*/ 2147483647 w 19"/>
                    <a:gd name="T27" fmla="*/ 0 h 32"/>
                    <a:gd name="T28" fmla="*/ 2147483647 w 19"/>
                    <a:gd name="T29" fmla="*/ 2147483647 h 32"/>
                    <a:gd name="T30" fmla="*/ 2147483647 w 19"/>
                    <a:gd name="T31" fmla="*/ 2147483647 h 32"/>
                    <a:gd name="T32" fmla="*/ 2147483647 w 19"/>
                    <a:gd name="T33" fmla="*/ 2147483647 h 32"/>
                    <a:gd name="T34" fmla="*/ 2147483647 w 19"/>
                    <a:gd name="T35" fmla="*/ 2147483647 h 32"/>
                    <a:gd name="T36" fmla="*/ 2147483647 w 19"/>
                    <a:gd name="T37" fmla="*/ 2147483647 h 32"/>
                    <a:gd name="T38" fmla="*/ 2147483647 w 19"/>
                    <a:gd name="T39" fmla="*/ 2147483647 h 32"/>
                    <a:gd name="T40" fmla="*/ 2147483647 w 19"/>
                    <a:gd name="T41" fmla="*/ 2147483647 h 3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9"/>
                    <a:gd name="T64" fmla="*/ 0 h 32"/>
                    <a:gd name="T65" fmla="*/ 19 w 19"/>
                    <a:gd name="T66" fmla="*/ 32 h 3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9" h="32">
                      <a:moveTo>
                        <a:pt x="15" y="32"/>
                      </a:moveTo>
                      <a:lnTo>
                        <a:pt x="10" y="32"/>
                      </a:lnTo>
                      <a:lnTo>
                        <a:pt x="5" y="30"/>
                      </a:lnTo>
                      <a:lnTo>
                        <a:pt x="0" y="25"/>
                      </a:lnTo>
                      <a:lnTo>
                        <a:pt x="3" y="23"/>
                      </a:lnTo>
                      <a:lnTo>
                        <a:pt x="3" y="19"/>
                      </a:lnTo>
                      <a:lnTo>
                        <a:pt x="4" y="17"/>
                      </a:lnTo>
                      <a:lnTo>
                        <a:pt x="6" y="14"/>
                      </a:lnTo>
                      <a:lnTo>
                        <a:pt x="8" y="12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10" y="0"/>
                      </a:lnTo>
                      <a:lnTo>
                        <a:pt x="11" y="1"/>
                      </a:lnTo>
                      <a:lnTo>
                        <a:pt x="15" y="6"/>
                      </a:lnTo>
                      <a:lnTo>
                        <a:pt x="18" y="12"/>
                      </a:lnTo>
                      <a:lnTo>
                        <a:pt x="19" y="19"/>
                      </a:lnTo>
                      <a:lnTo>
                        <a:pt x="19" y="25"/>
                      </a:lnTo>
                      <a:lnTo>
                        <a:pt x="17" y="29"/>
                      </a:lnTo>
                      <a:lnTo>
                        <a:pt x="15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0" name="Freeform 647">
                  <a:extLst>
                    <a:ext uri="{FF2B5EF4-FFF2-40B4-BE49-F238E27FC236}">
                      <a16:creationId xmlns:a16="http://schemas.microsoft.com/office/drawing/2014/main" id="{026041D8-DBEE-2548-B7F6-BA747A40D1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8017" y="3839950"/>
                  <a:ext cx="7400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2147483647 h 9"/>
                    <a:gd name="T4" fmla="*/ 2147483647 w 6"/>
                    <a:gd name="T5" fmla="*/ 2147483647 h 9"/>
                    <a:gd name="T6" fmla="*/ 2147483647 w 6"/>
                    <a:gd name="T7" fmla="*/ 2147483647 h 9"/>
                    <a:gd name="T8" fmla="*/ 0 w 6"/>
                    <a:gd name="T9" fmla="*/ 2147483647 h 9"/>
                    <a:gd name="T10" fmla="*/ 0 w 6"/>
                    <a:gd name="T11" fmla="*/ 2147483647 h 9"/>
                    <a:gd name="T12" fmla="*/ 2147483647 w 6"/>
                    <a:gd name="T13" fmla="*/ 0 h 9"/>
                    <a:gd name="T14" fmla="*/ 2147483647 w 6"/>
                    <a:gd name="T15" fmla="*/ 2147483647 h 9"/>
                    <a:gd name="T16" fmla="*/ 2147483647 w 6"/>
                    <a:gd name="T17" fmla="*/ 2147483647 h 9"/>
                    <a:gd name="T18" fmla="*/ 2147483647 w 6"/>
                    <a:gd name="T19" fmla="*/ 2147483647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9"/>
                    <a:gd name="T32" fmla="*/ 6 w 6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9">
                      <a:moveTo>
                        <a:pt x="6" y="6"/>
                      </a:moveTo>
                      <a:lnTo>
                        <a:pt x="6" y="9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6" y="3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1" name="Freeform 648">
                  <a:extLst>
                    <a:ext uri="{FF2B5EF4-FFF2-40B4-BE49-F238E27FC236}">
                      <a16:creationId xmlns:a16="http://schemas.microsoft.com/office/drawing/2014/main" id="{85DCE7FD-000B-7D4C-AAB4-CDF9844E89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10979" y="3836990"/>
                  <a:ext cx="25158" cy="47356"/>
                </a:xfrm>
                <a:custGeom>
                  <a:avLst/>
                  <a:gdLst>
                    <a:gd name="T0" fmla="*/ 2147483647 w 19"/>
                    <a:gd name="T1" fmla="*/ 2147483647 h 32"/>
                    <a:gd name="T2" fmla="*/ 2147483647 w 19"/>
                    <a:gd name="T3" fmla="*/ 2147483647 h 32"/>
                    <a:gd name="T4" fmla="*/ 2147483647 w 19"/>
                    <a:gd name="T5" fmla="*/ 2147483647 h 32"/>
                    <a:gd name="T6" fmla="*/ 2147483647 w 19"/>
                    <a:gd name="T7" fmla="*/ 2147483647 h 32"/>
                    <a:gd name="T8" fmla="*/ 2147483647 w 19"/>
                    <a:gd name="T9" fmla="*/ 2147483647 h 32"/>
                    <a:gd name="T10" fmla="*/ 0 w 19"/>
                    <a:gd name="T11" fmla="*/ 2147483647 h 32"/>
                    <a:gd name="T12" fmla="*/ 0 w 19"/>
                    <a:gd name="T13" fmla="*/ 2147483647 h 32"/>
                    <a:gd name="T14" fmla="*/ 2147483647 w 19"/>
                    <a:gd name="T15" fmla="*/ 2147483647 h 32"/>
                    <a:gd name="T16" fmla="*/ 2147483647 w 19"/>
                    <a:gd name="T17" fmla="*/ 2147483647 h 32"/>
                    <a:gd name="T18" fmla="*/ 2147483647 w 19"/>
                    <a:gd name="T19" fmla="*/ 2147483647 h 32"/>
                    <a:gd name="T20" fmla="*/ 2147483647 w 19"/>
                    <a:gd name="T21" fmla="*/ 2147483647 h 32"/>
                    <a:gd name="T22" fmla="*/ 2147483647 w 19"/>
                    <a:gd name="T23" fmla="*/ 2147483647 h 32"/>
                    <a:gd name="T24" fmla="*/ 2147483647 w 19"/>
                    <a:gd name="T25" fmla="*/ 2147483647 h 32"/>
                    <a:gd name="T26" fmla="*/ 2147483647 w 19"/>
                    <a:gd name="T27" fmla="*/ 2147483647 h 32"/>
                    <a:gd name="T28" fmla="*/ 2147483647 w 19"/>
                    <a:gd name="T29" fmla="*/ 2147483647 h 32"/>
                    <a:gd name="T30" fmla="*/ 2147483647 w 19"/>
                    <a:gd name="T31" fmla="*/ 2147483647 h 32"/>
                    <a:gd name="T32" fmla="*/ 2147483647 w 19"/>
                    <a:gd name="T33" fmla="*/ 2147483647 h 32"/>
                    <a:gd name="T34" fmla="*/ 2147483647 w 19"/>
                    <a:gd name="T35" fmla="*/ 2147483647 h 32"/>
                    <a:gd name="T36" fmla="*/ 2147483647 w 19"/>
                    <a:gd name="T37" fmla="*/ 0 h 32"/>
                    <a:gd name="T38" fmla="*/ 2147483647 w 19"/>
                    <a:gd name="T39" fmla="*/ 2147483647 h 32"/>
                    <a:gd name="T40" fmla="*/ 2147483647 w 19"/>
                    <a:gd name="T41" fmla="*/ 2147483647 h 32"/>
                    <a:gd name="T42" fmla="*/ 2147483647 w 19"/>
                    <a:gd name="T43" fmla="*/ 2147483647 h 32"/>
                    <a:gd name="T44" fmla="*/ 2147483647 w 19"/>
                    <a:gd name="T45" fmla="*/ 2147483647 h 32"/>
                    <a:gd name="T46" fmla="*/ 2147483647 w 19"/>
                    <a:gd name="T47" fmla="*/ 2147483647 h 32"/>
                    <a:gd name="T48" fmla="*/ 2147483647 w 19"/>
                    <a:gd name="T49" fmla="*/ 2147483647 h 32"/>
                    <a:gd name="T50" fmla="*/ 2147483647 w 19"/>
                    <a:gd name="T51" fmla="*/ 2147483647 h 32"/>
                    <a:gd name="T52" fmla="*/ 2147483647 w 19"/>
                    <a:gd name="T53" fmla="*/ 2147483647 h 32"/>
                    <a:gd name="T54" fmla="*/ 2147483647 w 19"/>
                    <a:gd name="T55" fmla="*/ 2147483647 h 32"/>
                    <a:gd name="T56" fmla="*/ 2147483647 w 19"/>
                    <a:gd name="T57" fmla="*/ 2147483647 h 3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9"/>
                    <a:gd name="T88" fmla="*/ 0 h 32"/>
                    <a:gd name="T89" fmla="*/ 19 w 19"/>
                    <a:gd name="T90" fmla="*/ 32 h 3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9" h="32">
                      <a:moveTo>
                        <a:pt x="15" y="32"/>
                      </a:moveTo>
                      <a:lnTo>
                        <a:pt x="15" y="32"/>
                      </a:lnTo>
                      <a:lnTo>
                        <a:pt x="10" y="32"/>
                      </a:lnTo>
                      <a:lnTo>
                        <a:pt x="5" y="30"/>
                      </a:lnTo>
                      <a:lnTo>
                        <a:pt x="0" y="25"/>
                      </a:lnTo>
                      <a:lnTo>
                        <a:pt x="2" y="23"/>
                      </a:lnTo>
                      <a:lnTo>
                        <a:pt x="2" y="19"/>
                      </a:lnTo>
                      <a:lnTo>
                        <a:pt x="4" y="17"/>
                      </a:lnTo>
                      <a:lnTo>
                        <a:pt x="6" y="14"/>
                      </a:lnTo>
                      <a:lnTo>
                        <a:pt x="7" y="12"/>
                      </a:lnTo>
                      <a:lnTo>
                        <a:pt x="7" y="9"/>
                      </a:lnTo>
                      <a:lnTo>
                        <a:pt x="7" y="6"/>
                      </a:lnTo>
                      <a:lnTo>
                        <a:pt x="7" y="4"/>
                      </a:lnTo>
                      <a:lnTo>
                        <a:pt x="9" y="1"/>
                      </a:lnTo>
                      <a:lnTo>
                        <a:pt x="10" y="0"/>
                      </a:lnTo>
                      <a:lnTo>
                        <a:pt x="11" y="1"/>
                      </a:lnTo>
                      <a:lnTo>
                        <a:pt x="15" y="6"/>
                      </a:lnTo>
                      <a:lnTo>
                        <a:pt x="18" y="12"/>
                      </a:lnTo>
                      <a:lnTo>
                        <a:pt x="19" y="19"/>
                      </a:lnTo>
                      <a:lnTo>
                        <a:pt x="19" y="25"/>
                      </a:lnTo>
                      <a:lnTo>
                        <a:pt x="16" y="28"/>
                      </a:lnTo>
                      <a:lnTo>
                        <a:pt x="15" y="3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2" name="Freeform 649">
                  <a:extLst>
                    <a:ext uri="{FF2B5EF4-FFF2-40B4-BE49-F238E27FC236}">
                      <a16:creationId xmlns:a16="http://schemas.microsoft.com/office/drawing/2014/main" id="{A61997B5-BC78-3640-95D5-C79256A1C9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6541" y="3838469"/>
                  <a:ext cx="7399" cy="11839"/>
                </a:xfrm>
                <a:custGeom>
                  <a:avLst/>
                  <a:gdLst>
                    <a:gd name="T0" fmla="*/ 2147483647 w 5"/>
                    <a:gd name="T1" fmla="*/ 2147483647 h 8"/>
                    <a:gd name="T2" fmla="*/ 2147483647 w 5"/>
                    <a:gd name="T3" fmla="*/ 2147483647 h 8"/>
                    <a:gd name="T4" fmla="*/ 2147483647 w 5"/>
                    <a:gd name="T5" fmla="*/ 2147483647 h 8"/>
                    <a:gd name="T6" fmla="*/ 2147483647 w 5"/>
                    <a:gd name="T7" fmla="*/ 2147483647 h 8"/>
                    <a:gd name="T8" fmla="*/ 2147483647 w 5"/>
                    <a:gd name="T9" fmla="*/ 2147483647 h 8"/>
                    <a:gd name="T10" fmla="*/ 2147483647 w 5"/>
                    <a:gd name="T11" fmla="*/ 2147483647 h 8"/>
                    <a:gd name="T12" fmla="*/ 0 w 5"/>
                    <a:gd name="T13" fmla="*/ 2147483647 h 8"/>
                    <a:gd name="T14" fmla="*/ 0 w 5"/>
                    <a:gd name="T15" fmla="*/ 2147483647 h 8"/>
                    <a:gd name="T16" fmla="*/ 2147483647 w 5"/>
                    <a:gd name="T17" fmla="*/ 0 h 8"/>
                    <a:gd name="T18" fmla="*/ 2147483647 w 5"/>
                    <a:gd name="T19" fmla="*/ 0 h 8"/>
                    <a:gd name="T20" fmla="*/ 2147483647 w 5"/>
                    <a:gd name="T21" fmla="*/ 2147483647 h 8"/>
                    <a:gd name="T22" fmla="*/ 2147483647 w 5"/>
                    <a:gd name="T23" fmla="*/ 2147483647 h 8"/>
                    <a:gd name="T24" fmla="*/ 2147483647 w 5"/>
                    <a:gd name="T25" fmla="*/ 2147483647 h 8"/>
                    <a:gd name="T26" fmla="*/ 2147483647 w 5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8"/>
                    <a:gd name="T44" fmla="*/ 5 w 5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8">
                      <a:moveTo>
                        <a:pt x="5" y="6"/>
                      </a:moveTo>
                      <a:lnTo>
                        <a:pt x="5" y="6"/>
                      </a:lnTo>
                      <a:lnTo>
                        <a:pt x="5" y="8"/>
                      </a:lnTo>
                      <a:lnTo>
                        <a:pt x="4" y="8"/>
                      </a:lnTo>
                      <a:lnTo>
                        <a:pt x="3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3" name="Freeform 650">
                  <a:extLst>
                    <a:ext uri="{FF2B5EF4-FFF2-40B4-BE49-F238E27FC236}">
                      <a16:creationId xmlns:a16="http://schemas.microsoft.com/office/drawing/2014/main" id="{75429337-187E-8A4B-9D3C-46F62CC934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1012" y="3684566"/>
                  <a:ext cx="494277" cy="454321"/>
                </a:xfrm>
                <a:custGeom>
                  <a:avLst/>
                  <a:gdLst>
                    <a:gd name="T0" fmla="*/ 2147483647 w 362"/>
                    <a:gd name="T1" fmla="*/ 2147483647 h 307"/>
                    <a:gd name="T2" fmla="*/ 2147483647 w 362"/>
                    <a:gd name="T3" fmla="*/ 2147483647 h 307"/>
                    <a:gd name="T4" fmla="*/ 2147483647 w 362"/>
                    <a:gd name="T5" fmla="*/ 2147483647 h 307"/>
                    <a:gd name="T6" fmla="*/ 2147483647 w 362"/>
                    <a:gd name="T7" fmla="*/ 2147483647 h 307"/>
                    <a:gd name="T8" fmla="*/ 2147483647 w 362"/>
                    <a:gd name="T9" fmla="*/ 2147483647 h 307"/>
                    <a:gd name="T10" fmla="*/ 2147483647 w 362"/>
                    <a:gd name="T11" fmla="*/ 2147483647 h 307"/>
                    <a:gd name="T12" fmla="*/ 2147483647 w 362"/>
                    <a:gd name="T13" fmla="*/ 2147483647 h 307"/>
                    <a:gd name="T14" fmla="*/ 2147483647 w 362"/>
                    <a:gd name="T15" fmla="*/ 2147483647 h 307"/>
                    <a:gd name="T16" fmla="*/ 2147483647 w 362"/>
                    <a:gd name="T17" fmla="*/ 2147483647 h 307"/>
                    <a:gd name="T18" fmla="*/ 2147483647 w 362"/>
                    <a:gd name="T19" fmla="*/ 2147483647 h 307"/>
                    <a:gd name="T20" fmla="*/ 2147483647 w 362"/>
                    <a:gd name="T21" fmla="*/ 2147483647 h 307"/>
                    <a:gd name="T22" fmla="*/ 2147483647 w 362"/>
                    <a:gd name="T23" fmla="*/ 2147483647 h 307"/>
                    <a:gd name="T24" fmla="*/ 2147483647 w 362"/>
                    <a:gd name="T25" fmla="*/ 0 h 307"/>
                    <a:gd name="T26" fmla="*/ 2147483647 w 362"/>
                    <a:gd name="T27" fmla="*/ 2147483647 h 307"/>
                    <a:gd name="T28" fmla="*/ 2147483647 w 362"/>
                    <a:gd name="T29" fmla="*/ 2147483647 h 307"/>
                    <a:gd name="T30" fmla="*/ 2147483647 w 362"/>
                    <a:gd name="T31" fmla="*/ 2147483647 h 307"/>
                    <a:gd name="T32" fmla="*/ 2147483647 w 362"/>
                    <a:gd name="T33" fmla="*/ 2147483647 h 307"/>
                    <a:gd name="T34" fmla="*/ 2147483647 w 362"/>
                    <a:gd name="T35" fmla="*/ 2147483647 h 307"/>
                    <a:gd name="T36" fmla="*/ 2147483647 w 362"/>
                    <a:gd name="T37" fmla="*/ 2147483647 h 307"/>
                    <a:gd name="T38" fmla="*/ 2147483647 w 362"/>
                    <a:gd name="T39" fmla="*/ 2147483647 h 307"/>
                    <a:gd name="T40" fmla="*/ 2147483647 w 362"/>
                    <a:gd name="T41" fmla="*/ 2147483647 h 307"/>
                    <a:gd name="T42" fmla="*/ 2147483647 w 362"/>
                    <a:gd name="T43" fmla="*/ 2147483647 h 307"/>
                    <a:gd name="T44" fmla="*/ 2147483647 w 362"/>
                    <a:gd name="T45" fmla="*/ 2147483647 h 307"/>
                    <a:gd name="T46" fmla="*/ 2147483647 w 362"/>
                    <a:gd name="T47" fmla="*/ 2147483647 h 307"/>
                    <a:gd name="T48" fmla="*/ 2147483647 w 362"/>
                    <a:gd name="T49" fmla="*/ 2147483647 h 307"/>
                    <a:gd name="T50" fmla="*/ 2147483647 w 362"/>
                    <a:gd name="T51" fmla="*/ 2147483647 h 307"/>
                    <a:gd name="T52" fmla="*/ 2147483647 w 362"/>
                    <a:gd name="T53" fmla="*/ 2147483647 h 307"/>
                    <a:gd name="T54" fmla="*/ 2147483647 w 362"/>
                    <a:gd name="T55" fmla="*/ 2147483647 h 307"/>
                    <a:gd name="T56" fmla="*/ 2147483647 w 362"/>
                    <a:gd name="T57" fmla="*/ 2147483647 h 307"/>
                    <a:gd name="T58" fmla="*/ 2147483647 w 362"/>
                    <a:gd name="T59" fmla="*/ 2147483647 h 307"/>
                    <a:gd name="T60" fmla="*/ 2147483647 w 362"/>
                    <a:gd name="T61" fmla="*/ 2147483647 h 307"/>
                    <a:gd name="T62" fmla="*/ 2147483647 w 362"/>
                    <a:gd name="T63" fmla="*/ 2147483647 h 307"/>
                    <a:gd name="T64" fmla="*/ 2147483647 w 362"/>
                    <a:gd name="T65" fmla="*/ 2147483647 h 307"/>
                    <a:gd name="T66" fmla="*/ 2147483647 w 362"/>
                    <a:gd name="T67" fmla="*/ 2147483647 h 307"/>
                    <a:gd name="T68" fmla="*/ 2147483647 w 362"/>
                    <a:gd name="T69" fmla="*/ 2147483647 h 307"/>
                    <a:gd name="T70" fmla="*/ 2147483647 w 362"/>
                    <a:gd name="T71" fmla="*/ 2147483647 h 307"/>
                    <a:gd name="T72" fmla="*/ 2147483647 w 362"/>
                    <a:gd name="T73" fmla="*/ 2147483647 h 307"/>
                    <a:gd name="T74" fmla="*/ 2147483647 w 362"/>
                    <a:gd name="T75" fmla="*/ 2147483647 h 307"/>
                    <a:gd name="T76" fmla="*/ 2147483647 w 362"/>
                    <a:gd name="T77" fmla="*/ 2147483647 h 307"/>
                    <a:gd name="T78" fmla="*/ 2147483647 w 362"/>
                    <a:gd name="T79" fmla="*/ 2147483647 h 307"/>
                    <a:gd name="T80" fmla="*/ 2147483647 w 362"/>
                    <a:gd name="T81" fmla="*/ 2147483647 h 307"/>
                    <a:gd name="T82" fmla="*/ 2147483647 w 362"/>
                    <a:gd name="T83" fmla="*/ 2147483647 h 307"/>
                    <a:gd name="T84" fmla="*/ 2147483647 w 362"/>
                    <a:gd name="T85" fmla="*/ 2147483647 h 307"/>
                    <a:gd name="T86" fmla="*/ 2147483647 w 362"/>
                    <a:gd name="T87" fmla="*/ 2147483647 h 307"/>
                    <a:gd name="T88" fmla="*/ 2147483647 w 362"/>
                    <a:gd name="T89" fmla="*/ 2147483647 h 307"/>
                    <a:gd name="T90" fmla="*/ 2147483647 w 362"/>
                    <a:gd name="T91" fmla="*/ 2147483647 h 307"/>
                    <a:gd name="T92" fmla="*/ 2147483647 w 362"/>
                    <a:gd name="T93" fmla="*/ 2147483647 h 307"/>
                    <a:gd name="T94" fmla="*/ 2147483647 w 362"/>
                    <a:gd name="T95" fmla="*/ 2147483647 h 307"/>
                    <a:gd name="T96" fmla="*/ 2147483647 w 362"/>
                    <a:gd name="T97" fmla="*/ 2147483647 h 307"/>
                    <a:gd name="T98" fmla="*/ 2147483647 w 362"/>
                    <a:gd name="T99" fmla="*/ 2147483647 h 307"/>
                    <a:gd name="T100" fmla="*/ 2147483647 w 362"/>
                    <a:gd name="T101" fmla="*/ 2147483647 h 307"/>
                    <a:gd name="T102" fmla="*/ 2147483647 w 362"/>
                    <a:gd name="T103" fmla="*/ 2147483647 h 307"/>
                    <a:gd name="T104" fmla="*/ 2147483647 w 362"/>
                    <a:gd name="T105" fmla="*/ 2147483647 h 307"/>
                    <a:gd name="T106" fmla="*/ 2147483647 w 362"/>
                    <a:gd name="T107" fmla="*/ 2147483647 h 307"/>
                    <a:gd name="T108" fmla="*/ 2147483647 w 362"/>
                    <a:gd name="T109" fmla="*/ 2147483647 h 307"/>
                    <a:gd name="T110" fmla="*/ 2147483647 w 362"/>
                    <a:gd name="T111" fmla="*/ 2147483647 h 307"/>
                    <a:gd name="T112" fmla="*/ 2147483647 w 362"/>
                    <a:gd name="T113" fmla="*/ 2147483647 h 307"/>
                    <a:gd name="T114" fmla="*/ 2147483647 w 362"/>
                    <a:gd name="T115" fmla="*/ 2147483647 h 307"/>
                    <a:gd name="T116" fmla="*/ 2147483647 w 362"/>
                    <a:gd name="T117" fmla="*/ 2147483647 h 307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62"/>
                    <a:gd name="T178" fmla="*/ 0 h 307"/>
                    <a:gd name="T179" fmla="*/ 362 w 362"/>
                    <a:gd name="T180" fmla="*/ 307 h 307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62" h="307">
                      <a:moveTo>
                        <a:pt x="242" y="75"/>
                      </a:moveTo>
                      <a:lnTo>
                        <a:pt x="236" y="76"/>
                      </a:lnTo>
                      <a:lnTo>
                        <a:pt x="233" y="76"/>
                      </a:lnTo>
                      <a:lnTo>
                        <a:pt x="229" y="75"/>
                      </a:lnTo>
                      <a:lnTo>
                        <a:pt x="226" y="72"/>
                      </a:lnTo>
                      <a:lnTo>
                        <a:pt x="220" y="66"/>
                      </a:lnTo>
                      <a:lnTo>
                        <a:pt x="214" y="60"/>
                      </a:lnTo>
                      <a:lnTo>
                        <a:pt x="206" y="57"/>
                      </a:lnTo>
                      <a:lnTo>
                        <a:pt x="200" y="51"/>
                      </a:lnTo>
                      <a:lnTo>
                        <a:pt x="196" y="48"/>
                      </a:lnTo>
                      <a:lnTo>
                        <a:pt x="195" y="46"/>
                      </a:lnTo>
                      <a:lnTo>
                        <a:pt x="195" y="45"/>
                      </a:lnTo>
                      <a:lnTo>
                        <a:pt x="182" y="40"/>
                      </a:lnTo>
                      <a:lnTo>
                        <a:pt x="175" y="38"/>
                      </a:lnTo>
                      <a:lnTo>
                        <a:pt x="169" y="38"/>
                      </a:lnTo>
                      <a:lnTo>
                        <a:pt x="164" y="38"/>
                      </a:lnTo>
                      <a:lnTo>
                        <a:pt x="160" y="38"/>
                      </a:lnTo>
                      <a:lnTo>
                        <a:pt x="155" y="39"/>
                      </a:lnTo>
                      <a:lnTo>
                        <a:pt x="151" y="38"/>
                      </a:lnTo>
                      <a:lnTo>
                        <a:pt x="150" y="35"/>
                      </a:lnTo>
                      <a:lnTo>
                        <a:pt x="150" y="33"/>
                      </a:lnTo>
                      <a:lnTo>
                        <a:pt x="149" y="29"/>
                      </a:lnTo>
                      <a:lnTo>
                        <a:pt x="148" y="26"/>
                      </a:lnTo>
                      <a:lnTo>
                        <a:pt x="146" y="26"/>
                      </a:lnTo>
                      <a:lnTo>
                        <a:pt x="144" y="26"/>
                      </a:lnTo>
                      <a:lnTo>
                        <a:pt x="139" y="27"/>
                      </a:lnTo>
                      <a:lnTo>
                        <a:pt x="137" y="26"/>
                      </a:lnTo>
                      <a:lnTo>
                        <a:pt x="136" y="25"/>
                      </a:lnTo>
                      <a:lnTo>
                        <a:pt x="134" y="21"/>
                      </a:lnTo>
                      <a:lnTo>
                        <a:pt x="126" y="18"/>
                      </a:lnTo>
                      <a:lnTo>
                        <a:pt x="120" y="16"/>
                      </a:lnTo>
                      <a:lnTo>
                        <a:pt x="112" y="14"/>
                      </a:lnTo>
                      <a:lnTo>
                        <a:pt x="106" y="11"/>
                      </a:lnTo>
                      <a:lnTo>
                        <a:pt x="98" y="7"/>
                      </a:lnTo>
                      <a:lnTo>
                        <a:pt x="90" y="5"/>
                      </a:lnTo>
                      <a:lnTo>
                        <a:pt x="80" y="3"/>
                      </a:lnTo>
                      <a:lnTo>
                        <a:pt x="70" y="1"/>
                      </a:lnTo>
                      <a:lnTo>
                        <a:pt x="66" y="0"/>
                      </a:lnTo>
                      <a:lnTo>
                        <a:pt x="61" y="0"/>
                      </a:lnTo>
                      <a:lnTo>
                        <a:pt x="50" y="1"/>
                      </a:lnTo>
                      <a:lnTo>
                        <a:pt x="40" y="3"/>
                      </a:lnTo>
                      <a:lnTo>
                        <a:pt x="31" y="7"/>
                      </a:lnTo>
                      <a:lnTo>
                        <a:pt x="28" y="8"/>
                      </a:lnTo>
                      <a:lnTo>
                        <a:pt x="27" y="11"/>
                      </a:lnTo>
                      <a:lnTo>
                        <a:pt x="27" y="12"/>
                      </a:lnTo>
                      <a:lnTo>
                        <a:pt x="28" y="14"/>
                      </a:lnTo>
                      <a:lnTo>
                        <a:pt x="35" y="19"/>
                      </a:lnTo>
                      <a:lnTo>
                        <a:pt x="45" y="28"/>
                      </a:lnTo>
                      <a:lnTo>
                        <a:pt x="35" y="37"/>
                      </a:lnTo>
                      <a:lnTo>
                        <a:pt x="24" y="46"/>
                      </a:lnTo>
                      <a:lnTo>
                        <a:pt x="22" y="47"/>
                      </a:lnTo>
                      <a:lnTo>
                        <a:pt x="18" y="46"/>
                      </a:lnTo>
                      <a:lnTo>
                        <a:pt x="9" y="44"/>
                      </a:lnTo>
                      <a:lnTo>
                        <a:pt x="5" y="44"/>
                      </a:lnTo>
                      <a:lnTo>
                        <a:pt x="0" y="45"/>
                      </a:lnTo>
                      <a:lnTo>
                        <a:pt x="2" y="52"/>
                      </a:lnTo>
                      <a:lnTo>
                        <a:pt x="3" y="59"/>
                      </a:lnTo>
                      <a:lnTo>
                        <a:pt x="2" y="73"/>
                      </a:lnTo>
                      <a:lnTo>
                        <a:pt x="2" y="75"/>
                      </a:lnTo>
                      <a:lnTo>
                        <a:pt x="4" y="75"/>
                      </a:lnTo>
                      <a:lnTo>
                        <a:pt x="7" y="75"/>
                      </a:lnTo>
                      <a:lnTo>
                        <a:pt x="9" y="76"/>
                      </a:lnTo>
                      <a:lnTo>
                        <a:pt x="9" y="77"/>
                      </a:lnTo>
                      <a:lnTo>
                        <a:pt x="9" y="79"/>
                      </a:lnTo>
                      <a:lnTo>
                        <a:pt x="9" y="82"/>
                      </a:lnTo>
                      <a:lnTo>
                        <a:pt x="12" y="84"/>
                      </a:lnTo>
                      <a:lnTo>
                        <a:pt x="14" y="84"/>
                      </a:lnTo>
                      <a:lnTo>
                        <a:pt x="17" y="85"/>
                      </a:lnTo>
                      <a:lnTo>
                        <a:pt x="18" y="86"/>
                      </a:lnTo>
                      <a:lnTo>
                        <a:pt x="22" y="102"/>
                      </a:lnTo>
                      <a:lnTo>
                        <a:pt x="24" y="109"/>
                      </a:lnTo>
                      <a:lnTo>
                        <a:pt x="28" y="115"/>
                      </a:lnTo>
                      <a:lnTo>
                        <a:pt x="32" y="121"/>
                      </a:lnTo>
                      <a:lnTo>
                        <a:pt x="36" y="126"/>
                      </a:lnTo>
                      <a:lnTo>
                        <a:pt x="37" y="131"/>
                      </a:lnTo>
                      <a:lnTo>
                        <a:pt x="37" y="137"/>
                      </a:lnTo>
                      <a:lnTo>
                        <a:pt x="37" y="141"/>
                      </a:lnTo>
                      <a:lnTo>
                        <a:pt x="38" y="146"/>
                      </a:lnTo>
                      <a:lnTo>
                        <a:pt x="41" y="148"/>
                      </a:lnTo>
                      <a:lnTo>
                        <a:pt x="43" y="152"/>
                      </a:lnTo>
                      <a:lnTo>
                        <a:pt x="46" y="153"/>
                      </a:lnTo>
                      <a:lnTo>
                        <a:pt x="50" y="155"/>
                      </a:lnTo>
                      <a:lnTo>
                        <a:pt x="57" y="156"/>
                      </a:lnTo>
                      <a:lnTo>
                        <a:pt x="59" y="158"/>
                      </a:lnTo>
                      <a:lnTo>
                        <a:pt x="59" y="159"/>
                      </a:lnTo>
                      <a:lnTo>
                        <a:pt x="59" y="162"/>
                      </a:lnTo>
                      <a:lnTo>
                        <a:pt x="65" y="169"/>
                      </a:lnTo>
                      <a:lnTo>
                        <a:pt x="70" y="179"/>
                      </a:lnTo>
                      <a:lnTo>
                        <a:pt x="73" y="187"/>
                      </a:lnTo>
                      <a:lnTo>
                        <a:pt x="73" y="197"/>
                      </a:lnTo>
                      <a:lnTo>
                        <a:pt x="73" y="201"/>
                      </a:lnTo>
                      <a:lnTo>
                        <a:pt x="73" y="206"/>
                      </a:lnTo>
                      <a:lnTo>
                        <a:pt x="74" y="210"/>
                      </a:lnTo>
                      <a:lnTo>
                        <a:pt x="76" y="213"/>
                      </a:lnTo>
                      <a:lnTo>
                        <a:pt x="76" y="214"/>
                      </a:lnTo>
                      <a:lnTo>
                        <a:pt x="76" y="216"/>
                      </a:lnTo>
                      <a:lnTo>
                        <a:pt x="76" y="223"/>
                      </a:lnTo>
                      <a:lnTo>
                        <a:pt x="78" y="229"/>
                      </a:lnTo>
                      <a:lnTo>
                        <a:pt x="82" y="233"/>
                      </a:lnTo>
                      <a:lnTo>
                        <a:pt x="85" y="237"/>
                      </a:lnTo>
                      <a:lnTo>
                        <a:pt x="92" y="241"/>
                      </a:lnTo>
                      <a:lnTo>
                        <a:pt x="97" y="244"/>
                      </a:lnTo>
                      <a:lnTo>
                        <a:pt x="111" y="248"/>
                      </a:lnTo>
                      <a:lnTo>
                        <a:pt x="112" y="249"/>
                      </a:lnTo>
                      <a:lnTo>
                        <a:pt x="112" y="250"/>
                      </a:lnTo>
                      <a:lnTo>
                        <a:pt x="116" y="262"/>
                      </a:lnTo>
                      <a:lnTo>
                        <a:pt x="117" y="268"/>
                      </a:lnTo>
                      <a:lnTo>
                        <a:pt x="121" y="273"/>
                      </a:lnTo>
                      <a:lnTo>
                        <a:pt x="123" y="276"/>
                      </a:lnTo>
                      <a:lnTo>
                        <a:pt x="127" y="280"/>
                      </a:lnTo>
                      <a:lnTo>
                        <a:pt x="130" y="283"/>
                      </a:lnTo>
                      <a:lnTo>
                        <a:pt x="132" y="288"/>
                      </a:lnTo>
                      <a:lnTo>
                        <a:pt x="134" y="297"/>
                      </a:lnTo>
                      <a:lnTo>
                        <a:pt x="139" y="307"/>
                      </a:lnTo>
                      <a:lnTo>
                        <a:pt x="141" y="305"/>
                      </a:lnTo>
                      <a:lnTo>
                        <a:pt x="144" y="303"/>
                      </a:lnTo>
                      <a:lnTo>
                        <a:pt x="151" y="303"/>
                      </a:lnTo>
                      <a:lnTo>
                        <a:pt x="159" y="303"/>
                      </a:lnTo>
                      <a:lnTo>
                        <a:pt x="165" y="303"/>
                      </a:lnTo>
                      <a:lnTo>
                        <a:pt x="182" y="302"/>
                      </a:lnTo>
                      <a:lnTo>
                        <a:pt x="197" y="302"/>
                      </a:lnTo>
                      <a:lnTo>
                        <a:pt x="211" y="303"/>
                      </a:lnTo>
                      <a:lnTo>
                        <a:pt x="226" y="302"/>
                      </a:lnTo>
                      <a:lnTo>
                        <a:pt x="230" y="299"/>
                      </a:lnTo>
                      <a:lnTo>
                        <a:pt x="233" y="295"/>
                      </a:lnTo>
                      <a:lnTo>
                        <a:pt x="234" y="292"/>
                      </a:lnTo>
                      <a:lnTo>
                        <a:pt x="235" y="288"/>
                      </a:lnTo>
                      <a:lnTo>
                        <a:pt x="236" y="286"/>
                      </a:lnTo>
                      <a:lnTo>
                        <a:pt x="258" y="280"/>
                      </a:lnTo>
                      <a:lnTo>
                        <a:pt x="281" y="273"/>
                      </a:lnTo>
                      <a:lnTo>
                        <a:pt x="300" y="265"/>
                      </a:lnTo>
                      <a:lnTo>
                        <a:pt x="318" y="258"/>
                      </a:lnTo>
                      <a:lnTo>
                        <a:pt x="334" y="250"/>
                      </a:lnTo>
                      <a:lnTo>
                        <a:pt x="347" y="243"/>
                      </a:lnTo>
                      <a:lnTo>
                        <a:pt x="348" y="241"/>
                      </a:lnTo>
                      <a:lnTo>
                        <a:pt x="349" y="237"/>
                      </a:lnTo>
                      <a:lnTo>
                        <a:pt x="352" y="231"/>
                      </a:lnTo>
                      <a:lnTo>
                        <a:pt x="358" y="219"/>
                      </a:lnTo>
                      <a:lnTo>
                        <a:pt x="362" y="206"/>
                      </a:lnTo>
                      <a:lnTo>
                        <a:pt x="362" y="200"/>
                      </a:lnTo>
                      <a:lnTo>
                        <a:pt x="362" y="193"/>
                      </a:lnTo>
                      <a:lnTo>
                        <a:pt x="361" y="187"/>
                      </a:lnTo>
                      <a:lnTo>
                        <a:pt x="358" y="181"/>
                      </a:lnTo>
                      <a:lnTo>
                        <a:pt x="357" y="182"/>
                      </a:lnTo>
                      <a:lnTo>
                        <a:pt x="355" y="184"/>
                      </a:lnTo>
                      <a:lnTo>
                        <a:pt x="351" y="184"/>
                      </a:lnTo>
                      <a:lnTo>
                        <a:pt x="338" y="180"/>
                      </a:lnTo>
                      <a:lnTo>
                        <a:pt x="325" y="178"/>
                      </a:lnTo>
                      <a:lnTo>
                        <a:pt x="300" y="173"/>
                      </a:lnTo>
                      <a:lnTo>
                        <a:pt x="295" y="171"/>
                      </a:lnTo>
                      <a:lnTo>
                        <a:pt x="292" y="169"/>
                      </a:lnTo>
                      <a:lnTo>
                        <a:pt x="290" y="167"/>
                      </a:lnTo>
                      <a:lnTo>
                        <a:pt x="290" y="163"/>
                      </a:lnTo>
                      <a:lnTo>
                        <a:pt x="289" y="156"/>
                      </a:lnTo>
                      <a:lnTo>
                        <a:pt x="287" y="152"/>
                      </a:lnTo>
                      <a:lnTo>
                        <a:pt x="286" y="147"/>
                      </a:lnTo>
                      <a:lnTo>
                        <a:pt x="285" y="146"/>
                      </a:lnTo>
                      <a:lnTo>
                        <a:pt x="282" y="144"/>
                      </a:lnTo>
                      <a:lnTo>
                        <a:pt x="281" y="142"/>
                      </a:lnTo>
                      <a:lnTo>
                        <a:pt x="282" y="136"/>
                      </a:lnTo>
                      <a:lnTo>
                        <a:pt x="277" y="134"/>
                      </a:lnTo>
                      <a:lnTo>
                        <a:pt x="272" y="129"/>
                      </a:lnTo>
                      <a:lnTo>
                        <a:pt x="271" y="128"/>
                      </a:lnTo>
                      <a:lnTo>
                        <a:pt x="269" y="124"/>
                      </a:lnTo>
                      <a:lnTo>
                        <a:pt x="267" y="120"/>
                      </a:lnTo>
                      <a:lnTo>
                        <a:pt x="266" y="115"/>
                      </a:lnTo>
                      <a:lnTo>
                        <a:pt x="264" y="110"/>
                      </a:lnTo>
                      <a:lnTo>
                        <a:pt x="264" y="104"/>
                      </a:lnTo>
                      <a:lnTo>
                        <a:pt x="264" y="101"/>
                      </a:lnTo>
                      <a:lnTo>
                        <a:pt x="263" y="97"/>
                      </a:lnTo>
                      <a:lnTo>
                        <a:pt x="259" y="94"/>
                      </a:lnTo>
                      <a:lnTo>
                        <a:pt x="254" y="92"/>
                      </a:lnTo>
                      <a:lnTo>
                        <a:pt x="252" y="91"/>
                      </a:lnTo>
                      <a:lnTo>
                        <a:pt x="250" y="88"/>
                      </a:lnTo>
                      <a:lnTo>
                        <a:pt x="249" y="82"/>
                      </a:lnTo>
                      <a:lnTo>
                        <a:pt x="248" y="79"/>
                      </a:lnTo>
                      <a:lnTo>
                        <a:pt x="245" y="78"/>
                      </a:lnTo>
                      <a:lnTo>
                        <a:pt x="242" y="7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4" name="Freeform 651">
                  <a:extLst>
                    <a:ext uri="{FF2B5EF4-FFF2-40B4-BE49-F238E27FC236}">
                      <a16:creationId xmlns:a16="http://schemas.microsoft.com/office/drawing/2014/main" id="{314CEDC6-79F5-114D-A847-A9D72F5C1F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4296" y="3856231"/>
                  <a:ext cx="130229" cy="100631"/>
                </a:xfrm>
                <a:custGeom>
                  <a:avLst/>
                  <a:gdLst>
                    <a:gd name="T0" fmla="*/ 2147483647 w 95"/>
                    <a:gd name="T1" fmla="*/ 2147483647 h 68"/>
                    <a:gd name="T2" fmla="*/ 2147483647 w 95"/>
                    <a:gd name="T3" fmla="*/ 2147483647 h 68"/>
                    <a:gd name="T4" fmla="*/ 0 w 95"/>
                    <a:gd name="T5" fmla="*/ 2147483647 h 68"/>
                    <a:gd name="T6" fmla="*/ 2147483647 w 95"/>
                    <a:gd name="T7" fmla="*/ 2147483647 h 68"/>
                    <a:gd name="T8" fmla="*/ 2147483647 w 95"/>
                    <a:gd name="T9" fmla="*/ 2147483647 h 68"/>
                    <a:gd name="T10" fmla="*/ 2147483647 w 95"/>
                    <a:gd name="T11" fmla="*/ 2147483647 h 68"/>
                    <a:gd name="T12" fmla="*/ 2147483647 w 95"/>
                    <a:gd name="T13" fmla="*/ 2147483647 h 68"/>
                    <a:gd name="T14" fmla="*/ 2147483647 w 95"/>
                    <a:gd name="T15" fmla="*/ 2147483647 h 68"/>
                    <a:gd name="T16" fmla="*/ 2147483647 w 95"/>
                    <a:gd name="T17" fmla="*/ 2147483647 h 68"/>
                    <a:gd name="T18" fmla="*/ 2147483647 w 95"/>
                    <a:gd name="T19" fmla="*/ 2147483647 h 68"/>
                    <a:gd name="T20" fmla="*/ 2147483647 w 95"/>
                    <a:gd name="T21" fmla="*/ 2147483647 h 68"/>
                    <a:gd name="T22" fmla="*/ 2147483647 w 95"/>
                    <a:gd name="T23" fmla="*/ 2147483647 h 68"/>
                    <a:gd name="T24" fmla="*/ 2147483647 w 95"/>
                    <a:gd name="T25" fmla="*/ 2147483647 h 68"/>
                    <a:gd name="T26" fmla="*/ 2147483647 w 95"/>
                    <a:gd name="T27" fmla="*/ 2147483647 h 68"/>
                    <a:gd name="T28" fmla="*/ 2147483647 w 95"/>
                    <a:gd name="T29" fmla="*/ 2147483647 h 68"/>
                    <a:gd name="T30" fmla="*/ 2147483647 w 95"/>
                    <a:gd name="T31" fmla="*/ 2147483647 h 68"/>
                    <a:gd name="T32" fmla="*/ 2147483647 w 95"/>
                    <a:gd name="T33" fmla="*/ 2147483647 h 68"/>
                    <a:gd name="T34" fmla="*/ 2147483647 w 95"/>
                    <a:gd name="T35" fmla="*/ 2147483647 h 68"/>
                    <a:gd name="T36" fmla="*/ 2147483647 w 95"/>
                    <a:gd name="T37" fmla="*/ 2147483647 h 68"/>
                    <a:gd name="T38" fmla="*/ 2147483647 w 95"/>
                    <a:gd name="T39" fmla="*/ 2147483647 h 68"/>
                    <a:gd name="T40" fmla="*/ 2147483647 w 95"/>
                    <a:gd name="T41" fmla="*/ 2147483647 h 68"/>
                    <a:gd name="T42" fmla="*/ 2147483647 w 95"/>
                    <a:gd name="T43" fmla="*/ 2147483647 h 68"/>
                    <a:gd name="T44" fmla="*/ 2147483647 w 95"/>
                    <a:gd name="T45" fmla="*/ 2147483647 h 68"/>
                    <a:gd name="T46" fmla="*/ 2147483647 w 95"/>
                    <a:gd name="T47" fmla="*/ 2147483647 h 68"/>
                    <a:gd name="T48" fmla="*/ 2147483647 w 95"/>
                    <a:gd name="T49" fmla="*/ 2147483647 h 68"/>
                    <a:gd name="T50" fmla="*/ 2147483647 w 95"/>
                    <a:gd name="T51" fmla="*/ 2147483647 h 68"/>
                    <a:gd name="T52" fmla="*/ 2147483647 w 95"/>
                    <a:gd name="T53" fmla="*/ 2147483647 h 68"/>
                    <a:gd name="T54" fmla="*/ 2147483647 w 95"/>
                    <a:gd name="T55" fmla="*/ 2147483647 h 68"/>
                    <a:gd name="T56" fmla="*/ 2147483647 w 95"/>
                    <a:gd name="T57" fmla="*/ 2147483647 h 68"/>
                    <a:gd name="T58" fmla="*/ 2147483647 w 95"/>
                    <a:gd name="T59" fmla="*/ 2147483647 h 68"/>
                    <a:gd name="T60" fmla="*/ 2147483647 w 95"/>
                    <a:gd name="T61" fmla="*/ 2147483647 h 68"/>
                    <a:gd name="T62" fmla="*/ 2147483647 w 95"/>
                    <a:gd name="T63" fmla="*/ 2147483647 h 68"/>
                    <a:gd name="T64" fmla="*/ 2147483647 w 95"/>
                    <a:gd name="T65" fmla="*/ 0 h 68"/>
                    <a:gd name="T66" fmla="*/ 2147483647 w 95"/>
                    <a:gd name="T67" fmla="*/ 2147483647 h 68"/>
                    <a:gd name="T68" fmla="*/ 2147483647 w 95"/>
                    <a:gd name="T69" fmla="*/ 2147483647 h 68"/>
                    <a:gd name="T70" fmla="*/ 2147483647 w 95"/>
                    <a:gd name="T71" fmla="*/ 2147483647 h 68"/>
                    <a:gd name="T72" fmla="*/ 2147483647 w 95"/>
                    <a:gd name="T73" fmla="*/ 2147483647 h 68"/>
                    <a:gd name="T74" fmla="*/ 2147483647 w 95"/>
                    <a:gd name="T75" fmla="*/ 2147483647 h 68"/>
                    <a:gd name="T76" fmla="*/ 2147483647 w 95"/>
                    <a:gd name="T77" fmla="*/ 2147483647 h 68"/>
                    <a:gd name="T78" fmla="*/ 2147483647 w 95"/>
                    <a:gd name="T79" fmla="*/ 2147483647 h 68"/>
                    <a:gd name="T80" fmla="*/ 2147483647 w 95"/>
                    <a:gd name="T81" fmla="*/ 2147483647 h 68"/>
                    <a:gd name="T82" fmla="*/ 2147483647 w 95"/>
                    <a:gd name="T83" fmla="*/ 2147483647 h 68"/>
                    <a:gd name="T84" fmla="*/ 2147483647 w 95"/>
                    <a:gd name="T85" fmla="*/ 2147483647 h 68"/>
                    <a:gd name="T86" fmla="*/ 2147483647 w 95"/>
                    <a:gd name="T87" fmla="*/ 2147483647 h 68"/>
                    <a:gd name="T88" fmla="*/ 2147483647 w 95"/>
                    <a:gd name="T89" fmla="*/ 2147483647 h 68"/>
                    <a:gd name="T90" fmla="*/ 2147483647 w 95"/>
                    <a:gd name="T91" fmla="*/ 2147483647 h 68"/>
                    <a:gd name="T92" fmla="*/ 2147483647 w 95"/>
                    <a:gd name="T93" fmla="*/ 2147483647 h 68"/>
                    <a:gd name="T94" fmla="*/ 2147483647 w 95"/>
                    <a:gd name="T95" fmla="*/ 2147483647 h 68"/>
                    <a:gd name="T96" fmla="*/ 2147483647 w 95"/>
                    <a:gd name="T97" fmla="*/ 2147483647 h 68"/>
                    <a:gd name="T98" fmla="*/ 2147483647 w 95"/>
                    <a:gd name="T99" fmla="*/ 2147483647 h 68"/>
                    <a:gd name="T100" fmla="*/ 2147483647 w 95"/>
                    <a:gd name="T101" fmla="*/ 2147483647 h 68"/>
                    <a:gd name="T102" fmla="*/ 2147483647 w 95"/>
                    <a:gd name="T103" fmla="*/ 2147483647 h 68"/>
                    <a:gd name="T104" fmla="*/ 2147483647 w 95"/>
                    <a:gd name="T105" fmla="*/ 2147483647 h 68"/>
                    <a:gd name="T106" fmla="*/ 2147483647 w 95"/>
                    <a:gd name="T107" fmla="*/ 2147483647 h 6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95"/>
                    <a:gd name="T163" fmla="*/ 0 h 68"/>
                    <a:gd name="T164" fmla="*/ 95 w 95"/>
                    <a:gd name="T165" fmla="*/ 68 h 6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95" h="68">
                      <a:moveTo>
                        <a:pt x="6" y="20"/>
                      </a:moveTo>
                      <a:lnTo>
                        <a:pt x="1" y="20"/>
                      </a:lnTo>
                      <a:lnTo>
                        <a:pt x="0" y="26"/>
                      </a:lnTo>
                      <a:lnTo>
                        <a:pt x="1" y="28"/>
                      </a:lnTo>
                      <a:lnTo>
                        <a:pt x="4" y="30"/>
                      </a:lnTo>
                      <a:lnTo>
                        <a:pt x="5" y="31"/>
                      </a:lnTo>
                      <a:lnTo>
                        <a:pt x="6" y="36"/>
                      </a:lnTo>
                      <a:lnTo>
                        <a:pt x="8" y="40"/>
                      </a:lnTo>
                      <a:lnTo>
                        <a:pt x="9" y="47"/>
                      </a:lnTo>
                      <a:lnTo>
                        <a:pt x="9" y="51"/>
                      </a:lnTo>
                      <a:lnTo>
                        <a:pt x="11" y="53"/>
                      </a:lnTo>
                      <a:lnTo>
                        <a:pt x="14" y="55"/>
                      </a:lnTo>
                      <a:lnTo>
                        <a:pt x="19" y="57"/>
                      </a:lnTo>
                      <a:lnTo>
                        <a:pt x="44" y="62"/>
                      </a:lnTo>
                      <a:lnTo>
                        <a:pt x="57" y="64"/>
                      </a:lnTo>
                      <a:lnTo>
                        <a:pt x="70" y="68"/>
                      </a:lnTo>
                      <a:lnTo>
                        <a:pt x="74" y="68"/>
                      </a:lnTo>
                      <a:lnTo>
                        <a:pt x="76" y="66"/>
                      </a:lnTo>
                      <a:lnTo>
                        <a:pt x="77" y="65"/>
                      </a:lnTo>
                      <a:lnTo>
                        <a:pt x="85" y="55"/>
                      </a:lnTo>
                      <a:lnTo>
                        <a:pt x="86" y="49"/>
                      </a:lnTo>
                      <a:lnTo>
                        <a:pt x="86" y="43"/>
                      </a:lnTo>
                      <a:lnTo>
                        <a:pt x="84" y="38"/>
                      </a:lnTo>
                      <a:lnTo>
                        <a:pt x="82" y="32"/>
                      </a:lnTo>
                      <a:lnTo>
                        <a:pt x="84" y="28"/>
                      </a:lnTo>
                      <a:lnTo>
                        <a:pt x="85" y="26"/>
                      </a:lnTo>
                      <a:lnTo>
                        <a:pt x="89" y="23"/>
                      </a:lnTo>
                      <a:lnTo>
                        <a:pt x="91" y="21"/>
                      </a:lnTo>
                      <a:lnTo>
                        <a:pt x="95" y="20"/>
                      </a:lnTo>
                      <a:lnTo>
                        <a:pt x="93" y="13"/>
                      </a:lnTo>
                      <a:lnTo>
                        <a:pt x="93" y="10"/>
                      </a:lnTo>
                      <a:lnTo>
                        <a:pt x="93" y="5"/>
                      </a:lnTo>
                      <a:lnTo>
                        <a:pt x="85" y="0"/>
                      </a:lnTo>
                      <a:lnTo>
                        <a:pt x="79" y="7"/>
                      </a:lnTo>
                      <a:lnTo>
                        <a:pt x="71" y="14"/>
                      </a:lnTo>
                      <a:lnTo>
                        <a:pt x="63" y="20"/>
                      </a:lnTo>
                      <a:lnTo>
                        <a:pt x="58" y="27"/>
                      </a:lnTo>
                      <a:lnTo>
                        <a:pt x="52" y="34"/>
                      </a:lnTo>
                      <a:lnTo>
                        <a:pt x="46" y="40"/>
                      </a:lnTo>
                      <a:lnTo>
                        <a:pt x="44" y="40"/>
                      </a:lnTo>
                      <a:lnTo>
                        <a:pt x="42" y="40"/>
                      </a:lnTo>
                      <a:lnTo>
                        <a:pt x="41" y="39"/>
                      </a:lnTo>
                      <a:lnTo>
                        <a:pt x="39" y="38"/>
                      </a:lnTo>
                      <a:lnTo>
                        <a:pt x="33" y="39"/>
                      </a:lnTo>
                      <a:lnTo>
                        <a:pt x="27" y="42"/>
                      </a:lnTo>
                      <a:lnTo>
                        <a:pt x="21" y="42"/>
                      </a:lnTo>
                      <a:lnTo>
                        <a:pt x="19" y="40"/>
                      </a:lnTo>
                      <a:lnTo>
                        <a:pt x="16" y="39"/>
                      </a:lnTo>
                      <a:lnTo>
                        <a:pt x="14" y="33"/>
                      </a:lnTo>
                      <a:lnTo>
                        <a:pt x="11" y="28"/>
                      </a:lnTo>
                      <a:lnTo>
                        <a:pt x="8" y="25"/>
                      </a:lnTo>
                      <a:lnTo>
                        <a:pt x="6" y="23"/>
                      </a:lnTo>
                      <a:lnTo>
                        <a:pt x="5" y="21"/>
                      </a:lnTo>
                      <a:lnTo>
                        <a:pt x="6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5" name="Freeform 652">
                  <a:extLst>
                    <a:ext uri="{FF2B5EF4-FFF2-40B4-BE49-F238E27FC236}">
                      <a16:creationId xmlns:a16="http://schemas.microsoft.com/office/drawing/2014/main" id="{F45FCDCB-9F71-6946-B035-E26552C019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9531" y="3683082"/>
                  <a:ext cx="494277" cy="454320"/>
                </a:xfrm>
                <a:custGeom>
                  <a:avLst/>
                  <a:gdLst>
                    <a:gd name="T0" fmla="*/ 2147483647 w 362"/>
                    <a:gd name="T1" fmla="*/ 2147483647 h 307"/>
                    <a:gd name="T2" fmla="*/ 2147483647 w 362"/>
                    <a:gd name="T3" fmla="*/ 2147483647 h 307"/>
                    <a:gd name="T4" fmla="*/ 2147483647 w 362"/>
                    <a:gd name="T5" fmla="*/ 2147483647 h 307"/>
                    <a:gd name="T6" fmla="*/ 2147483647 w 362"/>
                    <a:gd name="T7" fmla="*/ 2147483647 h 307"/>
                    <a:gd name="T8" fmla="*/ 2147483647 w 362"/>
                    <a:gd name="T9" fmla="*/ 2147483647 h 307"/>
                    <a:gd name="T10" fmla="*/ 2147483647 w 362"/>
                    <a:gd name="T11" fmla="*/ 2147483647 h 307"/>
                    <a:gd name="T12" fmla="*/ 2147483647 w 362"/>
                    <a:gd name="T13" fmla="*/ 2147483647 h 307"/>
                    <a:gd name="T14" fmla="*/ 2147483647 w 362"/>
                    <a:gd name="T15" fmla="*/ 2147483647 h 307"/>
                    <a:gd name="T16" fmla="*/ 2147483647 w 362"/>
                    <a:gd name="T17" fmla="*/ 2147483647 h 307"/>
                    <a:gd name="T18" fmla="*/ 2147483647 w 362"/>
                    <a:gd name="T19" fmla="*/ 2147483647 h 307"/>
                    <a:gd name="T20" fmla="*/ 2147483647 w 362"/>
                    <a:gd name="T21" fmla="*/ 2147483647 h 307"/>
                    <a:gd name="T22" fmla="*/ 2147483647 w 362"/>
                    <a:gd name="T23" fmla="*/ 2147483647 h 307"/>
                    <a:gd name="T24" fmla="*/ 2147483647 w 362"/>
                    <a:gd name="T25" fmla="*/ 0 h 307"/>
                    <a:gd name="T26" fmla="*/ 2147483647 w 362"/>
                    <a:gd name="T27" fmla="*/ 2147483647 h 307"/>
                    <a:gd name="T28" fmla="*/ 2147483647 w 362"/>
                    <a:gd name="T29" fmla="*/ 2147483647 h 307"/>
                    <a:gd name="T30" fmla="*/ 2147483647 w 362"/>
                    <a:gd name="T31" fmla="*/ 2147483647 h 307"/>
                    <a:gd name="T32" fmla="*/ 2147483647 w 362"/>
                    <a:gd name="T33" fmla="*/ 2147483647 h 307"/>
                    <a:gd name="T34" fmla="*/ 2147483647 w 362"/>
                    <a:gd name="T35" fmla="*/ 2147483647 h 307"/>
                    <a:gd name="T36" fmla="*/ 2147483647 w 362"/>
                    <a:gd name="T37" fmla="*/ 2147483647 h 307"/>
                    <a:gd name="T38" fmla="*/ 2147483647 w 362"/>
                    <a:gd name="T39" fmla="*/ 2147483647 h 307"/>
                    <a:gd name="T40" fmla="*/ 2147483647 w 362"/>
                    <a:gd name="T41" fmla="*/ 2147483647 h 307"/>
                    <a:gd name="T42" fmla="*/ 2147483647 w 362"/>
                    <a:gd name="T43" fmla="*/ 2147483647 h 307"/>
                    <a:gd name="T44" fmla="*/ 2147483647 w 362"/>
                    <a:gd name="T45" fmla="*/ 2147483647 h 307"/>
                    <a:gd name="T46" fmla="*/ 2147483647 w 362"/>
                    <a:gd name="T47" fmla="*/ 2147483647 h 307"/>
                    <a:gd name="T48" fmla="*/ 2147483647 w 362"/>
                    <a:gd name="T49" fmla="*/ 2147483647 h 307"/>
                    <a:gd name="T50" fmla="*/ 2147483647 w 362"/>
                    <a:gd name="T51" fmla="*/ 2147483647 h 307"/>
                    <a:gd name="T52" fmla="*/ 2147483647 w 362"/>
                    <a:gd name="T53" fmla="*/ 2147483647 h 307"/>
                    <a:gd name="T54" fmla="*/ 2147483647 w 362"/>
                    <a:gd name="T55" fmla="*/ 2147483647 h 307"/>
                    <a:gd name="T56" fmla="*/ 2147483647 w 362"/>
                    <a:gd name="T57" fmla="*/ 2147483647 h 307"/>
                    <a:gd name="T58" fmla="*/ 2147483647 w 362"/>
                    <a:gd name="T59" fmla="*/ 2147483647 h 307"/>
                    <a:gd name="T60" fmla="*/ 2147483647 w 362"/>
                    <a:gd name="T61" fmla="*/ 2147483647 h 307"/>
                    <a:gd name="T62" fmla="*/ 2147483647 w 362"/>
                    <a:gd name="T63" fmla="*/ 2147483647 h 307"/>
                    <a:gd name="T64" fmla="*/ 2147483647 w 362"/>
                    <a:gd name="T65" fmla="*/ 2147483647 h 307"/>
                    <a:gd name="T66" fmla="*/ 2147483647 w 362"/>
                    <a:gd name="T67" fmla="*/ 2147483647 h 307"/>
                    <a:gd name="T68" fmla="*/ 2147483647 w 362"/>
                    <a:gd name="T69" fmla="*/ 2147483647 h 307"/>
                    <a:gd name="T70" fmla="*/ 2147483647 w 362"/>
                    <a:gd name="T71" fmla="*/ 2147483647 h 307"/>
                    <a:gd name="T72" fmla="*/ 2147483647 w 362"/>
                    <a:gd name="T73" fmla="*/ 2147483647 h 307"/>
                    <a:gd name="T74" fmla="*/ 2147483647 w 362"/>
                    <a:gd name="T75" fmla="*/ 2147483647 h 307"/>
                    <a:gd name="T76" fmla="*/ 2147483647 w 362"/>
                    <a:gd name="T77" fmla="*/ 2147483647 h 307"/>
                    <a:gd name="T78" fmla="*/ 2147483647 w 362"/>
                    <a:gd name="T79" fmla="*/ 2147483647 h 307"/>
                    <a:gd name="T80" fmla="*/ 2147483647 w 362"/>
                    <a:gd name="T81" fmla="*/ 2147483647 h 307"/>
                    <a:gd name="T82" fmla="*/ 2147483647 w 362"/>
                    <a:gd name="T83" fmla="*/ 2147483647 h 307"/>
                    <a:gd name="T84" fmla="*/ 2147483647 w 362"/>
                    <a:gd name="T85" fmla="*/ 2147483647 h 307"/>
                    <a:gd name="T86" fmla="*/ 2147483647 w 362"/>
                    <a:gd name="T87" fmla="*/ 2147483647 h 307"/>
                    <a:gd name="T88" fmla="*/ 2147483647 w 362"/>
                    <a:gd name="T89" fmla="*/ 2147483647 h 307"/>
                    <a:gd name="T90" fmla="*/ 2147483647 w 362"/>
                    <a:gd name="T91" fmla="*/ 2147483647 h 307"/>
                    <a:gd name="T92" fmla="*/ 2147483647 w 362"/>
                    <a:gd name="T93" fmla="*/ 2147483647 h 307"/>
                    <a:gd name="T94" fmla="*/ 2147483647 w 362"/>
                    <a:gd name="T95" fmla="*/ 2147483647 h 307"/>
                    <a:gd name="T96" fmla="*/ 2147483647 w 362"/>
                    <a:gd name="T97" fmla="*/ 2147483647 h 307"/>
                    <a:gd name="T98" fmla="*/ 2147483647 w 362"/>
                    <a:gd name="T99" fmla="*/ 2147483647 h 307"/>
                    <a:gd name="T100" fmla="*/ 2147483647 w 362"/>
                    <a:gd name="T101" fmla="*/ 2147483647 h 307"/>
                    <a:gd name="T102" fmla="*/ 2147483647 w 362"/>
                    <a:gd name="T103" fmla="*/ 2147483647 h 307"/>
                    <a:gd name="T104" fmla="*/ 2147483647 w 362"/>
                    <a:gd name="T105" fmla="*/ 2147483647 h 307"/>
                    <a:gd name="T106" fmla="*/ 2147483647 w 362"/>
                    <a:gd name="T107" fmla="*/ 2147483647 h 307"/>
                    <a:gd name="T108" fmla="*/ 2147483647 w 362"/>
                    <a:gd name="T109" fmla="*/ 2147483647 h 307"/>
                    <a:gd name="T110" fmla="*/ 2147483647 w 362"/>
                    <a:gd name="T111" fmla="*/ 2147483647 h 307"/>
                    <a:gd name="T112" fmla="*/ 2147483647 w 362"/>
                    <a:gd name="T113" fmla="*/ 2147483647 h 307"/>
                    <a:gd name="T114" fmla="*/ 2147483647 w 362"/>
                    <a:gd name="T115" fmla="*/ 2147483647 h 307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62"/>
                    <a:gd name="T175" fmla="*/ 0 h 307"/>
                    <a:gd name="T176" fmla="*/ 362 w 362"/>
                    <a:gd name="T177" fmla="*/ 307 h 307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62" h="307">
                      <a:moveTo>
                        <a:pt x="241" y="74"/>
                      </a:moveTo>
                      <a:lnTo>
                        <a:pt x="241" y="74"/>
                      </a:lnTo>
                      <a:lnTo>
                        <a:pt x="236" y="76"/>
                      </a:lnTo>
                      <a:lnTo>
                        <a:pt x="232" y="76"/>
                      </a:lnTo>
                      <a:lnTo>
                        <a:pt x="229" y="74"/>
                      </a:lnTo>
                      <a:lnTo>
                        <a:pt x="226" y="72"/>
                      </a:lnTo>
                      <a:lnTo>
                        <a:pt x="220" y="66"/>
                      </a:lnTo>
                      <a:lnTo>
                        <a:pt x="213" y="60"/>
                      </a:lnTo>
                      <a:lnTo>
                        <a:pt x="206" y="57"/>
                      </a:lnTo>
                      <a:lnTo>
                        <a:pt x="199" y="51"/>
                      </a:lnTo>
                      <a:lnTo>
                        <a:pt x="196" y="48"/>
                      </a:lnTo>
                      <a:lnTo>
                        <a:pt x="194" y="46"/>
                      </a:lnTo>
                      <a:lnTo>
                        <a:pt x="194" y="45"/>
                      </a:lnTo>
                      <a:lnTo>
                        <a:pt x="182" y="40"/>
                      </a:lnTo>
                      <a:lnTo>
                        <a:pt x="175" y="38"/>
                      </a:lnTo>
                      <a:lnTo>
                        <a:pt x="169" y="38"/>
                      </a:lnTo>
                      <a:lnTo>
                        <a:pt x="164" y="38"/>
                      </a:lnTo>
                      <a:lnTo>
                        <a:pt x="160" y="38"/>
                      </a:lnTo>
                      <a:lnTo>
                        <a:pt x="155" y="39"/>
                      </a:lnTo>
                      <a:lnTo>
                        <a:pt x="151" y="38"/>
                      </a:lnTo>
                      <a:lnTo>
                        <a:pt x="150" y="35"/>
                      </a:lnTo>
                      <a:lnTo>
                        <a:pt x="150" y="33"/>
                      </a:lnTo>
                      <a:lnTo>
                        <a:pt x="149" y="29"/>
                      </a:lnTo>
                      <a:lnTo>
                        <a:pt x="147" y="26"/>
                      </a:lnTo>
                      <a:lnTo>
                        <a:pt x="146" y="26"/>
                      </a:lnTo>
                      <a:lnTo>
                        <a:pt x="143" y="26"/>
                      </a:lnTo>
                      <a:lnTo>
                        <a:pt x="138" y="27"/>
                      </a:lnTo>
                      <a:lnTo>
                        <a:pt x="137" y="26"/>
                      </a:lnTo>
                      <a:lnTo>
                        <a:pt x="136" y="25"/>
                      </a:lnTo>
                      <a:lnTo>
                        <a:pt x="133" y="21"/>
                      </a:lnTo>
                      <a:lnTo>
                        <a:pt x="126" y="17"/>
                      </a:lnTo>
                      <a:lnTo>
                        <a:pt x="119" y="16"/>
                      </a:lnTo>
                      <a:lnTo>
                        <a:pt x="112" y="14"/>
                      </a:lnTo>
                      <a:lnTo>
                        <a:pt x="105" y="10"/>
                      </a:lnTo>
                      <a:lnTo>
                        <a:pt x="98" y="7"/>
                      </a:lnTo>
                      <a:lnTo>
                        <a:pt x="90" y="4"/>
                      </a:lnTo>
                      <a:lnTo>
                        <a:pt x="80" y="3"/>
                      </a:lnTo>
                      <a:lnTo>
                        <a:pt x="70" y="1"/>
                      </a:lnTo>
                      <a:lnTo>
                        <a:pt x="66" y="0"/>
                      </a:lnTo>
                      <a:lnTo>
                        <a:pt x="61" y="0"/>
                      </a:lnTo>
                      <a:lnTo>
                        <a:pt x="50" y="1"/>
                      </a:lnTo>
                      <a:lnTo>
                        <a:pt x="39" y="3"/>
                      </a:lnTo>
                      <a:lnTo>
                        <a:pt x="30" y="7"/>
                      </a:lnTo>
                      <a:lnTo>
                        <a:pt x="28" y="8"/>
                      </a:lnTo>
                      <a:lnTo>
                        <a:pt x="27" y="10"/>
                      </a:lnTo>
                      <a:lnTo>
                        <a:pt x="27" y="12"/>
                      </a:lnTo>
                      <a:lnTo>
                        <a:pt x="28" y="14"/>
                      </a:lnTo>
                      <a:lnTo>
                        <a:pt x="34" y="19"/>
                      </a:lnTo>
                      <a:lnTo>
                        <a:pt x="44" y="28"/>
                      </a:lnTo>
                      <a:lnTo>
                        <a:pt x="34" y="36"/>
                      </a:lnTo>
                      <a:lnTo>
                        <a:pt x="24" y="46"/>
                      </a:lnTo>
                      <a:lnTo>
                        <a:pt x="22" y="47"/>
                      </a:lnTo>
                      <a:lnTo>
                        <a:pt x="18" y="46"/>
                      </a:lnTo>
                      <a:lnTo>
                        <a:pt x="9" y="44"/>
                      </a:lnTo>
                      <a:lnTo>
                        <a:pt x="5" y="44"/>
                      </a:lnTo>
                      <a:lnTo>
                        <a:pt x="0" y="45"/>
                      </a:lnTo>
                      <a:lnTo>
                        <a:pt x="1" y="52"/>
                      </a:lnTo>
                      <a:lnTo>
                        <a:pt x="3" y="59"/>
                      </a:lnTo>
                      <a:lnTo>
                        <a:pt x="1" y="73"/>
                      </a:lnTo>
                      <a:lnTo>
                        <a:pt x="1" y="74"/>
                      </a:lnTo>
                      <a:lnTo>
                        <a:pt x="4" y="74"/>
                      </a:lnTo>
                      <a:lnTo>
                        <a:pt x="6" y="74"/>
                      </a:lnTo>
                      <a:lnTo>
                        <a:pt x="9" y="76"/>
                      </a:lnTo>
                      <a:lnTo>
                        <a:pt x="9" y="77"/>
                      </a:lnTo>
                      <a:lnTo>
                        <a:pt x="9" y="79"/>
                      </a:lnTo>
                      <a:lnTo>
                        <a:pt x="9" y="81"/>
                      </a:lnTo>
                      <a:lnTo>
                        <a:pt x="11" y="84"/>
                      </a:lnTo>
                      <a:lnTo>
                        <a:pt x="14" y="84"/>
                      </a:lnTo>
                      <a:lnTo>
                        <a:pt x="16" y="85"/>
                      </a:lnTo>
                      <a:lnTo>
                        <a:pt x="18" y="86"/>
                      </a:lnTo>
                      <a:lnTo>
                        <a:pt x="22" y="102"/>
                      </a:lnTo>
                      <a:lnTo>
                        <a:pt x="24" y="109"/>
                      </a:lnTo>
                      <a:lnTo>
                        <a:pt x="28" y="115"/>
                      </a:lnTo>
                      <a:lnTo>
                        <a:pt x="32" y="121"/>
                      </a:lnTo>
                      <a:lnTo>
                        <a:pt x="36" y="125"/>
                      </a:lnTo>
                      <a:lnTo>
                        <a:pt x="37" y="131"/>
                      </a:lnTo>
                      <a:lnTo>
                        <a:pt x="37" y="137"/>
                      </a:lnTo>
                      <a:lnTo>
                        <a:pt x="37" y="141"/>
                      </a:lnTo>
                      <a:lnTo>
                        <a:pt x="38" y="145"/>
                      </a:lnTo>
                      <a:lnTo>
                        <a:pt x="41" y="148"/>
                      </a:lnTo>
                      <a:lnTo>
                        <a:pt x="43" y="151"/>
                      </a:lnTo>
                      <a:lnTo>
                        <a:pt x="46" y="153"/>
                      </a:lnTo>
                      <a:lnTo>
                        <a:pt x="50" y="155"/>
                      </a:lnTo>
                      <a:lnTo>
                        <a:pt x="57" y="156"/>
                      </a:lnTo>
                      <a:lnTo>
                        <a:pt x="58" y="157"/>
                      </a:lnTo>
                      <a:lnTo>
                        <a:pt x="58" y="159"/>
                      </a:lnTo>
                      <a:lnTo>
                        <a:pt x="58" y="162"/>
                      </a:lnTo>
                      <a:lnTo>
                        <a:pt x="65" y="169"/>
                      </a:lnTo>
                      <a:lnTo>
                        <a:pt x="70" y="179"/>
                      </a:lnTo>
                      <a:lnTo>
                        <a:pt x="72" y="187"/>
                      </a:lnTo>
                      <a:lnTo>
                        <a:pt x="72" y="196"/>
                      </a:lnTo>
                      <a:lnTo>
                        <a:pt x="72" y="201"/>
                      </a:lnTo>
                      <a:lnTo>
                        <a:pt x="72" y="206"/>
                      </a:lnTo>
                      <a:lnTo>
                        <a:pt x="74" y="210"/>
                      </a:lnTo>
                      <a:lnTo>
                        <a:pt x="76" y="213"/>
                      </a:lnTo>
                      <a:lnTo>
                        <a:pt x="76" y="214"/>
                      </a:lnTo>
                      <a:lnTo>
                        <a:pt x="76" y="215"/>
                      </a:lnTo>
                      <a:lnTo>
                        <a:pt x="76" y="223"/>
                      </a:lnTo>
                      <a:lnTo>
                        <a:pt x="77" y="228"/>
                      </a:lnTo>
                      <a:lnTo>
                        <a:pt x="81" y="233"/>
                      </a:lnTo>
                      <a:lnTo>
                        <a:pt x="85" y="237"/>
                      </a:lnTo>
                      <a:lnTo>
                        <a:pt x="91" y="240"/>
                      </a:lnTo>
                      <a:lnTo>
                        <a:pt x="96" y="244"/>
                      </a:lnTo>
                      <a:lnTo>
                        <a:pt x="110" y="247"/>
                      </a:lnTo>
                      <a:lnTo>
                        <a:pt x="112" y="249"/>
                      </a:lnTo>
                      <a:lnTo>
                        <a:pt x="112" y="250"/>
                      </a:lnTo>
                      <a:lnTo>
                        <a:pt x="116" y="262"/>
                      </a:lnTo>
                      <a:lnTo>
                        <a:pt x="117" y="268"/>
                      </a:lnTo>
                      <a:lnTo>
                        <a:pt x="121" y="272"/>
                      </a:lnTo>
                      <a:lnTo>
                        <a:pt x="123" y="276"/>
                      </a:lnTo>
                      <a:lnTo>
                        <a:pt x="127" y="279"/>
                      </a:lnTo>
                      <a:lnTo>
                        <a:pt x="130" y="283"/>
                      </a:lnTo>
                      <a:lnTo>
                        <a:pt x="132" y="288"/>
                      </a:lnTo>
                      <a:lnTo>
                        <a:pt x="133" y="297"/>
                      </a:lnTo>
                      <a:lnTo>
                        <a:pt x="138" y="307"/>
                      </a:lnTo>
                      <a:lnTo>
                        <a:pt x="141" y="304"/>
                      </a:lnTo>
                      <a:lnTo>
                        <a:pt x="143" y="303"/>
                      </a:lnTo>
                      <a:lnTo>
                        <a:pt x="151" y="303"/>
                      </a:lnTo>
                      <a:lnTo>
                        <a:pt x="159" y="303"/>
                      </a:lnTo>
                      <a:lnTo>
                        <a:pt x="165" y="303"/>
                      </a:lnTo>
                      <a:lnTo>
                        <a:pt x="182" y="302"/>
                      </a:lnTo>
                      <a:lnTo>
                        <a:pt x="197" y="302"/>
                      </a:lnTo>
                      <a:lnTo>
                        <a:pt x="211" y="303"/>
                      </a:lnTo>
                      <a:lnTo>
                        <a:pt x="226" y="302"/>
                      </a:lnTo>
                      <a:lnTo>
                        <a:pt x="230" y="298"/>
                      </a:lnTo>
                      <a:lnTo>
                        <a:pt x="232" y="295"/>
                      </a:lnTo>
                      <a:lnTo>
                        <a:pt x="234" y="291"/>
                      </a:lnTo>
                      <a:lnTo>
                        <a:pt x="235" y="288"/>
                      </a:lnTo>
                      <a:lnTo>
                        <a:pt x="236" y="285"/>
                      </a:lnTo>
                      <a:lnTo>
                        <a:pt x="258" y="279"/>
                      </a:lnTo>
                      <a:lnTo>
                        <a:pt x="281" y="272"/>
                      </a:lnTo>
                      <a:lnTo>
                        <a:pt x="300" y="265"/>
                      </a:lnTo>
                      <a:lnTo>
                        <a:pt x="317" y="258"/>
                      </a:lnTo>
                      <a:lnTo>
                        <a:pt x="334" y="250"/>
                      </a:lnTo>
                      <a:lnTo>
                        <a:pt x="347" y="243"/>
                      </a:lnTo>
                      <a:lnTo>
                        <a:pt x="348" y="240"/>
                      </a:lnTo>
                      <a:lnTo>
                        <a:pt x="349" y="237"/>
                      </a:lnTo>
                      <a:lnTo>
                        <a:pt x="352" y="231"/>
                      </a:lnTo>
                      <a:lnTo>
                        <a:pt x="358" y="219"/>
                      </a:lnTo>
                      <a:lnTo>
                        <a:pt x="362" y="206"/>
                      </a:lnTo>
                      <a:lnTo>
                        <a:pt x="362" y="200"/>
                      </a:lnTo>
                      <a:lnTo>
                        <a:pt x="362" y="193"/>
                      </a:lnTo>
                      <a:lnTo>
                        <a:pt x="361" y="187"/>
                      </a:lnTo>
                      <a:lnTo>
                        <a:pt x="358" y="181"/>
                      </a:lnTo>
                      <a:lnTo>
                        <a:pt x="357" y="182"/>
                      </a:lnTo>
                      <a:lnTo>
                        <a:pt x="354" y="183"/>
                      </a:lnTo>
                      <a:lnTo>
                        <a:pt x="350" y="183"/>
                      </a:lnTo>
                      <a:lnTo>
                        <a:pt x="338" y="180"/>
                      </a:lnTo>
                      <a:lnTo>
                        <a:pt x="325" y="178"/>
                      </a:lnTo>
                      <a:lnTo>
                        <a:pt x="300" y="173"/>
                      </a:lnTo>
                      <a:lnTo>
                        <a:pt x="295" y="170"/>
                      </a:lnTo>
                      <a:lnTo>
                        <a:pt x="292" y="169"/>
                      </a:lnTo>
                      <a:lnTo>
                        <a:pt x="290" y="167"/>
                      </a:lnTo>
                      <a:lnTo>
                        <a:pt x="290" y="163"/>
                      </a:lnTo>
                      <a:lnTo>
                        <a:pt x="288" y="156"/>
                      </a:lnTo>
                      <a:lnTo>
                        <a:pt x="287" y="151"/>
                      </a:lnTo>
                      <a:lnTo>
                        <a:pt x="286" y="147"/>
                      </a:lnTo>
                      <a:lnTo>
                        <a:pt x="284" y="145"/>
                      </a:lnTo>
                      <a:lnTo>
                        <a:pt x="282" y="144"/>
                      </a:lnTo>
                      <a:lnTo>
                        <a:pt x="281" y="142"/>
                      </a:lnTo>
                      <a:lnTo>
                        <a:pt x="282" y="136"/>
                      </a:lnTo>
                      <a:lnTo>
                        <a:pt x="277" y="134"/>
                      </a:lnTo>
                      <a:lnTo>
                        <a:pt x="272" y="129"/>
                      </a:lnTo>
                      <a:lnTo>
                        <a:pt x="270" y="128"/>
                      </a:lnTo>
                      <a:lnTo>
                        <a:pt x="269" y="124"/>
                      </a:lnTo>
                      <a:lnTo>
                        <a:pt x="267" y="119"/>
                      </a:lnTo>
                      <a:lnTo>
                        <a:pt x="265" y="115"/>
                      </a:lnTo>
                      <a:lnTo>
                        <a:pt x="264" y="110"/>
                      </a:lnTo>
                      <a:lnTo>
                        <a:pt x="264" y="104"/>
                      </a:lnTo>
                      <a:lnTo>
                        <a:pt x="264" y="100"/>
                      </a:lnTo>
                      <a:lnTo>
                        <a:pt x="263" y="97"/>
                      </a:lnTo>
                      <a:lnTo>
                        <a:pt x="259" y="93"/>
                      </a:lnTo>
                      <a:lnTo>
                        <a:pt x="254" y="92"/>
                      </a:lnTo>
                      <a:lnTo>
                        <a:pt x="251" y="91"/>
                      </a:lnTo>
                      <a:lnTo>
                        <a:pt x="250" y="87"/>
                      </a:lnTo>
                      <a:lnTo>
                        <a:pt x="249" y="81"/>
                      </a:lnTo>
                      <a:lnTo>
                        <a:pt x="248" y="79"/>
                      </a:lnTo>
                      <a:lnTo>
                        <a:pt x="245" y="78"/>
                      </a:lnTo>
                      <a:lnTo>
                        <a:pt x="241" y="7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6" name="Freeform 653">
                  <a:extLst>
                    <a:ext uri="{FF2B5EF4-FFF2-40B4-BE49-F238E27FC236}">
                      <a16:creationId xmlns:a16="http://schemas.microsoft.com/office/drawing/2014/main" id="{B4D3F809-9B3E-EF45-A5C6-E146C4F334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2816" y="3854750"/>
                  <a:ext cx="130229" cy="99150"/>
                </a:xfrm>
                <a:custGeom>
                  <a:avLst/>
                  <a:gdLst>
                    <a:gd name="T0" fmla="*/ 2147483647 w 95"/>
                    <a:gd name="T1" fmla="*/ 2147483647 h 67"/>
                    <a:gd name="T2" fmla="*/ 2147483647 w 95"/>
                    <a:gd name="T3" fmla="*/ 2147483647 h 67"/>
                    <a:gd name="T4" fmla="*/ 2147483647 w 95"/>
                    <a:gd name="T5" fmla="*/ 2147483647 h 67"/>
                    <a:gd name="T6" fmla="*/ 2147483647 w 95"/>
                    <a:gd name="T7" fmla="*/ 2147483647 h 67"/>
                    <a:gd name="T8" fmla="*/ 2147483647 w 95"/>
                    <a:gd name="T9" fmla="*/ 2147483647 h 67"/>
                    <a:gd name="T10" fmla="*/ 2147483647 w 95"/>
                    <a:gd name="T11" fmla="*/ 2147483647 h 67"/>
                    <a:gd name="T12" fmla="*/ 2147483647 w 95"/>
                    <a:gd name="T13" fmla="*/ 2147483647 h 67"/>
                    <a:gd name="T14" fmla="*/ 2147483647 w 95"/>
                    <a:gd name="T15" fmla="*/ 2147483647 h 67"/>
                    <a:gd name="T16" fmla="*/ 2147483647 w 95"/>
                    <a:gd name="T17" fmla="*/ 2147483647 h 67"/>
                    <a:gd name="T18" fmla="*/ 2147483647 w 95"/>
                    <a:gd name="T19" fmla="*/ 2147483647 h 67"/>
                    <a:gd name="T20" fmla="*/ 2147483647 w 95"/>
                    <a:gd name="T21" fmla="*/ 2147483647 h 67"/>
                    <a:gd name="T22" fmla="*/ 2147483647 w 95"/>
                    <a:gd name="T23" fmla="*/ 2147483647 h 67"/>
                    <a:gd name="T24" fmla="*/ 2147483647 w 95"/>
                    <a:gd name="T25" fmla="*/ 2147483647 h 67"/>
                    <a:gd name="T26" fmla="*/ 2147483647 w 95"/>
                    <a:gd name="T27" fmla="*/ 2147483647 h 67"/>
                    <a:gd name="T28" fmla="*/ 2147483647 w 95"/>
                    <a:gd name="T29" fmla="*/ 2147483647 h 67"/>
                    <a:gd name="T30" fmla="*/ 2147483647 w 95"/>
                    <a:gd name="T31" fmla="*/ 2147483647 h 67"/>
                    <a:gd name="T32" fmla="*/ 2147483647 w 95"/>
                    <a:gd name="T33" fmla="*/ 2147483647 h 67"/>
                    <a:gd name="T34" fmla="*/ 2147483647 w 95"/>
                    <a:gd name="T35" fmla="*/ 2147483647 h 67"/>
                    <a:gd name="T36" fmla="*/ 2147483647 w 95"/>
                    <a:gd name="T37" fmla="*/ 2147483647 h 67"/>
                    <a:gd name="T38" fmla="*/ 2147483647 w 95"/>
                    <a:gd name="T39" fmla="*/ 2147483647 h 67"/>
                    <a:gd name="T40" fmla="*/ 2147483647 w 95"/>
                    <a:gd name="T41" fmla="*/ 2147483647 h 67"/>
                    <a:gd name="T42" fmla="*/ 2147483647 w 95"/>
                    <a:gd name="T43" fmla="*/ 0 h 67"/>
                    <a:gd name="T44" fmla="*/ 2147483647 w 95"/>
                    <a:gd name="T45" fmla="*/ 2147483647 h 67"/>
                    <a:gd name="T46" fmla="*/ 2147483647 w 95"/>
                    <a:gd name="T47" fmla="*/ 2147483647 h 67"/>
                    <a:gd name="T48" fmla="*/ 2147483647 w 95"/>
                    <a:gd name="T49" fmla="*/ 2147483647 h 67"/>
                    <a:gd name="T50" fmla="*/ 2147483647 w 95"/>
                    <a:gd name="T51" fmla="*/ 2147483647 h 67"/>
                    <a:gd name="T52" fmla="*/ 2147483647 w 95"/>
                    <a:gd name="T53" fmla="*/ 2147483647 h 67"/>
                    <a:gd name="T54" fmla="*/ 2147483647 w 95"/>
                    <a:gd name="T55" fmla="*/ 2147483647 h 67"/>
                    <a:gd name="T56" fmla="*/ 2147483647 w 95"/>
                    <a:gd name="T57" fmla="*/ 2147483647 h 67"/>
                    <a:gd name="T58" fmla="*/ 2147483647 w 95"/>
                    <a:gd name="T59" fmla="*/ 2147483647 h 67"/>
                    <a:gd name="T60" fmla="*/ 2147483647 w 95"/>
                    <a:gd name="T61" fmla="*/ 2147483647 h 67"/>
                    <a:gd name="T62" fmla="*/ 2147483647 w 95"/>
                    <a:gd name="T63" fmla="*/ 2147483647 h 67"/>
                    <a:gd name="T64" fmla="*/ 2147483647 w 95"/>
                    <a:gd name="T65" fmla="*/ 2147483647 h 67"/>
                    <a:gd name="T66" fmla="*/ 2147483647 w 95"/>
                    <a:gd name="T67" fmla="*/ 2147483647 h 67"/>
                    <a:gd name="T68" fmla="*/ 2147483647 w 95"/>
                    <a:gd name="T69" fmla="*/ 2147483647 h 67"/>
                    <a:gd name="T70" fmla="*/ 2147483647 w 95"/>
                    <a:gd name="T71" fmla="*/ 2147483647 h 6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95"/>
                    <a:gd name="T109" fmla="*/ 0 h 67"/>
                    <a:gd name="T110" fmla="*/ 95 w 95"/>
                    <a:gd name="T111" fmla="*/ 67 h 6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95" h="67">
                      <a:moveTo>
                        <a:pt x="6" y="20"/>
                      </a:moveTo>
                      <a:lnTo>
                        <a:pt x="6" y="20"/>
                      </a:lnTo>
                      <a:lnTo>
                        <a:pt x="1" y="20"/>
                      </a:lnTo>
                      <a:lnTo>
                        <a:pt x="0" y="26"/>
                      </a:lnTo>
                      <a:lnTo>
                        <a:pt x="1" y="28"/>
                      </a:lnTo>
                      <a:lnTo>
                        <a:pt x="3" y="29"/>
                      </a:lnTo>
                      <a:lnTo>
                        <a:pt x="5" y="31"/>
                      </a:lnTo>
                      <a:lnTo>
                        <a:pt x="6" y="35"/>
                      </a:lnTo>
                      <a:lnTo>
                        <a:pt x="7" y="40"/>
                      </a:lnTo>
                      <a:lnTo>
                        <a:pt x="9" y="47"/>
                      </a:lnTo>
                      <a:lnTo>
                        <a:pt x="9" y="51"/>
                      </a:lnTo>
                      <a:lnTo>
                        <a:pt x="11" y="53"/>
                      </a:lnTo>
                      <a:lnTo>
                        <a:pt x="14" y="54"/>
                      </a:lnTo>
                      <a:lnTo>
                        <a:pt x="19" y="57"/>
                      </a:lnTo>
                      <a:lnTo>
                        <a:pt x="44" y="62"/>
                      </a:lnTo>
                      <a:lnTo>
                        <a:pt x="57" y="64"/>
                      </a:lnTo>
                      <a:lnTo>
                        <a:pt x="69" y="67"/>
                      </a:lnTo>
                      <a:lnTo>
                        <a:pt x="73" y="67"/>
                      </a:lnTo>
                      <a:lnTo>
                        <a:pt x="76" y="66"/>
                      </a:lnTo>
                      <a:lnTo>
                        <a:pt x="77" y="65"/>
                      </a:lnTo>
                      <a:lnTo>
                        <a:pt x="85" y="54"/>
                      </a:lnTo>
                      <a:lnTo>
                        <a:pt x="86" y="48"/>
                      </a:lnTo>
                      <a:lnTo>
                        <a:pt x="86" y="43"/>
                      </a:lnTo>
                      <a:lnTo>
                        <a:pt x="83" y="38"/>
                      </a:lnTo>
                      <a:lnTo>
                        <a:pt x="82" y="32"/>
                      </a:lnTo>
                      <a:lnTo>
                        <a:pt x="83" y="28"/>
                      </a:lnTo>
                      <a:lnTo>
                        <a:pt x="85" y="26"/>
                      </a:lnTo>
                      <a:lnTo>
                        <a:pt x="89" y="22"/>
                      </a:lnTo>
                      <a:lnTo>
                        <a:pt x="91" y="21"/>
                      </a:lnTo>
                      <a:lnTo>
                        <a:pt x="95" y="20"/>
                      </a:lnTo>
                      <a:lnTo>
                        <a:pt x="92" y="13"/>
                      </a:lnTo>
                      <a:lnTo>
                        <a:pt x="92" y="9"/>
                      </a:lnTo>
                      <a:lnTo>
                        <a:pt x="92" y="5"/>
                      </a:lnTo>
                      <a:lnTo>
                        <a:pt x="85" y="0"/>
                      </a:lnTo>
                      <a:lnTo>
                        <a:pt x="78" y="7"/>
                      </a:lnTo>
                      <a:lnTo>
                        <a:pt x="71" y="14"/>
                      </a:lnTo>
                      <a:lnTo>
                        <a:pt x="63" y="20"/>
                      </a:lnTo>
                      <a:lnTo>
                        <a:pt x="58" y="27"/>
                      </a:lnTo>
                      <a:lnTo>
                        <a:pt x="52" y="34"/>
                      </a:lnTo>
                      <a:lnTo>
                        <a:pt x="45" y="40"/>
                      </a:lnTo>
                      <a:lnTo>
                        <a:pt x="44" y="40"/>
                      </a:lnTo>
                      <a:lnTo>
                        <a:pt x="42" y="40"/>
                      </a:lnTo>
                      <a:lnTo>
                        <a:pt x="40" y="39"/>
                      </a:lnTo>
                      <a:lnTo>
                        <a:pt x="39" y="38"/>
                      </a:lnTo>
                      <a:lnTo>
                        <a:pt x="33" y="39"/>
                      </a:lnTo>
                      <a:lnTo>
                        <a:pt x="26" y="41"/>
                      </a:lnTo>
                      <a:lnTo>
                        <a:pt x="21" y="41"/>
                      </a:lnTo>
                      <a:lnTo>
                        <a:pt x="19" y="40"/>
                      </a:lnTo>
                      <a:lnTo>
                        <a:pt x="16" y="39"/>
                      </a:lnTo>
                      <a:lnTo>
                        <a:pt x="14" y="33"/>
                      </a:lnTo>
                      <a:lnTo>
                        <a:pt x="11" y="28"/>
                      </a:lnTo>
                      <a:lnTo>
                        <a:pt x="7" y="25"/>
                      </a:lnTo>
                      <a:lnTo>
                        <a:pt x="6" y="22"/>
                      </a:lnTo>
                      <a:lnTo>
                        <a:pt x="5" y="21"/>
                      </a:lnTo>
                      <a:lnTo>
                        <a:pt x="6" y="2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7" name="Freeform 654">
                  <a:extLst>
                    <a:ext uri="{FF2B5EF4-FFF2-40B4-BE49-F238E27FC236}">
                      <a16:creationId xmlns:a16="http://schemas.microsoft.com/office/drawing/2014/main" id="{79D5142A-138B-7E4A-9FD0-2E837DC262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4296" y="3885827"/>
                  <a:ext cx="207182" cy="260457"/>
                </a:xfrm>
                <a:custGeom>
                  <a:avLst/>
                  <a:gdLst>
                    <a:gd name="T0" fmla="*/ 2147483647 w 152"/>
                    <a:gd name="T1" fmla="*/ 2147483647 h 176"/>
                    <a:gd name="T2" fmla="*/ 2147483647 w 152"/>
                    <a:gd name="T3" fmla="*/ 2147483647 h 176"/>
                    <a:gd name="T4" fmla="*/ 2147483647 w 152"/>
                    <a:gd name="T5" fmla="*/ 2147483647 h 176"/>
                    <a:gd name="T6" fmla="*/ 2147483647 w 152"/>
                    <a:gd name="T7" fmla="*/ 2147483647 h 176"/>
                    <a:gd name="T8" fmla="*/ 2147483647 w 152"/>
                    <a:gd name="T9" fmla="*/ 2147483647 h 176"/>
                    <a:gd name="T10" fmla="*/ 2147483647 w 152"/>
                    <a:gd name="T11" fmla="*/ 2147483647 h 176"/>
                    <a:gd name="T12" fmla="*/ 0 w 152"/>
                    <a:gd name="T13" fmla="*/ 2147483647 h 176"/>
                    <a:gd name="T14" fmla="*/ 2147483647 w 152"/>
                    <a:gd name="T15" fmla="*/ 2147483647 h 176"/>
                    <a:gd name="T16" fmla="*/ 2147483647 w 152"/>
                    <a:gd name="T17" fmla="*/ 2147483647 h 176"/>
                    <a:gd name="T18" fmla="*/ 2147483647 w 152"/>
                    <a:gd name="T19" fmla="*/ 2147483647 h 176"/>
                    <a:gd name="T20" fmla="*/ 2147483647 w 152"/>
                    <a:gd name="T21" fmla="*/ 2147483647 h 176"/>
                    <a:gd name="T22" fmla="*/ 2147483647 w 152"/>
                    <a:gd name="T23" fmla="*/ 2147483647 h 176"/>
                    <a:gd name="T24" fmla="*/ 2147483647 w 152"/>
                    <a:gd name="T25" fmla="*/ 2147483647 h 176"/>
                    <a:gd name="T26" fmla="*/ 2147483647 w 152"/>
                    <a:gd name="T27" fmla="*/ 2147483647 h 176"/>
                    <a:gd name="T28" fmla="*/ 2147483647 w 152"/>
                    <a:gd name="T29" fmla="*/ 2147483647 h 176"/>
                    <a:gd name="T30" fmla="*/ 2147483647 w 152"/>
                    <a:gd name="T31" fmla="*/ 2147483647 h 176"/>
                    <a:gd name="T32" fmla="*/ 2147483647 w 152"/>
                    <a:gd name="T33" fmla="*/ 2147483647 h 176"/>
                    <a:gd name="T34" fmla="*/ 2147483647 w 152"/>
                    <a:gd name="T35" fmla="*/ 2147483647 h 176"/>
                    <a:gd name="T36" fmla="*/ 2147483647 w 152"/>
                    <a:gd name="T37" fmla="*/ 2147483647 h 176"/>
                    <a:gd name="T38" fmla="*/ 2147483647 w 152"/>
                    <a:gd name="T39" fmla="*/ 2147483647 h 176"/>
                    <a:gd name="T40" fmla="*/ 2147483647 w 152"/>
                    <a:gd name="T41" fmla="*/ 2147483647 h 176"/>
                    <a:gd name="T42" fmla="*/ 2147483647 w 152"/>
                    <a:gd name="T43" fmla="*/ 2147483647 h 176"/>
                    <a:gd name="T44" fmla="*/ 2147483647 w 152"/>
                    <a:gd name="T45" fmla="*/ 2147483647 h 176"/>
                    <a:gd name="T46" fmla="*/ 2147483647 w 152"/>
                    <a:gd name="T47" fmla="*/ 2147483647 h 176"/>
                    <a:gd name="T48" fmla="*/ 2147483647 w 152"/>
                    <a:gd name="T49" fmla="*/ 2147483647 h 176"/>
                    <a:gd name="T50" fmla="*/ 2147483647 w 152"/>
                    <a:gd name="T51" fmla="*/ 2147483647 h 176"/>
                    <a:gd name="T52" fmla="*/ 2147483647 w 152"/>
                    <a:gd name="T53" fmla="*/ 2147483647 h 176"/>
                    <a:gd name="T54" fmla="*/ 2147483647 w 152"/>
                    <a:gd name="T55" fmla="*/ 2147483647 h 176"/>
                    <a:gd name="T56" fmla="*/ 2147483647 w 152"/>
                    <a:gd name="T57" fmla="*/ 2147483647 h 176"/>
                    <a:gd name="T58" fmla="*/ 2147483647 w 152"/>
                    <a:gd name="T59" fmla="*/ 2147483647 h 176"/>
                    <a:gd name="T60" fmla="*/ 2147483647 w 152"/>
                    <a:gd name="T61" fmla="*/ 2147483647 h 176"/>
                    <a:gd name="T62" fmla="*/ 2147483647 w 152"/>
                    <a:gd name="T63" fmla="*/ 2147483647 h 176"/>
                    <a:gd name="T64" fmla="*/ 2147483647 w 152"/>
                    <a:gd name="T65" fmla="*/ 2147483647 h 176"/>
                    <a:gd name="T66" fmla="*/ 2147483647 w 152"/>
                    <a:gd name="T67" fmla="*/ 2147483647 h 176"/>
                    <a:gd name="T68" fmla="*/ 2147483647 w 152"/>
                    <a:gd name="T69" fmla="*/ 2147483647 h 176"/>
                    <a:gd name="T70" fmla="*/ 2147483647 w 152"/>
                    <a:gd name="T71" fmla="*/ 2147483647 h 176"/>
                    <a:gd name="T72" fmla="*/ 2147483647 w 152"/>
                    <a:gd name="T73" fmla="*/ 2147483647 h 176"/>
                    <a:gd name="T74" fmla="*/ 2147483647 w 152"/>
                    <a:gd name="T75" fmla="*/ 2147483647 h 176"/>
                    <a:gd name="T76" fmla="*/ 2147483647 w 152"/>
                    <a:gd name="T77" fmla="*/ 2147483647 h 176"/>
                    <a:gd name="T78" fmla="*/ 2147483647 w 152"/>
                    <a:gd name="T79" fmla="*/ 2147483647 h 176"/>
                    <a:gd name="T80" fmla="*/ 2147483647 w 152"/>
                    <a:gd name="T81" fmla="*/ 2147483647 h 176"/>
                    <a:gd name="T82" fmla="*/ 2147483647 w 152"/>
                    <a:gd name="T83" fmla="*/ 2147483647 h 176"/>
                    <a:gd name="T84" fmla="*/ 2147483647 w 152"/>
                    <a:gd name="T85" fmla="*/ 0 h 176"/>
                    <a:gd name="T86" fmla="*/ 2147483647 w 152"/>
                    <a:gd name="T87" fmla="*/ 2147483647 h 176"/>
                    <a:gd name="T88" fmla="*/ 2147483647 w 152"/>
                    <a:gd name="T89" fmla="*/ 2147483647 h 176"/>
                    <a:gd name="T90" fmla="*/ 2147483647 w 152"/>
                    <a:gd name="T91" fmla="*/ 2147483647 h 176"/>
                    <a:gd name="T92" fmla="*/ 2147483647 w 152"/>
                    <a:gd name="T93" fmla="*/ 2147483647 h 176"/>
                    <a:gd name="T94" fmla="*/ 2147483647 w 152"/>
                    <a:gd name="T95" fmla="*/ 2147483647 h 17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52"/>
                    <a:gd name="T145" fmla="*/ 0 h 176"/>
                    <a:gd name="T146" fmla="*/ 152 w 152"/>
                    <a:gd name="T147" fmla="*/ 176 h 17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52" h="176">
                      <a:moveTo>
                        <a:pt x="77" y="45"/>
                      </a:moveTo>
                      <a:lnTo>
                        <a:pt x="80" y="51"/>
                      </a:lnTo>
                      <a:lnTo>
                        <a:pt x="81" y="57"/>
                      </a:lnTo>
                      <a:lnTo>
                        <a:pt x="81" y="64"/>
                      </a:lnTo>
                      <a:lnTo>
                        <a:pt x="81" y="70"/>
                      </a:lnTo>
                      <a:lnTo>
                        <a:pt x="77" y="83"/>
                      </a:lnTo>
                      <a:lnTo>
                        <a:pt x="71" y="95"/>
                      </a:lnTo>
                      <a:lnTo>
                        <a:pt x="68" y="101"/>
                      </a:lnTo>
                      <a:lnTo>
                        <a:pt x="67" y="105"/>
                      </a:lnTo>
                      <a:lnTo>
                        <a:pt x="66" y="107"/>
                      </a:lnTo>
                      <a:lnTo>
                        <a:pt x="53" y="114"/>
                      </a:lnTo>
                      <a:lnTo>
                        <a:pt x="37" y="122"/>
                      </a:lnTo>
                      <a:lnTo>
                        <a:pt x="19" y="129"/>
                      </a:lnTo>
                      <a:lnTo>
                        <a:pt x="0" y="137"/>
                      </a:lnTo>
                      <a:lnTo>
                        <a:pt x="14" y="157"/>
                      </a:lnTo>
                      <a:lnTo>
                        <a:pt x="20" y="167"/>
                      </a:lnTo>
                      <a:lnTo>
                        <a:pt x="29" y="176"/>
                      </a:lnTo>
                      <a:lnTo>
                        <a:pt x="33" y="174"/>
                      </a:lnTo>
                      <a:lnTo>
                        <a:pt x="37" y="173"/>
                      </a:lnTo>
                      <a:lnTo>
                        <a:pt x="46" y="171"/>
                      </a:lnTo>
                      <a:lnTo>
                        <a:pt x="51" y="170"/>
                      </a:lnTo>
                      <a:lnTo>
                        <a:pt x="52" y="169"/>
                      </a:lnTo>
                      <a:lnTo>
                        <a:pt x="54" y="165"/>
                      </a:lnTo>
                      <a:lnTo>
                        <a:pt x="58" y="164"/>
                      </a:lnTo>
                      <a:lnTo>
                        <a:pt x="63" y="164"/>
                      </a:lnTo>
                      <a:lnTo>
                        <a:pt x="67" y="164"/>
                      </a:lnTo>
                      <a:lnTo>
                        <a:pt x="71" y="163"/>
                      </a:lnTo>
                      <a:lnTo>
                        <a:pt x="76" y="159"/>
                      </a:lnTo>
                      <a:lnTo>
                        <a:pt x="79" y="156"/>
                      </a:lnTo>
                      <a:lnTo>
                        <a:pt x="79" y="151"/>
                      </a:lnTo>
                      <a:lnTo>
                        <a:pt x="81" y="150"/>
                      </a:lnTo>
                      <a:lnTo>
                        <a:pt x="84" y="148"/>
                      </a:lnTo>
                      <a:lnTo>
                        <a:pt x="89" y="147"/>
                      </a:lnTo>
                      <a:lnTo>
                        <a:pt x="95" y="147"/>
                      </a:lnTo>
                      <a:lnTo>
                        <a:pt x="98" y="147"/>
                      </a:lnTo>
                      <a:lnTo>
                        <a:pt x="99" y="146"/>
                      </a:lnTo>
                      <a:lnTo>
                        <a:pt x="100" y="140"/>
                      </a:lnTo>
                      <a:lnTo>
                        <a:pt x="100" y="137"/>
                      </a:lnTo>
                      <a:lnTo>
                        <a:pt x="101" y="133"/>
                      </a:lnTo>
                      <a:lnTo>
                        <a:pt x="107" y="129"/>
                      </a:lnTo>
                      <a:lnTo>
                        <a:pt x="110" y="128"/>
                      </a:lnTo>
                      <a:lnTo>
                        <a:pt x="113" y="128"/>
                      </a:lnTo>
                      <a:lnTo>
                        <a:pt x="115" y="127"/>
                      </a:lnTo>
                      <a:lnTo>
                        <a:pt x="117" y="126"/>
                      </a:lnTo>
                      <a:lnTo>
                        <a:pt x="117" y="123"/>
                      </a:lnTo>
                      <a:lnTo>
                        <a:pt x="117" y="115"/>
                      </a:lnTo>
                      <a:lnTo>
                        <a:pt x="115" y="108"/>
                      </a:lnTo>
                      <a:lnTo>
                        <a:pt x="115" y="105"/>
                      </a:lnTo>
                      <a:lnTo>
                        <a:pt x="115" y="101"/>
                      </a:lnTo>
                      <a:lnTo>
                        <a:pt x="118" y="97"/>
                      </a:lnTo>
                      <a:lnTo>
                        <a:pt x="121" y="95"/>
                      </a:lnTo>
                      <a:lnTo>
                        <a:pt x="122" y="94"/>
                      </a:lnTo>
                      <a:lnTo>
                        <a:pt x="123" y="94"/>
                      </a:lnTo>
                      <a:lnTo>
                        <a:pt x="126" y="96"/>
                      </a:lnTo>
                      <a:lnTo>
                        <a:pt x="128" y="99"/>
                      </a:lnTo>
                      <a:lnTo>
                        <a:pt x="132" y="101"/>
                      </a:lnTo>
                      <a:lnTo>
                        <a:pt x="134" y="101"/>
                      </a:lnTo>
                      <a:lnTo>
                        <a:pt x="137" y="100"/>
                      </a:lnTo>
                      <a:lnTo>
                        <a:pt x="137" y="97"/>
                      </a:lnTo>
                      <a:lnTo>
                        <a:pt x="137" y="95"/>
                      </a:lnTo>
                      <a:lnTo>
                        <a:pt x="137" y="87"/>
                      </a:lnTo>
                      <a:lnTo>
                        <a:pt x="138" y="83"/>
                      </a:lnTo>
                      <a:lnTo>
                        <a:pt x="142" y="78"/>
                      </a:lnTo>
                      <a:lnTo>
                        <a:pt x="148" y="70"/>
                      </a:lnTo>
                      <a:lnTo>
                        <a:pt x="150" y="68"/>
                      </a:lnTo>
                      <a:lnTo>
                        <a:pt x="150" y="65"/>
                      </a:lnTo>
                      <a:lnTo>
                        <a:pt x="150" y="63"/>
                      </a:lnTo>
                      <a:lnTo>
                        <a:pt x="151" y="61"/>
                      </a:lnTo>
                      <a:lnTo>
                        <a:pt x="152" y="57"/>
                      </a:lnTo>
                      <a:lnTo>
                        <a:pt x="151" y="55"/>
                      </a:lnTo>
                      <a:lnTo>
                        <a:pt x="146" y="50"/>
                      </a:lnTo>
                      <a:lnTo>
                        <a:pt x="140" y="45"/>
                      </a:lnTo>
                      <a:lnTo>
                        <a:pt x="136" y="39"/>
                      </a:lnTo>
                      <a:lnTo>
                        <a:pt x="132" y="35"/>
                      </a:lnTo>
                      <a:lnTo>
                        <a:pt x="129" y="27"/>
                      </a:lnTo>
                      <a:lnTo>
                        <a:pt x="128" y="26"/>
                      </a:lnTo>
                      <a:lnTo>
                        <a:pt x="127" y="26"/>
                      </a:lnTo>
                      <a:lnTo>
                        <a:pt x="124" y="25"/>
                      </a:lnTo>
                      <a:lnTo>
                        <a:pt x="115" y="24"/>
                      </a:lnTo>
                      <a:lnTo>
                        <a:pt x="107" y="20"/>
                      </a:lnTo>
                      <a:lnTo>
                        <a:pt x="103" y="18"/>
                      </a:lnTo>
                      <a:lnTo>
                        <a:pt x="99" y="16"/>
                      </a:lnTo>
                      <a:lnTo>
                        <a:pt x="96" y="12"/>
                      </a:lnTo>
                      <a:lnTo>
                        <a:pt x="95" y="7"/>
                      </a:lnTo>
                      <a:lnTo>
                        <a:pt x="95" y="4"/>
                      </a:lnTo>
                      <a:lnTo>
                        <a:pt x="95" y="0"/>
                      </a:lnTo>
                      <a:lnTo>
                        <a:pt x="91" y="1"/>
                      </a:lnTo>
                      <a:lnTo>
                        <a:pt x="89" y="3"/>
                      </a:lnTo>
                      <a:lnTo>
                        <a:pt x="85" y="6"/>
                      </a:lnTo>
                      <a:lnTo>
                        <a:pt x="84" y="8"/>
                      </a:lnTo>
                      <a:lnTo>
                        <a:pt x="82" y="12"/>
                      </a:lnTo>
                      <a:lnTo>
                        <a:pt x="84" y="18"/>
                      </a:lnTo>
                      <a:lnTo>
                        <a:pt x="86" y="23"/>
                      </a:lnTo>
                      <a:lnTo>
                        <a:pt x="86" y="29"/>
                      </a:lnTo>
                      <a:lnTo>
                        <a:pt x="85" y="35"/>
                      </a:lnTo>
                      <a:lnTo>
                        <a:pt x="77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8" name="Freeform 655">
                  <a:extLst>
                    <a:ext uri="{FF2B5EF4-FFF2-40B4-BE49-F238E27FC236}">
                      <a16:creationId xmlns:a16="http://schemas.microsoft.com/office/drawing/2014/main" id="{21788095-7A44-9E40-A568-F4851521BC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4328" y="3487739"/>
                  <a:ext cx="165746" cy="170185"/>
                </a:xfrm>
                <a:custGeom>
                  <a:avLst/>
                  <a:gdLst>
                    <a:gd name="T0" fmla="*/ 2147483647 w 122"/>
                    <a:gd name="T1" fmla="*/ 2147483647 h 115"/>
                    <a:gd name="T2" fmla="*/ 2147483647 w 122"/>
                    <a:gd name="T3" fmla="*/ 2147483647 h 115"/>
                    <a:gd name="T4" fmla="*/ 2147483647 w 122"/>
                    <a:gd name="T5" fmla="*/ 2147483647 h 115"/>
                    <a:gd name="T6" fmla="*/ 2147483647 w 122"/>
                    <a:gd name="T7" fmla="*/ 2147483647 h 115"/>
                    <a:gd name="T8" fmla="*/ 2147483647 w 122"/>
                    <a:gd name="T9" fmla="*/ 2147483647 h 115"/>
                    <a:gd name="T10" fmla="*/ 2147483647 w 122"/>
                    <a:gd name="T11" fmla="*/ 2147483647 h 115"/>
                    <a:gd name="T12" fmla="*/ 2147483647 w 122"/>
                    <a:gd name="T13" fmla="*/ 2147483647 h 115"/>
                    <a:gd name="T14" fmla="*/ 2147483647 w 122"/>
                    <a:gd name="T15" fmla="*/ 2147483647 h 115"/>
                    <a:gd name="T16" fmla="*/ 2147483647 w 122"/>
                    <a:gd name="T17" fmla="*/ 2147483647 h 115"/>
                    <a:gd name="T18" fmla="*/ 2147483647 w 122"/>
                    <a:gd name="T19" fmla="*/ 2147483647 h 115"/>
                    <a:gd name="T20" fmla="*/ 2147483647 w 122"/>
                    <a:gd name="T21" fmla="*/ 2147483647 h 115"/>
                    <a:gd name="T22" fmla="*/ 2147483647 w 122"/>
                    <a:gd name="T23" fmla="*/ 2147483647 h 115"/>
                    <a:gd name="T24" fmla="*/ 2147483647 w 122"/>
                    <a:gd name="T25" fmla="*/ 2147483647 h 115"/>
                    <a:gd name="T26" fmla="*/ 2147483647 w 122"/>
                    <a:gd name="T27" fmla="*/ 2147483647 h 115"/>
                    <a:gd name="T28" fmla="*/ 2147483647 w 122"/>
                    <a:gd name="T29" fmla="*/ 2147483647 h 115"/>
                    <a:gd name="T30" fmla="*/ 2147483647 w 122"/>
                    <a:gd name="T31" fmla="*/ 2147483647 h 115"/>
                    <a:gd name="T32" fmla="*/ 0 w 122"/>
                    <a:gd name="T33" fmla="*/ 2147483647 h 115"/>
                    <a:gd name="T34" fmla="*/ 2147483647 w 122"/>
                    <a:gd name="T35" fmla="*/ 2147483647 h 115"/>
                    <a:gd name="T36" fmla="*/ 2147483647 w 122"/>
                    <a:gd name="T37" fmla="*/ 2147483647 h 115"/>
                    <a:gd name="T38" fmla="*/ 2147483647 w 122"/>
                    <a:gd name="T39" fmla="*/ 2147483647 h 115"/>
                    <a:gd name="T40" fmla="*/ 2147483647 w 122"/>
                    <a:gd name="T41" fmla="*/ 2147483647 h 115"/>
                    <a:gd name="T42" fmla="*/ 2147483647 w 122"/>
                    <a:gd name="T43" fmla="*/ 2147483647 h 115"/>
                    <a:gd name="T44" fmla="*/ 2147483647 w 122"/>
                    <a:gd name="T45" fmla="*/ 2147483647 h 115"/>
                    <a:gd name="T46" fmla="*/ 2147483647 w 122"/>
                    <a:gd name="T47" fmla="*/ 2147483647 h 115"/>
                    <a:gd name="T48" fmla="*/ 2147483647 w 122"/>
                    <a:gd name="T49" fmla="*/ 2147483647 h 115"/>
                    <a:gd name="T50" fmla="*/ 2147483647 w 122"/>
                    <a:gd name="T51" fmla="*/ 2147483647 h 115"/>
                    <a:gd name="T52" fmla="*/ 2147483647 w 122"/>
                    <a:gd name="T53" fmla="*/ 2147483647 h 115"/>
                    <a:gd name="T54" fmla="*/ 2147483647 w 122"/>
                    <a:gd name="T55" fmla="*/ 2147483647 h 115"/>
                    <a:gd name="T56" fmla="*/ 2147483647 w 122"/>
                    <a:gd name="T57" fmla="*/ 2147483647 h 115"/>
                    <a:gd name="T58" fmla="*/ 2147483647 w 122"/>
                    <a:gd name="T59" fmla="*/ 2147483647 h 115"/>
                    <a:gd name="T60" fmla="*/ 2147483647 w 122"/>
                    <a:gd name="T61" fmla="*/ 2147483647 h 115"/>
                    <a:gd name="T62" fmla="*/ 2147483647 w 122"/>
                    <a:gd name="T63" fmla="*/ 0 h 115"/>
                    <a:gd name="T64" fmla="*/ 2147483647 w 122"/>
                    <a:gd name="T65" fmla="*/ 2147483647 h 11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22"/>
                    <a:gd name="T100" fmla="*/ 0 h 115"/>
                    <a:gd name="T101" fmla="*/ 122 w 122"/>
                    <a:gd name="T102" fmla="*/ 115 h 11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22" h="115">
                      <a:moveTo>
                        <a:pt x="122" y="7"/>
                      </a:moveTo>
                      <a:lnTo>
                        <a:pt x="119" y="8"/>
                      </a:lnTo>
                      <a:lnTo>
                        <a:pt x="113" y="12"/>
                      </a:lnTo>
                      <a:lnTo>
                        <a:pt x="110" y="17"/>
                      </a:lnTo>
                      <a:lnTo>
                        <a:pt x="107" y="23"/>
                      </a:lnTo>
                      <a:lnTo>
                        <a:pt x="106" y="26"/>
                      </a:lnTo>
                      <a:lnTo>
                        <a:pt x="103" y="38"/>
                      </a:lnTo>
                      <a:lnTo>
                        <a:pt x="99" y="49"/>
                      </a:lnTo>
                      <a:lnTo>
                        <a:pt x="94" y="59"/>
                      </a:lnTo>
                      <a:lnTo>
                        <a:pt x="89" y="68"/>
                      </a:lnTo>
                      <a:lnTo>
                        <a:pt x="80" y="75"/>
                      </a:lnTo>
                      <a:lnTo>
                        <a:pt x="70" y="83"/>
                      </a:lnTo>
                      <a:lnTo>
                        <a:pt x="46" y="97"/>
                      </a:lnTo>
                      <a:lnTo>
                        <a:pt x="40" y="102"/>
                      </a:lnTo>
                      <a:lnTo>
                        <a:pt x="35" y="108"/>
                      </a:lnTo>
                      <a:lnTo>
                        <a:pt x="28" y="112"/>
                      </a:lnTo>
                      <a:lnTo>
                        <a:pt x="22" y="115"/>
                      </a:lnTo>
                      <a:lnTo>
                        <a:pt x="19" y="115"/>
                      </a:lnTo>
                      <a:lnTo>
                        <a:pt x="16" y="114"/>
                      </a:lnTo>
                      <a:lnTo>
                        <a:pt x="4" y="107"/>
                      </a:lnTo>
                      <a:lnTo>
                        <a:pt x="5" y="102"/>
                      </a:lnTo>
                      <a:lnTo>
                        <a:pt x="8" y="96"/>
                      </a:lnTo>
                      <a:lnTo>
                        <a:pt x="12" y="89"/>
                      </a:lnTo>
                      <a:lnTo>
                        <a:pt x="21" y="77"/>
                      </a:lnTo>
                      <a:lnTo>
                        <a:pt x="21" y="76"/>
                      </a:lnTo>
                      <a:lnTo>
                        <a:pt x="22" y="74"/>
                      </a:lnTo>
                      <a:lnTo>
                        <a:pt x="21" y="69"/>
                      </a:lnTo>
                      <a:lnTo>
                        <a:pt x="17" y="65"/>
                      </a:lnTo>
                      <a:lnTo>
                        <a:pt x="12" y="63"/>
                      </a:lnTo>
                      <a:lnTo>
                        <a:pt x="11" y="63"/>
                      </a:lnTo>
                      <a:lnTo>
                        <a:pt x="8" y="63"/>
                      </a:lnTo>
                      <a:lnTo>
                        <a:pt x="3" y="65"/>
                      </a:lnTo>
                      <a:lnTo>
                        <a:pt x="0" y="62"/>
                      </a:lnTo>
                      <a:lnTo>
                        <a:pt x="0" y="57"/>
                      </a:lnTo>
                      <a:lnTo>
                        <a:pt x="2" y="52"/>
                      </a:lnTo>
                      <a:lnTo>
                        <a:pt x="7" y="44"/>
                      </a:lnTo>
                      <a:lnTo>
                        <a:pt x="8" y="39"/>
                      </a:lnTo>
                      <a:lnTo>
                        <a:pt x="12" y="39"/>
                      </a:lnTo>
                      <a:lnTo>
                        <a:pt x="16" y="38"/>
                      </a:lnTo>
                      <a:lnTo>
                        <a:pt x="18" y="36"/>
                      </a:lnTo>
                      <a:lnTo>
                        <a:pt x="21" y="33"/>
                      </a:lnTo>
                      <a:lnTo>
                        <a:pt x="23" y="26"/>
                      </a:lnTo>
                      <a:lnTo>
                        <a:pt x="23" y="18"/>
                      </a:lnTo>
                      <a:lnTo>
                        <a:pt x="25" y="17"/>
                      </a:lnTo>
                      <a:lnTo>
                        <a:pt x="26" y="14"/>
                      </a:lnTo>
                      <a:lnTo>
                        <a:pt x="27" y="14"/>
                      </a:lnTo>
                      <a:lnTo>
                        <a:pt x="30" y="14"/>
                      </a:lnTo>
                      <a:lnTo>
                        <a:pt x="37" y="18"/>
                      </a:lnTo>
                      <a:lnTo>
                        <a:pt x="42" y="19"/>
                      </a:lnTo>
                      <a:lnTo>
                        <a:pt x="46" y="19"/>
                      </a:lnTo>
                      <a:lnTo>
                        <a:pt x="50" y="18"/>
                      </a:lnTo>
                      <a:lnTo>
                        <a:pt x="54" y="15"/>
                      </a:lnTo>
                      <a:lnTo>
                        <a:pt x="59" y="12"/>
                      </a:lnTo>
                      <a:lnTo>
                        <a:pt x="63" y="12"/>
                      </a:lnTo>
                      <a:lnTo>
                        <a:pt x="66" y="12"/>
                      </a:lnTo>
                      <a:lnTo>
                        <a:pt x="73" y="13"/>
                      </a:lnTo>
                      <a:lnTo>
                        <a:pt x="82" y="13"/>
                      </a:lnTo>
                      <a:lnTo>
                        <a:pt x="88" y="11"/>
                      </a:lnTo>
                      <a:lnTo>
                        <a:pt x="91" y="8"/>
                      </a:lnTo>
                      <a:lnTo>
                        <a:pt x="92" y="7"/>
                      </a:lnTo>
                      <a:lnTo>
                        <a:pt x="97" y="6"/>
                      </a:lnTo>
                      <a:lnTo>
                        <a:pt x="102" y="5"/>
                      </a:lnTo>
                      <a:lnTo>
                        <a:pt x="108" y="0"/>
                      </a:lnTo>
                      <a:lnTo>
                        <a:pt x="112" y="0"/>
                      </a:lnTo>
                      <a:lnTo>
                        <a:pt x="116" y="1"/>
                      </a:lnTo>
                      <a:lnTo>
                        <a:pt x="122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9" name="Freeform 657">
                  <a:extLst>
                    <a:ext uri="{FF2B5EF4-FFF2-40B4-BE49-F238E27FC236}">
                      <a16:creationId xmlns:a16="http://schemas.microsoft.com/office/drawing/2014/main" id="{9807C282-B54C-9741-A482-0ADA8E6240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2848" y="3486260"/>
                  <a:ext cx="165746" cy="170186"/>
                </a:xfrm>
                <a:custGeom>
                  <a:avLst/>
                  <a:gdLst>
                    <a:gd name="T0" fmla="*/ 2147483647 w 122"/>
                    <a:gd name="T1" fmla="*/ 2147483647 h 115"/>
                    <a:gd name="T2" fmla="*/ 2147483647 w 122"/>
                    <a:gd name="T3" fmla="*/ 2147483647 h 115"/>
                    <a:gd name="T4" fmla="*/ 2147483647 w 122"/>
                    <a:gd name="T5" fmla="*/ 2147483647 h 115"/>
                    <a:gd name="T6" fmla="*/ 2147483647 w 122"/>
                    <a:gd name="T7" fmla="*/ 2147483647 h 115"/>
                    <a:gd name="T8" fmla="*/ 2147483647 w 122"/>
                    <a:gd name="T9" fmla="*/ 2147483647 h 115"/>
                    <a:gd name="T10" fmla="*/ 2147483647 w 122"/>
                    <a:gd name="T11" fmla="*/ 2147483647 h 115"/>
                    <a:gd name="T12" fmla="*/ 2147483647 w 122"/>
                    <a:gd name="T13" fmla="*/ 2147483647 h 115"/>
                    <a:gd name="T14" fmla="*/ 2147483647 w 122"/>
                    <a:gd name="T15" fmla="*/ 2147483647 h 115"/>
                    <a:gd name="T16" fmla="*/ 2147483647 w 122"/>
                    <a:gd name="T17" fmla="*/ 2147483647 h 115"/>
                    <a:gd name="T18" fmla="*/ 2147483647 w 122"/>
                    <a:gd name="T19" fmla="*/ 2147483647 h 115"/>
                    <a:gd name="T20" fmla="*/ 2147483647 w 122"/>
                    <a:gd name="T21" fmla="*/ 2147483647 h 115"/>
                    <a:gd name="T22" fmla="*/ 2147483647 w 122"/>
                    <a:gd name="T23" fmla="*/ 2147483647 h 115"/>
                    <a:gd name="T24" fmla="*/ 2147483647 w 122"/>
                    <a:gd name="T25" fmla="*/ 2147483647 h 115"/>
                    <a:gd name="T26" fmla="*/ 2147483647 w 122"/>
                    <a:gd name="T27" fmla="*/ 2147483647 h 115"/>
                    <a:gd name="T28" fmla="*/ 2147483647 w 122"/>
                    <a:gd name="T29" fmla="*/ 2147483647 h 115"/>
                    <a:gd name="T30" fmla="*/ 2147483647 w 122"/>
                    <a:gd name="T31" fmla="*/ 2147483647 h 115"/>
                    <a:gd name="T32" fmla="*/ 2147483647 w 122"/>
                    <a:gd name="T33" fmla="*/ 2147483647 h 115"/>
                    <a:gd name="T34" fmla="*/ 2147483647 w 122"/>
                    <a:gd name="T35" fmla="*/ 2147483647 h 115"/>
                    <a:gd name="T36" fmla="*/ 2147483647 w 122"/>
                    <a:gd name="T37" fmla="*/ 2147483647 h 115"/>
                    <a:gd name="T38" fmla="*/ 2147483647 w 122"/>
                    <a:gd name="T39" fmla="*/ 2147483647 h 115"/>
                    <a:gd name="T40" fmla="*/ 2147483647 w 122"/>
                    <a:gd name="T41" fmla="*/ 2147483647 h 115"/>
                    <a:gd name="T42" fmla="*/ 2147483647 w 122"/>
                    <a:gd name="T43" fmla="*/ 2147483647 h 115"/>
                    <a:gd name="T44" fmla="*/ 0 w 122"/>
                    <a:gd name="T45" fmla="*/ 2147483647 h 115"/>
                    <a:gd name="T46" fmla="*/ 0 w 122"/>
                    <a:gd name="T47" fmla="*/ 2147483647 h 115"/>
                    <a:gd name="T48" fmla="*/ 2147483647 w 122"/>
                    <a:gd name="T49" fmla="*/ 2147483647 h 115"/>
                    <a:gd name="T50" fmla="*/ 2147483647 w 122"/>
                    <a:gd name="T51" fmla="*/ 2147483647 h 115"/>
                    <a:gd name="T52" fmla="*/ 2147483647 w 122"/>
                    <a:gd name="T53" fmla="*/ 2147483647 h 115"/>
                    <a:gd name="T54" fmla="*/ 2147483647 w 122"/>
                    <a:gd name="T55" fmla="*/ 2147483647 h 115"/>
                    <a:gd name="T56" fmla="*/ 2147483647 w 122"/>
                    <a:gd name="T57" fmla="*/ 2147483647 h 115"/>
                    <a:gd name="T58" fmla="*/ 2147483647 w 122"/>
                    <a:gd name="T59" fmla="*/ 2147483647 h 115"/>
                    <a:gd name="T60" fmla="*/ 2147483647 w 122"/>
                    <a:gd name="T61" fmla="*/ 2147483647 h 115"/>
                    <a:gd name="T62" fmla="*/ 2147483647 w 122"/>
                    <a:gd name="T63" fmla="*/ 2147483647 h 115"/>
                    <a:gd name="T64" fmla="*/ 2147483647 w 122"/>
                    <a:gd name="T65" fmla="*/ 2147483647 h 115"/>
                    <a:gd name="T66" fmla="*/ 2147483647 w 122"/>
                    <a:gd name="T67" fmla="*/ 2147483647 h 115"/>
                    <a:gd name="T68" fmla="*/ 2147483647 w 122"/>
                    <a:gd name="T69" fmla="*/ 2147483647 h 115"/>
                    <a:gd name="T70" fmla="*/ 2147483647 w 122"/>
                    <a:gd name="T71" fmla="*/ 2147483647 h 115"/>
                    <a:gd name="T72" fmla="*/ 2147483647 w 122"/>
                    <a:gd name="T73" fmla="*/ 2147483647 h 115"/>
                    <a:gd name="T74" fmla="*/ 2147483647 w 122"/>
                    <a:gd name="T75" fmla="*/ 2147483647 h 115"/>
                    <a:gd name="T76" fmla="*/ 2147483647 w 122"/>
                    <a:gd name="T77" fmla="*/ 2147483647 h 115"/>
                    <a:gd name="T78" fmla="*/ 2147483647 w 122"/>
                    <a:gd name="T79" fmla="*/ 2147483647 h 115"/>
                    <a:gd name="T80" fmla="*/ 2147483647 w 122"/>
                    <a:gd name="T81" fmla="*/ 2147483647 h 115"/>
                    <a:gd name="T82" fmla="*/ 2147483647 w 122"/>
                    <a:gd name="T83" fmla="*/ 2147483647 h 115"/>
                    <a:gd name="T84" fmla="*/ 2147483647 w 122"/>
                    <a:gd name="T85" fmla="*/ 2147483647 h 115"/>
                    <a:gd name="T86" fmla="*/ 2147483647 w 122"/>
                    <a:gd name="T87" fmla="*/ 0 h 115"/>
                    <a:gd name="T88" fmla="*/ 2147483647 w 122"/>
                    <a:gd name="T89" fmla="*/ 2147483647 h 115"/>
                    <a:gd name="T90" fmla="*/ 2147483647 w 122"/>
                    <a:gd name="T91" fmla="*/ 2147483647 h 11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22"/>
                    <a:gd name="T139" fmla="*/ 0 h 115"/>
                    <a:gd name="T140" fmla="*/ 122 w 122"/>
                    <a:gd name="T141" fmla="*/ 115 h 11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22" h="115">
                      <a:moveTo>
                        <a:pt x="122" y="7"/>
                      </a:moveTo>
                      <a:lnTo>
                        <a:pt x="122" y="7"/>
                      </a:lnTo>
                      <a:lnTo>
                        <a:pt x="118" y="8"/>
                      </a:lnTo>
                      <a:lnTo>
                        <a:pt x="113" y="12"/>
                      </a:lnTo>
                      <a:lnTo>
                        <a:pt x="109" y="16"/>
                      </a:lnTo>
                      <a:lnTo>
                        <a:pt x="107" y="22"/>
                      </a:lnTo>
                      <a:lnTo>
                        <a:pt x="106" y="26"/>
                      </a:lnTo>
                      <a:lnTo>
                        <a:pt x="103" y="38"/>
                      </a:lnTo>
                      <a:lnTo>
                        <a:pt x="99" y="48"/>
                      </a:lnTo>
                      <a:lnTo>
                        <a:pt x="94" y="59"/>
                      </a:lnTo>
                      <a:lnTo>
                        <a:pt x="89" y="67"/>
                      </a:lnTo>
                      <a:lnTo>
                        <a:pt x="80" y="75"/>
                      </a:lnTo>
                      <a:lnTo>
                        <a:pt x="70" y="83"/>
                      </a:lnTo>
                      <a:lnTo>
                        <a:pt x="46" y="97"/>
                      </a:lnTo>
                      <a:lnTo>
                        <a:pt x="40" y="102"/>
                      </a:lnTo>
                      <a:lnTo>
                        <a:pt x="34" y="108"/>
                      </a:lnTo>
                      <a:lnTo>
                        <a:pt x="28" y="111"/>
                      </a:lnTo>
                      <a:lnTo>
                        <a:pt x="22" y="115"/>
                      </a:lnTo>
                      <a:lnTo>
                        <a:pt x="19" y="115"/>
                      </a:lnTo>
                      <a:lnTo>
                        <a:pt x="15" y="114"/>
                      </a:lnTo>
                      <a:lnTo>
                        <a:pt x="4" y="107"/>
                      </a:lnTo>
                      <a:lnTo>
                        <a:pt x="5" y="102"/>
                      </a:lnTo>
                      <a:lnTo>
                        <a:pt x="8" y="96"/>
                      </a:lnTo>
                      <a:lnTo>
                        <a:pt x="12" y="89"/>
                      </a:lnTo>
                      <a:lnTo>
                        <a:pt x="20" y="77"/>
                      </a:lnTo>
                      <a:lnTo>
                        <a:pt x="20" y="76"/>
                      </a:lnTo>
                      <a:lnTo>
                        <a:pt x="22" y="73"/>
                      </a:lnTo>
                      <a:lnTo>
                        <a:pt x="20" y="69"/>
                      </a:lnTo>
                      <a:lnTo>
                        <a:pt x="17" y="65"/>
                      </a:lnTo>
                      <a:lnTo>
                        <a:pt x="12" y="63"/>
                      </a:lnTo>
                      <a:lnTo>
                        <a:pt x="10" y="63"/>
                      </a:lnTo>
                      <a:lnTo>
                        <a:pt x="8" y="63"/>
                      </a:lnTo>
                      <a:lnTo>
                        <a:pt x="3" y="65"/>
                      </a:lnTo>
                      <a:lnTo>
                        <a:pt x="0" y="62"/>
                      </a:lnTo>
                      <a:lnTo>
                        <a:pt x="0" y="57"/>
                      </a:lnTo>
                      <a:lnTo>
                        <a:pt x="1" y="52"/>
                      </a:lnTo>
                      <a:lnTo>
                        <a:pt x="6" y="44"/>
                      </a:lnTo>
                      <a:lnTo>
                        <a:pt x="8" y="39"/>
                      </a:lnTo>
                      <a:lnTo>
                        <a:pt x="12" y="39"/>
                      </a:lnTo>
                      <a:lnTo>
                        <a:pt x="15" y="38"/>
                      </a:lnTo>
                      <a:lnTo>
                        <a:pt x="18" y="35"/>
                      </a:lnTo>
                      <a:lnTo>
                        <a:pt x="20" y="33"/>
                      </a:lnTo>
                      <a:lnTo>
                        <a:pt x="23" y="26"/>
                      </a:lnTo>
                      <a:lnTo>
                        <a:pt x="23" y="18"/>
                      </a:lnTo>
                      <a:lnTo>
                        <a:pt x="24" y="16"/>
                      </a:lnTo>
                      <a:lnTo>
                        <a:pt x="26" y="14"/>
                      </a:lnTo>
                      <a:lnTo>
                        <a:pt x="27" y="14"/>
                      </a:lnTo>
                      <a:lnTo>
                        <a:pt x="29" y="14"/>
                      </a:lnTo>
                      <a:lnTo>
                        <a:pt x="37" y="18"/>
                      </a:lnTo>
                      <a:lnTo>
                        <a:pt x="42" y="19"/>
                      </a:lnTo>
                      <a:lnTo>
                        <a:pt x="46" y="19"/>
                      </a:lnTo>
                      <a:lnTo>
                        <a:pt x="50" y="18"/>
                      </a:lnTo>
                      <a:lnTo>
                        <a:pt x="53" y="15"/>
                      </a:lnTo>
                      <a:lnTo>
                        <a:pt x="59" y="12"/>
                      </a:lnTo>
                      <a:lnTo>
                        <a:pt x="62" y="12"/>
                      </a:lnTo>
                      <a:lnTo>
                        <a:pt x="66" y="12"/>
                      </a:lnTo>
                      <a:lnTo>
                        <a:pt x="73" y="13"/>
                      </a:lnTo>
                      <a:lnTo>
                        <a:pt x="81" y="13"/>
                      </a:lnTo>
                      <a:lnTo>
                        <a:pt x="88" y="11"/>
                      </a:lnTo>
                      <a:lnTo>
                        <a:pt x="90" y="8"/>
                      </a:lnTo>
                      <a:lnTo>
                        <a:pt x="92" y="7"/>
                      </a:lnTo>
                      <a:lnTo>
                        <a:pt x="97" y="6"/>
                      </a:lnTo>
                      <a:lnTo>
                        <a:pt x="102" y="5"/>
                      </a:lnTo>
                      <a:lnTo>
                        <a:pt x="108" y="0"/>
                      </a:lnTo>
                      <a:lnTo>
                        <a:pt x="112" y="0"/>
                      </a:lnTo>
                      <a:lnTo>
                        <a:pt x="116" y="1"/>
                      </a:lnTo>
                      <a:lnTo>
                        <a:pt x="122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0" name="Freeform 658">
                  <a:extLst>
                    <a:ext uri="{FF2B5EF4-FFF2-40B4-BE49-F238E27FC236}">
                      <a16:creationId xmlns:a16="http://schemas.microsoft.com/office/drawing/2014/main" id="{D48D7BE1-77ED-124C-BEFE-AF870504BD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6928" y="3580975"/>
                  <a:ext cx="36997" cy="57715"/>
                </a:xfrm>
                <a:custGeom>
                  <a:avLst/>
                  <a:gdLst>
                    <a:gd name="T0" fmla="*/ 2147483647 w 27"/>
                    <a:gd name="T1" fmla="*/ 2147483647 h 39"/>
                    <a:gd name="T2" fmla="*/ 2147483647 w 27"/>
                    <a:gd name="T3" fmla="*/ 0 h 39"/>
                    <a:gd name="T4" fmla="*/ 2147483647 w 27"/>
                    <a:gd name="T5" fmla="*/ 0 h 39"/>
                    <a:gd name="T6" fmla="*/ 2147483647 w 27"/>
                    <a:gd name="T7" fmla="*/ 0 h 39"/>
                    <a:gd name="T8" fmla="*/ 2147483647 w 27"/>
                    <a:gd name="T9" fmla="*/ 2147483647 h 39"/>
                    <a:gd name="T10" fmla="*/ 2147483647 w 27"/>
                    <a:gd name="T11" fmla="*/ 2147483647 h 39"/>
                    <a:gd name="T12" fmla="*/ 2147483647 w 27"/>
                    <a:gd name="T13" fmla="*/ 2147483647 h 39"/>
                    <a:gd name="T14" fmla="*/ 2147483647 w 27"/>
                    <a:gd name="T15" fmla="*/ 2147483647 h 39"/>
                    <a:gd name="T16" fmla="*/ 2147483647 w 27"/>
                    <a:gd name="T17" fmla="*/ 2147483647 h 39"/>
                    <a:gd name="T18" fmla="*/ 2147483647 w 27"/>
                    <a:gd name="T19" fmla="*/ 2147483647 h 39"/>
                    <a:gd name="T20" fmla="*/ 2147483647 w 27"/>
                    <a:gd name="T21" fmla="*/ 2147483647 h 39"/>
                    <a:gd name="T22" fmla="*/ 2147483647 w 27"/>
                    <a:gd name="T23" fmla="*/ 2147483647 h 39"/>
                    <a:gd name="T24" fmla="*/ 0 w 27"/>
                    <a:gd name="T25" fmla="*/ 2147483647 h 39"/>
                    <a:gd name="T26" fmla="*/ 2147483647 w 27"/>
                    <a:gd name="T27" fmla="*/ 2147483647 h 39"/>
                    <a:gd name="T28" fmla="*/ 2147483647 w 27"/>
                    <a:gd name="T29" fmla="*/ 2147483647 h 39"/>
                    <a:gd name="T30" fmla="*/ 2147483647 w 27"/>
                    <a:gd name="T31" fmla="*/ 2147483647 h 39"/>
                    <a:gd name="T32" fmla="*/ 2147483647 w 27"/>
                    <a:gd name="T33" fmla="*/ 2147483647 h 39"/>
                    <a:gd name="T34" fmla="*/ 2147483647 w 27"/>
                    <a:gd name="T35" fmla="*/ 2147483647 h 3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7"/>
                    <a:gd name="T55" fmla="*/ 0 h 39"/>
                    <a:gd name="T56" fmla="*/ 27 w 27"/>
                    <a:gd name="T57" fmla="*/ 39 h 3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7" h="39">
                      <a:moveTo>
                        <a:pt x="8" y="2"/>
                      </a:moveTo>
                      <a:lnTo>
                        <a:pt x="13" y="0"/>
                      </a:ln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22" y="2"/>
                      </a:lnTo>
                      <a:lnTo>
                        <a:pt x="26" y="6"/>
                      </a:lnTo>
                      <a:lnTo>
                        <a:pt x="27" y="11"/>
                      </a:lnTo>
                      <a:lnTo>
                        <a:pt x="26" y="13"/>
                      </a:lnTo>
                      <a:lnTo>
                        <a:pt x="26" y="14"/>
                      </a:lnTo>
                      <a:lnTo>
                        <a:pt x="17" y="26"/>
                      </a:lnTo>
                      <a:lnTo>
                        <a:pt x="13" y="33"/>
                      </a:lnTo>
                      <a:lnTo>
                        <a:pt x="10" y="39"/>
                      </a:lnTo>
                      <a:lnTo>
                        <a:pt x="0" y="35"/>
                      </a:lnTo>
                      <a:lnTo>
                        <a:pt x="7" y="21"/>
                      </a:lnTo>
                      <a:lnTo>
                        <a:pt x="9" y="14"/>
                      </a:lnTo>
                      <a:lnTo>
                        <a:pt x="10" y="7"/>
                      </a:lnTo>
                      <a:lnTo>
                        <a:pt x="9" y="5"/>
                      </a:lnTo>
                      <a:lnTo>
                        <a:pt x="8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1" name="Freeform 659">
                  <a:extLst>
                    <a:ext uri="{FF2B5EF4-FFF2-40B4-BE49-F238E27FC236}">
                      <a16:creationId xmlns:a16="http://schemas.microsoft.com/office/drawing/2014/main" id="{7400F786-2296-5348-BCC9-FF92879076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8812" y="3632766"/>
                  <a:ext cx="41436" cy="118390"/>
                </a:xfrm>
                <a:custGeom>
                  <a:avLst/>
                  <a:gdLst>
                    <a:gd name="T0" fmla="*/ 2147483647 w 31"/>
                    <a:gd name="T1" fmla="*/ 2147483647 h 80"/>
                    <a:gd name="T2" fmla="*/ 2147483647 w 31"/>
                    <a:gd name="T3" fmla="*/ 2147483647 h 80"/>
                    <a:gd name="T4" fmla="*/ 2147483647 w 31"/>
                    <a:gd name="T5" fmla="*/ 2147483647 h 80"/>
                    <a:gd name="T6" fmla="*/ 2147483647 w 31"/>
                    <a:gd name="T7" fmla="*/ 2147483647 h 80"/>
                    <a:gd name="T8" fmla="*/ 0 w 31"/>
                    <a:gd name="T9" fmla="*/ 2147483647 h 80"/>
                    <a:gd name="T10" fmla="*/ 0 w 31"/>
                    <a:gd name="T11" fmla="*/ 2147483647 h 80"/>
                    <a:gd name="T12" fmla="*/ 2147483647 w 31"/>
                    <a:gd name="T13" fmla="*/ 2147483647 h 80"/>
                    <a:gd name="T14" fmla="*/ 2147483647 w 31"/>
                    <a:gd name="T15" fmla="*/ 2147483647 h 80"/>
                    <a:gd name="T16" fmla="*/ 2147483647 w 31"/>
                    <a:gd name="T17" fmla="*/ 2147483647 h 80"/>
                    <a:gd name="T18" fmla="*/ 2147483647 w 31"/>
                    <a:gd name="T19" fmla="*/ 2147483647 h 80"/>
                    <a:gd name="T20" fmla="*/ 2147483647 w 31"/>
                    <a:gd name="T21" fmla="*/ 2147483647 h 80"/>
                    <a:gd name="T22" fmla="*/ 2147483647 w 31"/>
                    <a:gd name="T23" fmla="*/ 2147483647 h 80"/>
                    <a:gd name="T24" fmla="*/ 2147483647 w 31"/>
                    <a:gd name="T25" fmla="*/ 0 h 80"/>
                    <a:gd name="T26" fmla="*/ 2147483647 w 31"/>
                    <a:gd name="T27" fmla="*/ 2147483647 h 80"/>
                    <a:gd name="T28" fmla="*/ 2147483647 w 31"/>
                    <a:gd name="T29" fmla="*/ 2147483647 h 80"/>
                    <a:gd name="T30" fmla="*/ 2147483647 w 31"/>
                    <a:gd name="T31" fmla="*/ 2147483647 h 80"/>
                    <a:gd name="T32" fmla="*/ 2147483647 w 31"/>
                    <a:gd name="T33" fmla="*/ 2147483647 h 80"/>
                    <a:gd name="T34" fmla="*/ 2147483647 w 31"/>
                    <a:gd name="T35" fmla="*/ 2147483647 h 80"/>
                    <a:gd name="T36" fmla="*/ 2147483647 w 31"/>
                    <a:gd name="T37" fmla="*/ 2147483647 h 80"/>
                    <a:gd name="T38" fmla="*/ 2147483647 w 31"/>
                    <a:gd name="T39" fmla="*/ 2147483647 h 80"/>
                    <a:gd name="T40" fmla="*/ 2147483647 w 31"/>
                    <a:gd name="T41" fmla="*/ 2147483647 h 80"/>
                    <a:gd name="T42" fmla="*/ 2147483647 w 31"/>
                    <a:gd name="T43" fmla="*/ 2147483647 h 80"/>
                    <a:gd name="T44" fmla="*/ 2147483647 w 31"/>
                    <a:gd name="T45" fmla="*/ 2147483647 h 80"/>
                    <a:gd name="T46" fmla="*/ 2147483647 w 31"/>
                    <a:gd name="T47" fmla="*/ 2147483647 h 80"/>
                    <a:gd name="T48" fmla="*/ 2147483647 w 31"/>
                    <a:gd name="T49" fmla="*/ 2147483647 h 80"/>
                    <a:gd name="T50" fmla="*/ 2147483647 w 31"/>
                    <a:gd name="T51" fmla="*/ 2147483647 h 80"/>
                    <a:gd name="T52" fmla="*/ 2147483647 w 31"/>
                    <a:gd name="T53" fmla="*/ 2147483647 h 80"/>
                    <a:gd name="T54" fmla="*/ 2147483647 w 31"/>
                    <a:gd name="T55" fmla="*/ 2147483647 h 80"/>
                    <a:gd name="T56" fmla="*/ 2147483647 w 31"/>
                    <a:gd name="T57" fmla="*/ 2147483647 h 80"/>
                    <a:gd name="T58" fmla="*/ 2147483647 w 31"/>
                    <a:gd name="T59" fmla="*/ 2147483647 h 80"/>
                    <a:gd name="T60" fmla="*/ 2147483647 w 31"/>
                    <a:gd name="T61" fmla="*/ 2147483647 h 80"/>
                    <a:gd name="T62" fmla="*/ 2147483647 w 31"/>
                    <a:gd name="T63" fmla="*/ 2147483647 h 80"/>
                    <a:gd name="T64" fmla="*/ 2147483647 w 31"/>
                    <a:gd name="T65" fmla="*/ 2147483647 h 80"/>
                    <a:gd name="T66" fmla="*/ 2147483647 w 31"/>
                    <a:gd name="T67" fmla="*/ 2147483647 h 80"/>
                    <a:gd name="T68" fmla="*/ 2147483647 w 31"/>
                    <a:gd name="T69" fmla="*/ 2147483647 h 80"/>
                    <a:gd name="T70" fmla="*/ 2147483647 w 31"/>
                    <a:gd name="T71" fmla="*/ 2147483647 h 80"/>
                    <a:gd name="T72" fmla="*/ 2147483647 w 31"/>
                    <a:gd name="T73" fmla="*/ 2147483647 h 8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1"/>
                    <a:gd name="T112" fmla="*/ 0 h 80"/>
                    <a:gd name="T113" fmla="*/ 31 w 31"/>
                    <a:gd name="T114" fmla="*/ 80 h 8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1" h="80">
                      <a:moveTo>
                        <a:pt x="16" y="80"/>
                      </a:moveTo>
                      <a:lnTo>
                        <a:pt x="11" y="67"/>
                      </a:lnTo>
                      <a:lnTo>
                        <a:pt x="5" y="55"/>
                      </a:lnTo>
                      <a:lnTo>
                        <a:pt x="1" y="48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1" y="40"/>
                      </a:lnTo>
                      <a:lnTo>
                        <a:pt x="4" y="38"/>
                      </a:lnTo>
                      <a:lnTo>
                        <a:pt x="7" y="34"/>
                      </a:lnTo>
                      <a:lnTo>
                        <a:pt x="11" y="27"/>
                      </a:lnTo>
                      <a:lnTo>
                        <a:pt x="16" y="15"/>
                      </a:lnTo>
                      <a:lnTo>
                        <a:pt x="20" y="3"/>
                      </a:lnTo>
                      <a:lnTo>
                        <a:pt x="21" y="0"/>
                      </a:lnTo>
                      <a:lnTo>
                        <a:pt x="31" y="4"/>
                      </a:lnTo>
                      <a:lnTo>
                        <a:pt x="30" y="9"/>
                      </a:lnTo>
                      <a:lnTo>
                        <a:pt x="29" y="16"/>
                      </a:lnTo>
                      <a:lnTo>
                        <a:pt x="28" y="17"/>
                      </a:lnTo>
                      <a:lnTo>
                        <a:pt x="25" y="18"/>
                      </a:lnTo>
                      <a:lnTo>
                        <a:pt x="24" y="19"/>
                      </a:lnTo>
                      <a:lnTo>
                        <a:pt x="23" y="21"/>
                      </a:lnTo>
                      <a:lnTo>
                        <a:pt x="21" y="25"/>
                      </a:lnTo>
                      <a:lnTo>
                        <a:pt x="19" y="29"/>
                      </a:lnTo>
                      <a:lnTo>
                        <a:pt x="14" y="37"/>
                      </a:lnTo>
                      <a:lnTo>
                        <a:pt x="12" y="38"/>
                      </a:lnTo>
                      <a:lnTo>
                        <a:pt x="14" y="41"/>
                      </a:lnTo>
                      <a:lnTo>
                        <a:pt x="15" y="42"/>
                      </a:lnTo>
                      <a:lnTo>
                        <a:pt x="18" y="42"/>
                      </a:lnTo>
                      <a:lnTo>
                        <a:pt x="20" y="42"/>
                      </a:lnTo>
                      <a:lnTo>
                        <a:pt x="23" y="42"/>
                      </a:lnTo>
                      <a:lnTo>
                        <a:pt x="24" y="43"/>
                      </a:lnTo>
                      <a:lnTo>
                        <a:pt x="25" y="46"/>
                      </a:lnTo>
                      <a:lnTo>
                        <a:pt x="25" y="48"/>
                      </a:lnTo>
                      <a:lnTo>
                        <a:pt x="25" y="50"/>
                      </a:lnTo>
                      <a:lnTo>
                        <a:pt x="21" y="57"/>
                      </a:lnTo>
                      <a:lnTo>
                        <a:pt x="20" y="64"/>
                      </a:lnTo>
                      <a:lnTo>
                        <a:pt x="19" y="73"/>
                      </a:lnTo>
                      <a:lnTo>
                        <a:pt x="16" y="8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2" name="Freeform 660">
                  <a:extLst>
                    <a:ext uri="{FF2B5EF4-FFF2-40B4-BE49-F238E27FC236}">
                      <a16:creationId xmlns:a16="http://schemas.microsoft.com/office/drawing/2014/main" id="{C28C44B9-E046-794E-87C5-D5F8636DEE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5450" y="3579495"/>
                  <a:ext cx="36996" cy="57714"/>
                </a:xfrm>
                <a:custGeom>
                  <a:avLst/>
                  <a:gdLst>
                    <a:gd name="T0" fmla="*/ 2147483647 w 27"/>
                    <a:gd name="T1" fmla="*/ 2147483647 h 39"/>
                    <a:gd name="T2" fmla="*/ 2147483647 w 27"/>
                    <a:gd name="T3" fmla="*/ 2147483647 h 39"/>
                    <a:gd name="T4" fmla="*/ 2147483647 w 27"/>
                    <a:gd name="T5" fmla="*/ 0 h 39"/>
                    <a:gd name="T6" fmla="*/ 2147483647 w 27"/>
                    <a:gd name="T7" fmla="*/ 0 h 39"/>
                    <a:gd name="T8" fmla="*/ 2147483647 w 27"/>
                    <a:gd name="T9" fmla="*/ 0 h 39"/>
                    <a:gd name="T10" fmla="*/ 2147483647 w 27"/>
                    <a:gd name="T11" fmla="*/ 0 h 39"/>
                    <a:gd name="T12" fmla="*/ 2147483647 w 27"/>
                    <a:gd name="T13" fmla="*/ 2147483647 h 39"/>
                    <a:gd name="T14" fmla="*/ 2147483647 w 27"/>
                    <a:gd name="T15" fmla="*/ 2147483647 h 39"/>
                    <a:gd name="T16" fmla="*/ 2147483647 w 27"/>
                    <a:gd name="T17" fmla="*/ 2147483647 h 39"/>
                    <a:gd name="T18" fmla="*/ 2147483647 w 27"/>
                    <a:gd name="T19" fmla="*/ 2147483647 h 39"/>
                    <a:gd name="T20" fmla="*/ 2147483647 w 27"/>
                    <a:gd name="T21" fmla="*/ 2147483647 h 39"/>
                    <a:gd name="T22" fmla="*/ 2147483647 w 27"/>
                    <a:gd name="T23" fmla="*/ 2147483647 h 39"/>
                    <a:gd name="T24" fmla="*/ 2147483647 w 27"/>
                    <a:gd name="T25" fmla="*/ 2147483647 h 39"/>
                    <a:gd name="T26" fmla="*/ 2147483647 w 27"/>
                    <a:gd name="T27" fmla="*/ 2147483647 h 39"/>
                    <a:gd name="T28" fmla="*/ 2147483647 w 27"/>
                    <a:gd name="T29" fmla="*/ 2147483647 h 39"/>
                    <a:gd name="T30" fmla="*/ 2147483647 w 27"/>
                    <a:gd name="T31" fmla="*/ 2147483647 h 39"/>
                    <a:gd name="T32" fmla="*/ 0 w 27"/>
                    <a:gd name="T33" fmla="*/ 2147483647 h 39"/>
                    <a:gd name="T34" fmla="*/ 0 w 27"/>
                    <a:gd name="T35" fmla="*/ 2147483647 h 39"/>
                    <a:gd name="T36" fmla="*/ 2147483647 w 27"/>
                    <a:gd name="T37" fmla="*/ 2147483647 h 39"/>
                    <a:gd name="T38" fmla="*/ 2147483647 w 27"/>
                    <a:gd name="T39" fmla="*/ 2147483647 h 39"/>
                    <a:gd name="T40" fmla="*/ 2147483647 w 27"/>
                    <a:gd name="T41" fmla="*/ 2147483647 h 39"/>
                    <a:gd name="T42" fmla="*/ 2147483647 w 27"/>
                    <a:gd name="T43" fmla="*/ 2147483647 h 39"/>
                    <a:gd name="T44" fmla="*/ 2147483647 w 27"/>
                    <a:gd name="T45" fmla="*/ 2147483647 h 39"/>
                    <a:gd name="T46" fmla="*/ 2147483647 w 27"/>
                    <a:gd name="T47" fmla="*/ 2147483647 h 39"/>
                    <a:gd name="T48" fmla="*/ 2147483647 w 27"/>
                    <a:gd name="T49" fmla="*/ 2147483647 h 39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7"/>
                    <a:gd name="T76" fmla="*/ 0 h 39"/>
                    <a:gd name="T77" fmla="*/ 27 w 27"/>
                    <a:gd name="T78" fmla="*/ 39 h 39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7" h="39"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7" y="0"/>
                      </a:lnTo>
                      <a:lnTo>
                        <a:pt x="22" y="2"/>
                      </a:lnTo>
                      <a:lnTo>
                        <a:pt x="25" y="6"/>
                      </a:lnTo>
                      <a:lnTo>
                        <a:pt x="27" y="10"/>
                      </a:lnTo>
                      <a:lnTo>
                        <a:pt x="25" y="13"/>
                      </a:lnTo>
                      <a:lnTo>
                        <a:pt x="25" y="14"/>
                      </a:lnTo>
                      <a:lnTo>
                        <a:pt x="17" y="26"/>
                      </a:lnTo>
                      <a:lnTo>
                        <a:pt x="13" y="33"/>
                      </a:lnTo>
                      <a:lnTo>
                        <a:pt x="10" y="39"/>
                      </a:lnTo>
                      <a:lnTo>
                        <a:pt x="0" y="35"/>
                      </a:lnTo>
                      <a:lnTo>
                        <a:pt x="6" y="21"/>
                      </a:lnTo>
                      <a:lnTo>
                        <a:pt x="9" y="14"/>
                      </a:lnTo>
                      <a:lnTo>
                        <a:pt x="10" y="7"/>
                      </a:lnTo>
                      <a:lnTo>
                        <a:pt x="9" y="4"/>
                      </a:lnTo>
                      <a:lnTo>
                        <a:pt x="8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3" name="Freeform 661">
                  <a:extLst>
                    <a:ext uri="{FF2B5EF4-FFF2-40B4-BE49-F238E27FC236}">
                      <a16:creationId xmlns:a16="http://schemas.microsoft.com/office/drawing/2014/main" id="{037521A2-42A1-1742-8823-9BB7853F03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5853" y="3631287"/>
                  <a:ext cx="42916" cy="118390"/>
                </a:xfrm>
                <a:custGeom>
                  <a:avLst/>
                  <a:gdLst>
                    <a:gd name="T0" fmla="*/ 2147483647 w 32"/>
                    <a:gd name="T1" fmla="*/ 2147483647 h 80"/>
                    <a:gd name="T2" fmla="*/ 2147483647 w 32"/>
                    <a:gd name="T3" fmla="*/ 2147483647 h 80"/>
                    <a:gd name="T4" fmla="*/ 2147483647 w 32"/>
                    <a:gd name="T5" fmla="*/ 2147483647 h 80"/>
                    <a:gd name="T6" fmla="*/ 2147483647 w 32"/>
                    <a:gd name="T7" fmla="*/ 2147483647 h 80"/>
                    <a:gd name="T8" fmla="*/ 2147483647 w 32"/>
                    <a:gd name="T9" fmla="*/ 2147483647 h 80"/>
                    <a:gd name="T10" fmla="*/ 2147483647 w 32"/>
                    <a:gd name="T11" fmla="*/ 2147483647 h 80"/>
                    <a:gd name="T12" fmla="*/ 2147483647 w 32"/>
                    <a:gd name="T13" fmla="*/ 2147483647 h 80"/>
                    <a:gd name="T14" fmla="*/ 2147483647 w 32"/>
                    <a:gd name="T15" fmla="*/ 2147483647 h 80"/>
                    <a:gd name="T16" fmla="*/ 0 w 32"/>
                    <a:gd name="T17" fmla="*/ 2147483647 h 80"/>
                    <a:gd name="T18" fmla="*/ 0 w 32"/>
                    <a:gd name="T19" fmla="*/ 2147483647 h 80"/>
                    <a:gd name="T20" fmla="*/ 0 w 32"/>
                    <a:gd name="T21" fmla="*/ 2147483647 h 80"/>
                    <a:gd name="T22" fmla="*/ 2147483647 w 32"/>
                    <a:gd name="T23" fmla="*/ 2147483647 h 80"/>
                    <a:gd name="T24" fmla="*/ 2147483647 w 32"/>
                    <a:gd name="T25" fmla="*/ 2147483647 h 80"/>
                    <a:gd name="T26" fmla="*/ 2147483647 w 32"/>
                    <a:gd name="T27" fmla="*/ 2147483647 h 80"/>
                    <a:gd name="T28" fmla="*/ 2147483647 w 32"/>
                    <a:gd name="T29" fmla="*/ 2147483647 h 80"/>
                    <a:gd name="T30" fmla="*/ 2147483647 w 32"/>
                    <a:gd name="T31" fmla="*/ 2147483647 h 80"/>
                    <a:gd name="T32" fmla="*/ 2147483647 w 32"/>
                    <a:gd name="T33" fmla="*/ 2147483647 h 80"/>
                    <a:gd name="T34" fmla="*/ 2147483647 w 32"/>
                    <a:gd name="T35" fmla="*/ 2147483647 h 80"/>
                    <a:gd name="T36" fmla="*/ 2147483647 w 32"/>
                    <a:gd name="T37" fmla="*/ 2147483647 h 80"/>
                    <a:gd name="T38" fmla="*/ 2147483647 w 32"/>
                    <a:gd name="T39" fmla="*/ 0 h 80"/>
                    <a:gd name="T40" fmla="*/ 2147483647 w 32"/>
                    <a:gd name="T41" fmla="*/ 0 h 80"/>
                    <a:gd name="T42" fmla="*/ 2147483647 w 32"/>
                    <a:gd name="T43" fmla="*/ 2147483647 h 80"/>
                    <a:gd name="T44" fmla="*/ 2147483647 w 32"/>
                    <a:gd name="T45" fmla="*/ 2147483647 h 80"/>
                    <a:gd name="T46" fmla="*/ 2147483647 w 32"/>
                    <a:gd name="T47" fmla="*/ 2147483647 h 80"/>
                    <a:gd name="T48" fmla="*/ 2147483647 w 32"/>
                    <a:gd name="T49" fmla="*/ 2147483647 h 80"/>
                    <a:gd name="T50" fmla="*/ 2147483647 w 32"/>
                    <a:gd name="T51" fmla="*/ 2147483647 h 80"/>
                    <a:gd name="T52" fmla="*/ 2147483647 w 32"/>
                    <a:gd name="T53" fmla="*/ 2147483647 h 80"/>
                    <a:gd name="T54" fmla="*/ 2147483647 w 32"/>
                    <a:gd name="T55" fmla="*/ 2147483647 h 80"/>
                    <a:gd name="T56" fmla="*/ 2147483647 w 32"/>
                    <a:gd name="T57" fmla="*/ 2147483647 h 80"/>
                    <a:gd name="T58" fmla="*/ 2147483647 w 32"/>
                    <a:gd name="T59" fmla="*/ 2147483647 h 80"/>
                    <a:gd name="T60" fmla="*/ 2147483647 w 32"/>
                    <a:gd name="T61" fmla="*/ 2147483647 h 80"/>
                    <a:gd name="T62" fmla="*/ 2147483647 w 32"/>
                    <a:gd name="T63" fmla="*/ 2147483647 h 80"/>
                    <a:gd name="T64" fmla="*/ 2147483647 w 32"/>
                    <a:gd name="T65" fmla="*/ 2147483647 h 80"/>
                    <a:gd name="T66" fmla="*/ 2147483647 w 32"/>
                    <a:gd name="T67" fmla="*/ 2147483647 h 80"/>
                    <a:gd name="T68" fmla="*/ 2147483647 w 32"/>
                    <a:gd name="T69" fmla="*/ 2147483647 h 80"/>
                    <a:gd name="T70" fmla="*/ 2147483647 w 32"/>
                    <a:gd name="T71" fmla="*/ 2147483647 h 80"/>
                    <a:gd name="T72" fmla="*/ 2147483647 w 32"/>
                    <a:gd name="T73" fmla="*/ 2147483647 h 80"/>
                    <a:gd name="T74" fmla="*/ 2147483647 w 32"/>
                    <a:gd name="T75" fmla="*/ 2147483647 h 80"/>
                    <a:gd name="T76" fmla="*/ 2147483647 w 32"/>
                    <a:gd name="T77" fmla="*/ 2147483647 h 80"/>
                    <a:gd name="T78" fmla="*/ 2147483647 w 32"/>
                    <a:gd name="T79" fmla="*/ 2147483647 h 80"/>
                    <a:gd name="T80" fmla="*/ 2147483647 w 32"/>
                    <a:gd name="T81" fmla="*/ 2147483647 h 80"/>
                    <a:gd name="T82" fmla="*/ 2147483647 w 32"/>
                    <a:gd name="T83" fmla="*/ 2147483647 h 80"/>
                    <a:gd name="T84" fmla="*/ 2147483647 w 32"/>
                    <a:gd name="T85" fmla="*/ 2147483647 h 80"/>
                    <a:gd name="T86" fmla="*/ 2147483647 w 32"/>
                    <a:gd name="T87" fmla="*/ 2147483647 h 80"/>
                    <a:gd name="T88" fmla="*/ 2147483647 w 32"/>
                    <a:gd name="T89" fmla="*/ 2147483647 h 80"/>
                    <a:gd name="T90" fmla="*/ 2147483647 w 32"/>
                    <a:gd name="T91" fmla="*/ 2147483647 h 80"/>
                    <a:gd name="T92" fmla="*/ 2147483647 w 32"/>
                    <a:gd name="T93" fmla="*/ 2147483647 h 80"/>
                    <a:gd name="T94" fmla="*/ 2147483647 w 32"/>
                    <a:gd name="T95" fmla="*/ 2147483647 h 80"/>
                    <a:gd name="T96" fmla="*/ 2147483647 w 32"/>
                    <a:gd name="T97" fmla="*/ 2147483647 h 80"/>
                    <a:gd name="T98" fmla="*/ 2147483647 w 32"/>
                    <a:gd name="T99" fmla="*/ 2147483647 h 80"/>
                    <a:gd name="T100" fmla="*/ 2147483647 w 32"/>
                    <a:gd name="T101" fmla="*/ 2147483647 h 80"/>
                    <a:gd name="T102" fmla="*/ 2147483647 w 32"/>
                    <a:gd name="T103" fmla="*/ 2147483647 h 80"/>
                    <a:gd name="T104" fmla="*/ 2147483647 w 32"/>
                    <a:gd name="T105" fmla="*/ 2147483647 h 80"/>
                    <a:gd name="T106" fmla="*/ 2147483647 w 32"/>
                    <a:gd name="T107" fmla="*/ 2147483647 h 8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32"/>
                    <a:gd name="T163" fmla="*/ 0 h 80"/>
                    <a:gd name="T164" fmla="*/ 32 w 32"/>
                    <a:gd name="T165" fmla="*/ 80 h 8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32" h="80">
                      <a:moveTo>
                        <a:pt x="17" y="80"/>
                      </a:moveTo>
                      <a:lnTo>
                        <a:pt x="17" y="80"/>
                      </a:lnTo>
                      <a:lnTo>
                        <a:pt x="12" y="67"/>
                      </a:lnTo>
                      <a:lnTo>
                        <a:pt x="6" y="55"/>
                      </a:lnTo>
                      <a:lnTo>
                        <a:pt x="2" y="48"/>
                      </a:lnTo>
                      <a:lnTo>
                        <a:pt x="0" y="44"/>
                      </a:lnTo>
                      <a:lnTo>
                        <a:pt x="0" y="39"/>
                      </a:lnTo>
                      <a:lnTo>
                        <a:pt x="2" y="39"/>
                      </a:lnTo>
                      <a:lnTo>
                        <a:pt x="4" y="38"/>
                      </a:lnTo>
                      <a:lnTo>
                        <a:pt x="8" y="33"/>
                      </a:lnTo>
                      <a:lnTo>
                        <a:pt x="12" y="26"/>
                      </a:lnTo>
                      <a:lnTo>
                        <a:pt x="17" y="15"/>
                      </a:lnTo>
                      <a:lnTo>
                        <a:pt x="21" y="3"/>
                      </a:lnTo>
                      <a:lnTo>
                        <a:pt x="22" y="0"/>
                      </a:lnTo>
                      <a:lnTo>
                        <a:pt x="32" y="4"/>
                      </a:lnTo>
                      <a:lnTo>
                        <a:pt x="31" y="9"/>
                      </a:lnTo>
                      <a:lnTo>
                        <a:pt x="30" y="16"/>
                      </a:lnTo>
                      <a:lnTo>
                        <a:pt x="28" y="17"/>
                      </a:lnTo>
                      <a:lnTo>
                        <a:pt x="26" y="18"/>
                      </a:lnTo>
                      <a:lnTo>
                        <a:pt x="25" y="19"/>
                      </a:lnTo>
                      <a:lnTo>
                        <a:pt x="23" y="20"/>
                      </a:lnTo>
                      <a:lnTo>
                        <a:pt x="22" y="25"/>
                      </a:lnTo>
                      <a:lnTo>
                        <a:pt x="20" y="29"/>
                      </a:lnTo>
                      <a:lnTo>
                        <a:pt x="14" y="37"/>
                      </a:lnTo>
                      <a:lnTo>
                        <a:pt x="13" y="38"/>
                      </a:lnTo>
                      <a:lnTo>
                        <a:pt x="14" y="41"/>
                      </a:lnTo>
                      <a:lnTo>
                        <a:pt x="16" y="42"/>
                      </a:lnTo>
                      <a:lnTo>
                        <a:pt x="18" y="42"/>
                      </a:lnTo>
                      <a:lnTo>
                        <a:pt x="21" y="42"/>
                      </a:lnTo>
                      <a:lnTo>
                        <a:pt x="23" y="42"/>
                      </a:lnTo>
                      <a:lnTo>
                        <a:pt x="25" y="43"/>
                      </a:lnTo>
                      <a:lnTo>
                        <a:pt x="26" y="45"/>
                      </a:lnTo>
                      <a:lnTo>
                        <a:pt x="26" y="48"/>
                      </a:lnTo>
                      <a:lnTo>
                        <a:pt x="26" y="50"/>
                      </a:lnTo>
                      <a:lnTo>
                        <a:pt x="22" y="57"/>
                      </a:lnTo>
                      <a:lnTo>
                        <a:pt x="21" y="64"/>
                      </a:lnTo>
                      <a:lnTo>
                        <a:pt x="20" y="73"/>
                      </a:lnTo>
                      <a:lnTo>
                        <a:pt x="17" y="8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4" name="Freeform 662">
                  <a:extLst>
                    <a:ext uri="{FF2B5EF4-FFF2-40B4-BE49-F238E27FC236}">
                      <a16:creationId xmlns:a16="http://schemas.microsoft.com/office/drawing/2014/main" id="{F27E1DE0-6FF3-5B4F-8D00-808AEBD9F6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5089" y="3646089"/>
                  <a:ext cx="88792" cy="108031"/>
                </a:xfrm>
                <a:custGeom>
                  <a:avLst/>
                  <a:gdLst>
                    <a:gd name="T0" fmla="*/ 2147483647 w 65"/>
                    <a:gd name="T1" fmla="*/ 0 h 73"/>
                    <a:gd name="T2" fmla="*/ 2147483647 w 65"/>
                    <a:gd name="T3" fmla="*/ 2147483647 h 73"/>
                    <a:gd name="T4" fmla="*/ 2147483647 w 65"/>
                    <a:gd name="T5" fmla="*/ 2147483647 h 73"/>
                    <a:gd name="T6" fmla="*/ 2147483647 w 65"/>
                    <a:gd name="T7" fmla="*/ 2147483647 h 73"/>
                    <a:gd name="T8" fmla="*/ 2147483647 w 65"/>
                    <a:gd name="T9" fmla="*/ 2147483647 h 73"/>
                    <a:gd name="T10" fmla="*/ 2147483647 w 65"/>
                    <a:gd name="T11" fmla="*/ 2147483647 h 73"/>
                    <a:gd name="T12" fmla="*/ 2147483647 w 65"/>
                    <a:gd name="T13" fmla="*/ 2147483647 h 73"/>
                    <a:gd name="T14" fmla="*/ 2147483647 w 65"/>
                    <a:gd name="T15" fmla="*/ 2147483647 h 73"/>
                    <a:gd name="T16" fmla="*/ 2147483647 w 65"/>
                    <a:gd name="T17" fmla="*/ 2147483647 h 73"/>
                    <a:gd name="T18" fmla="*/ 0 w 65"/>
                    <a:gd name="T19" fmla="*/ 2147483647 h 73"/>
                    <a:gd name="T20" fmla="*/ 2147483647 w 65"/>
                    <a:gd name="T21" fmla="*/ 2147483647 h 73"/>
                    <a:gd name="T22" fmla="*/ 2147483647 w 65"/>
                    <a:gd name="T23" fmla="*/ 2147483647 h 73"/>
                    <a:gd name="T24" fmla="*/ 2147483647 w 65"/>
                    <a:gd name="T25" fmla="*/ 2147483647 h 73"/>
                    <a:gd name="T26" fmla="*/ 2147483647 w 65"/>
                    <a:gd name="T27" fmla="*/ 2147483647 h 73"/>
                    <a:gd name="T28" fmla="*/ 2147483647 w 65"/>
                    <a:gd name="T29" fmla="*/ 2147483647 h 73"/>
                    <a:gd name="T30" fmla="*/ 2147483647 w 65"/>
                    <a:gd name="T31" fmla="*/ 2147483647 h 73"/>
                    <a:gd name="T32" fmla="*/ 2147483647 w 65"/>
                    <a:gd name="T33" fmla="*/ 2147483647 h 73"/>
                    <a:gd name="T34" fmla="*/ 2147483647 w 65"/>
                    <a:gd name="T35" fmla="*/ 2147483647 h 73"/>
                    <a:gd name="T36" fmla="*/ 2147483647 w 65"/>
                    <a:gd name="T37" fmla="*/ 2147483647 h 73"/>
                    <a:gd name="T38" fmla="*/ 2147483647 w 65"/>
                    <a:gd name="T39" fmla="*/ 2147483647 h 73"/>
                    <a:gd name="T40" fmla="*/ 2147483647 w 65"/>
                    <a:gd name="T41" fmla="*/ 2147483647 h 73"/>
                    <a:gd name="T42" fmla="*/ 2147483647 w 65"/>
                    <a:gd name="T43" fmla="*/ 2147483647 h 73"/>
                    <a:gd name="T44" fmla="*/ 2147483647 w 65"/>
                    <a:gd name="T45" fmla="*/ 2147483647 h 73"/>
                    <a:gd name="T46" fmla="*/ 2147483647 w 65"/>
                    <a:gd name="T47" fmla="*/ 2147483647 h 73"/>
                    <a:gd name="T48" fmla="*/ 2147483647 w 65"/>
                    <a:gd name="T49" fmla="*/ 2147483647 h 73"/>
                    <a:gd name="T50" fmla="*/ 2147483647 w 65"/>
                    <a:gd name="T51" fmla="*/ 2147483647 h 73"/>
                    <a:gd name="T52" fmla="*/ 2147483647 w 65"/>
                    <a:gd name="T53" fmla="*/ 2147483647 h 73"/>
                    <a:gd name="T54" fmla="*/ 2147483647 w 65"/>
                    <a:gd name="T55" fmla="*/ 2147483647 h 73"/>
                    <a:gd name="T56" fmla="*/ 2147483647 w 65"/>
                    <a:gd name="T57" fmla="*/ 2147483647 h 73"/>
                    <a:gd name="T58" fmla="*/ 2147483647 w 65"/>
                    <a:gd name="T59" fmla="*/ 2147483647 h 73"/>
                    <a:gd name="T60" fmla="*/ 2147483647 w 65"/>
                    <a:gd name="T61" fmla="*/ 2147483647 h 73"/>
                    <a:gd name="T62" fmla="*/ 2147483647 w 65"/>
                    <a:gd name="T63" fmla="*/ 2147483647 h 73"/>
                    <a:gd name="T64" fmla="*/ 2147483647 w 65"/>
                    <a:gd name="T65" fmla="*/ 2147483647 h 73"/>
                    <a:gd name="T66" fmla="*/ 2147483647 w 65"/>
                    <a:gd name="T67" fmla="*/ 2147483647 h 73"/>
                    <a:gd name="T68" fmla="*/ 2147483647 w 65"/>
                    <a:gd name="T69" fmla="*/ 2147483647 h 73"/>
                    <a:gd name="T70" fmla="*/ 2147483647 w 65"/>
                    <a:gd name="T71" fmla="*/ 2147483647 h 73"/>
                    <a:gd name="T72" fmla="*/ 2147483647 w 65"/>
                    <a:gd name="T73" fmla="*/ 2147483647 h 73"/>
                    <a:gd name="T74" fmla="*/ 2147483647 w 65"/>
                    <a:gd name="T75" fmla="*/ 2147483647 h 73"/>
                    <a:gd name="T76" fmla="*/ 2147483647 w 65"/>
                    <a:gd name="T77" fmla="*/ 2147483647 h 73"/>
                    <a:gd name="T78" fmla="*/ 2147483647 w 65"/>
                    <a:gd name="T79" fmla="*/ 2147483647 h 73"/>
                    <a:gd name="T80" fmla="*/ 2147483647 w 65"/>
                    <a:gd name="T81" fmla="*/ 2147483647 h 73"/>
                    <a:gd name="T82" fmla="*/ 2147483647 w 65"/>
                    <a:gd name="T83" fmla="*/ 2147483647 h 73"/>
                    <a:gd name="T84" fmla="*/ 2147483647 w 65"/>
                    <a:gd name="T85" fmla="*/ 2147483647 h 73"/>
                    <a:gd name="T86" fmla="*/ 2147483647 w 65"/>
                    <a:gd name="T87" fmla="*/ 2147483647 h 73"/>
                    <a:gd name="T88" fmla="*/ 2147483647 w 65"/>
                    <a:gd name="T89" fmla="*/ 2147483647 h 73"/>
                    <a:gd name="T90" fmla="*/ 2147483647 w 65"/>
                    <a:gd name="T91" fmla="*/ 2147483647 h 73"/>
                    <a:gd name="T92" fmla="*/ 2147483647 w 65"/>
                    <a:gd name="T93" fmla="*/ 0 h 73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65"/>
                    <a:gd name="T142" fmla="*/ 0 h 73"/>
                    <a:gd name="T143" fmla="*/ 65 w 65"/>
                    <a:gd name="T144" fmla="*/ 73 h 73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65" h="73">
                      <a:moveTo>
                        <a:pt x="18" y="0"/>
                      </a:moveTo>
                      <a:lnTo>
                        <a:pt x="17" y="7"/>
                      </a:lnTo>
                      <a:lnTo>
                        <a:pt x="16" y="8"/>
                      </a:lnTo>
                      <a:lnTo>
                        <a:pt x="13" y="9"/>
                      </a:lnTo>
                      <a:lnTo>
                        <a:pt x="12" y="10"/>
                      </a:lnTo>
                      <a:lnTo>
                        <a:pt x="11" y="12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2" y="28"/>
                      </a:lnTo>
                      <a:lnTo>
                        <a:pt x="0" y="29"/>
                      </a:lnTo>
                      <a:lnTo>
                        <a:pt x="2" y="32"/>
                      </a:lnTo>
                      <a:lnTo>
                        <a:pt x="3" y="33"/>
                      </a:lnTo>
                      <a:lnTo>
                        <a:pt x="6" y="33"/>
                      </a:lnTo>
                      <a:lnTo>
                        <a:pt x="8" y="33"/>
                      </a:lnTo>
                      <a:lnTo>
                        <a:pt x="11" y="33"/>
                      </a:lnTo>
                      <a:lnTo>
                        <a:pt x="12" y="34"/>
                      </a:lnTo>
                      <a:lnTo>
                        <a:pt x="13" y="37"/>
                      </a:lnTo>
                      <a:lnTo>
                        <a:pt x="13" y="39"/>
                      </a:lnTo>
                      <a:lnTo>
                        <a:pt x="13" y="41"/>
                      </a:lnTo>
                      <a:lnTo>
                        <a:pt x="9" y="48"/>
                      </a:lnTo>
                      <a:lnTo>
                        <a:pt x="8" y="55"/>
                      </a:lnTo>
                      <a:lnTo>
                        <a:pt x="7" y="64"/>
                      </a:lnTo>
                      <a:lnTo>
                        <a:pt x="4" y="71"/>
                      </a:lnTo>
                      <a:lnTo>
                        <a:pt x="9" y="70"/>
                      </a:lnTo>
                      <a:lnTo>
                        <a:pt x="13" y="70"/>
                      </a:lnTo>
                      <a:lnTo>
                        <a:pt x="22" y="72"/>
                      </a:lnTo>
                      <a:lnTo>
                        <a:pt x="26" y="73"/>
                      </a:lnTo>
                      <a:lnTo>
                        <a:pt x="28" y="72"/>
                      </a:lnTo>
                      <a:lnTo>
                        <a:pt x="39" y="63"/>
                      </a:lnTo>
                      <a:lnTo>
                        <a:pt x="49" y="54"/>
                      </a:lnTo>
                      <a:lnTo>
                        <a:pt x="39" y="45"/>
                      </a:lnTo>
                      <a:lnTo>
                        <a:pt x="32" y="40"/>
                      </a:lnTo>
                      <a:lnTo>
                        <a:pt x="31" y="38"/>
                      </a:lnTo>
                      <a:lnTo>
                        <a:pt x="31" y="37"/>
                      </a:lnTo>
                      <a:lnTo>
                        <a:pt x="32" y="34"/>
                      </a:lnTo>
                      <a:lnTo>
                        <a:pt x="35" y="33"/>
                      </a:lnTo>
                      <a:lnTo>
                        <a:pt x="44" y="29"/>
                      </a:lnTo>
                      <a:lnTo>
                        <a:pt x="54" y="27"/>
                      </a:lnTo>
                      <a:lnTo>
                        <a:pt x="65" y="26"/>
                      </a:lnTo>
                      <a:lnTo>
                        <a:pt x="58" y="13"/>
                      </a:lnTo>
                      <a:lnTo>
                        <a:pt x="54" y="7"/>
                      </a:lnTo>
                      <a:lnTo>
                        <a:pt x="49" y="1"/>
                      </a:lnTo>
                      <a:lnTo>
                        <a:pt x="42" y="5"/>
                      </a:lnTo>
                      <a:lnTo>
                        <a:pt x="36" y="8"/>
                      </a:lnTo>
                      <a:lnTo>
                        <a:pt x="33" y="8"/>
                      </a:lnTo>
                      <a:lnTo>
                        <a:pt x="30" y="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5" name="Freeform 663">
                  <a:extLst>
                    <a:ext uri="{FF2B5EF4-FFF2-40B4-BE49-F238E27FC236}">
                      <a16:creationId xmlns:a16="http://schemas.microsoft.com/office/drawing/2014/main" id="{D068C815-49D3-A646-AF7A-0AB41D8198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02750" y="3675686"/>
                  <a:ext cx="260457" cy="312253"/>
                </a:xfrm>
                <a:custGeom>
                  <a:avLst/>
                  <a:gdLst>
                    <a:gd name="T0" fmla="*/ 2147483647 w 191"/>
                    <a:gd name="T1" fmla="*/ 2147483647 h 211"/>
                    <a:gd name="T2" fmla="*/ 2147483647 w 191"/>
                    <a:gd name="T3" fmla="*/ 2147483647 h 211"/>
                    <a:gd name="T4" fmla="*/ 2147483647 w 191"/>
                    <a:gd name="T5" fmla="*/ 2147483647 h 211"/>
                    <a:gd name="T6" fmla="*/ 2147483647 w 191"/>
                    <a:gd name="T7" fmla="*/ 2147483647 h 211"/>
                    <a:gd name="T8" fmla="*/ 2147483647 w 191"/>
                    <a:gd name="T9" fmla="*/ 2147483647 h 211"/>
                    <a:gd name="T10" fmla="*/ 0 w 191"/>
                    <a:gd name="T11" fmla="*/ 2147483647 h 211"/>
                    <a:gd name="T12" fmla="*/ 2147483647 w 191"/>
                    <a:gd name="T13" fmla="*/ 0 h 211"/>
                    <a:gd name="T14" fmla="*/ 2147483647 w 191"/>
                    <a:gd name="T15" fmla="*/ 2147483647 h 211"/>
                    <a:gd name="T16" fmla="*/ 2147483647 w 191"/>
                    <a:gd name="T17" fmla="*/ 2147483647 h 211"/>
                    <a:gd name="T18" fmla="*/ 2147483647 w 191"/>
                    <a:gd name="T19" fmla="*/ 2147483647 h 211"/>
                    <a:gd name="T20" fmla="*/ 2147483647 w 191"/>
                    <a:gd name="T21" fmla="*/ 2147483647 h 211"/>
                    <a:gd name="T22" fmla="*/ 2147483647 w 191"/>
                    <a:gd name="T23" fmla="*/ 2147483647 h 211"/>
                    <a:gd name="T24" fmla="*/ 2147483647 w 191"/>
                    <a:gd name="T25" fmla="*/ 2147483647 h 211"/>
                    <a:gd name="T26" fmla="*/ 2147483647 w 191"/>
                    <a:gd name="T27" fmla="*/ 2147483647 h 211"/>
                    <a:gd name="T28" fmla="*/ 2147483647 w 191"/>
                    <a:gd name="T29" fmla="*/ 2147483647 h 211"/>
                    <a:gd name="T30" fmla="*/ 2147483647 w 191"/>
                    <a:gd name="T31" fmla="*/ 2147483647 h 211"/>
                    <a:gd name="T32" fmla="*/ 2147483647 w 191"/>
                    <a:gd name="T33" fmla="*/ 2147483647 h 211"/>
                    <a:gd name="T34" fmla="*/ 2147483647 w 191"/>
                    <a:gd name="T35" fmla="*/ 2147483647 h 211"/>
                    <a:gd name="T36" fmla="*/ 2147483647 w 191"/>
                    <a:gd name="T37" fmla="*/ 2147483647 h 211"/>
                    <a:gd name="T38" fmla="*/ 2147483647 w 191"/>
                    <a:gd name="T39" fmla="*/ 2147483647 h 211"/>
                    <a:gd name="T40" fmla="*/ 2147483647 w 191"/>
                    <a:gd name="T41" fmla="*/ 2147483647 h 211"/>
                    <a:gd name="T42" fmla="*/ 2147483647 w 191"/>
                    <a:gd name="T43" fmla="*/ 2147483647 h 211"/>
                    <a:gd name="T44" fmla="*/ 2147483647 w 191"/>
                    <a:gd name="T45" fmla="*/ 2147483647 h 211"/>
                    <a:gd name="T46" fmla="*/ 2147483647 w 191"/>
                    <a:gd name="T47" fmla="*/ 2147483647 h 211"/>
                    <a:gd name="T48" fmla="*/ 2147483647 w 191"/>
                    <a:gd name="T49" fmla="*/ 2147483647 h 211"/>
                    <a:gd name="T50" fmla="*/ 2147483647 w 191"/>
                    <a:gd name="T51" fmla="*/ 2147483647 h 211"/>
                    <a:gd name="T52" fmla="*/ 2147483647 w 191"/>
                    <a:gd name="T53" fmla="*/ 2147483647 h 211"/>
                    <a:gd name="T54" fmla="*/ 2147483647 w 191"/>
                    <a:gd name="T55" fmla="*/ 2147483647 h 211"/>
                    <a:gd name="T56" fmla="*/ 2147483647 w 191"/>
                    <a:gd name="T57" fmla="*/ 2147483647 h 211"/>
                    <a:gd name="T58" fmla="*/ 2147483647 w 191"/>
                    <a:gd name="T59" fmla="*/ 2147483647 h 211"/>
                    <a:gd name="T60" fmla="*/ 2147483647 w 191"/>
                    <a:gd name="T61" fmla="*/ 2147483647 h 211"/>
                    <a:gd name="T62" fmla="*/ 2147483647 w 191"/>
                    <a:gd name="T63" fmla="*/ 2147483647 h 211"/>
                    <a:gd name="T64" fmla="*/ 2147483647 w 191"/>
                    <a:gd name="T65" fmla="*/ 2147483647 h 211"/>
                    <a:gd name="T66" fmla="*/ 2147483647 w 191"/>
                    <a:gd name="T67" fmla="*/ 2147483647 h 211"/>
                    <a:gd name="T68" fmla="*/ 2147483647 w 191"/>
                    <a:gd name="T69" fmla="*/ 2147483647 h 211"/>
                    <a:gd name="T70" fmla="*/ 2147483647 w 191"/>
                    <a:gd name="T71" fmla="*/ 2147483647 h 211"/>
                    <a:gd name="T72" fmla="*/ 2147483647 w 191"/>
                    <a:gd name="T73" fmla="*/ 2147483647 h 211"/>
                    <a:gd name="T74" fmla="*/ 2147483647 w 191"/>
                    <a:gd name="T75" fmla="*/ 2147483647 h 211"/>
                    <a:gd name="T76" fmla="*/ 2147483647 w 191"/>
                    <a:gd name="T77" fmla="*/ 2147483647 h 211"/>
                    <a:gd name="T78" fmla="*/ 2147483647 w 191"/>
                    <a:gd name="T79" fmla="*/ 2147483647 h 211"/>
                    <a:gd name="T80" fmla="*/ 2147483647 w 191"/>
                    <a:gd name="T81" fmla="*/ 2147483647 h 211"/>
                    <a:gd name="T82" fmla="*/ 2147483647 w 191"/>
                    <a:gd name="T83" fmla="*/ 2147483647 h 211"/>
                    <a:gd name="T84" fmla="*/ 2147483647 w 191"/>
                    <a:gd name="T85" fmla="*/ 2147483647 h 211"/>
                    <a:gd name="T86" fmla="*/ 2147483647 w 191"/>
                    <a:gd name="T87" fmla="*/ 2147483647 h 211"/>
                    <a:gd name="T88" fmla="*/ 2147483647 w 191"/>
                    <a:gd name="T89" fmla="*/ 2147483647 h 211"/>
                    <a:gd name="T90" fmla="*/ 2147483647 w 191"/>
                    <a:gd name="T91" fmla="*/ 2147483647 h 211"/>
                    <a:gd name="T92" fmla="*/ 2147483647 w 191"/>
                    <a:gd name="T93" fmla="*/ 2147483647 h 211"/>
                    <a:gd name="T94" fmla="*/ 2147483647 w 191"/>
                    <a:gd name="T95" fmla="*/ 2147483647 h 211"/>
                    <a:gd name="T96" fmla="*/ 2147483647 w 191"/>
                    <a:gd name="T97" fmla="*/ 2147483647 h 211"/>
                    <a:gd name="T98" fmla="*/ 2147483647 w 191"/>
                    <a:gd name="T99" fmla="*/ 2147483647 h 211"/>
                    <a:gd name="T100" fmla="*/ 2147483647 w 191"/>
                    <a:gd name="T101" fmla="*/ 2147483647 h 211"/>
                    <a:gd name="T102" fmla="*/ 2147483647 w 191"/>
                    <a:gd name="T103" fmla="*/ 2147483647 h 211"/>
                    <a:gd name="T104" fmla="*/ 2147483647 w 191"/>
                    <a:gd name="T105" fmla="*/ 2147483647 h 211"/>
                    <a:gd name="T106" fmla="*/ 2147483647 w 191"/>
                    <a:gd name="T107" fmla="*/ 2147483647 h 211"/>
                    <a:gd name="T108" fmla="*/ 2147483647 w 191"/>
                    <a:gd name="T109" fmla="*/ 2147483647 h 211"/>
                    <a:gd name="T110" fmla="*/ 2147483647 w 191"/>
                    <a:gd name="T111" fmla="*/ 2147483647 h 211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91"/>
                    <a:gd name="T169" fmla="*/ 0 h 211"/>
                    <a:gd name="T170" fmla="*/ 191 w 191"/>
                    <a:gd name="T171" fmla="*/ 211 h 211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91" h="211">
                      <a:moveTo>
                        <a:pt x="7" y="206"/>
                      </a:moveTo>
                      <a:lnTo>
                        <a:pt x="8" y="56"/>
                      </a:lnTo>
                      <a:lnTo>
                        <a:pt x="4" y="52"/>
                      </a:lnTo>
                      <a:lnTo>
                        <a:pt x="3" y="49"/>
                      </a:lnTo>
                      <a:lnTo>
                        <a:pt x="2" y="44"/>
                      </a:lnTo>
                      <a:lnTo>
                        <a:pt x="2" y="40"/>
                      </a:lnTo>
                      <a:lnTo>
                        <a:pt x="4" y="31"/>
                      </a:lnTo>
                      <a:lnTo>
                        <a:pt x="7" y="22"/>
                      </a:lnTo>
                      <a:lnTo>
                        <a:pt x="7" y="20"/>
                      </a:lnTo>
                      <a:lnTo>
                        <a:pt x="5" y="19"/>
                      </a:lnTo>
                      <a:lnTo>
                        <a:pt x="2" y="14"/>
                      </a:lnTo>
                      <a:lnTo>
                        <a:pt x="0" y="9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10" y="5"/>
                      </a:lnTo>
                      <a:lnTo>
                        <a:pt x="13" y="6"/>
                      </a:lnTo>
                      <a:lnTo>
                        <a:pt x="17" y="6"/>
                      </a:lnTo>
                      <a:lnTo>
                        <a:pt x="23" y="6"/>
                      </a:lnTo>
                      <a:lnTo>
                        <a:pt x="26" y="7"/>
                      </a:lnTo>
                      <a:lnTo>
                        <a:pt x="29" y="8"/>
                      </a:lnTo>
                      <a:lnTo>
                        <a:pt x="37" y="13"/>
                      </a:lnTo>
                      <a:lnTo>
                        <a:pt x="45" y="15"/>
                      </a:lnTo>
                      <a:lnTo>
                        <a:pt x="51" y="17"/>
                      </a:lnTo>
                      <a:lnTo>
                        <a:pt x="66" y="18"/>
                      </a:lnTo>
                      <a:lnTo>
                        <a:pt x="74" y="20"/>
                      </a:lnTo>
                      <a:lnTo>
                        <a:pt x="83" y="24"/>
                      </a:lnTo>
                      <a:lnTo>
                        <a:pt x="85" y="22"/>
                      </a:lnTo>
                      <a:lnTo>
                        <a:pt x="87" y="20"/>
                      </a:lnTo>
                      <a:lnTo>
                        <a:pt x="90" y="15"/>
                      </a:lnTo>
                      <a:lnTo>
                        <a:pt x="96" y="13"/>
                      </a:lnTo>
                      <a:lnTo>
                        <a:pt x="99" y="12"/>
                      </a:lnTo>
                      <a:lnTo>
                        <a:pt x="103" y="8"/>
                      </a:lnTo>
                      <a:lnTo>
                        <a:pt x="104" y="7"/>
                      </a:lnTo>
                      <a:lnTo>
                        <a:pt x="106" y="6"/>
                      </a:lnTo>
                      <a:lnTo>
                        <a:pt x="111" y="6"/>
                      </a:lnTo>
                      <a:lnTo>
                        <a:pt x="115" y="7"/>
                      </a:lnTo>
                      <a:lnTo>
                        <a:pt x="118" y="8"/>
                      </a:lnTo>
                      <a:lnTo>
                        <a:pt x="121" y="12"/>
                      </a:lnTo>
                      <a:lnTo>
                        <a:pt x="122" y="13"/>
                      </a:lnTo>
                      <a:lnTo>
                        <a:pt x="123" y="13"/>
                      </a:lnTo>
                      <a:lnTo>
                        <a:pt x="126" y="12"/>
                      </a:lnTo>
                      <a:lnTo>
                        <a:pt x="131" y="11"/>
                      </a:lnTo>
                      <a:lnTo>
                        <a:pt x="134" y="12"/>
                      </a:lnTo>
                      <a:lnTo>
                        <a:pt x="137" y="13"/>
                      </a:lnTo>
                      <a:lnTo>
                        <a:pt x="143" y="11"/>
                      </a:lnTo>
                      <a:lnTo>
                        <a:pt x="149" y="9"/>
                      </a:lnTo>
                      <a:lnTo>
                        <a:pt x="151" y="9"/>
                      </a:lnTo>
                      <a:lnTo>
                        <a:pt x="154" y="9"/>
                      </a:lnTo>
                      <a:lnTo>
                        <a:pt x="158" y="11"/>
                      </a:lnTo>
                      <a:lnTo>
                        <a:pt x="158" y="15"/>
                      </a:lnTo>
                      <a:lnTo>
                        <a:pt x="159" y="19"/>
                      </a:lnTo>
                      <a:lnTo>
                        <a:pt x="163" y="26"/>
                      </a:lnTo>
                      <a:lnTo>
                        <a:pt x="169" y="38"/>
                      </a:lnTo>
                      <a:lnTo>
                        <a:pt x="174" y="51"/>
                      </a:lnTo>
                      <a:lnTo>
                        <a:pt x="172" y="53"/>
                      </a:lnTo>
                      <a:lnTo>
                        <a:pt x="170" y="57"/>
                      </a:lnTo>
                      <a:lnTo>
                        <a:pt x="168" y="66"/>
                      </a:lnTo>
                      <a:lnTo>
                        <a:pt x="167" y="76"/>
                      </a:lnTo>
                      <a:lnTo>
                        <a:pt x="167" y="79"/>
                      </a:lnTo>
                      <a:lnTo>
                        <a:pt x="164" y="83"/>
                      </a:lnTo>
                      <a:lnTo>
                        <a:pt x="163" y="84"/>
                      </a:lnTo>
                      <a:lnTo>
                        <a:pt x="160" y="81"/>
                      </a:lnTo>
                      <a:lnTo>
                        <a:pt x="158" y="77"/>
                      </a:lnTo>
                      <a:lnTo>
                        <a:pt x="155" y="73"/>
                      </a:lnTo>
                      <a:lnTo>
                        <a:pt x="146" y="65"/>
                      </a:lnTo>
                      <a:lnTo>
                        <a:pt x="143" y="60"/>
                      </a:lnTo>
                      <a:lnTo>
                        <a:pt x="141" y="53"/>
                      </a:lnTo>
                      <a:lnTo>
                        <a:pt x="140" y="53"/>
                      </a:lnTo>
                      <a:lnTo>
                        <a:pt x="139" y="53"/>
                      </a:lnTo>
                      <a:lnTo>
                        <a:pt x="137" y="57"/>
                      </a:lnTo>
                      <a:lnTo>
                        <a:pt x="136" y="62"/>
                      </a:lnTo>
                      <a:lnTo>
                        <a:pt x="136" y="64"/>
                      </a:lnTo>
                      <a:lnTo>
                        <a:pt x="136" y="66"/>
                      </a:lnTo>
                      <a:lnTo>
                        <a:pt x="140" y="72"/>
                      </a:lnTo>
                      <a:lnTo>
                        <a:pt x="145" y="78"/>
                      </a:lnTo>
                      <a:lnTo>
                        <a:pt x="149" y="83"/>
                      </a:lnTo>
                      <a:lnTo>
                        <a:pt x="151" y="90"/>
                      </a:lnTo>
                      <a:lnTo>
                        <a:pt x="158" y="108"/>
                      </a:lnTo>
                      <a:lnTo>
                        <a:pt x="162" y="116"/>
                      </a:lnTo>
                      <a:lnTo>
                        <a:pt x="168" y="123"/>
                      </a:lnTo>
                      <a:lnTo>
                        <a:pt x="170" y="127"/>
                      </a:lnTo>
                      <a:lnTo>
                        <a:pt x="172" y="132"/>
                      </a:lnTo>
                      <a:lnTo>
                        <a:pt x="173" y="132"/>
                      </a:lnTo>
                      <a:lnTo>
                        <a:pt x="176" y="140"/>
                      </a:lnTo>
                      <a:lnTo>
                        <a:pt x="178" y="148"/>
                      </a:lnTo>
                      <a:lnTo>
                        <a:pt x="179" y="152"/>
                      </a:lnTo>
                      <a:lnTo>
                        <a:pt x="181" y="155"/>
                      </a:lnTo>
                      <a:lnTo>
                        <a:pt x="184" y="159"/>
                      </a:lnTo>
                      <a:lnTo>
                        <a:pt x="188" y="161"/>
                      </a:lnTo>
                      <a:lnTo>
                        <a:pt x="189" y="162"/>
                      </a:lnTo>
                      <a:lnTo>
                        <a:pt x="188" y="165"/>
                      </a:lnTo>
                      <a:lnTo>
                        <a:pt x="188" y="168"/>
                      </a:lnTo>
                      <a:lnTo>
                        <a:pt x="188" y="172"/>
                      </a:lnTo>
                      <a:lnTo>
                        <a:pt x="191" y="177"/>
                      </a:lnTo>
                      <a:lnTo>
                        <a:pt x="188" y="184"/>
                      </a:lnTo>
                      <a:lnTo>
                        <a:pt x="177" y="184"/>
                      </a:lnTo>
                      <a:lnTo>
                        <a:pt x="170" y="185"/>
                      </a:lnTo>
                      <a:lnTo>
                        <a:pt x="169" y="185"/>
                      </a:lnTo>
                      <a:lnTo>
                        <a:pt x="168" y="186"/>
                      </a:lnTo>
                      <a:lnTo>
                        <a:pt x="164" y="196"/>
                      </a:lnTo>
                      <a:lnTo>
                        <a:pt x="162" y="199"/>
                      </a:lnTo>
                      <a:lnTo>
                        <a:pt x="160" y="201"/>
                      </a:lnTo>
                      <a:lnTo>
                        <a:pt x="158" y="203"/>
                      </a:lnTo>
                      <a:lnTo>
                        <a:pt x="156" y="203"/>
                      </a:lnTo>
                      <a:lnTo>
                        <a:pt x="156" y="205"/>
                      </a:lnTo>
                      <a:lnTo>
                        <a:pt x="156" y="209"/>
                      </a:lnTo>
                      <a:lnTo>
                        <a:pt x="154" y="210"/>
                      </a:lnTo>
                      <a:lnTo>
                        <a:pt x="150" y="211"/>
                      </a:lnTo>
                      <a:lnTo>
                        <a:pt x="146" y="210"/>
                      </a:lnTo>
                      <a:lnTo>
                        <a:pt x="144" y="207"/>
                      </a:lnTo>
                      <a:lnTo>
                        <a:pt x="141" y="204"/>
                      </a:lnTo>
                      <a:lnTo>
                        <a:pt x="7" y="20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6" name="Freeform 664">
                  <a:extLst>
                    <a:ext uri="{FF2B5EF4-FFF2-40B4-BE49-F238E27FC236}">
                      <a16:creationId xmlns:a16="http://schemas.microsoft.com/office/drawing/2014/main" id="{5B48B95F-6894-554C-951B-A91109178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3610" y="3644607"/>
                  <a:ext cx="88792" cy="108030"/>
                </a:xfrm>
                <a:custGeom>
                  <a:avLst/>
                  <a:gdLst>
                    <a:gd name="T0" fmla="*/ 2147483647 w 65"/>
                    <a:gd name="T1" fmla="*/ 0 h 73"/>
                    <a:gd name="T2" fmla="*/ 2147483647 w 65"/>
                    <a:gd name="T3" fmla="*/ 0 h 73"/>
                    <a:gd name="T4" fmla="*/ 2147483647 w 65"/>
                    <a:gd name="T5" fmla="*/ 2147483647 h 73"/>
                    <a:gd name="T6" fmla="*/ 2147483647 w 65"/>
                    <a:gd name="T7" fmla="*/ 2147483647 h 73"/>
                    <a:gd name="T8" fmla="*/ 2147483647 w 65"/>
                    <a:gd name="T9" fmla="*/ 2147483647 h 73"/>
                    <a:gd name="T10" fmla="*/ 2147483647 w 65"/>
                    <a:gd name="T11" fmla="*/ 2147483647 h 73"/>
                    <a:gd name="T12" fmla="*/ 2147483647 w 65"/>
                    <a:gd name="T13" fmla="*/ 2147483647 h 73"/>
                    <a:gd name="T14" fmla="*/ 2147483647 w 65"/>
                    <a:gd name="T15" fmla="*/ 2147483647 h 73"/>
                    <a:gd name="T16" fmla="*/ 2147483647 w 65"/>
                    <a:gd name="T17" fmla="*/ 2147483647 h 73"/>
                    <a:gd name="T18" fmla="*/ 2147483647 w 65"/>
                    <a:gd name="T19" fmla="*/ 2147483647 h 73"/>
                    <a:gd name="T20" fmla="*/ 2147483647 w 65"/>
                    <a:gd name="T21" fmla="*/ 2147483647 h 73"/>
                    <a:gd name="T22" fmla="*/ 2147483647 w 65"/>
                    <a:gd name="T23" fmla="*/ 2147483647 h 73"/>
                    <a:gd name="T24" fmla="*/ 2147483647 w 65"/>
                    <a:gd name="T25" fmla="*/ 2147483647 h 73"/>
                    <a:gd name="T26" fmla="*/ 0 w 65"/>
                    <a:gd name="T27" fmla="*/ 2147483647 h 73"/>
                    <a:gd name="T28" fmla="*/ 2147483647 w 65"/>
                    <a:gd name="T29" fmla="*/ 2147483647 h 73"/>
                    <a:gd name="T30" fmla="*/ 2147483647 w 65"/>
                    <a:gd name="T31" fmla="*/ 2147483647 h 73"/>
                    <a:gd name="T32" fmla="*/ 2147483647 w 65"/>
                    <a:gd name="T33" fmla="*/ 2147483647 h 73"/>
                    <a:gd name="T34" fmla="*/ 2147483647 w 65"/>
                    <a:gd name="T35" fmla="*/ 2147483647 h 73"/>
                    <a:gd name="T36" fmla="*/ 2147483647 w 65"/>
                    <a:gd name="T37" fmla="*/ 2147483647 h 73"/>
                    <a:gd name="T38" fmla="*/ 2147483647 w 65"/>
                    <a:gd name="T39" fmla="*/ 2147483647 h 73"/>
                    <a:gd name="T40" fmla="*/ 2147483647 w 65"/>
                    <a:gd name="T41" fmla="*/ 2147483647 h 73"/>
                    <a:gd name="T42" fmla="*/ 2147483647 w 65"/>
                    <a:gd name="T43" fmla="*/ 2147483647 h 73"/>
                    <a:gd name="T44" fmla="*/ 2147483647 w 65"/>
                    <a:gd name="T45" fmla="*/ 2147483647 h 73"/>
                    <a:gd name="T46" fmla="*/ 2147483647 w 65"/>
                    <a:gd name="T47" fmla="*/ 2147483647 h 73"/>
                    <a:gd name="T48" fmla="*/ 2147483647 w 65"/>
                    <a:gd name="T49" fmla="*/ 2147483647 h 73"/>
                    <a:gd name="T50" fmla="*/ 2147483647 w 65"/>
                    <a:gd name="T51" fmla="*/ 2147483647 h 73"/>
                    <a:gd name="T52" fmla="*/ 2147483647 w 65"/>
                    <a:gd name="T53" fmla="*/ 2147483647 h 73"/>
                    <a:gd name="T54" fmla="*/ 2147483647 w 65"/>
                    <a:gd name="T55" fmla="*/ 2147483647 h 73"/>
                    <a:gd name="T56" fmla="*/ 2147483647 w 65"/>
                    <a:gd name="T57" fmla="*/ 2147483647 h 73"/>
                    <a:gd name="T58" fmla="*/ 2147483647 w 65"/>
                    <a:gd name="T59" fmla="*/ 2147483647 h 73"/>
                    <a:gd name="T60" fmla="*/ 2147483647 w 65"/>
                    <a:gd name="T61" fmla="*/ 2147483647 h 73"/>
                    <a:gd name="T62" fmla="*/ 2147483647 w 65"/>
                    <a:gd name="T63" fmla="*/ 2147483647 h 73"/>
                    <a:gd name="T64" fmla="*/ 2147483647 w 65"/>
                    <a:gd name="T65" fmla="*/ 2147483647 h 73"/>
                    <a:gd name="T66" fmla="*/ 2147483647 w 65"/>
                    <a:gd name="T67" fmla="*/ 2147483647 h 73"/>
                    <a:gd name="T68" fmla="*/ 2147483647 w 65"/>
                    <a:gd name="T69" fmla="*/ 2147483647 h 73"/>
                    <a:gd name="T70" fmla="*/ 2147483647 w 65"/>
                    <a:gd name="T71" fmla="*/ 2147483647 h 73"/>
                    <a:gd name="T72" fmla="*/ 2147483647 w 65"/>
                    <a:gd name="T73" fmla="*/ 2147483647 h 73"/>
                    <a:gd name="T74" fmla="*/ 2147483647 w 65"/>
                    <a:gd name="T75" fmla="*/ 2147483647 h 73"/>
                    <a:gd name="T76" fmla="*/ 2147483647 w 65"/>
                    <a:gd name="T77" fmla="*/ 2147483647 h 73"/>
                    <a:gd name="T78" fmla="*/ 2147483647 w 65"/>
                    <a:gd name="T79" fmla="*/ 2147483647 h 73"/>
                    <a:gd name="T80" fmla="*/ 2147483647 w 65"/>
                    <a:gd name="T81" fmla="*/ 2147483647 h 73"/>
                    <a:gd name="T82" fmla="*/ 2147483647 w 65"/>
                    <a:gd name="T83" fmla="*/ 2147483647 h 73"/>
                    <a:gd name="T84" fmla="*/ 2147483647 w 65"/>
                    <a:gd name="T85" fmla="*/ 2147483647 h 73"/>
                    <a:gd name="T86" fmla="*/ 2147483647 w 65"/>
                    <a:gd name="T87" fmla="*/ 2147483647 h 73"/>
                    <a:gd name="T88" fmla="*/ 2147483647 w 65"/>
                    <a:gd name="T89" fmla="*/ 2147483647 h 73"/>
                    <a:gd name="T90" fmla="*/ 2147483647 w 65"/>
                    <a:gd name="T91" fmla="*/ 2147483647 h 73"/>
                    <a:gd name="T92" fmla="*/ 2147483647 w 65"/>
                    <a:gd name="T93" fmla="*/ 2147483647 h 73"/>
                    <a:gd name="T94" fmla="*/ 2147483647 w 65"/>
                    <a:gd name="T95" fmla="*/ 2147483647 h 73"/>
                    <a:gd name="T96" fmla="*/ 2147483647 w 65"/>
                    <a:gd name="T97" fmla="*/ 2147483647 h 73"/>
                    <a:gd name="T98" fmla="*/ 2147483647 w 65"/>
                    <a:gd name="T99" fmla="*/ 2147483647 h 73"/>
                    <a:gd name="T100" fmla="*/ 2147483647 w 65"/>
                    <a:gd name="T101" fmla="*/ 2147483647 h 73"/>
                    <a:gd name="T102" fmla="*/ 2147483647 w 65"/>
                    <a:gd name="T103" fmla="*/ 2147483647 h 73"/>
                    <a:gd name="T104" fmla="*/ 2147483647 w 65"/>
                    <a:gd name="T105" fmla="*/ 2147483647 h 73"/>
                    <a:gd name="T106" fmla="*/ 2147483647 w 65"/>
                    <a:gd name="T107" fmla="*/ 2147483647 h 73"/>
                    <a:gd name="T108" fmla="*/ 2147483647 w 65"/>
                    <a:gd name="T109" fmla="*/ 2147483647 h 73"/>
                    <a:gd name="T110" fmla="*/ 2147483647 w 65"/>
                    <a:gd name="T111" fmla="*/ 2147483647 h 73"/>
                    <a:gd name="T112" fmla="*/ 2147483647 w 65"/>
                    <a:gd name="T113" fmla="*/ 2147483647 h 73"/>
                    <a:gd name="T114" fmla="*/ 2147483647 w 65"/>
                    <a:gd name="T115" fmla="*/ 2147483647 h 73"/>
                    <a:gd name="T116" fmla="*/ 2147483647 w 65"/>
                    <a:gd name="T117" fmla="*/ 2147483647 h 73"/>
                    <a:gd name="T118" fmla="*/ 2147483647 w 65"/>
                    <a:gd name="T119" fmla="*/ 2147483647 h 73"/>
                    <a:gd name="T120" fmla="*/ 2147483647 w 65"/>
                    <a:gd name="T121" fmla="*/ 2147483647 h 73"/>
                    <a:gd name="T122" fmla="*/ 2147483647 w 65"/>
                    <a:gd name="T123" fmla="*/ 2147483647 h 73"/>
                    <a:gd name="T124" fmla="*/ 2147483647 w 65"/>
                    <a:gd name="T125" fmla="*/ 0 h 73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5"/>
                    <a:gd name="T190" fmla="*/ 0 h 73"/>
                    <a:gd name="T191" fmla="*/ 65 w 65"/>
                    <a:gd name="T192" fmla="*/ 73 h 73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5" h="73">
                      <a:moveTo>
                        <a:pt x="18" y="0"/>
                      </a:moveTo>
                      <a:lnTo>
                        <a:pt x="18" y="0"/>
                      </a:lnTo>
                      <a:lnTo>
                        <a:pt x="17" y="7"/>
                      </a:lnTo>
                      <a:lnTo>
                        <a:pt x="15" y="8"/>
                      </a:lnTo>
                      <a:lnTo>
                        <a:pt x="13" y="9"/>
                      </a:lnTo>
                      <a:lnTo>
                        <a:pt x="12" y="10"/>
                      </a:lnTo>
                      <a:lnTo>
                        <a:pt x="10" y="11"/>
                      </a:lnTo>
                      <a:lnTo>
                        <a:pt x="9" y="16"/>
                      </a:lnTo>
                      <a:lnTo>
                        <a:pt x="7" y="20"/>
                      </a:lnTo>
                      <a:lnTo>
                        <a:pt x="1" y="28"/>
                      </a:lnTo>
                      <a:lnTo>
                        <a:pt x="0" y="29"/>
                      </a:lnTo>
                      <a:lnTo>
                        <a:pt x="1" y="32"/>
                      </a:lnTo>
                      <a:lnTo>
                        <a:pt x="3" y="33"/>
                      </a:lnTo>
                      <a:lnTo>
                        <a:pt x="5" y="33"/>
                      </a:lnTo>
                      <a:lnTo>
                        <a:pt x="8" y="33"/>
                      </a:lnTo>
                      <a:lnTo>
                        <a:pt x="10" y="33"/>
                      </a:lnTo>
                      <a:lnTo>
                        <a:pt x="12" y="34"/>
                      </a:lnTo>
                      <a:lnTo>
                        <a:pt x="13" y="36"/>
                      </a:lnTo>
                      <a:lnTo>
                        <a:pt x="13" y="39"/>
                      </a:lnTo>
                      <a:lnTo>
                        <a:pt x="13" y="41"/>
                      </a:lnTo>
                      <a:lnTo>
                        <a:pt x="9" y="48"/>
                      </a:lnTo>
                      <a:lnTo>
                        <a:pt x="8" y="55"/>
                      </a:lnTo>
                      <a:lnTo>
                        <a:pt x="7" y="64"/>
                      </a:lnTo>
                      <a:lnTo>
                        <a:pt x="4" y="71"/>
                      </a:lnTo>
                      <a:lnTo>
                        <a:pt x="9" y="70"/>
                      </a:lnTo>
                      <a:lnTo>
                        <a:pt x="13" y="70"/>
                      </a:lnTo>
                      <a:lnTo>
                        <a:pt x="22" y="72"/>
                      </a:lnTo>
                      <a:lnTo>
                        <a:pt x="26" y="73"/>
                      </a:lnTo>
                      <a:lnTo>
                        <a:pt x="28" y="72"/>
                      </a:lnTo>
                      <a:lnTo>
                        <a:pt x="38" y="62"/>
                      </a:lnTo>
                      <a:lnTo>
                        <a:pt x="48" y="54"/>
                      </a:lnTo>
                      <a:lnTo>
                        <a:pt x="38" y="45"/>
                      </a:lnTo>
                      <a:lnTo>
                        <a:pt x="32" y="40"/>
                      </a:lnTo>
                      <a:lnTo>
                        <a:pt x="31" y="38"/>
                      </a:lnTo>
                      <a:lnTo>
                        <a:pt x="31" y="36"/>
                      </a:lnTo>
                      <a:lnTo>
                        <a:pt x="32" y="34"/>
                      </a:lnTo>
                      <a:lnTo>
                        <a:pt x="34" y="33"/>
                      </a:lnTo>
                      <a:lnTo>
                        <a:pt x="43" y="29"/>
                      </a:lnTo>
                      <a:lnTo>
                        <a:pt x="54" y="27"/>
                      </a:lnTo>
                      <a:lnTo>
                        <a:pt x="65" y="26"/>
                      </a:lnTo>
                      <a:lnTo>
                        <a:pt x="57" y="13"/>
                      </a:lnTo>
                      <a:lnTo>
                        <a:pt x="54" y="7"/>
                      </a:lnTo>
                      <a:lnTo>
                        <a:pt x="48" y="1"/>
                      </a:lnTo>
                      <a:lnTo>
                        <a:pt x="42" y="4"/>
                      </a:lnTo>
                      <a:lnTo>
                        <a:pt x="36" y="8"/>
                      </a:lnTo>
                      <a:lnTo>
                        <a:pt x="33" y="8"/>
                      </a:lnTo>
                      <a:lnTo>
                        <a:pt x="29" y="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7" name="Freeform 665">
                  <a:extLst>
                    <a:ext uri="{FF2B5EF4-FFF2-40B4-BE49-F238E27FC236}">
                      <a16:creationId xmlns:a16="http://schemas.microsoft.com/office/drawing/2014/main" id="{48D0ABB1-84A5-A046-9EB1-EA679141F1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01270" y="3674203"/>
                  <a:ext cx="258978" cy="312253"/>
                </a:xfrm>
                <a:custGeom>
                  <a:avLst/>
                  <a:gdLst>
                    <a:gd name="T0" fmla="*/ 2147483647 w 190"/>
                    <a:gd name="T1" fmla="*/ 2147483647 h 211"/>
                    <a:gd name="T2" fmla="*/ 2147483647 w 190"/>
                    <a:gd name="T3" fmla="*/ 2147483647 h 211"/>
                    <a:gd name="T4" fmla="*/ 2147483647 w 190"/>
                    <a:gd name="T5" fmla="*/ 2147483647 h 211"/>
                    <a:gd name="T6" fmla="*/ 2147483647 w 190"/>
                    <a:gd name="T7" fmla="*/ 2147483647 h 211"/>
                    <a:gd name="T8" fmla="*/ 0 w 190"/>
                    <a:gd name="T9" fmla="*/ 2147483647 h 211"/>
                    <a:gd name="T10" fmla="*/ 2147483647 w 190"/>
                    <a:gd name="T11" fmla="*/ 0 h 211"/>
                    <a:gd name="T12" fmla="*/ 2147483647 w 190"/>
                    <a:gd name="T13" fmla="*/ 2147483647 h 211"/>
                    <a:gd name="T14" fmla="*/ 2147483647 w 190"/>
                    <a:gd name="T15" fmla="*/ 2147483647 h 211"/>
                    <a:gd name="T16" fmla="*/ 2147483647 w 190"/>
                    <a:gd name="T17" fmla="*/ 2147483647 h 211"/>
                    <a:gd name="T18" fmla="*/ 2147483647 w 190"/>
                    <a:gd name="T19" fmla="*/ 2147483647 h 211"/>
                    <a:gd name="T20" fmla="*/ 2147483647 w 190"/>
                    <a:gd name="T21" fmla="*/ 2147483647 h 211"/>
                    <a:gd name="T22" fmla="*/ 2147483647 w 190"/>
                    <a:gd name="T23" fmla="*/ 2147483647 h 211"/>
                    <a:gd name="T24" fmla="*/ 2147483647 w 190"/>
                    <a:gd name="T25" fmla="*/ 2147483647 h 211"/>
                    <a:gd name="T26" fmla="*/ 2147483647 w 190"/>
                    <a:gd name="T27" fmla="*/ 2147483647 h 211"/>
                    <a:gd name="T28" fmla="*/ 2147483647 w 190"/>
                    <a:gd name="T29" fmla="*/ 2147483647 h 211"/>
                    <a:gd name="T30" fmla="*/ 2147483647 w 190"/>
                    <a:gd name="T31" fmla="*/ 2147483647 h 211"/>
                    <a:gd name="T32" fmla="*/ 2147483647 w 190"/>
                    <a:gd name="T33" fmla="*/ 2147483647 h 211"/>
                    <a:gd name="T34" fmla="*/ 2147483647 w 190"/>
                    <a:gd name="T35" fmla="*/ 2147483647 h 211"/>
                    <a:gd name="T36" fmla="*/ 2147483647 w 190"/>
                    <a:gd name="T37" fmla="*/ 2147483647 h 211"/>
                    <a:gd name="T38" fmla="*/ 2147483647 w 190"/>
                    <a:gd name="T39" fmla="*/ 2147483647 h 211"/>
                    <a:gd name="T40" fmla="*/ 2147483647 w 190"/>
                    <a:gd name="T41" fmla="*/ 2147483647 h 211"/>
                    <a:gd name="T42" fmla="*/ 2147483647 w 190"/>
                    <a:gd name="T43" fmla="*/ 2147483647 h 211"/>
                    <a:gd name="T44" fmla="*/ 2147483647 w 190"/>
                    <a:gd name="T45" fmla="*/ 2147483647 h 211"/>
                    <a:gd name="T46" fmla="*/ 2147483647 w 190"/>
                    <a:gd name="T47" fmla="*/ 2147483647 h 211"/>
                    <a:gd name="T48" fmla="*/ 2147483647 w 190"/>
                    <a:gd name="T49" fmla="*/ 2147483647 h 211"/>
                    <a:gd name="T50" fmla="*/ 2147483647 w 190"/>
                    <a:gd name="T51" fmla="*/ 2147483647 h 211"/>
                    <a:gd name="T52" fmla="*/ 2147483647 w 190"/>
                    <a:gd name="T53" fmla="*/ 2147483647 h 211"/>
                    <a:gd name="T54" fmla="*/ 2147483647 w 190"/>
                    <a:gd name="T55" fmla="*/ 2147483647 h 211"/>
                    <a:gd name="T56" fmla="*/ 2147483647 w 190"/>
                    <a:gd name="T57" fmla="*/ 2147483647 h 211"/>
                    <a:gd name="T58" fmla="*/ 2147483647 w 190"/>
                    <a:gd name="T59" fmla="*/ 2147483647 h 211"/>
                    <a:gd name="T60" fmla="*/ 2147483647 w 190"/>
                    <a:gd name="T61" fmla="*/ 2147483647 h 211"/>
                    <a:gd name="T62" fmla="*/ 2147483647 w 190"/>
                    <a:gd name="T63" fmla="*/ 2147483647 h 211"/>
                    <a:gd name="T64" fmla="*/ 2147483647 w 190"/>
                    <a:gd name="T65" fmla="*/ 2147483647 h 211"/>
                    <a:gd name="T66" fmla="*/ 2147483647 w 190"/>
                    <a:gd name="T67" fmla="*/ 2147483647 h 211"/>
                    <a:gd name="T68" fmla="*/ 2147483647 w 190"/>
                    <a:gd name="T69" fmla="*/ 2147483647 h 211"/>
                    <a:gd name="T70" fmla="*/ 2147483647 w 190"/>
                    <a:gd name="T71" fmla="*/ 2147483647 h 211"/>
                    <a:gd name="T72" fmla="*/ 2147483647 w 190"/>
                    <a:gd name="T73" fmla="*/ 2147483647 h 211"/>
                    <a:gd name="T74" fmla="*/ 2147483647 w 190"/>
                    <a:gd name="T75" fmla="*/ 2147483647 h 211"/>
                    <a:gd name="T76" fmla="*/ 2147483647 w 190"/>
                    <a:gd name="T77" fmla="*/ 2147483647 h 211"/>
                    <a:gd name="T78" fmla="*/ 2147483647 w 190"/>
                    <a:gd name="T79" fmla="*/ 2147483647 h 211"/>
                    <a:gd name="T80" fmla="*/ 2147483647 w 190"/>
                    <a:gd name="T81" fmla="*/ 2147483647 h 211"/>
                    <a:gd name="T82" fmla="*/ 2147483647 w 190"/>
                    <a:gd name="T83" fmla="*/ 2147483647 h 211"/>
                    <a:gd name="T84" fmla="*/ 2147483647 w 190"/>
                    <a:gd name="T85" fmla="*/ 2147483647 h 211"/>
                    <a:gd name="T86" fmla="*/ 2147483647 w 190"/>
                    <a:gd name="T87" fmla="*/ 2147483647 h 211"/>
                    <a:gd name="T88" fmla="*/ 2147483647 w 190"/>
                    <a:gd name="T89" fmla="*/ 2147483647 h 211"/>
                    <a:gd name="T90" fmla="*/ 2147483647 w 190"/>
                    <a:gd name="T91" fmla="*/ 2147483647 h 211"/>
                    <a:gd name="T92" fmla="*/ 2147483647 w 190"/>
                    <a:gd name="T93" fmla="*/ 2147483647 h 211"/>
                    <a:gd name="T94" fmla="*/ 2147483647 w 190"/>
                    <a:gd name="T95" fmla="*/ 2147483647 h 211"/>
                    <a:gd name="T96" fmla="*/ 2147483647 w 190"/>
                    <a:gd name="T97" fmla="*/ 2147483647 h 211"/>
                    <a:gd name="T98" fmla="*/ 2147483647 w 190"/>
                    <a:gd name="T99" fmla="*/ 2147483647 h 21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90"/>
                    <a:gd name="T151" fmla="*/ 0 h 211"/>
                    <a:gd name="T152" fmla="*/ 190 w 190"/>
                    <a:gd name="T153" fmla="*/ 211 h 211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90" h="211">
                      <a:moveTo>
                        <a:pt x="6" y="206"/>
                      </a:moveTo>
                      <a:lnTo>
                        <a:pt x="8" y="55"/>
                      </a:lnTo>
                      <a:lnTo>
                        <a:pt x="4" y="52"/>
                      </a:lnTo>
                      <a:lnTo>
                        <a:pt x="3" y="48"/>
                      </a:lnTo>
                      <a:lnTo>
                        <a:pt x="1" y="44"/>
                      </a:lnTo>
                      <a:lnTo>
                        <a:pt x="1" y="40"/>
                      </a:lnTo>
                      <a:lnTo>
                        <a:pt x="4" y="31"/>
                      </a:lnTo>
                      <a:lnTo>
                        <a:pt x="6" y="22"/>
                      </a:lnTo>
                      <a:lnTo>
                        <a:pt x="6" y="20"/>
                      </a:lnTo>
                      <a:lnTo>
                        <a:pt x="5" y="19"/>
                      </a:lnTo>
                      <a:lnTo>
                        <a:pt x="1" y="14"/>
                      </a:lnTo>
                      <a:lnTo>
                        <a:pt x="0" y="9"/>
                      </a:lnTo>
                      <a:lnTo>
                        <a:pt x="0" y="4"/>
                      </a:lnTo>
                      <a:lnTo>
                        <a:pt x="4" y="0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7" y="6"/>
                      </a:lnTo>
                      <a:lnTo>
                        <a:pt x="23" y="6"/>
                      </a:lnTo>
                      <a:lnTo>
                        <a:pt x="25" y="7"/>
                      </a:lnTo>
                      <a:lnTo>
                        <a:pt x="29" y="8"/>
                      </a:lnTo>
                      <a:lnTo>
                        <a:pt x="37" y="13"/>
                      </a:lnTo>
                      <a:lnTo>
                        <a:pt x="44" y="15"/>
                      </a:lnTo>
                      <a:lnTo>
                        <a:pt x="51" y="16"/>
                      </a:lnTo>
                      <a:lnTo>
                        <a:pt x="66" y="18"/>
                      </a:lnTo>
                      <a:lnTo>
                        <a:pt x="74" y="20"/>
                      </a:lnTo>
                      <a:lnTo>
                        <a:pt x="83" y="23"/>
                      </a:lnTo>
                      <a:lnTo>
                        <a:pt x="85" y="22"/>
                      </a:lnTo>
                      <a:lnTo>
                        <a:pt x="86" y="20"/>
                      </a:lnTo>
                      <a:lnTo>
                        <a:pt x="90" y="15"/>
                      </a:lnTo>
                      <a:lnTo>
                        <a:pt x="95" y="13"/>
                      </a:lnTo>
                      <a:lnTo>
                        <a:pt x="99" y="12"/>
                      </a:lnTo>
                      <a:lnTo>
                        <a:pt x="103" y="8"/>
                      </a:lnTo>
                      <a:lnTo>
                        <a:pt x="104" y="7"/>
                      </a:lnTo>
                      <a:lnTo>
                        <a:pt x="105" y="6"/>
                      </a:lnTo>
                      <a:lnTo>
                        <a:pt x="110" y="6"/>
                      </a:lnTo>
                      <a:lnTo>
                        <a:pt x="114" y="7"/>
                      </a:lnTo>
                      <a:lnTo>
                        <a:pt x="118" y="8"/>
                      </a:lnTo>
                      <a:lnTo>
                        <a:pt x="121" y="12"/>
                      </a:lnTo>
                      <a:lnTo>
                        <a:pt x="122" y="13"/>
                      </a:lnTo>
                      <a:lnTo>
                        <a:pt x="123" y="13"/>
                      </a:lnTo>
                      <a:lnTo>
                        <a:pt x="126" y="12"/>
                      </a:lnTo>
                      <a:lnTo>
                        <a:pt x="131" y="10"/>
                      </a:lnTo>
                      <a:lnTo>
                        <a:pt x="133" y="12"/>
                      </a:lnTo>
                      <a:lnTo>
                        <a:pt x="137" y="13"/>
                      </a:lnTo>
                      <a:lnTo>
                        <a:pt x="142" y="10"/>
                      </a:lnTo>
                      <a:lnTo>
                        <a:pt x="149" y="9"/>
                      </a:lnTo>
                      <a:lnTo>
                        <a:pt x="151" y="9"/>
                      </a:lnTo>
                      <a:lnTo>
                        <a:pt x="154" y="9"/>
                      </a:lnTo>
                      <a:lnTo>
                        <a:pt x="157" y="10"/>
                      </a:lnTo>
                      <a:lnTo>
                        <a:pt x="157" y="15"/>
                      </a:lnTo>
                      <a:lnTo>
                        <a:pt x="159" y="19"/>
                      </a:lnTo>
                      <a:lnTo>
                        <a:pt x="163" y="26"/>
                      </a:lnTo>
                      <a:lnTo>
                        <a:pt x="169" y="38"/>
                      </a:lnTo>
                      <a:lnTo>
                        <a:pt x="174" y="51"/>
                      </a:lnTo>
                      <a:lnTo>
                        <a:pt x="171" y="53"/>
                      </a:lnTo>
                      <a:lnTo>
                        <a:pt x="170" y="57"/>
                      </a:lnTo>
                      <a:lnTo>
                        <a:pt x="168" y="66"/>
                      </a:lnTo>
                      <a:lnTo>
                        <a:pt x="166" y="76"/>
                      </a:lnTo>
                      <a:lnTo>
                        <a:pt x="166" y="79"/>
                      </a:lnTo>
                      <a:lnTo>
                        <a:pt x="164" y="83"/>
                      </a:lnTo>
                      <a:lnTo>
                        <a:pt x="163" y="84"/>
                      </a:lnTo>
                      <a:lnTo>
                        <a:pt x="160" y="80"/>
                      </a:lnTo>
                      <a:lnTo>
                        <a:pt x="157" y="77"/>
                      </a:lnTo>
                      <a:lnTo>
                        <a:pt x="155" y="73"/>
                      </a:lnTo>
                      <a:lnTo>
                        <a:pt x="146" y="65"/>
                      </a:lnTo>
                      <a:lnTo>
                        <a:pt x="142" y="60"/>
                      </a:lnTo>
                      <a:lnTo>
                        <a:pt x="141" y="53"/>
                      </a:lnTo>
                      <a:lnTo>
                        <a:pt x="140" y="53"/>
                      </a:lnTo>
                      <a:lnTo>
                        <a:pt x="138" y="53"/>
                      </a:lnTo>
                      <a:lnTo>
                        <a:pt x="137" y="57"/>
                      </a:lnTo>
                      <a:lnTo>
                        <a:pt x="136" y="61"/>
                      </a:lnTo>
                      <a:lnTo>
                        <a:pt x="136" y="64"/>
                      </a:lnTo>
                      <a:lnTo>
                        <a:pt x="136" y="66"/>
                      </a:lnTo>
                      <a:lnTo>
                        <a:pt x="140" y="72"/>
                      </a:lnTo>
                      <a:lnTo>
                        <a:pt x="145" y="78"/>
                      </a:lnTo>
                      <a:lnTo>
                        <a:pt x="149" y="83"/>
                      </a:lnTo>
                      <a:lnTo>
                        <a:pt x="151" y="90"/>
                      </a:lnTo>
                      <a:lnTo>
                        <a:pt x="157" y="108"/>
                      </a:lnTo>
                      <a:lnTo>
                        <a:pt x="161" y="116"/>
                      </a:lnTo>
                      <a:lnTo>
                        <a:pt x="168" y="123"/>
                      </a:lnTo>
                      <a:lnTo>
                        <a:pt x="170" y="127"/>
                      </a:lnTo>
                      <a:lnTo>
                        <a:pt x="171" y="131"/>
                      </a:lnTo>
                      <a:lnTo>
                        <a:pt x="173" y="131"/>
                      </a:lnTo>
                      <a:lnTo>
                        <a:pt x="175" y="140"/>
                      </a:lnTo>
                      <a:lnTo>
                        <a:pt x="178" y="148"/>
                      </a:lnTo>
                      <a:lnTo>
                        <a:pt x="179" y="151"/>
                      </a:lnTo>
                      <a:lnTo>
                        <a:pt x="180" y="155"/>
                      </a:lnTo>
                      <a:lnTo>
                        <a:pt x="184" y="159"/>
                      </a:lnTo>
                      <a:lnTo>
                        <a:pt x="188" y="161"/>
                      </a:lnTo>
                      <a:lnTo>
                        <a:pt x="189" y="162"/>
                      </a:lnTo>
                      <a:lnTo>
                        <a:pt x="188" y="165"/>
                      </a:lnTo>
                      <a:lnTo>
                        <a:pt x="188" y="168"/>
                      </a:lnTo>
                      <a:lnTo>
                        <a:pt x="188" y="172"/>
                      </a:lnTo>
                      <a:lnTo>
                        <a:pt x="190" y="176"/>
                      </a:lnTo>
                      <a:lnTo>
                        <a:pt x="188" y="184"/>
                      </a:lnTo>
                      <a:lnTo>
                        <a:pt x="177" y="184"/>
                      </a:lnTo>
                      <a:lnTo>
                        <a:pt x="170" y="185"/>
                      </a:lnTo>
                      <a:lnTo>
                        <a:pt x="169" y="185"/>
                      </a:lnTo>
                      <a:lnTo>
                        <a:pt x="168" y="186"/>
                      </a:lnTo>
                      <a:lnTo>
                        <a:pt x="164" y="195"/>
                      </a:lnTo>
                      <a:lnTo>
                        <a:pt x="161" y="199"/>
                      </a:lnTo>
                      <a:lnTo>
                        <a:pt x="160" y="201"/>
                      </a:lnTo>
                      <a:lnTo>
                        <a:pt x="157" y="202"/>
                      </a:lnTo>
                      <a:lnTo>
                        <a:pt x="156" y="202"/>
                      </a:lnTo>
                      <a:lnTo>
                        <a:pt x="156" y="205"/>
                      </a:lnTo>
                      <a:lnTo>
                        <a:pt x="156" y="208"/>
                      </a:lnTo>
                      <a:lnTo>
                        <a:pt x="154" y="210"/>
                      </a:lnTo>
                      <a:lnTo>
                        <a:pt x="150" y="211"/>
                      </a:lnTo>
                      <a:lnTo>
                        <a:pt x="146" y="210"/>
                      </a:lnTo>
                      <a:lnTo>
                        <a:pt x="144" y="207"/>
                      </a:lnTo>
                      <a:lnTo>
                        <a:pt x="141" y="204"/>
                      </a:lnTo>
                      <a:lnTo>
                        <a:pt x="6" y="20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8" name="Freeform 666">
                  <a:extLst>
                    <a:ext uri="{FF2B5EF4-FFF2-40B4-BE49-F238E27FC236}">
                      <a16:creationId xmlns:a16="http://schemas.microsoft.com/office/drawing/2014/main" id="{F203062F-A84A-4141-A2AF-F5EF05EE14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6503" y="3635727"/>
                  <a:ext cx="396606" cy="424723"/>
                </a:xfrm>
                <a:custGeom>
                  <a:avLst/>
                  <a:gdLst>
                    <a:gd name="T0" fmla="*/ 2147483647 w 291"/>
                    <a:gd name="T1" fmla="*/ 2147483647 h 287"/>
                    <a:gd name="T2" fmla="*/ 2147483647 w 291"/>
                    <a:gd name="T3" fmla="*/ 2147483647 h 287"/>
                    <a:gd name="T4" fmla="*/ 2147483647 w 291"/>
                    <a:gd name="T5" fmla="*/ 2147483647 h 287"/>
                    <a:gd name="T6" fmla="*/ 2147483647 w 291"/>
                    <a:gd name="T7" fmla="*/ 2147483647 h 287"/>
                    <a:gd name="T8" fmla="*/ 2147483647 w 291"/>
                    <a:gd name="T9" fmla="*/ 2147483647 h 287"/>
                    <a:gd name="T10" fmla="*/ 2147483647 w 291"/>
                    <a:gd name="T11" fmla="*/ 2147483647 h 287"/>
                    <a:gd name="T12" fmla="*/ 2147483647 w 291"/>
                    <a:gd name="T13" fmla="*/ 2147483647 h 287"/>
                    <a:gd name="T14" fmla="*/ 2147483647 w 291"/>
                    <a:gd name="T15" fmla="*/ 2147483647 h 287"/>
                    <a:gd name="T16" fmla="*/ 2147483647 w 291"/>
                    <a:gd name="T17" fmla="*/ 2147483647 h 287"/>
                    <a:gd name="T18" fmla="*/ 2147483647 w 291"/>
                    <a:gd name="T19" fmla="*/ 2147483647 h 287"/>
                    <a:gd name="T20" fmla="*/ 2147483647 w 291"/>
                    <a:gd name="T21" fmla="*/ 2147483647 h 287"/>
                    <a:gd name="T22" fmla="*/ 2147483647 w 291"/>
                    <a:gd name="T23" fmla="*/ 2147483647 h 287"/>
                    <a:gd name="T24" fmla="*/ 2147483647 w 291"/>
                    <a:gd name="T25" fmla="*/ 2147483647 h 287"/>
                    <a:gd name="T26" fmla="*/ 2147483647 w 291"/>
                    <a:gd name="T27" fmla="*/ 2147483647 h 287"/>
                    <a:gd name="T28" fmla="*/ 2147483647 w 291"/>
                    <a:gd name="T29" fmla="*/ 2147483647 h 287"/>
                    <a:gd name="T30" fmla="*/ 2147483647 w 291"/>
                    <a:gd name="T31" fmla="*/ 2147483647 h 287"/>
                    <a:gd name="T32" fmla="*/ 0 w 291"/>
                    <a:gd name="T33" fmla="*/ 2147483647 h 287"/>
                    <a:gd name="T34" fmla="*/ 2147483647 w 291"/>
                    <a:gd name="T35" fmla="*/ 2147483647 h 287"/>
                    <a:gd name="T36" fmla="*/ 2147483647 w 291"/>
                    <a:gd name="T37" fmla="*/ 2147483647 h 287"/>
                    <a:gd name="T38" fmla="*/ 2147483647 w 291"/>
                    <a:gd name="T39" fmla="*/ 2147483647 h 287"/>
                    <a:gd name="T40" fmla="*/ 2147483647 w 291"/>
                    <a:gd name="T41" fmla="*/ 2147483647 h 287"/>
                    <a:gd name="T42" fmla="*/ 2147483647 w 291"/>
                    <a:gd name="T43" fmla="*/ 2147483647 h 287"/>
                    <a:gd name="T44" fmla="*/ 2147483647 w 291"/>
                    <a:gd name="T45" fmla="*/ 2147483647 h 287"/>
                    <a:gd name="T46" fmla="*/ 2147483647 w 291"/>
                    <a:gd name="T47" fmla="*/ 2147483647 h 287"/>
                    <a:gd name="T48" fmla="*/ 2147483647 w 291"/>
                    <a:gd name="T49" fmla="*/ 2147483647 h 287"/>
                    <a:gd name="T50" fmla="*/ 2147483647 w 291"/>
                    <a:gd name="T51" fmla="*/ 2147483647 h 287"/>
                    <a:gd name="T52" fmla="*/ 2147483647 w 291"/>
                    <a:gd name="T53" fmla="*/ 2147483647 h 287"/>
                    <a:gd name="T54" fmla="*/ 2147483647 w 291"/>
                    <a:gd name="T55" fmla="*/ 0 h 287"/>
                    <a:gd name="T56" fmla="*/ 2147483647 w 291"/>
                    <a:gd name="T57" fmla="*/ 2147483647 h 287"/>
                    <a:gd name="T58" fmla="*/ 2147483647 w 291"/>
                    <a:gd name="T59" fmla="*/ 2147483647 h 287"/>
                    <a:gd name="T60" fmla="*/ 2147483647 w 291"/>
                    <a:gd name="T61" fmla="*/ 2147483647 h 287"/>
                    <a:gd name="T62" fmla="*/ 2147483647 w 291"/>
                    <a:gd name="T63" fmla="*/ 2147483647 h 287"/>
                    <a:gd name="T64" fmla="*/ 2147483647 w 291"/>
                    <a:gd name="T65" fmla="*/ 2147483647 h 287"/>
                    <a:gd name="T66" fmla="*/ 2147483647 w 291"/>
                    <a:gd name="T67" fmla="*/ 2147483647 h 287"/>
                    <a:gd name="T68" fmla="*/ 2147483647 w 291"/>
                    <a:gd name="T69" fmla="*/ 2147483647 h 287"/>
                    <a:gd name="T70" fmla="*/ 2147483647 w 291"/>
                    <a:gd name="T71" fmla="*/ 2147483647 h 287"/>
                    <a:gd name="T72" fmla="*/ 2147483647 w 291"/>
                    <a:gd name="T73" fmla="*/ 2147483647 h 287"/>
                    <a:gd name="T74" fmla="*/ 2147483647 w 291"/>
                    <a:gd name="T75" fmla="*/ 2147483647 h 287"/>
                    <a:gd name="T76" fmla="*/ 2147483647 w 291"/>
                    <a:gd name="T77" fmla="*/ 2147483647 h 287"/>
                    <a:gd name="T78" fmla="*/ 2147483647 w 291"/>
                    <a:gd name="T79" fmla="*/ 2147483647 h 287"/>
                    <a:gd name="T80" fmla="*/ 2147483647 w 291"/>
                    <a:gd name="T81" fmla="*/ 2147483647 h 287"/>
                    <a:gd name="T82" fmla="*/ 2147483647 w 291"/>
                    <a:gd name="T83" fmla="*/ 2147483647 h 287"/>
                    <a:gd name="T84" fmla="*/ 2147483647 w 291"/>
                    <a:gd name="T85" fmla="*/ 2147483647 h 28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91"/>
                    <a:gd name="T130" fmla="*/ 0 h 287"/>
                    <a:gd name="T131" fmla="*/ 291 w 291"/>
                    <a:gd name="T132" fmla="*/ 287 h 28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91" h="287">
                      <a:moveTo>
                        <a:pt x="287" y="27"/>
                      </a:moveTo>
                      <a:lnTo>
                        <a:pt x="283" y="32"/>
                      </a:lnTo>
                      <a:lnTo>
                        <a:pt x="283" y="36"/>
                      </a:lnTo>
                      <a:lnTo>
                        <a:pt x="285" y="41"/>
                      </a:lnTo>
                      <a:lnTo>
                        <a:pt x="288" y="46"/>
                      </a:lnTo>
                      <a:lnTo>
                        <a:pt x="290" y="47"/>
                      </a:lnTo>
                      <a:lnTo>
                        <a:pt x="290" y="49"/>
                      </a:lnTo>
                      <a:lnTo>
                        <a:pt x="287" y="58"/>
                      </a:lnTo>
                      <a:lnTo>
                        <a:pt x="285" y="67"/>
                      </a:lnTo>
                      <a:lnTo>
                        <a:pt x="285" y="71"/>
                      </a:lnTo>
                      <a:lnTo>
                        <a:pt x="286" y="76"/>
                      </a:lnTo>
                      <a:lnTo>
                        <a:pt x="287" y="79"/>
                      </a:lnTo>
                      <a:lnTo>
                        <a:pt x="291" y="83"/>
                      </a:lnTo>
                      <a:lnTo>
                        <a:pt x="290" y="233"/>
                      </a:lnTo>
                      <a:lnTo>
                        <a:pt x="288" y="270"/>
                      </a:lnTo>
                      <a:lnTo>
                        <a:pt x="279" y="272"/>
                      </a:lnTo>
                      <a:lnTo>
                        <a:pt x="278" y="287"/>
                      </a:lnTo>
                      <a:lnTo>
                        <a:pt x="123" y="204"/>
                      </a:lnTo>
                      <a:lnTo>
                        <a:pt x="117" y="211"/>
                      </a:lnTo>
                      <a:lnTo>
                        <a:pt x="109" y="217"/>
                      </a:lnTo>
                      <a:lnTo>
                        <a:pt x="92" y="227"/>
                      </a:lnTo>
                      <a:lnTo>
                        <a:pt x="88" y="227"/>
                      </a:lnTo>
                      <a:lnTo>
                        <a:pt x="85" y="226"/>
                      </a:lnTo>
                      <a:lnTo>
                        <a:pt x="84" y="225"/>
                      </a:lnTo>
                      <a:lnTo>
                        <a:pt x="84" y="220"/>
                      </a:lnTo>
                      <a:lnTo>
                        <a:pt x="81" y="217"/>
                      </a:lnTo>
                      <a:lnTo>
                        <a:pt x="80" y="214"/>
                      </a:lnTo>
                      <a:lnTo>
                        <a:pt x="78" y="213"/>
                      </a:lnTo>
                      <a:lnTo>
                        <a:pt x="71" y="211"/>
                      </a:lnTo>
                      <a:lnTo>
                        <a:pt x="65" y="211"/>
                      </a:lnTo>
                      <a:lnTo>
                        <a:pt x="61" y="211"/>
                      </a:lnTo>
                      <a:lnTo>
                        <a:pt x="57" y="210"/>
                      </a:lnTo>
                      <a:lnTo>
                        <a:pt x="55" y="207"/>
                      </a:lnTo>
                      <a:lnTo>
                        <a:pt x="53" y="204"/>
                      </a:lnTo>
                      <a:lnTo>
                        <a:pt x="51" y="200"/>
                      </a:lnTo>
                      <a:lnTo>
                        <a:pt x="48" y="196"/>
                      </a:lnTo>
                      <a:lnTo>
                        <a:pt x="43" y="195"/>
                      </a:lnTo>
                      <a:lnTo>
                        <a:pt x="38" y="194"/>
                      </a:lnTo>
                      <a:lnTo>
                        <a:pt x="28" y="193"/>
                      </a:lnTo>
                      <a:lnTo>
                        <a:pt x="23" y="193"/>
                      </a:lnTo>
                      <a:lnTo>
                        <a:pt x="19" y="191"/>
                      </a:lnTo>
                      <a:lnTo>
                        <a:pt x="17" y="187"/>
                      </a:lnTo>
                      <a:lnTo>
                        <a:pt x="15" y="182"/>
                      </a:lnTo>
                      <a:lnTo>
                        <a:pt x="15" y="173"/>
                      </a:lnTo>
                      <a:lnTo>
                        <a:pt x="13" y="169"/>
                      </a:lnTo>
                      <a:lnTo>
                        <a:pt x="10" y="167"/>
                      </a:lnTo>
                      <a:lnTo>
                        <a:pt x="6" y="164"/>
                      </a:lnTo>
                      <a:lnTo>
                        <a:pt x="4" y="161"/>
                      </a:lnTo>
                      <a:lnTo>
                        <a:pt x="1" y="157"/>
                      </a:lnTo>
                      <a:lnTo>
                        <a:pt x="0" y="154"/>
                      </a:lnTo>
                      <a:lnTo>
                        <a:pt x="0" y="151"/>
                      </a:lnTo>
                      <a:lnTo>
                        <a:pt x="0" y="149"/>
                      </a:lnTo>
                      <a:lnTo>
                        <a:pt x="4" y="143"/>
                      </a:lnTo>
                      <a:lnTo>
                        <a:pt x="8" y="138"/>
                      </a:lnTo>
                      <a:lnTo>
                        <a:pt x="10" y="134"/>
                      </a:lnTo>
                      <a:lnTo>
                        <a:pt x="10" y="125"/>
                      </a:lnTo>
                      <a:lnTo>
                        <a:pt x="9" y="116"/>
                      </a:lnTo>
                      <a:lnTo>
                        <a:pt x="10" y="110"/>
                      </a:lnTo>
                      <a:lnTo>
                        <a:pt x="10" y="104"/>
                      </a:lnTo>
                      <a:lnTo>
                        <a:pt x="8" y="100"/>
                      </a:lnTo>
                      <a:lnTo>
                        <a:pt x="6" y="97"/>
                      </a:lnTo>
                      <a:lnTo>
                        <a:pt x="4" y="90"/>
                      </a:lnTo>
                      <a:lnTo>
                        <a:pt x="4" y="79"/>
                      </a:lnTo>
                      <a:lnTo>
                        <a:pt x="5" y="68"/>
                      </a:lnTo>
                      <a:lnTo>
                        <a:pt x="6" y="61"/>
                      </a:lnTo>
                      <a:lnTo>
                        <a:pt x="9" y="58"/>
                      </a:lnTo>
                      <a:lnTo>
                        <a:pt x="12" y="55"/>
                      </a:lnTo>
                      <a:lnTo>
                        <a:pt x="14" y="54"/>
                      </a:lnTo>
                      <a:lnTo>
                        <a:pt x="20" y="49"/>
                      </a:lnTo>
                      <a:lnTo>
                        <a:pt x="23" y="45"/>
                      </a:lnTo>
                      <a:lnTo>
                        <a:pt x="23" y="39"/>
                      </a:lnTo>
                      <a:lnTo>
                        <a:pt x="23" y="30"/>
                      </a:lnTo>
                      <a:lnTo>
                        <a:pt x="23" y="28"/>
                      </a:lnTo>
                      <a:lnTo>
                        <a:pt x="26" y="27"/>
                      </a:lnTo>
                      <a:lnTo>
                        <a:pt x="31" y="25"/>
                      </a:lnTo>
                      <a:lnTo>
                        <a:pt x="36" y="23"/>
                      </a:lnTo>
                      <a:lnTo>
                        <a:pt x="41" y="22"/>
                      </a:lnTo>
                      <a:lnTo>
                        <a:pt x="43" y="20"/>
                      </a:lnTo>
                      <a:lnTo>
                        <a:pt x="45" y="15"/>
                      </a:lnTo>
                      <a:lnTo>
                        <a:pt x="46" y="10"/>
                      </a:lnTo>
                      <a:lnTo>
                        <a:pt x="46" y="4"/>
                      </a:lnTo>
                      <a:lnTo>
                        <a:pt x="48" y="0"/>
                      </a:lnTo>
                      <a:lnTo>
                        <a:pt x="51" y="0"/>
                      </a:lnTo>
                      <a:lnTo>
                        <a:pt x="55" y="0"/>
                      </a:lnTo>
                      <a:lnTo>
                        <a:pt x="67" y="3"/>
                      </a:lnTo>
                      <a:lnTo>
                        <a:pt x="75" y="4"/>
                      </a:lnTo>
                      <a:lnTo>
                        <a:pt x="81" y="3"/>
                      </a:lnTo>
                      <a:lnTo>
                        <a:pt x="89" y="2"/>
                      </a:lnTo>
                      <a:lnTo>
                        <a:pt x="97" y="3"/>
                      </a:lnTo>
                      <a:lnTo>
                        <a:pt x="102" y="4"/>
                      </a:lnTo>
                      <a:lnTo>
                        <a:pt x="108" y="8"/>
                      </a:lnTo>
                      <a:lnTo>
                        <a:pt x="112" y="13"/>
                      </a:lnTo>
                      <a:lnTo>
                        <a:pt x="122" y="26"/>
                      </a:lnTo>
                      <a:lnTo>
                        <a:pt x="132" y="39"/>
                      </a:lnTo>
                      <a:lnTo>
                        <a:pt x="135" y="41"/>
                      </a:lnTo>
                      <a:lnTo>
                        <a:pt x="140" y="44"/>
                      </a:lnTo>
                      <a:lnTo>
                        <a:pt x="149" y="44"/>
                      </a:lnTo>
                      <a:lnTo>
                        <a:pt x="156" y="46"/>
                      </a:lnTo>
                      <a:lnTo>
                        <a:pt x="164" y="49"/>
                      </a:lnTo>
                      <a:lnTo>
                        <a:pt x="170" y="54"/>
                      </a:lnTo>
                      <a:lnTo>
                        <a:pt x="174" y="61"/>
                      </a:lnTo>
                      <a:lnTo>
                        <a:pt x="178" y="65"/>
                      </a:lnTo>
                      <a:lnTo>
                        <a:pt x="179" y="66"/>
                      </a:lnTo>
                      <a:lnTo>
                        <a:pt x="182" y="65"/>
                      </a:lnTo>
                      <a:lnTo>
                        <a:pt x="186" y="62"/>
                      </a:lnTo>
                      <a:lnTo>
                        <a:pt x="192" y="59"/>
                      </a:lnTo>
                      <a:lnTo>
                        <a:pt x="196" y="54"/>
                      </a:lnTo>
                      <a:lnTo>
                        <a:pt x="198" y="49"/>
                      </a:lnTo>
                      <a:lnTo>
                        <a:pt x="198" y="42"/>
                      </a:lnTo>
                      <a:lnTo>
                        <a:pt x="197" y="25"/>
                      </a:lnTo>
                      <a:lnTo>
                        <a:pt x="199" y="17"/>
                      </a:lnTo>
                      <a:lnTo>
                        <a:pt x="202" y="14"/>
                      </a:lnTo>
                      <a:lnTo>
                        <a:pt x="213" y="6"/>
                      </a:lnTo>
                      <a:lnTo>
                        <a:pt x="217" y="4"/>
                      </a:lnTo>
                      <a:lnTo>
                        <a:pt x="221" y="6"/>
                      </a:lnTo>
                      <a:lnTo>
                        <a:pt x="231" y="8"/>
                      </a:lnTo>
                      <a:lnTo>
                        <a:pt x="235" y="8"/>
                      </a:lnTo>
                      <a:lnTo>
                        <a:pt x="239" y="8"/>
                      </a:lnTo>
                      <a:lnTo>
                        <a:pt x="248" y="7"/>
                      </a:lnTo>
                      <a:lnTo>
                        <a:pt x="249" y="7"/>
                      </a:lnTo>
                      <a:lnTo>
                        <a:pt x="249" y="8"/>
                      </a:lnTo>
                      <a:lnTo>
                        <a:pt x="250" y="10"/>
                      </a:lnTo>
                      <a:lnTo>
                        <a:pt x="252" y="14"/>
                      </a:lnTo>
                      <a:lnTo>
                        <a:pt x="253" y="16"/>
                      </a:lnTo>
                      <a:lnTo>
                        <a:pt x="258" y="17"/>
                      </a:lnTo>
                      <a:lnTo>
                        <a:pt x="263" y="19"/>
                      </a:lnTo>
                      <a:lnTo>
                        <a:pt x="268" y="22"/>
                      </a:lnTo>
                      <a:lnTo>
                        <a:pt x="274" y="25"/>
                      </a:lnTo>
                      <a:lnTo>
                        <a:pt x="279" y="26"/>
                      </a:lnTo>
                      <a:lnTo>
                        <a:pt x="285" y="26"/>
                      </a:lnTo>
                      <a:lnTo>
                        <a:pt x="287" y="2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9" name="Freeform 667">
                  <a:extLst>
                    <a:ext uri="{FF2B5EF4-FFF2-40B4-BE49-F238E27FC236}">
                      <a16:creationId xmlns:a16="http://schemas.microsoft.com/office/drawing/2014/main" id="{7908CB39-9EA0-4146-AA75-409590E7E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83946" y="3505499"/>
                  <a:ext cx="97672" cy="210142"/>
                </a:xfrm>
                <a:custGeom>
                  <a:avLst/>
                  <a:gdLst>
                    <a:gd name="T0" fmla="*/ 2147483647 w 72"/>
                    <a:gd name="T1" fmla="*/ 2147483647 h 142"/>
                    <a:gd name="T2" fmla="*/ 2147483647 w 72"/>
                    <a:gd name="T3" fmla="*/ 2147483647 h 142"/>
                    <a:gd name="T4" fmla="*/ 2147483647 w 72"/>
                    <a:gd name="T5" fmla="*/ 2147483647 h 142"/>
                    <a:gd name="T6" fmla="*/ 2147483647 w 72"/>
                    <a:gd name="T7" fmla="*/ 2147483647 h 142"/>
                    <a:gd name="T8" fmla="*/ 2147483647 w 72"/>
                    <a:gd name="T9" fmla="*/ 2147483647 h 142"/>
                    <a:gd name="T10" fmla="*/ 2147483647 w 72"/>
                    <a:gd name="T11" fmla="*/ 2147483647 h 142"/>
                    <a:gd name="T12" fmla="*/ 2147483647 w 72"/>
                    <a:gd name="T13" fmla="*/ 2147483647 h 142"/>
                    <a:gd name="T14" fmla="*/ 2147483647 w 72"/>
                    <a:gd name="T15" fmla="*/ 2147483647 h 142"/>
                    <a:gd name="T16" fmla="*/ 2147483647 w 72"/>
                    <a:gd name="T17" fmla="*/ 2147483647 h 142"/>
                    <a:gd name="T18" fmla="*/ 2147483647 w 72"/>
                    <a:gd name="T19" fmla="*/ 2147483647 h 142"/>
                    <a:gd name="T20" fmla="*/ 2147483647 w 72"/>
                    <a:gd name="T21" fmla="*/ 2147483647 h 142"/>
                    <a:gd name="T22" fmla="*/ 2147483647 w 72"/>
                    <a:gd name="T23" fmla="*/ 2147483647 h 142"/>
                    <a:gd name="T24" fmla="*/ 2147483647 w 72"/>
                    <a:gd name="T25" fmla="*/ 2147483647 h 142"/>
                    <a:gd name="T26" fmla="*/ 0 w 72"/>
                    <a:gd name="T27" fmla="*/ 2147483647 h 142"/>
                    <a:gd name="T28" fmla="*/ 2147483647 w 72"/>
                    <a:gd name="T29" fmla="*/ 2147483647 h 142"/>
                    <a:gd name="T30" fmla="*/ 2147483647 w 72"/>
                    <a:gd name="T31" fmla="*/ 2147483647 h 142"/>
                    <a:gd name="T32" fmla="*/ 2147483647 w 72"/>
                    <a:gd name="T33" fmla="*/ 2147483647 h 142"/>
                    <a:gd name="T34" fmla="*/ 2147483647 w 72"/>
                    <a:gd name="T35" fmla="*/ 2147483647 h 142"/>
                    <a:gd name="T36" fmla="*/ 2147483647 w 72"/>
                    <a:gd name="T37" fmla="*/ 2147483647 h 142"/>
                    <a:gd name="T38" fmla="*/ 2147483647 w 72"/>
                    <a:gd name="T39" fmla="*/ 2147483647 h 142"/>
                    <a:gd name="T40" fmla="*/ 2147483647 w 72"/>
                    <a:gd name="T41" fmla="*/ 2147483647 h 142"/>
                    <a:gd name="T42" fmla="*/ 2147483647 w 72"/>
                    <a:gd name="T43" fmla="*/ 2147483647 h 142"/>
                    <a:gd name="T44" fmla="*/ 2147483647 w 72"/>
                    <a:gd name="T45" fmla="*/ 2147483647 h 142"/>
                    <a:gd name="T46" fmla="*/ 2147483647 w 72"/>
                    <a:gd name="T47" fmla="*/ 2147483647 h 142"/>
                    <a:gd name="T48" fmla="*/ 2147483647 w 72"/>
                    <a:gd name="T49" fmla="*/ 2147483647 h 142"/>
                    <a:gd name="T50" fmla="*/ 2147483647 w 72"/>
                    <a:gd name="T51" fmla="*/ 0 h 142"/>
                    <a:gd name="T52" fmla="*/ 2147483647 w 72"/>
                    <a:gd name="T53" fmla="*/ 2147483647 h 142"/>
                    <a:gd name="T54" fmla="*/ 2147483647 w 72"/>
                    <a:gd name="T55" fmla="*/ 2147483647 h 142"/>
                    <a:gd name="T56" fmla="*/ 2147483647 w 72"/>
                    <a:gd name="T57" fmla="*/ 2147483647 h 142"/>
                    <a:gd name="T58" fmla="*/ 2147483647 w 72"/>
                    <a:gd name="T59" fmla="*/ 2147483647 h 142"/>
                    <a:gd name="T60" fmla="*/ 2147483647 w 72"/>
                    <a:gd name="T61" fmla="*/ 2147483647 h 142"/>
                    <a:gd name="T62" fmla="*/ 2147483647 w 72"/>
                    <a:gd name="T63" fmla="*/ 2147483647 h 142"/>
                    <a:gd name="T64" fmla="*/ 2147483647 w 72"/>
                    <a:gd name="T65" fmla="*/ 2147483647 h 142"/>
                    <a:gd name="T66" fmla="*/ 2147483647 w 72"/>
                    <a:gd name="T67" fmla="*/ 2147483647 h 142"/>
                    <a:gd name="T68" fmla="*/ 2147483647 w 72"/>
                    <a:gd name="T69" fmla="*/ 2147483647 h 142"/>
                    <a:gd name="T70" fmla="*/ 2147483647 w 72"/>
                    <a:gd name="T71" fmla="*/ 2147483647 h 142"/>
                    <a:gd name="T72" fmla="*/ 2147483647 w 72"/>
                    <a:gd name="T73" fmla="*/ 2147483647 h 142"/>
                    <a:gd name="T74" fmla="*/ 2147483647 w 72"/>
                    <a:gd name="T75" fmla="*/ 2147483647 h 142"/>
                    <a:gd name="T76" fmla="*/ 2147483647 w 72"/>
                    <a:gd name="T77" fmla="*/ 2147483647 h 142"/>
                    <a:gd name="T78" fmla="*/ 2147483647 w 72"/>
                    <a:gd name="T79" fmla="*/ 2147483647 h 142"/>
                    <a:gd name="T80" fmla="*/ 2147483647 w 72"/>
                    <a:gd name="T81" fmla="*/ 2147483647 h 142"/>
                    <a:gd name="T82" fmla="*/ 2147483647 w 72"/>
                    <a:gd name="T83" fmla="*/ 2147483647 h 14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72"/>
                    <a:gd name="T127" fmla="*/ 0 h 142"/>
                    <a:gd name="T128" fmla="*/ 72 w 72"/>
                    <a:gd name="T129" fmla="*/ 142 h 14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72" h="142">
                      <a:moveTo>
                        <a:pt x="72" y="88"/>
                      </a:moveTo>
                      <a:lnTo>
                        <a:pt x="70" y="92"/>
                      </a:lnTo>
                      <a:lnTo>
                        <a:pt x="70" y="98"/>
                      </a:lnTo>
                      <a:lnTo>
                        <a:pt x="69" y="103"/>
                      </a:lnTo>
                      <a:lnTo>
                        <a:pt x="67" y="108"/>
                      </a:lnTo>
                      <a:lnTo>
                        <a:pt x="65" y="110"/>
                      </a:lnTo>
                      <a:lnTo>
                        <a:pt x="60" y="111"/>
                      </a:lnTo>
                      <a:lnTo>
                        <a:pt x="55" y="113"/>
                      </a:lnTo>
                      <a:lnTo>
                        <a:pt x="50" y="115"/>
                      </a:lnTo>
                      <a:lnTo>
                        <a:pt x="47" y="116"/>
                      </a:lnTo>
                      <a:lnTo>
                        <a:pt x="47" y="118"/>
                      </a:lnTo>
                      <a:lnTo>
                        <a:pt x="47" y="127"/>
                      </a:lnTo>
                      <a:lnTo>
                        <a:pt x="47" y="133"/>
                      </a:lnTo>
                      <a:lnTo>
                        <a:pt x="44" y="137"/>
                      </a:lnTo>
                      <a:lnTo>
                        <a:pt x="38" y="142"/>
                      </a:lnTo>
                      <a:lnTo>
                        <a:pt x="30" y="126"/>
                      </a:lnTo>
                      <a:lnTo>
                        <a:pt x="27" y="118"/>
                      </a:lnTo>
                      <a:lnTo>
                        <a:pt x="23" y="115"/>
                      </a:lnTo>
                      <a:lnTo>
                        <a:pt x="19" y="113"/>
                      </a:lnTo>
                      <a:lnTo>
                        <a:pt x="18" y="110"/>
                      </a:lnTo>
                      <a:lnTo>
                        <a:pt x="15" y="108"/>
                      </a:lnTo>
                      <a:lnTo>
                        <a:pt x="14" y="102"/>
                      </a:lnTo>
                      <a:lnTo>
                        <a:pt x="11" y="96"/>
                      </a:lnTo>
                      <a:lnTo>
                        <a:pt x="9" y="89"/>
                      </a:lnTo>
                      <a:lnTo>
                        <a:pt x="8" y="86"/>
                      </a:lnTo>
                      <a:lnTo>
                        <a:pt x="4" y="84"/>
                      </a:lnTo>
                      <a:lnTo>
                        <a:pt x="1" y="82"/>
                      </a:lnTo>
                      <a:lnTo>
                        <a:pt x="0" y="79"/>
                      </a:lnTo>
                      <a:lnTo>
                        <a:pt x="0" y="77"/>
                      </a:lnTo>
                      <a:lnTo>
                        <a:pt x="1" y="75"/>
                      </a:lnTo>
                      <a:lnTo>
                        <a:pt x="6" y="70"/>
                      </a:lnTo>
                      <a:lnTo>
                        <a:pt x="10" y="66"/>
                      </a:lnTo>
                      <a:lnTo>
                        <a:pt x="15" y="59"/>
                      </a:lnTo>
                      <a:lnTo>
                        <a:pt x="20" y="52"/>
                      </a:lnTo>
                      <a:lnTo>
                        <a:pt x="22" y="47"/>
                      </a:lnTo>
                      <a:lnTo>
                        <a:pt x="22" y="44"/>
                      </a:lnTo>
                      <a:lnTo>
                        <a:pt x="20" y="39"/>
                      </a:lnTo>
                      <a:lnTo>
                        <a:pt x="19" y="35"/>
                      </a:lnTo>
                      <a:lnTo>
                        <a:pt x="18" y="32"/>
                      </a:lnTo>
                      <a:lnTo>
                        <a:pt x="19" y="28"/>
                      </a:lnTo>
                      <a:lnTo>
                        <a:pt x="18" y="27"/>
                      </a:lnTo>
                      <a:lnTo>
                        <a:pt x="16" y="26"/>
                      </a:lnTo>
                      <a:lnTo>
                        <a:pt x="15" y="24"/>
                      </a:lnTo>
                      <a:lnTo>
                        <a:pt x="15" y="21"/>
                      </a:lnTo>
                      <a:lnTo>
                        <a:pt x="18" y="18"/>
                      </a:lnTo>
                      <a:lnTo>
                        <a:pt x="19" y="15"/>
                      </a:lnTo>
                      <a:lnTo>
                        <a:pt x="20" y="12"/>
                      </a:lnTo>
                      <a:lnTo>
                        <a:pt x="27" y="11"/>
                      </a:lnTo>
                      <a:lnTo>
                        <a:pt x="34" y="7"/>
                      </a:lnTo>
                      <a:lnTo>
                        <a:pt x="42" y="2"/>
                      </a:lnTo>
                      <a:lnTo>
                        <a:pt x="50" y="0"/>
                      </a:lnTo>
                      <a:lnTo>
                        <a:pt x="52" y="0"/>
                      </a:lnTo>
                      <a:lnTo>
                        <a:pt x="55" y="1"/>
                      </a:lnTo>
                      <a:lnTo>
                        <a:pt x="58" y="7"/>
                      </a:lnTo>
                      <a:lnTo>
                        <a:pt x="61" y="9"/>
                      </a:lnTo>
                      <a:lnTo>
                        <a:pt x="63" y="11"/>
                      </a:lnTo>
                      <a:lnTo>
                        <a:pt x="67" y="7"/>
                      </a:lnTo>
                      <a:lnTo>
                        <a:pt x="70" y="7"/>
                      </a:lnTo>
                      <a:lnTo>
                        <a:pt x="71" y="7"/>
                      </a:lnTo>
                      <a:lnTo>
                        <a:pt x="71" y="11"/>
                      </a:lnTo>
                      <a:lnTo>
                        <a:pt x="70" y="13"/>
                      </a:lnTo>
                      <a:lnTo>
                        <a:pt x="67" y="15"/>
                      </a:lnTo>
                      <a:lnTo>
                        <a:pt x="63" y="20"/>
                      </a:lnTo>
                      <a:lnTo>
                        <a:pt x="60" y="25"/>
                      </a:lnTo>
                      <a:lnTo>
                        <a:pt x="60" y="27"/>
                      </a:lnTo>
                      <a:lnTo>
                        <a:pt x="60" y="30"/>
                      </a:lnTo>
                      <a:lnTo>
                        <a:pt x="61" y="34"/>
                      </a:lnTo>
                      <a:lnTo>
                        <a:pt x="63" y="38"/>
                      </a:lnTo>
                      <a:lnTo>
                        <a:pt x="67" y="43"/>
                      </a:lnTo>
                      <a:lnTo>
                        <a:pt x="70" y="47"/>
                      </a:lnTo>
                      <a:lnTo>
                        <a:pt x="69" y="51"/>
                      </a:lnTo>
                      <a:lnTo>
                        <a:pt x="65" y="54"/>
                      </a:lnTo>
                      <a:lnTo>
                        <a:pt x="57" y="62"/>
                      </a:lnTo>
                      <a:lnTo>
                        <a:pt x="53" y="66"/>
                      </a:lnTo>
                      <a:lnTo>
                        <a:pt x="51" y="71"/>
                      </a:lnTo>
                      <a:lnTo>
                        <a:pt x="51" y="75"/>
                      </a:lnTo>
                      <a:lnTo>
                        <a:pt x="51" y="78"/>
                      </a:lnTo>
                      <a:lnTo>
                        <a:pt x="52" y="81"/>
                      </a:lnTo>
                      <a:lnTo>
                        <a:pt x="56" y="83"/>
                      </a:lnTo>
                      <a:lnTo>
                        <a:pt x="57" y="83"/>
                      </a:lnTo>
                      <a:lnTo>
                        <a:pt x="60" y="83"/>
                      </a:lnTo>
                      <a:lnTo>
                        <a:pt x="63" y="83"/>
                      </a:lnTo>
                      <a:lnTo>
                        <a:pt x="65" y="83"/>
                      </a:lnTo>
                      <a:lnTo>
                        <a:pt x="70" y="88"/>
                      </a:lnTo>
                      <a:lnTo>
                        <a:pt x="72" y="8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0" name="Freeform 668">
                  <a:extLst>
                    <a:ext uri="{FF2B5EF4-FFF2-40B4-BE49-F238E27FC236}">
                      <a16:creationId xmlns:a16="http://schemas.microsoft.com/office/drawing/2014/main" id="{C3C751E3-ED9C-4049-995B-7423E6E470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5024" y="3632768"/>
                  <a:ext cx="396606" cy="424723"/>
                </a:xfrm>
                <a:custGeom>
                  <a:avLst/>
                  <a:gdLst>
                    <a:gd name="T0" fmla="*/ 2147483647 w 291"/>
                    <a:gd name="T1" fmla="*/ 2147483647 h 287"/>
                    <a:gd name="T2" fmla="*/ 2147483647 w 291"/>
                    <a:gd name="T3" fmla="*/ 2147483647 h 287"/>
                    <a:gd name="T4" fmla="*/ 2147483647 w 291"/>
                    <a:gd name="T5" fmla="*/ 2147483647 h 287"/>
                    <a:gd name="T6" fmla="*/ 2147483647 w 291"/>
                    <a:gd name="T7" fmla="*/ 2147483647 h 287"/>
                    <a:gd name="T8" fmla="*/ 2147483647 w 291"/>
                    <a:gd name="T9" fmla="*/ 2147483647 h 287"/>
                    <a:gd name="T10" fmla="*/ 2147483647 w 291"/>
                    <a:gd name="T11" fmla="*/ 2147483647 h 287"/>
                    <a:gd name="T12" fmla="*/ 2147483647 w 291"/>
                    <a:gd name="T13" fmla="*/ 2147483647 h 287"/>
                    <a:gd name="T14" fmla="*/ 2147483647 w 291"/>
                    <a:gd name="T15" fmla="*/ 2147483647 h 287"/>
                    <a:gd name="T16" fmla="*/ 2147483647 w 291"/>
                    <a:gd name="T17" fmla="*/ 2147483647 h 287"/>
                    <a:gd name="T18" fmla="*/ 2147483647 w 291"/>
                    <a:gd name="T19" fmla="*/ 2147483647 h 287"/>
                    <a:gd name="T20" fmla="*/ 2147483647 w 291"/>
                    <a:gd name="T21" fmla="*/ 2147483647 h 287"/>
                    <a:gd name="T22" fmla="*/ 2147483647 w 291"/>
                    <a:gd name="T23" fmla="*/ 2147483647 h 287"/>
                    <a:gd name="T24" fmla="*/ 2147483647 w 291"/>
                    <a:gd name="T25" fmla="*/ 2147483647 h 287"/>
                    <a:gd name="T26" fmla="*/ 2147483647 w 291"/>
                    <a:gd name="T27" fmla="*/ 2147483647 h 287"/>
                    <a:gd name="T28" fmla="*/ 2147483647 w 291"/>
                    <a:gd name="T29" fmla="*/ 2147483647 h 287"/>
                    <a:gd name="T30" fmla="*/ 2147483647 w 291"/>
                    <a:gd name="T31" fmla="*/ 2147483647 h 287"/>
                    <a:gd name="T32" fmla="*/ 2147483647 w 291"/>
                    <a:gd name="T33" fmla="*/ 2147483647 h 287"/>
                    <a:gd name="T34" fmla="*/ 2147483647 w 291"/>
                    <a:gd name="T35" fmla="*/ 2147483647 h 287"/>
                    <a:gd name="T36" fmla="*/ 2147483647 w 291"/>
                    <a:gd name="T37" fmla="*/ 2147483647 h 287"/>
                    <a:gd name="T38" fmla="*/ 2147483647 w 291"/>
                    <a:gd name="T39" fmla="*/ 2147483647 h 287"/>
                    <a:gd name="T40" fmla="*/ 0 w 291"/>
                    <a:gd name="T41" fmla="*/ 2147483647 h 287"/>
                    <a:gd name="T42" fmla="*/ 2147483647 w 291"/>
                    <a:gd name="T43" fmla="*/ 2147483647 h 287"/>
                    <a:gd name="T44" fmla="*/ 2147483647 w 291"/>
                    <a:gd name="T45" fmla="*/ 2147483647 h 287"/>
                    <a:gd name="T46" fmla="*/ 2147483647 w 291"/>
                    <a:gd name="T47" fmla="*/ 2147483647 h 287"/>
                    <a:gd name="T48" fmla="*/ 2147483647 w 291"/>
                    <a:gd name="T49" fmla="*/ 2147483647 h 287"/>
                    <a:gd name="T50" fmla="*/ 2147483647 w 291"/>
                    <a:gd name="T51" fmla="*/ 2147483647 h 287"/>
                    <a:gd name="T52" fmla="*/ 2147483647 w 291"/>
                    <a:gd name="T53" fmla="*/ 2147483647 h 287"/>
                    <a:gd name="T54" fmla="*/ 2147483647 w 291"/>
                    <a:gd name="T55" fmla="*/ 2147483647 h 287"/>
                    <a:gd name="T56" fmla="*/ 2147483647 w 291"/>
                    <a:gd name="T57" fmla="*/ 2147483647 h 287"/>
                    <a:gd name="T58" fmla="*/ 2147483647 w 291"/>
                    <a:gd name="T59" fmla="*/ 2147483647 h 287"/>
                    <a:gd name="T60" fmla="*/ 2147483647 w 291"/>
                    <a:gd name="T61" fmla="*/ 2147483647 h 287"/>
                    <a:gd name="T62" fmla="*/ 2147483647 w 291"/>
                    <a:gd name="T63" fmla="*/ 2147483647 h 287"/>
                    <a:gd name="T64" fmla="*/ 2147483647 w 291"/>
                    <a:gd name="T65" fmla="*/ 2147483647 h 287"/>
                    <a:gd name="T66" fmla="*/ 2147483647 w 291"/>
                    <a:gd name="T67" fmla="*/ 2147483647 h 287"/>
                    <a:gd name="T68" fmla="*/ 2147483647 w 291"/>
                    <a:gd name="T69" fmla="*/ 0 h 287"/>
                    <a:gd name="T70" fmla="*/ 2147483647 w 291"/>
                    <a:gd name="T71" fmla="*/ 0 h 287"/>
                    <a:gd name="T72" fmla="*/ 2147483647 w 291"/>
                    <a:gd name="T73" fmla="*/ 2147483647 h 287"/>
                    <a:gd name="T74" fmla="*/ 2147483647 w 291"/>
                    <a:gd name="T75" fmla="*/ 2147483647 h 287"/>
                    <a:gd name="T76" fmla="*/ 2147483647 w 291"/>
                    <a:gd name="T77" fmla="*/ 2147483647 h 287"/>
                    <a:gd name="T78" fmla="*/ 2147483647 w 291"/>
                    <a:gd name="T79" fmla="*/ 2147483647 h 287"/>
                    <a:gd name="T80" fmla="*/ 2147483647 w 291"/>
                    <a:gd name="T81" fmla="*/ 2147483647 h 287"/>
                    <a:gd name="T82" fmla="*/ 2147483647 w 291"/>
                    <a:gd name="T83" fmla="*/ 2147483647 h 287"/>
                    <a:gd name="T84" fmla="*/ 2147483647 w 291"/>
                    <a:gd name="T85" fmla="*/ 2147483647 h 287"/>
                    <a:gd name="T86" fmla="*/ 2147483647 w 291"/>
                    <a:gd name="T87" fmla="*/ 2147483647 h 287"/>
                    <a:gd name="T88" fmla="*/ 2147483647 w 291"/>
                    <a:gd name="T89" fmla="*/ 2147483647 h 287"/>
                    <a:gd name="T90" fmla="*/ 2147483647 w 291"/>
                    <a:gd name="T91" fmla="*/ 2147483647 h 287"/>
                    <a:gd name="T92" fmla="*/ 2147483647 w 291"/>
                    <a:gd name="T93" fmla="*/ 2147483647 h 287"/>
                    <a:gd name="T94" fmla="*/ 2147483647 w 291"/>
                    <a:gd name="T95" fmla="*/ 2147483647 h 287"/>
                    <a:gd name="T96" fmla="*/ 2147483647 w 291"/>
                    <a:gd name="T97" fmla="*/ 2147483647 h 287"/>
                    <a:gd name="T98" fmla="*/ 2147483647 w 291"/>
                    <a:gd name="T99" fmla="*/ 2147483647 h 287"/>
                    <a:gd name="T100" fmla="*/ 2147483647 w 291"/>
                    <a:gd name="T101" fmla="*/ 2147483647 h 287"/>
                    <a:gd name="T102" fmla="*/ 2147483647 w 291"/>
                    <a:gd name="T103" fmla="*/ 2147483647 h 287"/>
                    <a:gd name="T104" fmla="*/ 2147483647 w 291"/>
                    <a:gd name="T105" fmla="*/ 2147483647 h 287"/>
                    <a:gd name="T106" fmla="*/ 2147483647 w 291"/>
                    <a:gd name="T107" fmla="*/ 2147483647 h 287"/>
                    <a:gd name="T108" fmla="*/ 2147483647 w 291"/>
                    <a:gd name="T109" fmla="*/ 2147483647 h 287"/>
                    <a:gd name="T110" fmla="*/ 2147483647 w 291"/>
                    <a:gd name="T111" fmla="*/ 2147483647 h 287"/>
                    <a:gd name="T112" fmla="*/ 2147483647 w 291"/>
                    <a:gd name="T113" fmla="*/ 2147483647 h 28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91"/>
                    <a:gd name="T172" fmla="*/ 0 h 287"/>
                    <a:gd name="T173" fmla="*/ 291 w 291"/>
                    <a:gd name="T174" fmla="*/ 287 h 28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91" h="287">
                      <a:moveTo>
                        <a:pt x="287" y="28"/>
                      </a:moveTo>
                      <a:lnTo>
                        <a:pt x="287" y="28"/>
                      </a:lnTo>
                      <a:lnTo>
                        <a:pt x="283" y="32"/>
                      </a:lnTo>
                      <a:lnTo>
                        <a:pt x="283" y="37"/>
                      </a:lnTo>
                      <a:lnTo>
                        <a:pt x="284" y="42"/>
                      </a:lnTo>
                      <a:lnTo>
                        <a:pt x="288" y="47"/>
                      </a:lnTo>
                      <a:lnTo>
                        <a:pt x="289" y="48"/>
                      </a:lnTo>
                      <a:lnTo>
                        <a:pt x="289" y="50"/>
                      </a:lnTo>
                      <a:lnTo>
                        <a:pt x="287" y="59"/>
                      </a:lnTo>
                      <a:lnTo>
                        <a:pt x="284" y="68"/>
                      </a:lnTo>
                      <a:lnTo>
                        <a:pt x="284" y="72"/>
                      </a:lnTo>
                      <a:lnTo>
                        <a:pt x="286" y="76"/>
                      </a:lnTo>
                      <a:lnTo>
                        <a:pt x="287" y="80"/>
                      </a:lnTo>
                      <a:lnTo>
                        <a:pt x="291" y="83"/>
                      </a:lnTo>
                      <a:lnTo>
                        <a:pt x="289" y="234"/>
                      </a:lnTo>
                      <a:lnTo>
                        <a:pt x="288" y="271"/>
                      </a:lnTo>
                      <a:lnTo>
                        <a:pt x="279" y="273"/>
                      </a:lnTo>
                      <a:lnTo>
                        <a:pt x="278" y="287"/>
                      </a:lnTo>
                      <a:lnTo>
                        <a:pt x="123" y="204"/>
                      </a:lnTo>
                      <a:lnTo>
                        <a:pt x="117" y="212"/>
                      </a:lnTo>
                      <a:lnTo>
                        <a:pt x="109" y="217"/>
                      </a:lnTo>
                      <a:lnTo>
                        <a:pt x="91" y="228"/>
                      </a:lnTo>
                      <a:lnTo>
                        <a:pt x="87" y="228"/>
                      </a:lnTo>
                      <a:lnTo>
                        <a:pt x="85" y="227"/>
                      </a:lnTo>
                      <a:lnTo>
                        <a:pt x="84" y="226"/>
                      </a:lnTo>
                      <a:lnTo>
                        <a:pt x="84" y="221"/>
                      </a:lnTo>
                      <a:lnTo>
                        <a:pt x="81" y="217"/>
                      </a:lnTo>
                      <a:lnTo>
                        <a:pt x="80" y="215"/>
                      </a:lnTo>
                      <a:lnTo>
                        <a:pt x="77" y="214"/>
                      </a:lnTo>
                      <a:lnTo>
                        <a:pt x="71" y="212"/>
                      </a:lnTo>
                      <a:lnTo>
                        <a:pt x="65" y="212"/>
                      </a:lnTo>
                      <a:lnTo>
                        <a:pt x="61" y="212"/>
                      </a:lnTo>
                      <a:lnTo>
                        <a:pt x="57" y="210"/>
                      </a:lnTo>
                      <a:lnTo>
                        <a:pt x="54" y="208"/>
                      </a:lnTo>
                      <a:lnTo>
                        <a:pt x="53" y="204"/>
                      </a:lnTo>
                      <a:lnTo>
                        <a:pt x="51" y="201"/>
                      </a:lnTo>
                      <a:lnTo>
                        <a:pt x="48" y="197"/>
                      </a:lnTo>
                      <a:lnTo>
                        <a:pt x="43" y="196"/>
                      </a:lnTo>
                      <a:lnTo>
                        <a:pt x="38" y="195"/>
                      </a:lnTo>
                      <a:lnTo>
                        <a:pt x="28" y="194"/>
                      </a:lnTo>
                      <a:lnTo>
                        <a:pt x="23" y="194"/>
                      </a:lnTo>
                      <a:lnTo>
                        <a:pt x="19" y="191"/>
                      </a:lnTo>
                      <a:lnTo>
                        <a:pt x="16" y="188"/>
                      </a:lnTo>
                      <a:lnTo>
                        <a:pt x="15" y="183"/>
                      </a:lnTo>
                      <a:lnTo>
                        <a:pt x="15" y="174"/>
                      </a:lnTo>
                      <a:lnTo>
                        <a:pt x="13" y="170"/>
                      </a:lnTo>
                      <a:lnTo>
                        <a:pt x="10" y="168"/>
                      </a:lnTo>
                      <a:lnTo>
                        <a:pt x="6" y="165"/>
                      </a:lnTo>
                      <a:lnTo>
                        <a:pt x="4" y="162"/>
                      </a:lnTo>
                      <a:lnTo>
                        <a:pt x="1" y="158"/>
                      </a:lnTo>
                      <a:lnTo>
                        <a:pt x="0" y="155"/>
                      </a:lnTo>
                      <a:lnTo>
                        <a:pt x="0" y="152"/>
                      </a:lnTo>
                      <a:lnTo>
                        <a:pt x="0" y="150"/>
                      </a:lnTo>
                      <a:lnTo>
                        <a:pt x="4" y="144"/>
                      </a:lnTo>
                      <a:lnTo>
                        <a:pt x="7" y="139"/>
                      </a:lnTo>
                      <a:lnTo>
                        <a:pt x="10" y="134"/>
                      </a:lnTo>
                      <a:lnTo>
                        <a:pt x="10" y="126"/>
                      </a:lnTo>
                      <a:lnTo>
                        <a:pt x="9" y="117"/>
                      </a:lnTo>
                      <a:lnTo>
                        <a:pt x="10" y="111"/>
                      </a:lnTo>
                      <a:lnTo>
                        <a:pt x="10" y="105"/>
                      </a:lnTo>
                      <a:lnTo>
                        <a:pt x="7" y="101"/>
                      </a:lnTo>
                      <a:lnTo>
                        <a:pt x="6" y="98"/>
                      </a:lnTo>
                      <a:lnTo>
                        <a:pt x="4" y="91"/>
                      </a:lnTo>
                      <a:lnTo>
                        <a:pt x="4" y="80"/>
                      </a:lnTo>
                      <a:lnTo>
                        <a:pt x="5" y="69"/>
                      </a:lnTo>
                      <a:lnTo>
                        <a:pt x="6" y="62"/>
                      </a:lnTo>
                      <a:lnTo>
                        <a:pt x="9" y="59"/>
                      </a:lnTo>
                      <a:lnTo>
                        <a:pt x="11" y="56"/>
                      </a:lnTo>
                      <a:lnTo>
                        <a:pt x="14" y="55"/>
                      </a:lnTo>
                      <a:lnTo>
                        <a:pt x="20" y="50"/>
                      </a:lnTo>
                      <a:lnTo>
                        <a:pt x="23" y="46"/>
                      </a:lnTo>
                      <a:lnTo>
                        <a:pt x="23" y="40"/>
                      </a:lnTo>
                      <a:lnTo>
                        <a:pt x="23" y="31"/>
                      </a:lnTo>
                      <a:lnTo>
                        <a:pt x="23" y="29"/>
                      </a:lnTo>
                      <a:lnTo>
                        <a:pt x="25" y="28"/>
                      </a:lnTo>
                      <a:lnTo>
                        <a:pt x="30" y="25"/>
                      </a:lnTo>
                      <a:lnTo>
                        <a:pt x="35" y="24"/>
                      </a:lnTo>
                      <a:lnTo>
                        <a:pt x="40" y="23"/>
                      </a:lnTo>
                      <a:lnTo>
                        <a:pt x="43" y="21"/>
                      </a:lnTo>
                      <a:lnTo>
                        <a:pt x="44" y="16"/>
                      </a:lnTo>
                      <a:lnTo>
                        <a:pt x="46" y="11"/>
                      </a:lnTo>
                      <a:lnTo>
                        <a:pt x="46" y="5"/>
                      </a:lnTo>
                      <a:lnTo>
                        <a:pt x="48" y="0"/>
                      </a:lnTo>
                      <a:lnTo>
                        <a:pt x="51" y="0"/>
                      </a:lnTo>
                      <a:lnTo>
                        <a:pt x="54" y="0"/>
                      </a:lnTo>
                      <a:lnTo>
                        <a:pt x="67" y="4"/>
                      </a:lnTo>
                      <a:lnTo>
                        <a:pt x="75" y="5"/>
                      </a:lnTo>
                      <a:lnTo>
                        <a:pt x="81" y="4"/>
                      </a:lnTo>
                      <a:lnTo>
                        <a:pt x="89" y="3"/>
                      </a:lnTo>
                      <a:lnTo>
                        <a:pt x="96" y="4"/>
                      </a:lnTo>
                      <a:lnTo>
                        <a:pt x="101" y="5"/>
                      </a:lnTo>
                      <a:lnTo>
                        <a:pt x="108" y="9"/>
                      </a:lnTo>
                      <a:lnTo>
                        <a:pt x="112" y="14"/>
                      </a:lnTo>
                      <a:lnTo>
                        <a:pt x="122" y="27"/>
                      </a:lnTo>
                      <a:lnTo>
                        <a:pt x="132" y="40"/>
                      </a:lnTo>
                      <a:lnTo>
                        <a:pt x="134" y="42"/>
                      </a:lnTo>
                      <a:lnTo>
                        <a:pt x="140" y="44"/>
                      </a:lnTo>
                      <a:lnTo>
                        <a:pt x="148" y="44"/>
                      </a:lnTo>
                      <a:lnTo>
                        <a:pt x="156" y="47"/>
                      </a:lnTo>
                      <a:lnTo>
                        <a:pt x="164" y="50"/>
                      </a:lnTo>
                      <a:lnTo>
                        <a:pt x="170" y="55"/>
                      </a:lnTo>
                      <a:lnTo>
                        <a:pt x="174" y="62"/>
                      </a:lnTo>
                      <a:lnTo>
                        <a:pt x="178" y="66"/>
                      </a:lnTo>
                      <a:lnTo>
                        <a:pt x="179" y="67"/>
                      </a:lnTo>
                      <a:lnTo>
                        <a:pt x="181" y="66"/>
                      </a:lnTo>
                      <a:lnTo>
                        <a:pt x="185" y="63"/>
                      </a:lnTo>
                      <a:lnTo>
                        <a:pt x="192" y="60"/>
                      </a:lnTo>
                      <a:lnTo>
                        <a:pt x="195" y="55"/>
                      </a:lnTo>
                      <a:lnTo>
                        <a:pt x="198" y="50"/>
                      </a:lnTo>
                      <a:lnTo>
                        <a:pt x="198" y="43"/>
                      </a:lnTo>
                      <a:lnTo>
                        <a:pt x="197" y="25"/>
                      </a:lnTo>
                      <a:lnTo>
                        <a:pt x="199" y="18"/>
                      </a:lnTo>
                      <a:lnTo>
                        <a:pt x="202" y="15"/>
                      </a:lnTo>
                      <a:lnTo>
                        <a:pt x="213" y="6"/>
                      </a:lnTo>
                      <a:lnTo>
                        <a:pt x="217" y="5"/>
                      </a:lnTo>
                      <a:lnTo>
                        <a:pt x="221" y="6"/>
                      </a:lnTo>
                      <a:lnTo>
                        <a:pt x="231" y="9"/>
                      </a:lnTo>
                      <a:lnTo>
                        <a:pt x="235" y="9"/>
                      </a:lnTo>
                      <a:lnTo>
                        <a:pt x="239" y="9"/>
                      </a:lnTo>
                      <a:lnTo>
                        <a:pt x="247" y="8"/>
                      </a:lnTo>
                      <a:lnTo>
                        <a:pt x="249" y="8"/>
                      </a:lnTo>
                      <a:lnTo>
                        <a:pt x="249" y="9"/>
                      </a:lnTo>
                      <a:lnTo>
                        <a:pt x="250" y="11"/>
                      </a:lnTo>
                      <a:lnTo>
                        <a:pt x="251" y="15"/>
                      </a:lnTo>
                      <a:lnTo>
                        <a:pt x="253" y="17"/>
                      </a:lnTo>
                      <a:lnTo>
                        <a:pt x="258" y="18"/>
                      </a:lnTo>
                      <a:lnTo>
                        <a:pt x="263" y="19"/>
                      </a:lnTo>
                      <a:lnTo>
                        <a:pt x="268" y="23"/>
                      </a:lnTo>
                      <a:lnTo>
                        <a:pt x="274" y="25"/>
                      </a:lnTo>
                      <a:lnTo>
                        <a:pt x="279" y="27"/>
                      </a:lnTo>
                      <a:lnTo>
                        <a:pt x="284" y="27"/>
                      </a:lnTo>
                      <a:lnTo>
                        <a:pt x="287" y="2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1" name="Freeform 669">
                  <a:extLst>
                    <a:ext uri="{FF2B5EF4-FFF2-40B4-BE49-F238E27FC236}">
                      <a16:creationId xmlns:a16="http://schemas.microsoft.com/office/drawing/2014/main" id="{A287CBD0-EC43-9047-97D0-1977187E0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82468" y="3504018"/>
                  <a:ext cx="97672" cy="210142"/>
                </a:xfrm>
                <a:custGeom>
                  <a:avLst/>
                  <a:gdLst>
                    <a:gd name="T0" fmla="*/ 2147483647 w 72"/>
                    <a:gd name="T1" fmla="*/ 2147483647 h 142"/>
                    <a:gd name="T2" fmla="*/ 2147483647 w 72"/>
                    <a:gd name="T3" fmla="*/ 2147483647 h 142"/>
                    <a:gd name="T4" fmla="*/ 2147483647 w 72"/>
                    <a:gd name="T5" fmla="*/ 2147483647 h 142"/>
                    <a:gd name="T6" fmla="*/ 2147483647 w 72"/>
                    <a:gd name="T7" fmla="*/ 2147483647 h 142"/>
                    <a:gd name="T8" fmla="*/ 2147483647 w 72"/>
                    <a:gd name="T9" fmla="*/ 2147483647 h 142"/>
                    <a:gd name="T10" fmla="*/ 2147483647 w 72"/>
                    <a:gd name="T11" fmla="*/ 2147483647 h 142"/>
                    <a:gd name="T12" fmla="*/ 2147483647 w 72"/>
                    <a:gd name="T13" fmla="*/ 2147483647 h 142"/>
                    <a:gd name="T14" fmla="*/ 2147483647 w 72"/>
                    <a:gd name="T15" fmla="*/ 2147483647 h 142"/>
                    <a:gd name="T16" fmla="*/ 2147483647 w 72"/>
                    <a:gd name="T17" fmla="*/ 2147483647 h 142"/>
                    <a:gd name="T18" fmla="*/ 2147483647 w 72"/>
                    <a:gd name="T19" fmla="*/ 2147483647 h 142"/>
                    <a:gd name="T20" fmla="*/ 2147483647 w 72"/>
                    <a:gd name="T21" fmla="*/ 2147483647 h 142"/>
                    <a:gd name="T22" fmla="*/ 2147483647 w 72"/>
                    <a:gd name="T23" fmla="*/ 2147483647 h 142"/>
                    <a:gd name="T24" fmla="*/ 2147483647 w 72"/>
                    <a:gd name="T25" fmla="*/ 2147483647 h 142"/>
                    <a:gd name="T26" fmla="*/ 2147483647 w 72"/>
                    <a:gd name="T27" fmla="*/ 2147483647 h 142"/>
                    <a:gd name="T28" fmla="*/ 2147483647 w 72"/>
                    <a:gd name="T29" fmla="*/ 2147483647 h 142"/>
                    <a:gd name="T30" fmla="*/ 2147483647 w 72"/>
                    <a:gd name="T31" fmla="*/ 2147483647 h 142"/>
                    <a:gd name="T32" fmla="*/ 2147483647 w 72"/>
                    <a:gd name="T33" fmla="*/ 2147483647 h 142"/>
                    <a:gd name="T34" fmla="*/ 0 w 72"/>
                    <a:gd name="T35" fmla="*/ 2147483647 h 142"/>
                    <a:gd name="T36" fmla="*/ 2147483647 w 72"/>
                    <a:gd name="T37" fmla="*/ 2147483647 h 142"/>
                    <a:gd name="T38" fmla="*/ 2147483647 w 72"/>
                    <a:gd name="T39" fmla="*/ 2147483647 h 142"/>
                    <a:gd name="T40" fmla="*/ 2147483647 w 72"/>
                    <a:gd name="T41" fmla="*/ 2147483647 h 142"/>
                    <a:gd name="T42" fmla="*/ 2147483647 w 72"/>
                    <a:gd name="T43" fmla="*/ 2147483647 h 142"/>
                    <a:gd name="T44" fmla="*/ 2147483647 w 72"/>
                    <a:gd name="T45" fmla="*/ 2147483647 h 142"/>
                    <a:gd name="T46" fmla="*/ 2147483647 w 72"/>
                    <a:gd name="T47" fmla="*/ 2147483647 h 142"/>
                    <a:gd name="T48" fmla="*/ 2147483647 w 72"/>
                    <a:gd name="T49" fmla="*/ 2147483647 h 142"/>
                    <a:gd name="T50" fmla="*/ 2147483647 w 72"/>
                    <a:gd name="T51" fmla="*/ 2147483647 h 142"/>
                    <a:gd name="T52" fmla="*/ 2147483647 w 72"/>
                    <a:gd name="T53" fmla="*/ 2147483647 h 142"/>
                    <a:gd name="T54" fmla="*/ 2147483647 w 72"/>
                    <a:gd name="T55" fmla="*/ 2147483647 h 142"/>
                    <a:gd name="T56" fmla="*/ 2147483647 w 72"/>
                    <a:gd name="T57" fmla="*/ 2147483647 h 142"/>
                    <a:gd name="T58" fmla="*/ 2147483647 w 72"/>
                    <a:gd name="T59" fmla="*/ 2147483647 h 142"/>
                    <a:gd name="T60" fmla="*/ 2147483647 w 72"/>
                    <a:gd name="T61" fmla="*/ 2147483647 h 142"/>
                    <a:gd name="T62" fmla="*/ 2147483647 w 72"/>
                    <a:gd name="T63" fmla="*/ 0 h 142"/>
                    <a:gd name="T64" fmla="*/ 2147483647 w 72"/>
                    <a:gd name="T65" fmla="*/ 0 h 142"/>
                    <a:gd name="T66" fmla="*/ 2147483647 w 72"/>
                    <a:gd name="T67" fmla="*/ 2147483647 h 142"/>
                    <a:gd name="T68" fmla="*/ 2147483647 w 72"/>
                    <a:gd name="T69" fmla="*/ 2147483647 h 142"/>
                    <a:gd name="T70" fmla="*/ 2147483647 w 72"/>
                    <a:gd name="T71" fmla="*/ 2147483647 h 142"/>
                    <a:gd name="T72" fmla="*/ 2147483647 w 72"/>
                    <a:gd name="T73" fmla="*/ 2147483647 h 142"/>
                    <a:gd name="T74" fmla="*/ 2147483647 w 72"/>
                    <a:gd name="T75" fmla="*/ 2147483647 h 142"/>
                    <a:gd name="T76" fmla="*/ 2147483647 w 72"/>
                    <a:gd name="T77" fmla="*/ 2147483647 h 142"/>
                    <a:gd name="T78" fmla="*/ 2147483647 w 72"/>
                    <a:gd name="T79" fmla="*/ 2147483647 h 142"/>
                    <a:gd name="T80" fmla="*/ 2147483647 w 72"/>
                    <a:gd name="T81" fmla="*/ 2147483647 h 142"/>
                    <a:gd name="T82" fmla="*/ 2147483647 w 72"/>
                    <a:gd name="T83" fmla="*/ 2147483647 h 142"/>
                    <a:gd name="T84" fmla="*/ 2147483647 w 72"/>
                    <a:gd name="T85" fmla="*/ 2147483647 h 142"/>
                    <a:gd name="T86" fmla="*/ 2147483647 w 72"/>
                    <a:gd name="T87" fmla="*/ 2147483647 h 142"/>
                    <a:gd name="T88" fmla="*/ 2147483647 w 72"/>
                    <a:gd name="T89" fmla="*/ 2147483647 h 142"/>
                    <a:gd name="T90" fmla="*/ 2147483647 w 72"/>
                    <a:gd name="T91" fmla="*/ 2147483647 h 142"/>
                    <a:gd name="T92" fmla="*/ 2147483647 w 72"/>
                    <a:gd name="T93" fmla="*/ 2147483647 h 142"/>
                    <a:gd name="T94" fmla="*/ 2147483647 w 72"/>
                    <a:gd name="T95" fmla="*/ 2147483647 h 142"/>
                    <a:gd name="T96" fmla="*/ 2147483647 w 72"/>
                    <a:gd name="T97" fmla="*/ 2147483647 h 142"/>
                    <a:gd name="T98" fmla="*/ 2147483647 w 72"/>
                    <a:gd name="T99" fmla="*/ 2147483647 h 142"/>
                    <a:gd name="T100" fmla="*/ 2147483647 w 72"/>
                    <a:gd name="T101" fmla="*/ 2147483647 h 142"/>
                    <a:gd name="T102" fmla="*/ 2147483647 w 72"/>
                    <a:gd name="T103" fmla="*/ 2147483647 h 142"/>
                    <a:gd name="T104" fmla="*/ 2147483647 w 72"/>
                    <a:gd name="T105" fmla="*/ 2147483647 h 142"/>
                    <a:gd name="T106" fmla="*/ 2147483647 w 72"/>
                    <a:gd name="T107" fmla="*/ 2147483647 h 14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72"/>
                    <a:gd name="T163" fmla="*/ 0 h 142"/>
                    <a:gd name="T164" fmla="*/ 72 w 72"/>
                    <a:gd name="T165" fmla="*/ 142 h 14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72" h="142">
                      <a:moveTo>
                        <a:pt x="72" y="87"/>
                      </a:moveTo>
                      <a:lnTo>
                        <a:pt x="72" y="87"/>
                      </a:lnTo>
                      <a:lnTo>
                        <a:pt x="70" y="92"/>
                      </a:lnTo>
                      <a:lnTo>
                        <a:pt x="70" y="98"/>
                      </a:lnTo>
                      <a:lnTo>
                        <a:pt x="68" y="103"/>
                      </a:lnTo>
                      <a:lnTo>
                        <a:pt x="67" y="108"/>
                      </a:lnTo>
                      <a:lnTo>
                        <a:pt x="64" y="110"/>
                      </a:lnTo>
                      <a:lnTo>
                        <a:pt x="59" y="111"/>
                      </a:lnTo>
                      <a:lnTo>
                        <a:pt x="54" y="112"/>
                      </a:lnTo>
                      <a:lnTo>
                        <a:pt x="49" y="115"/>
                      </a:lnTo>
                      <a:lnTo>
                        <a:pt x="47" y="116"/>
                      </a:lnTo>
                      <a:lnTo>
                        <a:pt x="47" y="118"/>
                      </a:lnTo>
                      <a:lnTo>
                        <a:pt x="47" y="127"/>
                      </a:lnTo>
                      <a:lnTo>
                        <a:pt x="47" y="133"/>
                      </a:lnTo>
                      <a:lnTo>
                        <a:pt x="44" y="137"/>
                      </a:lnTo>
                      <a:lnTo>
                        <a:pt x="38" y="142"/>
                      </a:lnTo>
                      <a:lnTo>
                        <a:pt x="30" y="125"/>
                      </a:lnTo>
                      <a:lnTo>
                        <a:pt x="26" y="118"/>
                      </a:lnTo>
                      <a:lnTo>
                        <a:pt x="23" y="115"/>
                      </a:lnTo>
                      <a:lnTo>
                        <a:pt x="19" y="112"/>
                      </a:lnTo>
                      <a:lnTo>
                        <a:pt x="17" y="110"/>
                      </a:lnTo>
                      <a:lnTo>
                        <a:pt x="15" y="108"/>
                      </a:lnTo>
                      <a:lnTo>
                        <a:pt x="14" y="102"/>
                      </a:lnTo>
                      <a:lnTo>
                        <a:pt x="11" y="96"/>
                      </a:lnTo>
                      <a:lnTo>
                        <a:pt x="9" y="89"/>
                      </a:lnTo>
                      <a:lnTo>
                        <a:pt x="7" y="86"/>
                      </a:lnTo>
                      <a:lnTo>
                        <a:pt x="4" y="84"/>
                      </a:lnTo>
                      <a:lnTo>
                        <a:pt x="1" y="82"/>
                      </a:lnTo>
                      <a:lnTo>
                        <a:pt x="0" y="79"/>
                      </a:lnTo>
                      <a:lnTo>
                        <a:pt x="0" y="77"/>
                      </a:lnTo>
                      <a:lnTo>
                        <a:pt x="1" y="74"/>
                      </a:lnTo>
                      <a:lnTo>
                        <a:pt x="6" y="70"/>
                      </a:lnTo>
                      <a:lnTo>
                        <a:pt x="10" y="66"/>
                      </a:lnTo>
                      <a:lnTo>
                        <a:pt x="15" y="59"/>
                      </a:lnTo>
                      <a:lnTo>
                        <a:pt x="20" y="52"/>
                      </a:lnTo>
                      <a:lnTo>
                        <a:pt x="21" y="47"/>
                      </a:lnTo>
                      <a:lnTo>
                        <a:pt x="21" y="44"/>
                      </a:lnTo>
                      <a:lnTo>
                        <a:pt x="20" y="39"/>
                      </a:lnTo>
                      <a:lnTo>
                        <a:pt x="19" y="35"/>
                      </a:lnTo>
                      <a:lnTo>
                        <a:pt x="17" y="32"/>
                      </a:lnTo>
                      <a:lnTo>
                        <a:pt x="19" y="28"/>
                      </a:lnTo>
                      <a:lnTo>
                        <a:pt x="17" y="27"/>
                      </a:lnTo>
                      <a:lnTo>
                        <a:pt x="16" y="26"/>
                      </a:lnTo>
                      <a:lnTo>
                        <a:pt x="15" y="23"/>
                      </a:lnTo>
                      <a:lnTo>
                        <a:pt x="15" y="21"/>
                      </a:lnTo>
                      <a:lnTo>
                        <a:pt x="17" y="18"/>
                      </a:lnTo>
                      <a:lnTo>
                        <a:pt x="19" y="15"/>
                      </a:lnTo>
                      <a:lnTo>
                        <a:pt x="20" y="12"/>
                      </a:lnTo>
                      <a:lnTo>
                        <a:pt x="26" y="10"/>
                      </a:lnTo>
                      <a:lnTo>
                        <a:pt x="34" y="7"/>
                      </a:lnTo>
                      <a:lnTo>
                        <a:pt x="42" y="2"/>
                      </a:lnTo>
                      <a:lnTo>
                        <a:pt x="49" y="0"/>
                      </a:lnTo>
                      <a:lnTo>
                        <a:pt x="52" y="0"/>
                      </a:lnTo>
                      <a:lnTo>
                        <a:pt x="54" y="1"/>
                      </a:lnTo>
                      <a:lnTo>
                        <a:pt x="58" y="7"/>
                      </a:lnTo>
                      <a:lnTo>
                        <a:pt x="61" y="9"/>
                      </a:lnTo>
                      <a:lnTo>
                        <a:pt x="63" y="10"/>
                      </a:lnTo>
                      <a:lnTo>
                        <a:pt x="67" y="7"/>
                      </a:lnTo>
                      <a:lnTo>
                        <a:pt x="70" y="7"/>
                      </a:lnTo>
                      <a:lnTo>
                        <a:pt x="71" y="7"/>
                      </a:lnTo>
                      <a:lnTo>
                        <a:pt x="71" y="10"/>
                      </a:lnTo>
                      <a:lnTo>
                        <a:pt x="70" y="13"/>
                      </a:lnTo>
                      <a:lnTo>
                        <a:pt x="67" y="15"/>
                      </a:lnTo>
                      <a:lnTo>
                        <a:pt x="63" y="20"/>
                      </a:lnTo>
                      <a:lnTo>
                        <a:pt x="59" y="25"/>
                      </a:lnTo>
                      <a:lnTo>
                        <a:pt x="59" y="27"/>
                      </a:lnTo>
                      <a:lnTo>
                        <a:pt x="59" y="29"/>
                      </a:lnTo>
                      <a:lnTo>
                        <a:pt x="61" y="34"/>
                      </a:lnTo>
                      <a:lnTo>
                        <a:pt x="63" y="38"/>
                      </a:lnTo>
                      <a:lnTo>
                        <a:pt x="67" y="42"/>
                      </a:lnTo>
                      <a:lnTo>
                        <a:pt x="70" y="47"/>
                      </a:lnTo>
                      <a:lnTo>
                        <a:pt x="68" y="51"/>
                      </a:lnTo>
                      <a:lnTo>
                        <a:pt x="64" y="54"/>
                      </a:lnTo>
                      <a:lnTo>
                        <a:pt x="57" y="61"/>
                      </a:lnTo>
                      <a:lnTo>
                        <a:pt x="53" y="66"/>
                      </a:lnTo>
                      <a:lnTo>
                        <a:pt x="51" y="71"/>
                      </a:lnTo>
                      <a:lnTo>
                        <a:pt x="51" y="74"/>
                      </a:lnTo>
                      <a:lnTo>
                        <a:pt x="51" y="78"/>
                      </a:lnTo>
                      <a:lnTo>
                        <a:pt x="52" y="80"/>
                      </a:lnTo>
                      <a:lnTo>
                        <a:pt x="56" y="83"/>
                      </a:lnTo>
                      <a:lnTo>
                        <a:pt x="57" y="83"/>
                      </a:lnTo>
                      <a:lnTo>
                        <a:pt x="59" y="83"/>
                      </a:lnTo>
                      <a:lnTo>
                        <a:pt x="63" y="83"/>
                      </a:lnTo>
                      <a:lnTo>
                        <a:pt x="64" y="83"/>
                      </a:lnTo>
                      <a:lnTo>
                        <a:pt x="70" y="87"/>
                      </a:lnTo>
                      <a:lnTo>
                        <a:pt x="72" y="8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2" name="Freeform 670">
                  <a:extLst>
                    <a:ext uri="{FF2B5EF4-FFF2-40B4-BE49-F238E27FC236}">
                      <a16:creationId xmlns:a16="http://schemas.microsoft.com/office/drawing/2014/main" id="{8D7D7ACE-A940-7B42-AF42-29E49CCE79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1377" y="3512900"/>
                  <a:ext cx="467640" cy="554952"/>
                </a:xfrm>
                <a:custGeom>
                  <a:avLst/>
                  <a:gdLst>
                    <a:gd name="T0" fmla="*/ 2147483647 w 342"/>
                    <a:gd name="T1" fmla="*/ 2147483647 h 375"/>
                    <a:gd name="T2" fmla="*/ 2147483647 w 342"/>
                    <a:gd name="T3" fmla="*/ 2147483647 h 375"/>
                    <a:gd name="T4" fmla="*/ 2147483647 w 342"/>
                    <a:gd name="T5" fmla="*/ 2147483647 h 375"/>
                    <a:gd name="T6" fmla="*/ 2147483647 w 342"/>
                    <a:gd name="T7" fmla="*/ 2147483647 h 375"/>
                    <a:gd name="T8" fmla="*/ 2147483647 w 342"/>
                    <a:gd name="T9" fmla="*/ 2147483647 h 375"/>
                    <a:gd name="T10" fmla="*/ 2147483647 w 342"/>
                    <a:gd name="T11" fmla="*/ 2147483647 h 375"/>
                    <a:gd name="T12" fmla="*/ 2147483647 w 342"/>
                    <a:gd name="T13" fmla="*/ 2147483647 h 375"/>
                    <a:gd name="T14" fmla="*/ 2147483647 w 342"/>
                    <a:gd name="T15" fmla="*/ 2147483647 h 375"/>
                    <a:gd name="T16" fmla="*/ 2147483647 w 342"/>
                    <a:gd name="T17" fmla="*/ 2147483647 h 375"/>
                    <a:gd name="T18" fmla="*/ 2147483647 w 342"/>
                    <a:gd name="T19" fmla="*/ 2147483647 h 375"/>
                    <a:gd name="T20" fmla="*/ 2147483647 w 342"/>
                    <a:gd name="T21" fmla="*/ 2147483647 h 375"/>
                    <a:gd name="T22" fmla="*/ 2147483647 w 342"/>
                    <a:gd name="T23" fmla="*/ 2147483647 h 375"/>
                    <a:gd name="T24" fmla="*/ 2147483647 w 342"/>
                    <a:gd name="T25" fmla="*/ 2147483647 h 375"/>
                    <a:gd name="T26" fmla="*/ 2147483647 w 342"/>
                    <a:gd name="T27" fmla="*/ 2147483647 h 375"/>
                    <a:gd name="T28" fmla="*/ 2147483647 w 342"/>
                    <a:gd name="T29" fmla="*/ 2147483647 h 375"/>
                    <a:gd name="T30" fmla="*/ 2147483647 w 342"/>
                    <a:gd name="T31" fmla="*/ 2147483647 h 375"/>
                    <a:gd name="T32" fmla="*/ 2147483647 w 342"/>
                    <a:gd name="T33" fmla="*/ 2147483647 h 375"/>
                    <a:gd name="T34" fmla="*/ 2147483647 w 342"/>
                    <a:gd name="T35" fmla="*/ 2147483647 h 375"/>
                    <a:gd name="T36" fmla="*/ 2147483647 w 342"/>
                    <a:gd name="T37" fmla="*/ 2147483647 h 375"/>
                    <a:gd name="T38" fmla="*/ 2147483647 w 342"/>
                    <a:gd name="T39" fmla="*/ 2147483647 h 375"/>
                    <a:gd name="T40" fmla="*/ 2147483647 w 342"/>
                    <a:gd name="T41" fmla="*/ 2147483647 h 375"/>
                    <a:gd name="T42" fmla="*/ 2147483647 w 342"/>
                    <a:gd name="T43" fmla="*/ 2147483647 h 375"/>
                    <a:gd name="T44" fmla="*/ 2147483647 w 342"/>
                    <a:gd name="T45" fmla="*/ 2147483647 h 375"/>
                    <a:gd name="T46" fmla="*/ 2147483647 w 342"/>
                    <a:gd name="T47" fmla="*/ 2147483647 h 375"/>
                    <a:gd name="T48" fmla="*/ 2147483647 w 342"/>
                    <a:gd name="T49" fmla="*/ 2147483647 h 375"/>
                    <a:gd name="T50" fmla="*/ 2147483647 w 342"/>
                    <a:gd name="T51" fmla="*/ 2147483647 h 375"/>
                    <a:gd name="T52" fmla="*/ 2147483647 w 342"/>
                    <a:gd name="T53" fmla="*/ 2147483647 h 375"/>
                    <a:gd name="T54" fmla="*/ 2147483647 w 342"/>
                    <a:gd name="T55" fmla="*/ 2147483647 h 375"/>
                    <a:gd name="T56" fmla="*/ 2147483647 w 342"/>
                    <a:gd name="T57" fmla="*/ 2147483647 h 375"/>
                    <a:gd name="T58" fmla="*/ 2147483647 w 342"/>
                    <a:gd name="T59" fmla="*/ 2147483647 h 375"/>
                    <a:gd name="T60" fmla="*/ 2147483647 w 342"/>
                    <a:gd name="T61" fmla="*/ 2147483647 h 375"/>
                    <a:gd name="T62" fmla="*/ 2147483647 w 342"/>
                    <a:gd name="T63" fmla="*/ 2147483647 h 375"/>
                    <a:gd name="T64" fmla="*/ 2147483647 w 342"/>
                    <a:gd name="T65" fmla="*/ 2147483647 h 375"/>
                    <a:gd name="T66" fmla="*/ 2147483647 w 342"/>
                    <a:gd name="T67" fmla="*/ 2147483647 h 375"/>
                    <a:gd name="T68" fmla="*/ 2147483647 w 342"/>
                    <a:gd name="T69" fmla="*/ 2147483647 h 375"/>
                    <a:gd name="T70" fmla="*/ 2147483647 w 342"/>
                    <a:gd name="T71" fmla="*/ 2147483647 h 375"/>
                    <a:gd name="T72" fmla="*/ 2147483647 w 342"/>
                    <a:gd name="T73" fmla="*/ 2147483647 h 375"/>
                    <a:gd name="T74" fmla="*/ 2147483647 w 342"/>
                    <a:gd name="T75" fmla="*/ 2147483647 h 375"/>
                    <a:gd name="T76" fmla="*/ 2147483647 w 342"/>
                    <a:gd name="T77" fmla="*/ 2147483647 h 375"/>
                    <a:gd name="T78" fmla="*/ 2147483647 w 342"/>
                    <a:gd name="T79" fmla="*/ 2147483647 h 375"/>
                    <a:gd name="T80" fmla="*/ 2147483647 w 342"/>
                    <a:gd name="T81" fmla="*/ 2147483647 h 375"/>
                    <a:gd name="T82" fmla="*/ 2147483647 w 342"/>
                    <a:gd name="T83" fmla="*/ 2147483647 h 375"/>
                    <a:gd name="T84" fmla="*/ 2147483647 w 342"/>
                    <a:gd name="T85" fmla="*/ 2147483647 h 375"/>
                    <a:gd name="T86" fmla="*/ 2147483647 w 342"/>
                    <a:gd name="T87" fmla="*/ 2147483647 h 375"/>
                    <a:gd name="T88" fmla="*/ 2147483647 w 342"/>
                    <a:gd name="T89" fmla="*/ 2147483647 h 375"/>
                    <a:gd name="T90" fmla="*/ 2147483647 w 342"/>
                    <a:gd name="T91" fmla="*/ 2147483647 h 375"/>
                    <a:gd name="T92" fmla="*/ 0 w 342"/>
                    <a:gd name="T93" fmla="*/ 2147483647 h 375"/>
                    <a:gd name="T94" fmla="*/ 2147483647 w 342"/>
                    <a:gd name="T95" fmla="*/ 2147483647 h 375"/>
                    <a:gd name="T96" fmla="*/ 2147483647 w 342"/>
                    <a:gd name="T97" fmla="*/ 2147483647 h 375"/>
                    <a:gd name="T98" fmla="*/ 2147483647 w 342"/>
                    <a:gd name="T99" fmla="*/ 2147483647 h 375"/>
                    <a:gd name="T100" fmla="*/ 2147483647 w 342"/>
                    <a:gd name="T101" fmla="*/ 2147483647 h 375"/>
                    <a:gd name="T102" fmla="*/ 2147483647 w 342"/>
                    <a:gd name="T103" fmla="*/ 2147483647 h 375"/>
                    <a:gd name="T104" fmla="*/ 2147483647 w 342"/>
                    <a:gd name="T105" fmla="*/ 2147483647 h 375"/>
                    <a:gd name="T106" fmla="*/ 2147483647 w 342"/>
                    <a:gd name="T107" fmla="*/ 2147483647 h 375"/>
                    <a:gd name="T108" fmla="*/ 2147483647 w 342"/>
                    <a:gd name="T109" fmla="*/ 2147483647 h 375"/>
                    <a:gd name="T110" fmla="*/ 2147483647 w 342"/>
                    <a:gd name="T111" fmla="*/ 2147483647 h 375"/>
                    <a:gd name="T112" fmla="*/ 2147483647 w 342"/>
                    <a:gd name="T113" fmla="*/ 2147483647 h 375"/>
                    <a:gd name="T114" fmla="*/ 2147483647 w 342"/>
                    <a:gd name="T115" fmla="*/ 2147483647 h 375"/>
                    <a:gd name="T116" fmla="*/ 2147483647 w 342"/>
                    <a:gd name="T117" fmla="*/ 2147483647 h 375"/>
                    <a:gd name="T118" fmla="*/ 2147483647 w 342"/>
                    <a:gd name="T119" fmla="*/ 2147483647 h 375"/>
                    <a:gd name="T120" fmla="*/ 2147483647 w 342"/>
                    <a:gd name="T121" fmla="*/ 2147483647 h 37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42"/>
                    <a:gd name="T184" fmla="*/ 0 h 375"/>
                    <a:gd name="T185" fmla="*/ 342 w 342"/>
                    <a:gd name="T186" fmla="*/ 375 h 37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42" h="375">
                      <a:moveTo>
                        <a:pt x="342" y="287"/>
                      </a:moveTo>
                      <a:lnTo>
                        <a:pt x="340" y="283"/>
                      </a:lnTo>
                      <a:lnTo>
                        <a:pt x="337" y="279"/>
                      </a:lnTo>
                      <a:lnTo>
                        <a:pt x="332" y="278"/>
                      </a:lnTo>
                      <a:lnTo>
                        <a:pt x="327" y="277"/>
                      </a:lnTo>
                      <a:lnTo>
                        <a:pt x="317" y="276"/>
                      </a:lnTo>
                      <a:lnTo>
                        <a:pt x="312" y="276"/>
                      </a:lnTo>
                      <a:lnTo>
                        <a:pt x="308" y="274"/>
                      </a:lnTo>
                      <a:lnTo>
                        <a:pt x="306" y="270"/>
                      </a:lnTo>
                      <a:lnTo>
                        <a:pt x="304" y="265"/>
                      </a:lnTo>
                      <a:lnTo>
                        <a:pt x="304" y="256"/>
                      </a:lnTo>
                      <a:lnTo>
                        <a:pt x="302" y="252"/>
                      </a:lnTo>
                      <a:lnTo>
                        <a:pt x="299" y="250"/>
                      </a:lnTo>
                      <a:lnTo>
                        <a:pt x="295" y="247"/>
                      </a:lnTo>
                      <a:lnTo>
                        <a:pt x="293" y="244"/>
                      </a:lnTo>
                      <a:lnTo>
                        <a:pt x="290" y="240"/>
                      </a:lnTo>
                      <a:lnTo>
                        <a:pt x="289" y="237"/>
                      </a:lnTo>
                      <a:lnTo>
                        <a:pt x="289" y="234"/>
                      </a:lnTo>
                      <a:lnTo>
                        <a:pt x="289" y="232"/>
                      </a:lnTo>
                      <a:lnTo>
                        <a:pt x="293" y="226"/>
                      </a:lnTo>
                      <a:lnTo>
                        <a:pt x="297" y="221"/>
                      </a:lnTo>
                      <a:lnTo>
                        <a:pt x="299" y="217"/>
                      </a:lnTo>
                      <a:lnTo>
                        <a:pt x="299" y="208"/>
                      </a:lnTo>
                      <a:lnTo>
                        <a:pt x="298" y="199"/>
                      </a:lnTo>
                      <a:lnTo>
                        <a:pt x="299" y="193"/>
                      </a:lnTo>
                      <a:lnTo>
                        <a:pt x="299" y="187"/>
                      </a:lnTo>
                      <a:lnTo>
                        <a:pt x="297" y="183"/>
                      </a:lnTo>
                      <a:lnTo>
                        <a:pt x="295" y="180"/>
                      </a:lnTo>
                      <a:lnTo>
                        <a:pt x="293" y="173"/>
                      </a:lnTo>
                      <a:lnTo>
                        <a:pt x="293" y="162"/>
                      </a:lnTo>
                      <a:lnTo>
                        <a:pt x="294" y="151"/>
                      </a:lnTo>
                      <a:lnTo>
                        <a:pt x="295" y="144"/>
                      </a:lnTo>
                      <a:lnTo>
                        <a:pt x="298" y="141"/>
                      </a:lnTo>
                      <a:lnTo>
                        <a:pt x="301" y="138"/>
                      </a:lnTo>
                      <a:lnTo>
                        <a:pt x="303" y="137"/>
                      </a:lnTo>
                      <a:lnTo>
                        <a:pt x="295" y="121"/>
                      </a:lnTo>
                      <a:lnTo>
                        <a:pt x="292" y="113"/>
                      </a:lnTo>
                      <a:lnTo>
                        <a:pt x="288" y="110"/>
                      </a:lnTo>
                      <a:lnTo>
                        <a:pt x="284" y="108"/>
                      </a:lnTo>
                      <a:lnTo>
                        <a:pt x="283" y="105"/>
                      </a:lnTo>
                      <a:lnTo>
                        <a:pt x="280" y="103"/>
                      </a:lnTo>
                      <a:lnTo>
                        <a:pt x="279" y="97"/>
                      </a:lnTo>
                      <a:lnTo>
                        <a:pt x="276" y="91"/>
                      </a:lnTo>
                      <a:lnTo>
                        <a:pt x="274" y="84"/>
                      </a:lnTo>
                      <a:lnTo>
                        <a:pt x="273" y="81"/>
                      </a:lnTo>
                      <a:lnTo>
                        <a:pt x="269" y="79"/>
                      </a:lnTo>
                      <a:lnTo>
                        <a:pt x="266" y="77"/>
                      </a:lnTo>
                      <a:lnTo>
                        <a:pt x="265" y="74"/>
                      </a:lnTo>
                      <a:lnTo>
                        <a:pt x="265" y="72"/>
                      </a:lnTo>
                      <a:lnTo>
                        <a:pt x="266" y="70"/>
                      </a:lnTo>
                      <a:lnTo>
                        <a:pt x="271" y="65"/>
                      </a:lnTo>
                      <a:lnTo>
                        <a:pt x="275" y="61"/>
                      </a:lnTo>
                      <a:lnTo>
                        <a:pt x="280" y="54"/>
                      </a:lnTo>
                      <a:lnTo>
                        <a:pt x="285" y="47"/>
                      </a:lnTo>
                      <a:lnTo>
                        <a:pt x="287" y="42"/>
                      </a:lnTo>
                      <a:lnTo>
                        <a:pt x="287" y="39"/>
                      </a:lnTo>
                      <a:lnTo>
                        <a:pt x="285" y="34"/>
                      </a:lnTo>
                      <a:lnTo>
                        <a:pt x="284" y="30"/>
                      </a:lnTo>
                      <a:lnTo>
                        <a:pt x="283" y="27"/>
                      </a:lnTo>
                      <a:lnTo>
                        <a:pt x="284" y="23"/>
                      </a:lnTo>
                      <a:lnTo>
                        <a:pt x="283" y="22"/>
                      </a:lnTo>
                      <a:lnTo>
                        <a:pt x="281" y="21"/>
                      </a:lnTo>
                      <a:lnTo>
                        <a:pt x="280" y="19"/>
                      </a:lnTo>
                      <a:lnTo>
                        <a:pt x="280" y="16"/>
                      </a:lnTo>
                      <a:lnTo>
                        <a:pt x="283" y="13"/>
                      </a:lnTo>
                      <a:lnTo>
                        <a:pt x="284" y="10"/>
                      </a:lnTo>
                      <a:lnTo>
                        <a:pt x="285" y="7"/>
                      </a:lnTo>
                      <a:lnTo>
                        <a:pt x="280" y="7"/>
                      </a:lnTo>
                      <a:lnTo>
                        <a:pt x="276" y="6"/>
                      </a:lnTo>
                      <a:lnTo>
                        <a:pt x="271" y="4"/>
                      </a:lnTo>
                      <a:lnTo>
                        <a:pt x="266" y="1"/>
                      </a:lnTo>
                      <a:lnTo>
                        <a:pt x="265" y="1"/>
                      </a:lnTo>
                      <a:lnTo>
                        <a:pt x="262" y="1"/>
                      </a:lnTo>
                      <a:lnTo>
                        <a:pt x="260" y="1"/>
                      </a:lnTo>
                      <a:lnTo>
                        <a:pt x="259" y="1"/>
                      </a:lnTo>
                      <a:lnTo>
                        <a:pt x="256" y="0"/>
                      </a:lnTo>
                      <a:lnTo>
                        <a:pt x="255" y="0"/>
                      </a:lnTo>
                      <a:lnTo>
                        <a:pt x="252" y="1"/>
                      </a:lnTo>
                      <a:lnTo>
                        <a:pt x="251" y="3"/>
                      </a:lnTo>
                      <a:lnTo>
                        <a:pt x="248" y="4"/>
                      </a:lnTo>
                      <a:lnTo>
                        <a:pt x="246" y="6"/>
                      </a:lnTo>
                      <a:lnTo>
                        <a:pt x="241" y="7"/>
                      </a:lnTo>
                      <a:lnTo>
                        <a:pt x="238" y="8"/>
                      </a:lnTo>
                      <a:lnTo>
                        <a:pt x="236" y="10"/>
                      </a:lnTo>
                      <a:lnTo>
                        <a:pt x="233" y="12"/>
                      </a:lnTo>
                      <a:lnTo>
                        <a:pt x="231" y="8"/>
                      </a:lnTo>
                      <a:lnTo>
                        <a:pt x="229" y="4"/>
                      </a:lnTo>
                      <a:lnTo>
                        <a:pt x="227" y="3"/>
                      </a:lnTo>
                      <a:lnTo>
                        <a:pt x="224" y="3"/>
                      </a:lnTo>
                      <a:lnTo>
                        <a:pt x="219" y="3"/>
                      </a:lnTo>
                      <a:lnTo>
                        <a:pt x="215" y="4"/>
                      </a:lnTo>
                      <a:lnTo>
                        <a:pt x="212" y="7"/>
                      </a:lnTo>
                      <a:lnTo>
                        <a:pt x="207" y="8"/>
                      </a:lnTo>
                      <a:lnTo>
                        <a:pt x="204" y="8"/>
                      </a:lnTo>
                      <a:lnTo>
                        <a:pt x="201" y="7"/>
                      </a:lnTo>
                      <a:lnTo>
                        <a:pt x="198" y="6"/>
                      </a:lnTo>
                      <a:lnTo>
                        <a:pt x="195" y="6"/>
                      </a:lnTo>
                      <a:lnTo>
                        <a:pt x="185" y="7"/>
                      </a:lnTo>
                      <a:lnTo>
                        <a:pt x="174" y="8"/>
                      </a:lnTo>
                      <a:lnTo>
                        <a:pt x="171" y="8"/>
                      </a:lnTo>
                      <a:lnTo>
                        <a:pt x="168" y="9"/>
                      </a:lnTo>
                      <a:lnTo>
                        <a:pt x="163" y="13"/>
                      </a:lnTo>
                      <a:lnTo>
                        <a:pt x="157" y="15"/>
                      </a:lnTo>
                      <a:lnTo>
                        <a:pt x="151" y="16"/>
                      </a:lnTo>
                      <a:lnTo>
                        <a:pt x="146" y="19"/>
                      </a:lnTo>
                      <a:lnTo>
                        <a:pt x="143" y="21"/>
                      </a:lnTo>
                      <a:lnTo>
                        <a:pt x="141" y="23"/>
                      </a:lnTo>
                      <a:lnTo>
                        <a:pt x="137" y="28"/>
                      </a:lnTo>
                      <a:lnTo>
                        <a:pt x="132" y="30"/>
                      </a:lnTo>
                      <a:lnTo>
                        <a:pt x="118" y="36"/>
                      </a:lnTo>
                      <a:lnTo>
                        <a:pt x="104" y="41"/>
                      </a:lnTo>
                      <a:lnTo>
                        <a:pt x="106" y="47"/>
                      </a:lnTo>
                      <a:lnTo>
                        <a:pt x="108" y="51"/>
                      </a:lnTo>
                      <a:lnTo>
                        <a:pt x="109" y="53"/>
                      </a:lnTo>
                      <a:lnTo>
                        <a:pt x="108" y="64"/>
                      </a:lnTo>
                      <a:lnTo>
                        <a:pt x="108" y="68"/>
                      </a:lnTo>
                      <a:lnTo>
                        <a:pt x="110" y="74"/>
                      </a:lnTo>
                      <a:lnTo>
                        <a:pt x="113" y="79"/>
                      </a:lnTo>
                      <a:lnTo>
                        <a:pt x="114" y="85"/>
                      </a:lnTo>
                      <a:lnTo>
                        <a:pt x="116" y="91"/>
                      </a:lnTo>
                      <a:lnTo>
                        <a:pt x="120" y="96"/>
                      </a:lnTo>
                      <a:lnTo>
                        <a:pt x="120" y="98"/>
                      </a:lnTo>
                      <a:lnTo>
                        <a:pt x="120" y="99"/>
                      </a:lnTo>
                      <a:lnTo>
                        <a:pt x="116" y="103"/>
                      </a:lnTo>
                      <a:lnTo>
                        <a:pt x="113" y="104"/>
                      </a:lnTo>
                      <a:lnTo>
                        <a:pt x="109" y="106"/>
                      </a:lnTo>
                      <a:lnTo>
                        <a:pt x="106" y="109"/>
                      </a:lnTo>
                      <a:lnTo>
                        <a:pt x="99" y="118"/>
                      </a:lnTo>
                      <a:lnTo>
                        <a:pt x="91" y="128"/>
                      </a:lnTo>
                      <a:lnTo>
                        <a:pt x="83" y="135"/>
                      </a:lnTo>
                      <a:lnTo>
                        <a:pt x="75" y="142"/>
                      </a:lnTo>
                      <a:lnTo>
                        <a:pt x="66" y="149"/>
                      </a:lnTo>
                      <a:lnTo>
                        <a:pt x="55" y="155"/>
                      </a:lnTo>
                      <a:lnTo>
                        <a:pt x="35" y="166"/>
                      </a:lnTo>
                      <a:lnTo>
                        <a:pt x="22" y="168"/>
                      </a:lnTo>
                      <a:lnTo>
                        <a:pt x="14" y="172"/>
                      </a:lnTo>
                      <a:lnTo>
                        <a:pt x="7" y="176"/>
                      </a:lnTo>
                      <a:lnTo>
                        <a:pt x="3" y="181"/>
                      </a:lnTo>
                      <a:lnTo>
                        <a:pt x="1" y="186"/>
                      </a:lnTo>
                      <a:lnTo>
                        <a:pt x="1" y="191"/>
                      </a:lnTo>
                      <a:lnTo>
                        <a:pt x="0" y="194"/>
                      </a:lnTo>
                      <a:lnTo>
                        <a:pt x="1" y="204"/>
                      </a:lnTo>
                      <a:lnTo>
                        <a:pt x="2" y="218"/>
                      </a:lnTo>
                      <a:lnTo>
                        <a:pt x="34" y="240"/>
                      </a:lnTo>
                      <a:lnTo>
                        <a:pt x="61" y="259"/>
                      </a:lnTo>
                      <a:lnTo>
                        <a:pt x="158" y="327"/>
                      </a:lnTo>
                      <a:lnTo>
                        <a:pt x="162" y="333"/>
                      </a:lnTo>
                      <a:lnTo>
                        <a:pt x="165" y="339"/>
                      </a:lnTo>
                      <a:lnTo>
                        <a:pt x="165" y="340"/>
                      </a:lnTo>
                      <a:lnTo>
                        <a:pt x="167" y="341"/>
                      </a:lnTo>
                      <a:lnTo>
                        <a:pt x="170" y="341"/>
                      </a:lnTo>
                      <a:lnTo>
                        <a:pt x="179" y="343"/>
                      </a:lnTo>
                      <a:lnTo>
                        <a:pt x="182" y="345"/>
                      </a:lnTo>
                      <a:lnTo>
                        <a:pt x="186" y="347"/>
                      </a:lnTo>
                      <a:lnTo>
                        <a:pt x="186" y="349"/>
                      </a:lnTo>
                      <a:lnTo>
                        <a:pt x="188" y="352"/>
                      </a:lnTo>
                      <a:lnTo>
                        <a:pt x="189" y="352"/>
                      </a:lnTo>
                      <a:lnTo>
                        <a:pt x="194" y="354"/>
                      </a:lnTo>
                      <a:lnTo>
                        <a:pt x="196" y="355"/>
                      </a:lnTo>
                      <a:lnTo>
                        <a:pt x="198" y="358"/>
                      </a:lnTo>
                      <a:lnTo>
                        <a:pt x="198" y="360"/>
                      </a:lnTo>
                      <a:lnTo>
                        <a:pt x="195" y="364"/>
                      </a:lnTo>
                      <a:lnTo>
                        <a:pt x="195" y="367"/>
                      </a:lnTo>
                      <a:lnTo>
                        <a:pt x="195" y="370"/>
                      </a:lnTo>
                      <a:lnTo>
                        <a:pt x="198" y="373"/>
                      </a:lnTo>
                      <a:lnTo>
                        <a:pt x="200" y="375"/>
                      </a:lnTo>
                      <a:lnTo>
                        <a:pt x="205" y="375"/>
                      </a:lnTo>
                      <a:lnTo>
                        <a:pt x="209" y="375"/>
                      </a:lnTo>
                      <a:lnTo>
                        <a:pt x="214" y="374"/>
                      </a:lnTo>
                      <a:lnTo>
                        <a:pt x="221" y="373"/>
                      </a:lnTo>
                      <a:lnTo>
                        <a:pt x="224" y="373"/>
                      </a:lnTo>
                      <a:lnTo>
                        <a:pt x="226" y="372"/>
                      </a:lnTo>
                      <a:lnTo>
                        <a:pt x="231" y="372"/>
                      </a:lnTo>
                      <a:lnTo>
                        <a:pt x="233" y="371"/>
                      </a:lnTo>
                      <a:lnTo>
                        <a:pt x="240" y="368"/>
                      </a:lnTo>
                      <a:lnTo>
                        <a:pt x="251" y="357"/>
                      </a:lnTo>
                      <a:lnTo>
                        <a:pt x="266" y="343"/>
                      </a:lnTo>
                      <a:lnTo>
                        <a:pt x="283" y="332"/>
                      </a:lnTo>
                      <a:lnTo>
                        <a:pt x="299" y="320"/>
                      </a:lnTo>
                      <a:lnTo>
                        <a:pt x="316" y="307"/>
                      </a:lnTo>
                      <a:lnTo>
                        <a:pt x="328" y="296"/>
                      </a:lnTo>
                      <a:lnTo>
                        <a:pt x="335" y="291"/>
                      </a:lnTo>
                      <a:lnTo>
                        <a:pt x="342" y="28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3" name="Freeform 671">
                  <a:extLst>
                    <a:ext uri="{FF2B5EF4-FFF2-40B4-BE49-F238E27FC236}">
                      <a16:creationId xmlns:a16="http://schemas.microsoft.com/office/drawing/2014/main" id="{14C47C05-19B2-7048-A559-21936461D6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5589" y="3555817"/>
                  <a:ext cx="290055" cy="261937"/>
                </a:xfrm>
                <a:custGeom>
                  <a:avLst/>
                  <a:gdLst>
                    <a:gd name="T0" fmla="*/ 2147483647 w 212"/>
                    <a:gd name="T1" fmla="*/ 2147483647 h 177"/>
                    <a:gd name="T2" fmla="*/ 2147483647 w 212"/>
                    <a:gd name="T3" fmla="*/ 2147483647 h 177"/>
                    <a:gd name="T4" fmla="*/ 2147483647 w 212"/>
                    <a:gd name="T5" fmla="*/ 2147483647 h 177"/>
                    <a:gd name="T6" fmla="*/ 2147483647 w 212"/>
                    <a:gd name="T7" fmla="*/ 2147483647 h 177"/>
                    <a:gd name="T8" fmla="*/ 2147483647 w 212"/>
                    <a:gd name="T9" fmla="*/ 2147483647 h 177"/>
                    <a:gd name="T10" fmla="*/ 2147483647 w 212"/>
                    <a:gd name="T11" fmla="*/ 2147483647 h 177"/>
                    <a:gd name="T12" fmla="*/ 2147483647 w 212"/>
                    <a:gd name="T13" fmla="*/ 2147483647 h 177"/>
                    <a:gd name="T14" fmla="*/ 2147483647 w 212"/>
                    <a:gd name="T15" fmla="*/ 2147483647 h 177"/>
                    <a:gd name="T16" fmla="*/ 2147483647 w 212"/>
                    <a:gd name="T17" fmla="*/ 2147483647 h 177"/>
                    <a:gd name="T18" fmla="*/ 2147483647 w 212"/>
                    <a:gd name="T19" fmla="*/ 2147483647 h 177"/>
                    <a:gd name="T20" fmla="*/ 2147483647 w 212"/>
                    <a:gd name="T21" fmla="*/ 2147483647 h 177"/>
                    <a:gd name="T22" fmla="*/ 2147483647 w 212"/>
                    <a:gd name="T23" fmla="*/ 2147483647 h 177"/>
                    <a:gd name="T24" fmla="*/ 2147483647 w 212"/>
                    <a:gd name="T25" fmla="*/ 2147483647 h 177"/>
                    <a:gd name="T26" fmla="*/ 2147483647 w 212"/>
                    <a:gd name="T27" fmla="*/ 2147483647 h 177"/>
                    <a:gd name="T28" fmla="*/ 2147483647 w 212"/>
                    <a:gd name="T29" fmla="*/ 2147483647 h 177"/>
                    <a:gd name="T30" fmla="*/ 2147483647 w 212"/>
                    <a:gd name="T31" fmla="*/ 2147483647 h 177"/>
                    <a:gd name="T32" fmla="*/ 2147483647 w 212"/>
                    <a:gd name="T33" fmla="*/ 2147483647 h 177"/>
                    <a:gd name="T34" fmla="*/ 2147483647 w 212"/>
                    <a:gd name="T35" fmla="*/ 2147483647 h 177"/>
                    <a:gd name="T36" fmla="*/ 2147483647 w 212"/>
                    <a:gd name="T37" fmla="*/ 2147483647 h 177"/>
                    <a:gd name="T38" fmla="*/ 2147483647 w 212"/>
                    <a:gd name="T39" fmla="*/ 2147483647 h 177"/>
                    <a:gd name="T40" fmla="*/ 2147483647 w 212"/>
                    <a:gd name="T41" fmla="*/ 2147483647 h 177"/>
                    <a:gd name="T42" fmla="*/ 2147483647 w 212"/>
                    <a:gd name="T43" fmla="*/ 2147483647 h 177"/>
                    <a:gd name="T44" fmla="*/ 2147483647 w 212"/>
                    <a:gd name="T45" fmla="*/ 2147483647 h 177"/>
                    <a:gd name="T46" fmla="*/ 2147483647 w 212"/>
                    <a:gd name="T47" fmla="*/ 2147483647 h 177"/>
                    <a:gd name="T48" fmla="*/ 2147483647 w 212"/>
                    <a:gd name="T49" fmla="*/ 2147483647 h 177"/>
                    <a:gd name="T50" fmla="*/ 2147483647 w 212"/>
                    <a:gd name="T51" fmla="*/ 2147483647 h 177"/>
                    <a:gd name="T52" fmla="*/ 2147483647 w 212"/>
                    <a:gd name="T53" fmla="*/ 2147483647 h 177"/>
                    <a:gd name="T54" fmla="*/ 2147483647 w 212"/>
                    <a:gd name="T55" fmla="*/ 2147483647 h 177"/>
                    <a:gd name="T56" fmla="*/ 2147483647 w 212"/>
                    <a:gd name="T57" fmla="*/ 2147483647 h 177"/>
                    <a:gd name="T58" fmla="*/ 2147483647 w 212"/>
                    <a:gd name="T59" fmla="*/ 2147483647 h 177"/>
                    <a:gd name="T60" fmla="*/ 2147483647 w 212"/>
                    <a:gd name="T61" fmla="*/ 2147483647 h 177"/>
                    <a:gd name="T62" fmla="*/ 2147483647 w 212"/>
                    <a:gd name="T63" fmla="*/ 2147483647 h 177"/>
                    <a:gd name="T64" fmla="*/ 2147483647 w 212"/>
                    <a:gd name="T65" fmla="*/ 2147483647 h 177"/>
                    <a:gd name="T66" fmla="*/ 2147483647 w 212"/>
                    <a:gd name="T67" fmla="*/ 2147483647 h 177"/>
                    <a:gd name="T68" fmla="*/ 2147483647 w 212"/>
                    <a:gd name="T69" fmla="*/ 2147483647 h 177"/>
                    <a:gd name="T70" fmla="*/ 2147483647 w 212"/>
                    <a:gd name="T71" fmla="*/ 2147483647 h 177"/>
                    <a:gd name="T72" fmla="*/ 2147483647 w 212"/>
                    <a:gd name="T73" fmla="*/ 2147483647 h 177"/>
                    <a:gd name="T74" fmla="*/ 2147483647 w 212"/>
                    <a:gd name="T75" fmla="*/ 0 h 177"/>
                    <a:gd name="T76" fmla="*/ 2147483647 w 212"/>
                    <a:gd name="T77" fmla="*/ 2147483647 h 177"/>
                    <a:gd name="T78" fmla="*/ 2147483647 w 212"/>
                    <a:gd name="T79" fmla="*/ 2147483647 h 177"/>
                    <a:gd name="T80" fmla="*/ 2147483647 w 212"/>
                    <a:gd name="T81" fmla="*/ 2147483647 h 177"/>
                    <a:gd name="T82" fmla="*/ 2147483647 w 212"/>
                    <a:gd name="T83" fmla="*/ 2147483647 h 177"/>
                    <a:gd name="T84" fmla="*/ 2147483647 w 212"/>
                    <a:gd name="T85" fmla="*/ 2147483647 h 177"/>
                    <a:gd name="T86" fmla="*/ 2147483647 w 212"/>
                    <a:gd name="T87" fmla="*/ 2147483647 h 177"/>
                    <a:gd name="T88" fmla="*/ 2147483647 w 212"/>
                    <a:gd name="T89" fmla="*/ 2147483647 h 177"/>
                    <a:gd name="T90" fmla="*/ 2147483647 w 212"/>
                    <a:gd name="T91" fmla="*/ 2147483647 h 177"/>
                    <a:gd name="T92" fmla="*/ 2147483647 w 212"/>
                    <a:gd name="T93" fmla="*/ 2147483647 h 177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12"/>
                    <a:gd name="T142" fmla="*/ 0 h 177"/>
                    <a:gd name="T143" fmla="*/ 212 w 212"/>
                    <a:gd name="T144" fmla="*/ 177 h 177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12" h="177">
                      <a:moveTo>
                        <a:pt x="196" y="12"/>
                      </a:moveTo>
                      <a:lnTo>
                        <a:pt x="198" y="18"/>
                      </a:lnTo>
                      <a:lnTo>
                        <a:pt x="200" y="22"/>
                      </a:lnTo>
                      <a:lnTo>
                        <a:pt x="201" y="24"/>
                      </a:lnTo>
                      <a:lnTo>
                        <a:pt x="200" y="35"/>
                      </a:lnTo>
                      <a:lnTo>
                        <a:pt x="200" y="39"/>
                      </a:lnTo>
                      <a:lnTo>
                        <a:pt x="202" y="45"/>
                      </a:lnTo>
                      <a:lnTo>
                        <a:pt x="205" y="50"/>
                      </a:lnTo>
                      <a:lnTo>
                        <a:pt x="206" y="56"/>
                      </a:lnTo>
                      <a:lnTo>
                        <a:pt x="208" y="62"/>
                      </a:lnTo>
                      <a:lnTo>
                        <a:pt x="212" y="67"/>
                      </a:lnTo>
                      <a:lnTo>
                        <a:pt x="212" y="69"/>
                      </a:lnTo>
                      <a:lnTo>
                        <a:pt x="212" y="70"/>
                      </a:lnTo>
                      <a:lnTo>
                        <a:pt x="208" y="74"/>
                      </a:lnTo>
                      <a:lnTo>
                        <a:pt x="205" y="75"/>
                      </a:lnTo>
                      <a:lnTo>
                        <a:pt x="201" y="77"/>
                      </a:lnTo>
                      <a:lnTo>
                        <a:pt x="198" y="80"/>
                      </a:lnTo>
                      <a:lnTo>
                        <a:pt x="191" y="89"/>
                      </a:lnTo>
                      <a:lnTo>
                        <a:pt x="183" y="99"/>
                      </a:lnTo>
                      <a:lnTo>
                        <a:pt x="175" y="106"/>
                      </a:lnTo>
                      <a:lnTo>
                        <a:pt x="167" y="113"/>
                      </a:lnTo>
                      <a:lnTo>
                        <a:pt x="158" y="120"/>
                      </a:lnTo>
                      <a:lnTo>
                        <a:pt x="147" y="126"/>
                      </a:lnTo>
                      <a:lnTo>
                        <a:pt x="127" y="137"/>
                      </a:lnTo>
                      <a:lnTo>
                        <a:pt x="114" y="139"/>
                      </a:lnTo>
                      <a:lnTo>
                        <a:pt x="106" y="143"/>
                      </a:lnTo>
                      <a:lnTo>
                        <a:pt x="99" y="147"/>
                      </a:lnTo>
                      <a:lnTo>
                        <a:pt x="95" y="152"/>
                      </a:lnTo>
                      <a:lnTo>
                        <a:pt x="93" y="157"/>
                      </a:lnTo>
                      <a:lnTo>
                        <a:pt x="93" y="162"/>
                      </a:lnTo>
                      <a:lnTo>
                        <a:pt x="92" y="165"/>
                      </a:lnTo>
                      <a:lnTo>
                        <a:pt x="93" y="175"/>
                      </a:lnTo>
                      <a:lnTo>
                        <a:pt x="0" y="177"/>
                      </a:lnTo>
                      <a:lnTo>
                        <a:pt x="5" y="169"/>
                      </a:lnTo>
                      <a:lnTo>
                        <a:pt x="10" y="163"/>
                      </a:lnTo>
                      <a:lnTo>
                        <a:pt x="13" y="162"/>
                      </a:lnTo>
                      <a:lnTo>
                        <a:pt x="17" y="160"/>
                      </a:lnTo>
                      <a:lnTo>
                        <a:pt x="28" y="159"/>
                      </a:lnTo>
                      <a:lnTo>
                        <a:pt x="34" y="158"/>
                      </a:lnTo>
                      <a:lnTo>
                        <a:pt x="38" y="156"/>
                      </a:lnTo>
                      <a:lnTo>
                        <a:pt x="42" y="152"/>
                      </a:lnTo>
                      <a:lnTo>
                        <a:pt x="46" y="149"/>
                      </a:lnTo>
                      <a:lnTo>
                        <a:pt x="52" y="138"/>
                      </a:lnTo>
                      <a:lnTo>
                        <a:pt x="57" y="128"/>
                      </a:lnTo>
                      <a:lnTo>
                        <a:pt x="61" y="125"/>
                      </a:lnTo>
                      <a:lnTo>
                        <a:pt x="65" y="122"/>
                      </a:lnTo>
                      <a:lnTo>
                        <a:pt x="66" y="118"/>
                      </a:lnTo>
                      <a:lnTo>
                        <a:pt x="67" y="115"/>
                      </a:lnTo>
                      <a:lnTo>
                        <a:pt x="67" y="113"/>
                      </a:lnTo>
                      <a:lnTo>
                        <a:pt x="66" y="111"/>
                      </a:lnTo>
                      <a:lnTo>
                        <a:pt x="62" y="108"/>
                      </a:lnTo>
                      <a:lnTo>
                        <a:pt x="60" y="105"/>
                      </a:lnTo>
                      <a:lnTo>
                        <a:pt x="57" y="101"/>
                      </a:lnTo>
                      <a:lnTo>
                        <a:pt x="57" y="96"/>
                      </a:lnTo>
                      <a:lnTo>
                        <a:pt x="57" y="93"/>
                      </a:lnTo>
                      <a:lnTo>
                        <a:pt x="59" y="87"/>
                      </a:lnTo>
                      <a:lnTo>
                        <a:pt x="61" y="82"/>
                      </a:lnTo>
                      <a:lnTo>
                        <a:pt x="65" y="77"/>
                      </a:lnTo>
                      <a:lnTo>
                        <a:pt x="69" y="73"/>
                      </a:lnTo>
                      <a:lnTo>
                        <a:pt x="74" y="68"/>
                      </a:lnTo>
                      <a:lnTo>
                        <a:pt x="76" y="64"/>
                      </a:lnTo>
                      <a:lnTo>
                        <a:pt x="79" y="61"/>
                      </a:lnTo>
                      <a:lnTo>
                        <a:pt x="80" y="57"/>
                      </a:lnTo>
                      <a:lnTo>
                        <a:pt x="83" y="55"/>
                      </a:lnTo>
                      <a:lnTo>
                        <a:pt x="90" y="49"/>
                      </a:lnTo>
                      <a:lnTo>
                        <a:pt x="99" y="44"/>
                      </a:lnTo>
                      <a:lnTo>
                        <a:pt x="106" y="38"/>
                      </a:lnTo>
                      <a:lnTo>
                        <a:pt x="113" y="31"/>
                      </a:lnTo>
                      <a:lnTo>
                        <a:pt x="121" y="26"/>
                      </a:lnTo>
                      <a:lnTo>
                        <a:pt x="123" y="24"/>
                      </a:lnTo>
                      <a:lnTo>
                        <a:pt x="126" y="20"/>
                      </a:lnTo>
                      <a:lnTo>
                        <a:pt x="128" y="17"/>
                      </a:lnTo>
                      <a:lnTo>
                        <a:pt x="130" y="12"/>
                      </a:lnTo>
                      <a:lnTo>
                        <a:pt x="130" y="3"/>
                      </a:lnTo>
                      <a:lnTo>
                        <a:pt x="130" y="1"/>
                      </a:lnTo>
                      <a:lnTo>
                        <a:pt x="131" y="0"/>
                      </a:lnTo>
                      <a:lnTo>
                        <a:pt x="133" y="0"/>
                      </a:lnTo>
                      <a:lnTo>
                        <a:pt x="135" y="1"/>
                      </a:lnTo>
                      <a:lnTo>
                        <a:pt x="139" y="5"/>
                      </a:lnTo>
                      <a:lnTo>
                        <a:pt x="144" y="9"/>
                      </a:lnTo>
                      <a:lnTo>
                        <a:pt x="150" y="11"/>
                      </a:lnTo>
                      <a:lnTo>
                        <a:pt x="155" y="12"/>
                      </a:lnTo>
                      <a:lnTo>
                        <a:pt x="161" y="13"/>
                      </a:lnTo>
                      <a:lnTo>
                        <a:pt x="168" y="13"/>
                      </a:lnTo>
                      <a:lnTo>
                        <a:pt x="173" y="12"/>
                      </a:lnTo>
                      <a:lnTo>
                        <a:pt x="178" y="9"/>
                      </a:lnTo>
                      <a:lnTo>
                        <a:pt x="179" y="7"/>
                      </a:lnTo>
                      <a:lnTo>
                        <a:pt x="180" y="7"/>
                      </a:lnTo>
                      <a:lnTo>
                        <a:pt x="180" y="10"/>
                      </a:lnTo>
                      <a:lnTo>
                        <a:pt x="182" y="12"/>
                      </a:lnTo>
                      <a:lnTo>
                        <a:pt x="184" y="13"/>
                      </a:lnTo>
                      <a:lnTo>
                        <a:pt x="187" y="15"/>
                      </a:lnTo>
                      <a:lnTo>
                        <a:pt x="192" y="15"/>
                      </a:lnTo>
                      <a:lnTo>
                        <a:pt x="196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4" name="Freeform 672">
                  <a:extLst>
                    <a:ext uri="{FF2B5EF4-FFF2-40B4-BE49-F238E27FC236}">
                      <a16:creationId xmlns:a16="http://schemas.microsoft.com/office/drawing/2014/main" id="{522670E1-6163-A24C-804E-E8753333E3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18419" y="3509937"/>
                  <a:ext cx="469119" cy="556432"/>
                </a:xfrm>
                <a:custGeom>
                  <a:avLst/>
                  <a:gdLst>
                    <a:gd name="T0" fmla="*/ 2147483647 w 343"/>
                    <a:gd name="T1" fmla="*/ 2147483647 h 376"/>
                    <a:gd name="T2" fmla="*/ 2147483647 w 343"/>
                    <a:gd name="T3" fmla="*/ 2147483647 h 376"/>
                    <a:gd name="T4" fmla="*/ 2147483647 w 343"/>
                    <a:gd name="T5" fmla="*/ 2147483647 h 376"/>
                    <a:gd name="T6" fmla="*/ 2147483647 w 343"/>
                    <a:gd name="T7" fmla="*/ 2147483647 h 376"/>
                    <a:gd name="T8" fmla="*/ 2147483647 w 343"/>
                    <a:gd name="T9" fmla="*/ 2147483647 h 376"/>
                    <a:gd name="T10" fmla="*/ 2147483647 w 343"/>
                    <a:gd name="T11" fmla="*/ 2147483647 h 376"/>
                    <a:gd name="T12" fmla="*/ 2147483647 w 343"/>
                    <a:gd name="T13" fmla="*/ 2147483647 h 376"/>
                    <a:gd name="T14" fmla="*/ 2147483647 w 343"/>
                    <a:gd name="T15" fmla="*/ 2147483647 h 376"/>
                    <a:gd name="T16" fmla="*/ 2147483647 w 343"/>
                    <a:gd name="T17" fmla="*/ 2147483647 h 376"/>
                    <a:gd name="T18" fmla="*/ 2147483647 w 343"/>
                    <a:gd name="T19" fmla="*/ 2147483647 h 376"/>
                    <a:gd name="T20" fmla="*/ 2147483647 w 343"/>
                    <a:gd name="T21" fmla="*/ 2147483647 h 376"/>
                    <a:gd name="T22" fmla="*/ 2147483647 w 343"/>
                    <a:gd name="T23" fmla="*/ 2147483647 h 376"/>
                    <a:gd name="T24" fmla="*/ 2147483647 w 343"/>
                    <a:gd name="T25" fmla="*/ 2147483647 h 376"/>
                    <a:gd name="T26" fmla="*/ 2147483647 w 343"/>
                    <a:gd name="T27" fmla="*/ 2147483647 h 376"/>
                    <a:gd name="T28" fmla="*/ 2147483647 w 343"/>
                    <a:gd name="T29" fmla="*/ 2147483647 h 376"/>
                    <a:gd name="T30" fmla="*/ 2147483647 w 343"/>
                    <a:gd name="T31" fmla="*/ 2147483647 h 376"/>
                    <a:gd name="T32" fmla="*/ 2147483647 w 343"/>
                    <a:gd name="T33" fmla="*/ 2147483647 h 376"/>
                    <a:gd name="T34" fmla="*/ 2147483647 w 343"/>
                    <a:gd name="T35" fmla="*/ 2147483647 h 376"/>
                    <a:gd name="T36" fmla="*/ 2147483647 w 343"/>
                    <a:gd name="T37" fmla="*/ 2147483647 h 376"/>
                    <a:gd name="T38" fmla="*/ 2147483647 w 343"/>
                    <a:gd name="T39" fmla="*/ 2147483647 h 376"/>
                    <a:gd name="T40" fmla="*/ 2147483647 w 343"/>
                    <a:gd name="T41" fmla="*/ 2147483647 h 376"/>
                    <a:gd name="T42" fmla="*/ 2147483647 w 343"/>
                    <a:gd name="T43" fmla="*/ 2147483647 h 376"/>
                    <a:gd name="T44" fmla="*/ 2147483647 w 343"/>
                    <a:gd name="T45" fmla="*/ 2147483647 h 376"/>
                    <a:gd name="T46" fmla="*/ 2147483647 w 343"/>
                    <a:gd name="T47" fmla="*/ 2147483647 h 376"/>
                    <a:gd name="T48" fmla="*/ 2147483647 w 343"/>
                    <a:gd name="T49" fmla="*/ 2147483647 h 376"/>
                    <a:gd name="T50" fmla="*/ 2147483647 w 343"/>
                    <a:gd name="T51" fmla="*/ 2147483647 h 376"/>
                    <a:gd name="T52" fmla="*/ 2147483647 w 343"/>
                    <a:gd name="T53" fmla="*/ 2147483647 h 376"/>
                    <a:gd name="T54" fmla="*/ 2147483647 w 343"/>
                    <a:gd name="T55" fmla="*/ 2147483647 h 376"/>
                    <a:gd name="T56" fmla="*/ 2147483647 w 343"/>
                    <a:gd name="T57" fmla="*/ 2147483647 h 376"/>
                    <a:gd name="T58" fmla="*/ 2147483647 w 343"/>
                    <a:gd name="T59" fmla="*/ 2147483647 h 376"/>
                    <a:gd name="T60" fmla="*/ 2147483647 w 343"/>
                    <a:gd name="T61" fmla="*/ 2147483647 h 376"/>
                    <a:gd name="T62" fmla="*/ 2147483647 w 343"/>
                    <a:gd name="T63" fmla="*/ 2147483647 h 376"/>
                    <a:gd name="T64" fmla="*/ 2147483647 w 343"/>
                    <a:gd name="T65" fmla="*/ 2147483647 h 376"/>
                    <a:gd name="T66" fmla="*/ 2147483647 w 343"/>
                    <a:gd name="T67" fmla="*/ 2147483647 h 376"/>
                    <a:gd name="T68" fmla="*/ 2147483647 w 343"/>
                    <a:gd name="T69" fmla="*/ 2147483647 h 376"/>
                    <a:gd name="T70" fmla="*/ 2147483647 w 343"/>
                    <a:gd name="T71" fmla="*/ 2147483647 h 376"/>
                    <a:gd name="T72" fmla="*/ 2147483647 w 343"/>
                    <a:gd name="T73" fmla="*/ 2147483647 h 376"/>
                    <a:gd name="T74" fmla="*/ 2147483647 w 343"/>
                    <a:gd name="T75" fmla="*/ 2147483647 h 376"/>
                    <a:gd name="T76" fmla="*/ 2147483647 w 343"/>
                    <a:gd name="T77" fmla="*/ 2147483647 h 376"/>
                    <a:gd name="T78" fmla="*/ 2147483647 w 343"/>
                    <a:gd name="T79" fmla="*/ 2147483647 h 376"/>
                    <a:gd name="T80" fmla="*/ 2147483647 w 343"/>
                    <a:gd name="T81" fmla="*/ 2147483647 h 376"/>
                    <a:gd name="T82" fmla="*/ 2147483647 w 343"/>
                    <a:gd name="T83" fmla="*/ 2147483647 h 376"/>
                    <a:gd name="T84" fmla="*/ 2147483647 w 343"/>
                    <a:gd name="T85" fmla="*/ 2147483647 h 376"/>
                    <a:gd name="T86" fmla="*/ 2147483647 w 343"/>
                    <a:gd name="T87" fmla="*/ 2147483647 h 376"/>
                    <a:gd name="T88" fmla="*/ 0 w 343"/>
                    <a:gd name="T89" fmla="*/ 2147483647 h 376"/>
                    <a:gd name="T90" fmla="*/ 2147483647 w 343"/>
                    <a:gd name="T91" fmla="*/ 2147483647 h 376"/>
                    <a:gd name="T92" fmla="*/ 2147483647 w 343"/>
                    <a:gd name="T93" fmla="*/ 2147483647 h 376"/>
                    <a:gd name="T94" fmla="*/ 2147483647 w 343"/>
                    <a:gd name="T95" fmla="*/ 2147483647 h 376"/>
                    <a:gd name="T96" fmla="*/ 2147483647 w 343"/>
                    <a:gd name="T97" fmla="*/ 2147483647 h 376"/>
                    <a:gd name="T98" fmla="*/ 2147483647 w 343"/>
                    <a:gd name="T99" fmla="*/ 2147483647 h 376"/>
                    <a:gd name="T100" fmla="*/ 2147483647 w 343"/>
                    <a:gd name="T101" fmla="*/ 2147483647 h 376"/>
                    <a:gd name="T102" fmla="*/ 2147483647 w 343"/>
                    <a:gd name="T103" fmla="*/ 2147483647 h 376"/>
                    <a:gd name="T104" fmla="*/ 2147483647 w 343"/>
                    <a:gd name="T105" fmla="*/ 2147483647 h 376"/>
                    <a:gd name="T106" fmla="*/ 2147483647 w 343"/>
                    <a:gd name="T107" fmla="*/ 2147483647 h 376"/>
                    <a:gd name="T108" fmla="*/ 2147483647 w 343"/>
                    <a:gd name="T109" fmla="*/ 2147483647 h 376"/>
                    <a:gd name="T110" fmla="*/ 2147483647 w 343"/>
                    <a:gd name="T111" fmla="*/ 2147483647 h 376"/>
                    <a:gd name="T112" fmla="*/ 2147483647 w 343"/>
                    <a:gd name="T113" fmla="*/ 2147483647 h 376"/>
                    <a:gd name="T114" fmla="*/ 2147483647 w 343"/>
                    <a:gd name="T115" fmla="*/ 2147483647 h 376"/>
                    <a:gd name="T116" fmla="*/ 2147483647 w 343"/>
                    <a:gd name="T117" fmla="*/ 2147483647 h 37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43"/>
                    <a:gd name="T178" fmla="*/ 0 h 376"/>
                    <a:gd name="T179" fmla="*/ 343 w 343"/>
                    <a:gd name="T180" fmla="*/ 376 h 37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43" h="376">
                      <a:moveTo>
                        <a:pt x="343" y="287"/>
                      </a:moveTo>
                      <a:lnTo>
                        <a:pt x="343" y="287"/>
                      </a:lnTo>
                      <a:lnTo>
                        <a:pt x="341" y="284"/>
                      </a:lnTo>
                      <a:lnTo>
                        <a:pt x="338" y="280"/>
                      </a:lnTo>
                      <a:lnTo>
                        <a:pt x="333" y="279"/>
                      </a:lnTo>
                      <a:lnTo>
                        <a:pt x="328" y="278"/>
                      </a:lnTo>
                      <a:lnTo>
                        <a:pt x="318" y="277"/>
                      </a:lnTo>
                      <a:lnTo>
                        <a:pt x="313" y="277"/>
                      </a:lnTo>
                      <a:lnTo>
                        <a:pt x="309" y="274"/>
                      </a:lnTo>
                      <a:lnTo>
                        <a:pt x="306" y="271"/>
                      </a:lnTo>
                      <a:lnTo>
                        <a:pt x="305" y="266"/>
                      </a:lnTo>
                      <a:lnTo>
                        <a:pt x="305" y="257"/>
                      </a:lnTo>
                      <a:lnTo>
                        <a:pt x="303" y="253"/>
                      </a:lnTo>
                      <a:lnTo>
                        <a:pt x="300" y="251"/>
                      </a:lnTo>
                      <a:lnTo>
                        <a:pt x="296" y="248"/>
                      </a:lnTo>
                      <a:lnTo>
                        <a:pt x="294" y="245"/>
                      </a:lnTo>
                      <a:lnTo>
                        <a:pt x="291" y="241"/>
                      </a:lnTo>
                      <a:lnTo>
                        <a:pt x="290" y="238"/>
                      </a:lnTo>
                      <a:lnTo>
                        <a:pt x="290" y="235"/>
                      </a:lnTo>
                      <a:lnTo>
                        <a:pt x="290" y="233"/>
                      </a:lnTo>
                      <a:lnTo>
                        <a:pt x="294" y="227"/>
                      </a:lnTo>
                      <a:lnTo>
                        <a:pt x="297" y="222"/>
                      </a:lnTo>
                      <a:lnTo>
                        <a:pt x="300" y="217"/>
                      </a:lnTo>
                      <a:lnTo>
                        <a:pt x="300" y="209"/>
                      </a:lnTo>
                      <a:lnTo>
                        <a:pt x="299" y="200"/>
                      </a:lnTo>
                      <a:lnTo>
                        <a:pt x="300" y="194"/>
                      </a:lnTo>
                      <a:lnTo>
                        <a:pt x="300" y="188"/>
                      </a:lnTo>
                      <a:lnTo>
                        <a:pt x="297" y="184"/>
                      </a:lnTo>
                      <a:lnTo>
                        <a:pt x="296" y="181"/>
                      </a:lnTo>
                      <a:lnTo>
                        <a:pt x="294" y="174"/>
                      </a:lnTo>
                      <a:lnTo>
                        <a:pt x="294" y="163"/>
                      </a:lnTo>
                      <a:lnTo>
                        <a:pt x="295" y="152"/>
                      </a:lnTo>
                      <a:lnTo>
                        <a:pt x="296" y="145"/>
                      </a:lnTo>
                      <a:lnTo>
                        <a:pt x="299" y="142"/>
                      </a:lnTo>
                      <a:lnTo>
                        <a:pt x="301" y="139"/>
                      </a:lnTo>
                      <a:lnTo>
                        <a:pt x="304" y="138"/>
                      </a:lnTo>
                      <a:lnTo>
                        <a:pt x="296" y="121"/>
                      </a:lnTo>
                      <a:lnTo>
                        <a:pt x="292" y="114"/>
                      </a:lnTo>
                      <a:lnTo>
                        <a:pt x="289" y="111"/>
                      </a:lnTo>
                      <a:lnTo>
                        <a:pt x="285" y="108"/>
                      </a:lnTo>
                      <a:lnTo>
                        <a:pt x="283" y="106"/>
                      </a:lnTo>
                      <a:lnTo>
                        <a:pt x="281" y="104"/>
                      </a:lnTo>
                      <a:lnTo>
                        <a:pt x="280" y="98"/>
                      </a:lnTo>
                      <a:lnTo>
                        <a:pt x="277" y="92"/>
                      </a:lnTo>
                      <a:lnTo>
                        <a:pt x="275" y="85"/>
                      </a:lnTo>
                      <a:lnTo>
                        <a:pt x="273" y="82"/>
                      </a:lnTo>
                      <a:lnTo>
                        <a:pt x="270" y="80"/>
                      </a:lnTo>
                      <a:lnTo>
                        <a:pt x="267" y="78"/>
                      </a:lnTo>
                      <a:lnTo>
                        <a:pt x="266" y="75"/>
                      </a:lnTo>
                      <a:lnTo>
                        <a:pt x="266" y="73"/>
                      </a:lnTo>
                      <a:lnTo>
                        <a:pt x="267" y="70"/>
                      </a:lnTo>
                      <a:lnTo>
                        <a:pt x="272" y="66"/>
                      </a:lnTo>
                      <a:lnTo>
                        <a:pt x="276" y="62"/>
                      </a:lnTo>
                      <a:lnTo>
                        <a:pt x="281" y="55"/>
                      </a:lnTo>
                      <a:lnTo>
                        <a:pt x="286" y="48"/>
                      </a:lnTo>
                      <a:lnTo>
                        <a:pt x="287" y="43"/>
                      </a:lnTo>
                      <a:lnTo>
                        <a:pt x="287" y="40"/>
                      </a:lnTo>
                      <a:lnTo>
                        <a:pt x="286" y="35"/>
                      </a:lnTo>
                      <a:lnTo>
                        <a:pt x="285" y="31"/>
                      </a:lnTo>
                      <a:lnTo>
                        <a:pt x="283" y="28"/>
                      </a:lnTo>
                      <a:lnTo>
                        <a:pt x="285" y="24"/>
                      </a:lnTo>
                      <a:lnTo>
                        <a:pt x="283" y="23"/>
                      </a:lnTo>
                      <a:lnTo>
                        <a:pt x="282" y="22"/>
                      </a:lnTo>
                      <a:lnTo>
                        <a:pt x="281" y="19"/>
                      </a:lnTo>
                      <a:lnTo>
                        <a:pt x="281" y="17"/>
                      </a:lnTo>
                      <a:lnTo>
                        <a:pt x="283" y="14"/>
                      </a:lnTo>
                      <a:lnTo>
                        <a:pt x="285" y="11"/>
                      </a:lnTo>
                      <a:lnTo>
                        <a:pt x="286" y="8"/>
                      </a:lnTo>
                      <a:lnTo>
                        <a:pt x="281" y="8"/>
                      </a:lnTo>
                      <a:lnTo>
                        <a:pt x="277" y="6"/>
                      </a:lnTo>
                      <a:lnTo>
                        <a:pt x="272" y="5"/>
                      </a:lnTo>
                      <a:lnTo>
                        <a:pt x="267" y="2"/>
                      </a:lnTo>
                      <a:lnTo>
                        <a:pt x="266" y="2"/>
                      </a:lnTo>
                      <a:lnTo>
                        <a:pt x="263" y="2"/>
                      </a:lnTo>
                      <a:lnTo>
                        <a:pt x="261" y="2"/>
                      </a:lnTo>
                      <a:lnTo>
                        <a:pt x="259" y="2"/>
                      </a:lnTo>
                      <a:lnTo>
                        <a:pt x="257" y="0"/>
                      </a:lnTo>
                      <a:lnTo>
                        <a:pt x="256" y="0"/>
                      </a:lnTo>
                      <a:lnTo>
                        <a:pt x="253" y="2"/>
                      </a:lnTo>
                      <a:lnTo>
                        <a:pt x="252" y="4"/>
                      </a:lnTo>
                      <a:lnTo>
                        <a:pt x="249" y="5"/>
                      </a:lnTo>
                      <a:lnTo>
                        <a:pt x="247" y="6"/>
                      </a:lnTo>
                      <a:lnTo>
                        <a:pt x="242" y="8"/>
                      </a:lnTo>
                      <a:lnTo>
                        <a:pt x="239" y="9"/>
                      </a:lnTo>
                      <a:lnTo>
                        <a:pt x="237" y="11"/>
                      </a:lnTo>
                      <a:lnTo>
                        <a:pt x="234" y="12"/>
                      </a:lnTo>
                      <a:lnTo>
                        <a:pt x="231" y="9"/>
                      </a:lnTo>
                      <a:lnTo>
                        <a:pt x="230" y="5"/>
                      </a:lnTo>
                      <a:lnTo>
                        <a:pt x="228" y="4"/>
                      </a:lnTo>
                      <a:lnTo>
                        <a:pt x="225" y="4"/>
                      </a:lnTo>
                      <a:lnTo>
                        <a:pt x="220" y="4"/>
                      </a:lnTo>
                      <a:lnTo>
                        <a:pt x="216" y="5"/>
                      </a:lnTo>
                      <a:lnTo>
                        <a:pt x="212" y="8"/>
                      </a:lnTo>
                      <a:lnTo>
                        <a:pt x="207" y="9"/>
                      </a:lnTo>
                      <a:lnTo>
                        <a:pt x="205" y="9"/>
                      </a:lnTo>
                      <a:lnTo>
                        <a:pt x="202" y="8"/>
                      </a:lnTo>
                      <a:lnTo>
                        <a:pt x="198" y="6"/>
                      </a:lnTo>
                      <a:lnTo>
                        <a:pt x="196" y="6"/>
                      </a:lnTo>
                      <a:lnTo>
                        <a:pt x="186" y="8"/>
                      </a:lnTo>
                      <a:lnTo>
                        <a:pt x="174" y="9"/>
                      </a:lnTo>
                      <a:lnTo>
                        <a:pt x="172" y="9"/>
                      </a:lnTo>
                      <a:lnTo>
                        <a:pt x="169" y="10"/>
                      </a:lnTo>
                      <a:lnTo>
                        <a:pt x="164" y="14"/>
                      </a:lnTo>
                      <a:lnTo>
                        <a:pt x="158" y="16"/>
                      </a:lnTo>
                      <a:lnTo>
                        <a:pt x="151" y="17"/>
                      </a:lnTo>
                      <a:lnTo>
                        <a:pt x="146" y="19"/>
                      </a:lnTo>
                      <a:lnTo>
                        <a:pt x="144" y="22"/>
                      </a:lnTo>
                      <a:lnTo>
                        <a:pt x="141" y="24"/>
                      </a:lnTo>
                      <a:lnTo>
                        <a:pt x="137" y="29"/>
                      </a:lnTo>
                      <a:lnTo>
                        <a:pt x="132" y="31"/>
                      </a:lnTo>
                      <a:lnTo>
                        <a:pt x="118" y="37"/>
                      </a:lnTo>
                      <a:lnTo>
                        <a:pt x="104" y="42"/>
                      </a:lnTo>
                      <a:lnTo>
                        <a:pt x="107" y="48"/>
                      </a:lnTo>
                      <a:lnTo>
                        <a:pt x="108" y="51"/>
                      </a:lnTo>
                      <a:lnTo>
                        <a:pt x="110" y="54"/>
                      </a:lnTo>
                      <a:lnTo>
                        <a:pt x="108" y="65"/>
                      </a:lnTo>
                      <a:lnTo>
                        <a:pt x="108" y="69"/>
                      </a:lnTo>
                      <a:lnTo>
                        <a:pt x="111" y="75"/>
                      </a:lnTo>
                      <a:lnTo>
                        <a:pt x="113" y="80"/>
                      </a:lnTo>
                      <a:lnTo>
                        <a:pt x="115" y="86"/>
                      </a:lnTo>
                      <a:lnTo>
                        <a:pt x="117" y="92"/>
                      </a:lnTo>
                      <a:lnTo>
                        <a:pt x="121" y="97"/>
                      </a:lnTo>
                      <a:lnTo>
                        <a:pt x="121" y="99"/>
                      </a:lnTo>
                      <a:lnTo>
                        <a:pt x="121" y="100"/>
                      </a:lnTo>
                      <a:lnTo>
                        <a:pt x="117" y="104"/>
                      </a:lnTo>
                      <a:lnTo>
                        <a:pt x="113" y="105"/>
                      </a:lnTo>
                      <a:lnTo>
                        <a:pt x="110" y="107"/>
                      </a:lnTo>
                      <a:lnTo>
                        <a:pt x="107" y="110"/>
                      </a:lnTo>
                      <a:lnTo>
                        <a:pt x="99" y="119"/>
                      </a:lnTo>
                      <a:lnTo>
                        <a:pt x="92" y="129"/>
                      </a:lnTo>
                      <a:lnTo>
                        <a:pt x="84" y="136"/>
                      </a:lnTo>
                      <a:lnTo>
                        <a:pt x="75" y="143"/>
                      </a:lnTo>
                      <a:lnTo>
                        <a:pt x="66" y="150"/>
                      </a:lnTo>
                      <a:lnTo>
                        <a:pt x="56" y="156"/>
                      </a:lnTo>
                      <a:lnTo>
                        <a:pt x="36" y="166"/>
                      </a:lnTo>
                      <a:lnTo>
                        <a:pt x="23" y="169"/>
                      </a:lnTo>
                      <a:lnTo>
                        <a:pt x="14" y="172"/>
                      </a:lnTo>
                      <a:lnTo>
                        <a:pt x="8" y="177"/>
                      </a:lnTo>
                      <a:lnTo>
                        <a:pt x="4" y="182"/>
                      </a:lnTo>
                      <a:lnTo>
                        <a:pt x="2" y="187"/>
                      </a:lnTo>
                      <a:lnTo>
                        <a:pt x="2" y="191"/>
                      </a:lnTo>
                      <a:lnTo>
                        <a:pt x="0" y="195"/>
                      </a:lnTo>
                      <a:lnTo>
                        <a:pt x="2" y="204"/>
                      </a:lnTo>
                      <a:lnTo>
                        <a:pt x="3" y="219"/>
                      </a:lnTo>
                      <a:lnTo>
                        <a:pt x="35" y="241"/>
                      </a:lnTo>
                      <a:lnTo>
                        <a:pt x="61" y="260"/>
                      </a:lnTo>
                      <a:lnTo>
                        <a:pt x="159" y="328"/>
                      </a:lnTo>
                      <a:lnTo>
                        <a:pt x="163" y="334"/>
                      </a:lnTo>
                      <a:lnTo>
                        <a:pt x="165" y="340"/>
                      </a:lnTo>
                      <a:lnTo>
                        <a:pt x="165" y="341"/>
                      </a:lnTo>
                      <a:lnTo>
                        <a:pt x="168" y="342"/>
                      </a:lnTo>
                      <a:lnTo>
                        <a:pt x="170" y="342"/>
                      </a:lnTo>
                      <a:lnTo>
                        <a:pt x="179" y="344"/>
                      </a:lnTo>
                      <a:lnTo>
                        <a:pt x="183" y="345"/>
                      </a:lnTo>
                      <a:lnTo>
                        <a:pt x="187" y="348"/>
                      </a:lnTo>
                      <a:lnTo>
                        <a:pt x="187" y="350"/>
                      </a:lnTo>
                      <a:lnTo>
                        <a:pt x="188" y="353"/>
                      </a:lnTo>
                      <a:lnTo>
                        <a:pt x="190" y="353"/>
                      </a:lnTo>
                      <a:lnTo>
                        <a:pt x="195" y="355"/>
                      </a:lnTo>
                      <a:lnTo>
                        <a:pt x="197" y="356"/>
                      </a:lnTo>
                      <a:lnTo>
                        <a:pt x="198" y="359"/>
                      </a:lnTo>
                      <a:lnTo>
                        <a:pt x="198" y="361"/>
                      </a:lnTo>
                      <a:lnTo>
                        <a:pt x="196" y="364"/>
                      </a:lnTo>
                      <a:lnTo>
                        <a:pt x="196" y="368"/>
                      </a:lnTo>
                      <a:lnTo>
                        <a:pt x="196" y="370"/>
                      </a:lnTo>
                      <a:lnTo>
                        <a:pt x="198" y="374"/>
                      </a:lnTo>
                      <a:lnTo>
                        <a:pt x="201" y="376"/>
                      </a:lnTo>
                      <a:lnTo>
                        <a:pt x="206" y="376"/>
                      </a:lnTo>
                      <a:lnTo>
                        <a:pt x="210" y="376"/>
                      </a:lnTo>
                      <a:lnTo>
                        <a:pt x="215" y="375"/>
                      </a:lnTo>
                      <a:lnTo>
                        <a:pt x="221" y="374"/>
                      </a:lnTo>
                      <a:lnTo>
                        <a:pt x="225" y="374"/>
                      </a:lnTo>
                      <a:lnTo>
                        <a:pt x="226" y="373"/>
                      </a:lnTo>
                      <a:lnTo>
                        <a:pt x="231" y="373"/>
                      </a:lnTo>
                      <a:lnTo>
                        <a:pt x="234" y="372"/>
                      </a:lnTo>
                      <a:lnTo>
                        <a:pt x="240" y="369"/>
                      </a:lnTo>
                      <a:lnTo>
                        <a:pt x="252" y="357"/>
                      </a:lnTo>
                      <a:lnTo>
                        <a:pt x="267" y="344"/>
                      </a:lnTo>
                      <a:lnTo>
                        <a:pt x="283" y="332"/>
                      </a:lnTo>
                      <a:lnTo>
                        <a:pt x="300" y="321"/>
                      </a:lnTo>
                      <a:lnTo>
                        <a:pt x="317" y="308"/>
                      </a:lnTo>
                      <a:lnTo>
                        <a:pt x="329" y="297"/>
                      </a:lnTo>
                      <a:lnTo>
                        <a:pt x="336" y="292"/>
                      </a:lnTo>
                      <a:lnTo>
                        <a:pt x="343" y="28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5" name="Freeform 673">
                  <a:extLst>
                    <a:ext uri="{FF2B5EF4-FFF2-40B4-BE49-F238E27FC236}">
                      <a16:creationId xmlns:a16="http://schemas.microsoft.com/office/drawing/2014/main" id="{A9BBBBEF-2E52-124E-B3B4-F314EF1085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4108" y="3554333"/>
                  <a:ext cx="290055" cy="261938"/>
                </a:xfrm>
                <a:custGeom>
                  <a:avLst/>
                  <a:gdLst>
                    <a:gd name="T0" fmla="*/ 2147483647 w 212"/>
                    <a:gd name="T1" fmla="*/ 2147483647 h 177"/>
                    <a:gd name="T2" fmla="*/ 2147483647 w 212"/>
                    <a:gd name="T3" fmla="*/ 2147483647 h 177"/>
                    <a:gd name="T4" fmla="*/ 2147483647 w 212"/>
                    <a:gd name="T5" fmla="*/ 2147483647 h 177"/>
                    <a:gd name="T6" fmla="*/ 2147483647 w 212"/>
                    <a:gd name="T7" fmla="*/ 2147483647 h 177"/>
                    <a:gd name="T8" fmla="*/ 2147483647 w 212"/>
                    <a:gd name="T9" fmla="*/ 2147483647 h 177"/>
                    <a:gd name="T10" fmla="*/ 2147483647 w 212"/>
                    <a:gd name="T11" fmla="*/ 2147483647 h 177"/>
                    <a:gd name="T12" fmla="*/ 2147483647 w 212"/>
                    <a:gd name="T13" fmla="*/ 2147483647 h 177"/>
                    <a:gd name="T14" fmla="*/ 2147483647 w 212"/>
                    <a:gd name="T15" fmla="*/ 2147483647 h 177"/>
                    <a:gd name="T16" fmla="*/ 2147483647 w 212"/>
                    <a:gd name="T17" fmla="*/ 2147483647 h 177"/>
                    <a:gd name="T18" fmla="*/ 2147483647 w 212"/>
                    <a:gd name="T19" fmla="*/ 2147483647 h 177"/>
                    <a:gd name="T20" fmla="*/ 2147483647 w 212"/>
                    <a:gd name="T21" fmla="*/ 2147483647 h 177"/>
                    <a:gd name="T22" fmla="*/ 2147483647 w 212"/>
                    <a:gd name="T23" fmla="*/ 2147483647 h 177"/>
                    <a:gd name="T24" fmla="*/ 2147483647 w 212"/>
                    <a:gd name="T25" fmla="*/ 2147483647 h 177"/>
                    <a:gd name="T26" fmla="*/ 2147483647 w 212"/>
                    <a:gd name="T27" fmla="*/ 2147483647 h 177"/>
                    <a:gd name="T28" fmla="*/ 2147483647 w 212"/>
                    <a:gd name="T29" fmla="*/ 2147483647 h 177"/>
                    <a:gd name="T30" fmla="*/ 2147483647 w 212"/>
                    <a:gd name="T31" fmla="*/ 2147483647 h 177"/>
                    <a:gd name="T32" fmla="*/ 2147483647 w 212"/>
                    <a:gd name="T33" fmla="*/ 2147483647 h 177"/>
                    <a:gd name="T34" fmla="*/ 2147483647 w 212"/>
                    <a:gd name="T35" fmla="*/ 2147483647 h 177"/>
                    <a:gd name="T36" fmla="*/ 2147483647 w 212"/>
                    <a:gd name="T37" fmla="*/ 2147483647 h 177"/>
                    <a:gd name="T38" fmla="*/ 0 w 212"/>
                    <a:gd name="T39" fmla="*/ 2147483647 h 177"/>
                    <a:gd name="T40" fmla="*/ 2147483647 w 212"/>
                    <a:gd name="T41" fmla="*/ 2147483647 h 177"/>
                    <a:gd name="T42" fmla="*/ 2147483647 w 212"/>
                    <a:gd name="T43" fmla="*/ 2147483647 h 177"/>
                    <a:gd name="T44" fmla="*/ 2147483647 w 212"/>
                    <a:gd name="T45" fmla="*/ 2147483647 h 177"/>
                    <a:gd name="T46" fmla="*/ 2147483647 w 212"/>
                    <a:gd name="T47" fmla="*/ 2147483647 h 177"/>
                    <a:gd name="T48" fmla="*/ 2147483647 w 212"/>
                    <a:gd name="T49" fmla="*/ 2147483647 h 177"/>
                    <a:gd name="T50" fmla="*/ 2147483647 w 212"/>
                    <a:gd name="T51" fmla="*/ 2147483647 h 177"/>
                    <a:gd name="T52" fmla="*/ 2147483647 w 212"/>
                    <a:gd name="T53" fmla="*/ 2147483647 h 177"/>
                    <a:gd name="T54" fmla="*/ 2147483647 w 212"/>
                    <a:gd name="T55" fmla="*/ 2147483647 h 177"/>
                    <a:gd name="T56" fmla="*/ 2147483647 w 212"/>
                    <a:gd name="T57" fmla="*/ 2147483647 h 177"/>
                    <a:gd name="T58" fmla="*/ 2147483647 w 212"/>
                    <a:gd name="T59" fmla="*/ 2147483647 h 177"/>
                    <a:gd name="T60" fmla="*/ 2147483647 w 212"/>
                    <a:gd name="T61" fmla="*/ 2147483647 h 177"/>
                    <a:gd name="T62" fmla="*/ 2147483647 w 212"/>
                    <a:gd name="T63" fmla="*/ 2147483647 h 177"/>
                    <a:gd name="T64" fmla="*/ 2147483647 w 212"/>
                    <a:gd name="T65" fmla="*/ 2147483647 h 177"/>
                    <a:gd name="T66" fmla="*/ 2147483647 w 212"/>
                    <a:gd name="T67" fmla="*/ 2147483647 h 177"/>
                    <a:gd name="T68" fmla="*/ 2147483647 w 212"/>
                    <a:gd name="T69" fmla="*/ 2147483647 h 177"/>
                    <a:gd name="T70" fmla="*/ 2147483647 w 212"/>
                    <a:gd name="T71" fmla="*/ 2147483647 h 177"/>
                    <a:gd name="T72" fmla="*/ 2147483647 w 212"/>
                    <a:gd name="T73" fmla="*/ 2147483647 h 177"/>
                    <a:gd name="T74" fmla="*/ 2147483647 w 212"/>
                    <a:gd name="T75" fmla="*/ 2147483647 h 177"/>
                    <a:gd name="T76" fmla="*/ 2147483647 w 212"/>
                    <a:gd name="T77" fmla="*/ 2147483647 h 177"/>
                    <a:gd name="T78" fmla="*/ 2147483647 w 212"/>
                    <a:gd name="T79" fmla="*/ 2147483647 h 177"/>
                    <a:gd name="T80" fmla="*/ 2147483647 w 212"/>
                    <a:gd name="T81" fmla="*/ 2147483647 h 177"/>
                    <a:gd name="T82" fmla="*/ 2147483647 w 212"/>
                    <a:gd name="T83" fmla="*/ 2147483647 h 177"/>
                    <a:gd name="T84" fmla="*/ 2147483647 w 212"/>
                    <a:gd name="T85" fmla="*/ 2147483647 h 177"/>
                    <a:gd name="T86" fmla="*/ 2147483647 w 212"/>
                    <a:gd name="T87" fmla="*/ 2147483647 h 177"/>
                    <a:gd name="T88" fmla="*/ 2147483647 w 212"/>
                    <a:gd name="T89" fmla="*/ 2147483647 h 177"/>
                    <a:gd name="T90" fmla="*/ 2147483647 w 212"/>
                    <a:gd name="T91" fmla="*/ 2147483647 h 177"/>
                    <a:gd name="T92" fmla="*/ 2147483647 w 212"/>
                    <a:gd name="T93" fmla="*/ 2147483647 h 177"/>
                    <a:gd name="T94" fmla="*/ 2147483647 w 212"/>
                    <a:gd name="T95" fmla="*/ 0 h 177"/>
                    <a:gd name="T96" fmla="*/ 2147483647 w 212"/>
                    <a:gd name="T97" fmla="*/ 2147483647 h 177"/>
                    <a:gd name="T98" fmla="*/ 2147483647 w 212"/>
                    <a:gd name="T99" fmla="*/ 2147483647 h 177"/>
                    <a:gd name="T100" fmla="*/ 2147483647 w 212"/>
                    <a:gd name="T101" fmla="*/ 2147483647 h 177"/>
                    <a:gd name="T102" fmla="*/ 2147483647 w 212"/>
                    <a:gd name="T103" fmla="*/ 2147483647 h 177"/>
                    <a:gd name="T104" fmla="*/ 2147483647 w 212"/>
                    <a:gd name="T105" fmla="*/ 2147483647 h 177"/>
                    <a:gd name="T106" fmla="*/ 2147483647 w 212"/>
                    <a:gd name="T107" fmla="*/ 2147483647 h 177"/>
                    <a:gd name="T108" fmla="*/ 2147483647 w 212"/>
                    <a:gd name="T109" fmla="*/ 2147483647 h 177"/>
                    <a:gd name="T110" fmla="*/ 2147483647 w 212"/>
                    <a:gd name="T111" fmla="*/ 2147483647 h 177"/>
                    <a:gd name="T112" fmla="*/ 2147483647 w 212"/>
                    <a:gd name="T113" fmla="*/ 2147483647 h 177"/>
                    <a:gd name="T114" fmla="*/ 2147483647 w 212"/>
                    <a:gd name="T115" fmla="*/ 2147483647 h 177"/>
                    <a:gd name="T116" fmla="*/ 2147483647 w 212"/>
                    <a:gd name="T117" fmla="*/ 2147483647 h 177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12"/>
                    <a:gd name="T178" fmla="*/ 0 h 177"/>
                    <a:gd name="T179" fmla="*/ 212 w 212"/>
                    <a:gd name="T180" fmla="*/ 177 h 177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12" h="177">
                      <a:moveTo>
                        <a:pt x="195" y="12"/>
                      </a:moveTo>
                      <a:lnTo>
                        <a:pt x="195" y="12"/>
                      </a:lnTo>
                      <a:lnTo>
                        <a:pt x="198" y="18"/>
                      </a:lnTo>
                      <a:lnTo>
                        <a:pt x="199" y="21"/>
                      </a:lnTo>
                      <a:lnTo>
                        <a:pt x="201" y="24"/>
                      </a:lnTo>
                      <a:lnTo>
                        <a:pt x="199" y="35"/>
                      </a:lnTo>
                      <a:lnTo>
                        <a:pt x="199" y="39"/>
                      </a:lnTo>
                      <a:lnTo>
                        <a:pt x="202" y="45"/>
                      </a:lnTo>
                      <a:lnTo>
                        <a:pt x="204" y="50"/>
                      </a:lnTo>
                      <a:lnTo>
                        <a:pt x="206" y="56"/>
                      </a:lnTo>
                      <a:lnTo>
                        <a:pt x="208" y="62"/>
                      </a:lnTo>
                      <a:lnTo>
                        <a:pt x="212" y="67"/>
                      </a:lnTo>
                      <a:lnTo>
                        <a:pt x="212" y="69"/>
                      </a:lnTo>
                      <a:lnTo>
                        <a:pt x="212" y="70"/>
                      </a:lnTo>
                      <a:lnTo>
                        <a:pt x="208" y="74"/>
                      </a:lnTo>
                      <a:lnTo>
                        <a:pt x="204" y="75"/>
                      </a:lnTo>
                      <a:lnTo>
                        <a:pt x="201" y="77"/>
                      </a:lnTo>
                      <a:lnTo>
                        <a:pt x="198" y="80"/>
                      </a:lnTo>
                      <a:lnTo>
                        <a:pt x="190" y="89"/>
                      </a:lnTo>
                      <a:lnTo>
                        <a:pt x="183" y="99"/>
                      </a:lnTo>
                      <a:lnTo>
                        <a:pt x="175" y="106"/>
                      </a:lnTo>
                      <a:lnTo>
                        <a:pt x="166" y="113"/>
                      </a:lnTo>
                      <a:lnTo>
                        <a:pt x="157" y="120"/>
                      </a:lnTo>
                      <a:lnTo>
                        <a:pt x="147" y="126"/>
                      </a:lnTo>
                      <a:lnTo>
                        <a:pt x="127" y="136"/>
                      </a:lnTo>
                      <a:lnTo>
                        <a:pt x="114" y="139"/>
                      </a:lnTo>
                      <a:lnTo>
                        <a:pt x="105" y="142"/>
                      </a:lnTo>
                      <a:lnTo>
                        <a:pt x="99" y="147"/>
                      </a:lnTo>
                      <a:lnTo>
                        <a:pt x="95" y="152"/>
                      </a:lnTo>
                      <a:lnTo>
                        <a:pt x="93" y="157"/>
                      </a:lnTo>
                      <a:lnTo>
                        <a:pt x="93" y="161"/>
                      </a:lnTo>
                      <a:lnTo>
                        <a:pt x="91" y="165"/>
                      </a:lnTo>
                      <a:lnTo>
                        <a:pt x="93" y="174"/>
                      </a:lnTo>
                      <a:lnTo>
                        <a:pt x="0" y="177"/>
                      </a:lnTo>
                      <a:lnTo>
                        <a:pt x="5" y="168"/>
                      </a:lnTo>
                      <a:lnTo>
                        <a:pt x="10" y="163"/>
                      </a:lnTo>
                      <a:lnTo>
                        <a:pt x="13" y="161"/>
                      </a:lnTo>
                      <a:lnTo>
                        <a:pt x="16" y="160"/>
                      </a:lnTo>
                      <a:lnTo>
                        <a:pt x="28" y="159"/>
                      </a:lnTo>
                      <a:lnTo>
                        <a:pt x="34" y="158"/>
                      </a:lnTo>
                      <a:lnTo>
                        <a:pt x="38" y="155"/>
                      </a:lnTo>
                      <a:lnTo>
                        <a:pt x="42" y="152"/>
                      </a:lnTo>
                      <a:lnTo>
                        <a:pt x="46" y="148"/>
                      </a:lnTo>
                      <a:lnTo>
                        <a:pt x="52" y="138"/>
                      </a:lnTo>
                      <a:lnTo>
                        <a:pt x="57" y="128"/>
                      </a:lnTo>
                      <a:lnTo>
                        <a:pt x="61" y="125"/>
                      </a:lnTo>
                      <a:lnTo>
                        <a:pt x="65" y="122"/>
                      </a:lnTo>
                      <a:lnTo>
                        <a:pt x="66" y="117"/>
                      </a:lnTo>
                      <a:lnTo>
                        <a:pt x="67" y="115"/>
                      </a:lnTo>
                      <a:lnTo>
                        <a:pt x="67" y="113"/>
                      </a:lnTo>
                      <a:lnTo>
                        <a:pt x="66" y="110"/>
                      </a:lnTo>
                      <a:lnTo>
                        <a:pt x="62" y="108"/>
                      </a:lnTo>
                      <a:lnTo>
                        <a:pt x="60" y="104"/>
                      </a:lnTo>
                      <a:lnTo>
                        <a:pt x="57" y="101"/>
                      </a:lnTo>
                      <a:lnTo>
                        <a:pt x="57" y="96"/>
                      </a:lnTo>
                      <a:lnTo>
                        <a:pt x="57" y="93"/>
                      </a:lnTo>
                      <a:lnTo>
                        <a:pt x="58" y="87"/>
                      </a:lnTo>
                      <a:lnTo>
                        <a:pt x="61" y="82"/>
                      </a:lnTo>
                      <a:lnTo>
                        <a:pt x="65" y="77"/>
                      </a:lnTo>
                      <a:lnTo>
                        <a:pt x="68" y="72"/>
                      </a:lnTo>
                      <a:lnTo>
                        <a:pt x="74" y="68"/>
                      </a:lnTo>
                      <a:lnTo>
                        <a:pt x="76" y="64"/>
                      </a:lnTo>
                      <a:lnTo>
                        <a:pt x="79" y="61"/>
                      </a:lnTo>
                      <a:lnTo>
                        <a:pt x="80" y="57"/>
                      </a:lnTo>
                      <a:lnTo>
                        <a:pt x="82" y="55"/>
                      </a:lnTo>
                      <a:lnTo>
                        <a:pt x="90" y="49"/>
                      </a:lnTo>
                      <a:lnTo>
                        <a:pt x="99" y="44"/>
                      </a:lnTo>
                      <a:lnTo>
                        <a:pt x="105" y="38"/>
                      </a:lnTo>
                      <a:lnTo>
                        <a:pt x="113" y="31"/>
                      </a:lnTo>
                      <a:lnTo>
                        <a:pt x="121" y="26"/>
                      </a:lnTo>
                      <a:lnTo>
                        <a:pt x="123" y="24"/>
                      </a:lnTo>
                      <a:lnTo>
                        <a:pt x="126" y="20"/>
                      </a:lnTo>
                      <a:lnTo>
                        <a:pt x="128" y="17"/>
                      </a:lnTo>
                      <a:lnTo>
                        <a:pt x="129" y="12"/>
                      </a:lnTo>
                      <a:lnTo>
                        <a:pt x="129" y="2"/>
                      </a:lnTo>
                      <a:lnTo>
                        <a:pt x="129" y="1"/>
                      </a:lnTo>
                      <a:lnTo>
                        <a:pt x="131" y="0"/>
                      </a:lnTo>
                      <a:lnTo>
                        <a:pt x="133" y="0"/>
                      </a:lnTo>
                      <a:lnTo>
                        <a:pt x="134" y="1"/>
                      </a:lnTo>
                      <a:lnTo>
                        <a:pt x="138" y="5"/>
                      </a:lnTo>
                      <a:lnTo>
                        <a:pt x="143" y="8"/>
                      </a:lnTo>
                      <a:lnTo>
                        <a:pt x="150" y="11"/>
                      </a:lnTo>
                      <a:lnTo>
                        <a:pt x="155" y="12"/>
                      </a:lnTo>
                      <a:lnTo>
                        <a:pt x="161" y="13"/>
                      </a:lnTo>
                      <a:lnTo>
                        <a:pt x="168" y="13"/>
                      </a:lnTo>
                      <a:lnTo>
                        <a:pt x="173" y="12"/>
                      </a:lnTo>
                      <a:lnTo>
                        <a:pt x="178" y="8"/>
                      </a:lnTo>
                      <a:lnTo>
                        <a:pt x="179" y="7"/>
                      </a:lnTo>
                      <a:lnTo>
                        <a:pt x="180" y="7"/>
                      </a:lnTo>
                      <a:lnTo>
                        <a:pt x="180" y="10"/>
                      </a:lnTo>
                      <a:lnTo>
                        <a:pt x="181" y="12"/>
                      </a:lnTo>
                      <a:lnTo>
                        <a:pt x="184" y="13"/>
                      </a:lnTo>
                      <a:lnTo>
                        <a:pt x="187" y="14"/>
                      </a:lnTo>
                      <a:lnTo>
                        <a:pt x="192" y="14"/>
                      </a:lnTo>
                      <a:lnTo>
                        <a:pt x="195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6" name="Freeform 674">
                  <a:extLst>
                    <a:ext uri="{FF2B5EF4-FFF2-40B4-BE49-F238E27FC236}">
                      <a16:creationId xmlns:a16="http://schemas.microsoft.com/office/drawing/2014/main" id="{C6F69ADD-9B11-CC48-B7F4-E8B0F72965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5319" y="3814794"/>
                  <a:ext cx="220500" cy="192383"/>
                </a:xfrm>
                <a:custGeom>
                  <a:avLst/>
                  <a:gdLst>
                    <a:gd name="T0" fmla="*/ 2147483647 w 161"/>
                    <a:gd name="T1" fmla="*/ 2147483647 h 130"/>
                    <a:gd name="T2" fmla="*/ 2147483647 w 161"/>
                    <a:gd name="T3" fmla="*/ 2147483647 h 130"/>
                    <a:gd name="T4" fmla="*/ 2147483647 w 161"/>
                    <a:gd name="T5" fmla="*/ 2147483647 h 130"/>
                    <a:gd name="T6" fmla="*/ 2147483647 w 161"/>
                    <a:gd name="T7" fmla="*/ 2147483647 h 130"/>
                    <a:gd name="T8" fmla="*/ 2147483647 w 161"/>
                    <a:gd name="T9" fmla="*/ 2147483647 h 130"/>
                    <a:gd name="T10" fmla="*/ 2147483647 w 161"/>
                    <a:gd name="T11" fmla="*/ 2147483647 h 130"/>
                    <a:gd name="T12" fmla="*/ 2147483647 w 161"/>
                    <a:gd name="T13" fmla="*/ 2147483647 h 130"/>
                    <a:gd name="T14" fmla="*/ 2147483647 w 161"/>
                    <a:gd name="T15" fmla="*/ 2147483647 h 130"/>
                    <a:gd name="T16" fmla="*/ 2147483647 w 161"/>
                    <a:gd name="T17" fmla="*/ 2147483647 h 130"/>
                    <a:gd name="T18" fmla="*/ 2147483647 w 161"/>
                    <a:gd name="T19" fmla="*/ 2147483647 h 130"/>
                    <a:gd name="T20" fmla="*/ 2147483647 w 161"/>
                    <a:gd name="T21" fmla="*/ 2147483647 h 130"/>
                    <a:gd name="T22" fmla="*/ 2147483647 w 161"/>
                    <a:gd name="T23" fmla="*/ 2147483647 h 130"/>
                    <a:gd name="T24" fmla="*/ 2147483647 w 161"/>
                    <a:gd name="T25" fmla="*/ 2147483647 h 130"/>
                    <a:gd name="T26" fmla="*/ 2147483647 w 161"/>
                    <a:gd name="T27" fmla="*/ 2147483647 h 130"/>
                    <a:gd name="T28" fmla="*/ 2147483647 w 161"/>
                    <a:gd name="T29" fmla="*/ 2147483647 h 130"/>
                    <a:gd name="T30" fmla="*/ 0 w 161"/>
                    <a:gd name="T31" fmla="*/ 2147483647 h 130"/>
                    <a:gd name="T32" fmla="*/ 2147483647 w 161"/>
                    <a:gd name="T33" fmla="*/ 2147483647 h 130"/>
                    <a:gd name="T34" fmla="*/ 2147483647 w 161"/>
                    <a:gd name="T35" fmla="*/ 2147483647 h 130"/>
                    <a:gd name="T36" fmla="*/ 2147483647 w 161"/>
                    <a:gd name="T37" fmla="*/ 2147483647 h 130"/>
                    <a:gd name="T38" fmla="*/ 2147483647 w 161"/>
                    <a:gd name="T39" fmla="*/ 2147483647 h 130"/>
                    <a:gd name="T40" fmla="*/ 2147483647 w 161"/>
                    <a:gd name="T41" fmla="*/ 2147483647 h 130"/>
                    <a:gd name="T42" fmla="*/ 2147483647 w 161"/>
                    <a:gd name="T43" fmla="*/ 2147483647 h 130"/>
                    <a:gd name="T44" fmla="*/ 2147483647 w 161"/>
                    <a:gd name="T45" fmla="*/ 2147483647 h 130"/>
                    <a:gd name="T46" fmla="*/ 2147483647 w 161"/>
                    <a:gd name="T47" fmla="*/ 2147483647 h 130"/>
                    <a:gd name="T48" fmla="*/ 2147483647 w 161"/>
                    <a:gd name="T49" fmla="*/ 2147483647 h 130"/>
                    <a:gd name="T50" fmla="*/ 2147483647 w 161"/>
                    <a:gd name="T51" fmla="*/ 2147483647 h 130"/>
                    <a:gd name="T52" fmla="*/ 2147483647 w 161"/>
                    <a:gd name="T53" fmla="*/ 2147483647 h 130"/>
                    <a:gd name="T54" fmla="*/ 2147483647 w 161"/>
                    <a:gd name="T55" fmla="*/ 2147483647 h 130"/>
                    <a:gd name="T56" fmla="*/ 2147483647 w 161"/>
                    <a:gd name="T57" fmla="*/ 2147483647 h 130"/>
                    <a:gd name="T58" fmla="*/ 2147483647 w 161"/>
                    <a:gd name="T59" fmla="*/ 2147483647 h 130"/>
                    <a:gd name="T60" fmla="*/ 2147483647 w 161"/>
                    <a:gd name="T61" fmla="*/ 2147483647 h 130"/>
                    <a:gd name="T62" fmla="*/ 2147483647 w 161"/>
                    <a:gd name="T63" fmla="*/ 2147483647 h 130"/>
                    <a:gd name="T64" fmla="*/ 2147483647 w 161"/>
                    <a:gd name="T65" fmla="*/ 0 h 130"/>
                    <a:gd name="T66" fmla="*/ 2147483647 w 161"/>
                    <a:gd name="T67" fmla="*/ 2147483647 h 130"/>
                    <a:gd name="T68" fmla="*/ 2147483647 w 161"/>
                    <a:gd name="T69" fmla="*/ 2147483647 h 130"/>
                    <a:gd name="T70" fmla="*/ 2147483647 w 161"/>
                    <a:gd name="T71" fmla="*/ 2147483647 h 130"/>
                    <a:gd name="T72" fmla="*/ 2147483647 w 161"/>
                    <a:gd name="T73" fmla="*/ 2147483647 h 13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61"/>
                    <a:gd name="T112" fmla="*/ 0 h 130"/>
                    <a:gd name="T113" fmla="*/ 161 w 161"/>
                    <a:gd name="T114" fmla="*/ 130 h 13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61" h="130">
                      <a:moveTo>
                        <a:pt x="55" y="23"/>
                      </a:moveTo>
                      <a:lnTo>
                        <a:pt x="52" y="26"/>
                      </a:lnTo>
                      <a:lnTo>
                        <a:pt x="50" y="28"/>
                      </a:lnTo>
                      <a:lnTo>
                        <a:pt x="48" y="30"/>
                      </a:lnTo>
                      <a:lnTo>
                        <a:pt x="46" y="34"/>
                      </a:lnTo>
                      <a:lnTo>
                        <a:pt x="42" y="43"/>
                      </a:lnTo>
                      <a:lnTo>
                        <a:pt x="36" y="54"/>
                      </a:lnTo>
                      <a:lnTo>
                        <a:pt x="34" y="59"/>
                      </a:lnTo>
                      <a:lnTo>
                        <a:pt x="33" y="65"/>
                      </a:lnTo>
                      <a:lnTo>
                        <a:pt x="31" y="70"/>
                      </a:lnTo>
                      <a:lnTo>
                        <a:pt x="28" y="74"/>
                      </a:lnTo>
                      <a:lnTo>
                        <a:pt x="20" y="84"/>
                      </a:lnTo>
                      <a:lnTo>
                        <a:pt x="18" y="91"/>
                      </a:lnTo>
                      <a:lnTo>
                        <a:pt x="9" y="107"/>
                      </a:lnTo>
                      <a:lnTo>
                        <a:pt x="3" y="125"/>
                      </a:lnTo>
                      <a:lnTo>
                        <a:pt x="0" y="130"/>
                      </a:lnTo>
                      <a:lnTo>
                        <a:pt x="67" y="128"/>
                      </a:lnTo>
                      <a:lnTo>
                        <a:pt x="70" y="128"/>
                      </a:lnTo>
                      <a:lnTo>
                        <a:pt x="73" y="126"/>
                      </a:lnTo>
                      <a:lnTo>
                        <a:pt x="73" y="124"/>
                      </a:lnTo>
                      <a:lnTo>
                        <a:pt x="73" y="118"/>
                      </a:lnTo>
                      <a:lnTo>
                        <a:pt x="74" y="109"/>
                      </a:lnTo>
                      <a:lnTo>
                        <a:pt x="75" y="103"/>
                      </a:lnTo>
                      <a:lnTo>
                        <a:pt x="79" y="96"/>
                      </a:lnTo>
                      <a:lnTo>
                        <a:pt x="84" y="87"/>
                      </a:lnTo>
                      <a:lnTo>
                        <a:pt x="90" y="79"/>
                      </a:lnTo>
                      <a:lnTo>
                        <a:pt x="89" y="61"/>
                      </a:lnTo>
                      <a:lnTo>
                        <a:pt x="88" y="52"/>
                      </a:lnTo>
                      <a:lnTo>
                        <a:pt x="88" y="48"/>
                      </a:lnTo>
                      <a:lnTo>
                        <a:pt x="89" y="46"/>
                      </a:lnTo>
                      <a:lnTo>
                        <a:pt x="161" y="41"/>
                      </a:lnTo>
                      <a:lnTo>
                        <a:pt x="160" y="14"/>
                      </a:lnTo>
                      <a:lnTo>
                        <a:pt x="159" y="0"/>
                      </a:lnTo>
                      <a:lnTo>
                        <a:pt x="66" y="2"/>
                      </a:lnTo>
                      <a:lnTo>
                        <a:pt x="62" y="9"/>
                      </a:lnTo>
                      <a:lnTo>
                        <a:pt x="59" y="16"/>
                      </a:lnTo>
                      <a:lnTo>
                        <a:pt x="55" y="2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7" name="Freeform 675">
                  <a:extLst>
                    <a:ext uri="{FF2B5EF4-FFF2-40B4-BE49-F238E27FC236}">
                      <a16:creationId xmlns:a16="http://schemas.microsoft.com/office/drawing/2014/main" id="{B57D3A45-0C08-194C-86A2-BCD5B3257D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2356" y="3835512"/>
                  <a:ext cx="301894" cy="369968"/>
                </a:xfrm>
                <a:custGeom>
                  <a:avLst/>
                  <a:gdLst>
                    <a:gd name="T0" fmla="*/ 2147483647 w 221"/>
                    <a:gd name="T1" fmla="*/ 2147483647 h 250"/>
                    <a:gd name="T2" fmla="*/ 2147483647 w 221"/>
                    <a:gd name="T3" fmla="*/ 2147483647 h 250"/>
                    <a:gd name="T4" fmla="*/ 2147483647 w 221"/>
                    <a:gd name="T5" fmla="*/ 2147483647 h 250"/>
                    <a:gd name="T6" fmla="*/ 2147483647 w 221"/>
                    <a:gd name="T7" fmla="*/ 2147483647 h 250"/>
                    <a:gd name="T8" fmla="*/ 2147483647 w 221"/>
                    <a:gd name="T9" fmla="*/ 2147483647 h 250"/>
                    <a:gd name="T10" fmla="*/ 2147483647 w 221"/>
                    <a:gd name="T11" fmla="*/ 2147483647 h 250"/>
                    <a:gd name="T12" fmla="*/ 2147483647 w 221"/>
                    <a:gd name="T13" fmla="*/ 2147483647 h 250"/>
                    <a:gd name="T14" fmla="*/ 2147483647 w 221"/>
                    <a:gd name="T15" fmla="*/ 2147483647 h 250"/>
                    <a:gd name="T16" fmla="*/ 2147483647 w 221"/>
                    <a:gd name="T17" fmla="*/ 2147483647 h 250"/>
                    <a:gd name="T18" fmla="*/ 2147483647 w 221"/>
                    <a:gd name="T19" fmla="*/ 2147483647 h 250"/>
                    <a:gd name="T20" fmla="*/ 2147483647 w 221"/>
                    <a:gd name="T21" fmla="*/ 2147483647 h 250"/>
                    <a:gd name="T22" fmla="*/ 2147483647 w 221"/>
                    <a:gd name="T23" fmla="*/ 2147483647 h 250"/>
                    <a:gd name="T24" fmla="*/ 2147483647 w 221"/>
                    <a:gd name="T25" fmla="*/ 2147483647 h 250"/>
                    <a:gd name="T26" fmla="*/ 2147483647 w 221"/>
                    <a:gd name="T27" fmla="*/ 2147483647 h 250"/>
                    <a:gd name="T28" fmla="*/ 2147483647 w 221"/>
                    <a:gd name="T29" fmla="*/ 2147483647 h 250"/>
                    <a:gd name="T30" fmla="*/ 2147483647 w 221"/>
                    <a:gd name="T31" fmla="*/ 2147483647 h 250"/>
                    <a:gd name="T32" fmla="*/ 2147483647 w 221"/>
                    <a:gd name="T33" fmla="*/ 2147483647 h 250"/>
                    <a:gd name="T34" fmla="*/ 2147483647 w 221"/>
                    <a:gd name="T35" fmla="*/ 2147483647 h 250"/>
                    <a:gd name="T36" fmla="*/ 2147483647 w 221"/>
                    <a:gd name="T37" fmla="*/ 2147483647 h 250"/>
                    <a:gd name="T38" fmla="*/ 2147483647 w 221"/>
                    <a:gd name="T39" fmla="*/ 2147483647 h 250"/>
                    <a:gd name="T40" fmla="*/ 2147483647 w 221"/>
                    <a:gd name="T41" fmla="*/ 2147483647 h 250"/>
                    <a:gd name="T42" fmla="*/ 2147483647 w 221"/>
                    <a:gd name="T43" fmla="*/ 2147483647 h 250"/>
                    <a:gd name="T44" fmla="*/ 2147483647 w 221"/>
                    <a:gd name="T45" fmla="*/ 2147483647 h 250"/>
                    <a:gd name="T46" fmla="*/ 2147483647 w 221"/>
                    <a:gd name="T47" fmla="*/ 2147483647 h 250"/>
                    <a:gd name="T48" fmla="*/ 2147483647 w 221"/>
                    <a:gd name="T49" fmla="*/ 2147483647 h 250"/>
                    <a:gd name="T50" fmla="*/ 2147483647 w 221"/>
                    <a:gd name="T51" fmla="*/ 2147483647 h 250"/>
                    <a:gd name="T52" fmla="*/ 2147483647 w 221"/>
                    <a:gd name="T53" fmla="*/ 2147483647 h 250"/>
                    <a:gd name="T54" fmla="*/ 2147483647 w 221"/>
                    <a:gd name="T55" fmla="*/ 2147483647 h 250"/>
                    <a:gd name="T56" fmla="*/ 2147483647 w 221"/>
                    <a:gd name="T57" fmla="*/ 2147483647 h 250"/>
                    <a:gd name="T58" fmla="*/ 2147483647 w 221"/>
                    <a:gd name="T59" fmla="*/ 2147483647 h 250"/>
                    <a:gd name="T60" fmla="*/ 2147483647 w 221"/>
                    <a:gd name="T61" fmla="*/ 2147483647 h 250"/>
                    <a:gd name="T62" fmla="*/ 2147483647 w 221"/>
                    <a:gd name="T63" fmla="*/ 2147483647 h 250"/>
                    <a:gd name="T64" fmla="*/ 2147483647 w 221"/>
                    <a:gd name="T65" fmla="*/ 2147483647 h 250"/>
                    <a:gd name="T66" fmla="*/ 2147483647 w 221"/>
                    <a:gd name="T67" fmla="*/ 2147483647 h 250"/>
                    <a:gd name="T68" fmla="*/ 2147483647 w 221"/>
                    <a:gd name="T69" fmla="*/ 2147483647 h 250"/>
                    <a:gd name="T70" fmla="*/ 2147483647 w 221"/>
                    <a:gd name="T71" fmla="*/ 2147483647 h 250"/>
                    <a:gd name="T72" fmla="*/ 2147483647 w 221"/>
                    <a:gd name="T73" fmla="*/ 2147483647 h 250"/>
                    <a:gd name="T74" fmla="*/ 2147483647 w 221"/>
                    <a:gd name="T75" fmla="*/ 2147483647 h 250"/>
                    <a:gd name="T76" fmla="*/ 0 w 221"/>
                    <a:gd name="T77" fmla="*/ 2147483647 h 250"/>
                    <a:gd name="T78" fmla="*/ 0 w 221"/>
                    <a:gd name="T79" fmla="*/ 2147483647 h 25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21"/>
                    <a:gd name="T121" fmla="*/ 0 h 250"/>
                    <a:gd name="T122" fmla="*/ 221 w 221"/>
                    <a:gd name="T123" fmla="*/ 250 h 25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21" h="250">
                      <a:moveTo>
                        <a:pt x="2" y="116"/>
                      </a:moveTo>
                      <a:lnTo>
                        <a:pt x="69" y="114"/>
                      </a:lnTo>
                      <a:lnTo>
                        <a:pt x="72" y="114"/>
                      </a:lnTo>
                      <a:lnTo>
                        <a:pt x="75" y="112"/>
                      </a:lnTo>
                      <a:lnTo>
                        <a:pt x="75" y="110"/>
                      </a:lnTo>
                      <a:lnTo>
                        <a:pt x="75" y="104"/>
                      </a:lnTo>
                      <a:lnTo>
                        <a:pt x="76" y="95"/>
                      </a:lnTo>
                      <a:lnTo>
                        <a:pt x="77" y="89"/>
                      </a:lnTo>
                      <a:lnTo>
                        <a:pt x="81" y="82"/>
                      </a:lnTo>
                      <a:lnTo>
                        <a:pt x="86" y="73"/>
                      </a:lnTo>
                      <a:lnTo>
                        <a:pt x="92" y="65"/>
                      </a:lnTo>
                      <a:lnTo>
                        <a:pt x="91" y="47"/>
                      </a:lnTo>
                      <a:lnTo>
                        <a:pt x="90" y="38"/>
                      </a:lnTo>
                      <a:lnTo>
                        <a:pt x="90" y="34"/>
                      </a:lnTo>
                      <a:lnTo>
                        <a:pt x="91" y="32"/>
                      </a:lnTo>
                      <a:lnTo>
                        <a:pt x="163" y="27"/>
                      </a:lnTo>
                      <a:lnTo>
                        <a:pt x="162" y="0"/>
                      </a:lnTo>
                      <a:lnTo>
                        <a:pt x="194" y="22"/>
                      </a:lnTo>
                      <a:lnTo>
                        <a:pt x="221" y="41"/>
                      </a:lnTo>
                      <a:lnTo>
                        <a:pt x="198" y="40"/>
                      </a:lnTo>
                      <a:lnTo>
                        <a:pt x="198" y="220"/>
                      </a:lnTo>
                      <a:lnTo>
                        <a:pt x="195" y="220"/>
                      </a:lnTo>
                      <a:lnTo>
                        <a:pt x="162" y="219"/>
                      </a:lnTo>
                      <a:lnTo>
                        <a:pt x="146" y="219"/>
                      </a:lnTo>
                      <a:lnTo>
                        <a:pt x="129" y="220"/>
                      </a:lnTo>
                      <a:lnTo>
                        <a:pt x="125" y="222"/>
                      </a:lnTo>
                      <a:lnTo>
                        <a:pt x="120" y="224"/>
                      </a:lnTo>
                      <a:lnTo>
                        <a:pt x="118" y="226"/>
                      </a:lnTo>
                      <a:lnTo>
                        <a:pt x="115" y="231"/>
                      </a:lnTo>
                      <a:lnTo>
                        <a:pt x="114" y="232"/>
                      </a:lnTo>
                      <a:lnTo>
                        <a:pt x="111" y="233"/>
                      </a:lnTo>
                      <a:lnTo>
                        <a:pt x="109" y="233"/>
                      </a:lnTo>
                      <a:lnTo>
                        <a:pt x="108" y="233"/>
                      </a:lnTo>
                      <a:lnTo>
                        <a:pt x="105" y="231"/>
                      </a:lnTo>
                      <a:lnTo>
                        <a:pt x="104" y="229"/>
                      </a:lnTo>
                      <a:lnTo>
                        <a:pt x="104" y="226"/>
                      </a:lnTo>
                      <a:lnTo>
                        <a:pt x="105" y="224"/>
                      </a:lnTo>
                      <a:lnTo>
                        <a:pt x="101" y="224"/>
                      </a:lnTo>
                      <a:lnTo>
                        <a:pt x="97" y="227"/>
                      </a:lnTo>
                      <a:lnTo>
                        <a:pt x="96" y="231"/>
                      </a:lnTo>
                      <a:lnTo>
                        <a:pt x="95" y="235"/>
                      </a:lnTo>
                      <a:lnTo>
                        <a:pt x="94" y="242"/>
                      </a:lnTo>
                      <a:lnTo>
                        <a:pt x="94" y="245"/>
                      </a:lnTo>
                      <a:lnTo>
                        <a:pt x="95" y="250"/>
                      </a:lnTo>
                      <a:lnTo>
                        <a:pt x="90" y="249"/>
                      </a:lnTo>
                      <a:lnTo>
                        <a:pt x="86" y="248"/>
                      </a:lnTo>
                      <a:lnTo>
                        <a:pt x="80" y="243"/>
                      </a:lnTo>
                      <a:lnTo>
                        <a:pt x="75" y="237"/>
                      </a:lnTo>
                      <a:lnTo>
                        <a:pt x="71" y="231"/>
                      </a:lnTo>
                      <a:lnTo>
                        <a:pt x="68" y="224"/>
                      </a:lnTo>
                      <a:lnTo>
                        <a:pt x="67" y="223"/>
                      </a:lnTo>
                      <a:lnTo>
                        <a:pt x="66" y="222"/>
                      </a:lnTo>
                      <a:lnTo>
                        <a:pt x="66" y="219"/>
                      </a:lnTo>
                      <a:lnTo>
                        <a:pt x="63" y="217"/>
                      </a:lnTo>
                      <a:lnTo>
                        <a:pt x="55" y="213"/>
                      </a:lnTo>
                      <a:lnTo>
                        <a:pt x="49" y="211"/>
                      </a:lnTo>
                      <a:lnTo>
                        <a:pt x="44" y="210"/>
                      </a:lnTo>
                      <a:lnTo>
                        <a:pt x="38" y="208"/>
                      </a:lnTo>
                      <a:lnTo>
                        <a:pt x="36" y="207"/>
                      </a:lnTo>
                      <a:lnTo>
                        <a:pt x="34" y="207"/>
                      </a:lnTo>
                      <a:lnTo>
                        <a:pt x="24" y="212"/>
                      </a:lnTo>
                      <a:lnTo>
                        <a:pt x="19" y="213"/>
                      </a:lnTo>
                      <a:lnTo>
                        <a:pt x="12" y="214"/>
                      </a:lnTo>
                      <a:lnTo>
                        <a:pt x="15" y="205"/>
                      </a:lnTo>
                      <a:lnTo>
                        <a:pt x="17" y="187"/>
                      </a:lnTo>
                      <a:lnTo>
                        <a:pt x="17" y="174"/>
                      </a:lnTo>
                      <a:lnTo>
                        <a:pt x="17" y="169"/>
                      </a:lnTo>
                      <a:lnTo>
                        <a:pt x="16" y="166"/>
                      </a:lnTo>
                      <a:lnTo>
                        <a:pt x="12" y="163"/>
                      </a:lnTo>
                      <a:lnTo>
                        <a:pt x="12" y="162"/>
                      </a:lnTo>
                      <a:lnTo>
                        <a:pt x="11" y="161"/>
                      </a:lnTo>
                      <a:lnTo>
                        <a:pt x="12" y="143"/>
                      </a:lnTo>
                      <a:lnTo>
                        <a:pt x="11" y="127"/>
                      </a:lnTo>
                      <a:lnTo>
                        <a:pt x="11" y="122"/>
                      </a:lnTo>
                      <a:lnTo>
                        <a:pt x="10" y="122"/>
                      </a:lnTo>
                      <a:lnTo>
                        <a:pt x="7" y="122"/>
                      </a:lnTo>
                      <a:lnTo>
                        <a:pt x="2" y="125"/>
                      </a:lnTo>
                      <a:lnTo>
                        <a:pt x="0" y="128"/>
                      </a:lnTo>
                      <a:lnTo>
                        <a:pt x="0" y="124"/>
                      </a:lnTo>
                      <a:lnTo>
                        <a:pt x="0" y="122"/>
                      </a:lnTo>
                      <a:lnTo>
                        <a:pt x="2" y="1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8" name="Freeform 676">
                  <a:extLst>
                    <a:ext uri="{FF2B5EF4-FFF2-40B4-BE49-F238E27FC236}">
                      <a16:creationId xmlns:a16="http://schemas.microsoft.com/office/drawing/2014/main" id="{D7452666-404A-904A-B913-B83639918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3836" y="3811832"/>
                  <a:ext cx="220501" cy="193864"/>
                </a:xfrm>
                <a:custGeom>
                  <a:avLst/>
                  <a:gdLst>
                    <a:gd name="T0" fmla="*/ 2147483647 w 161"/>
                    <a:gd name="T1" fmla="*/ 2147483647 h 131"/>
                    <a:gd name="T2" fmla="*/ 2147483647 w 161"/>
                    <a:gd name="T3" fmla="*/ 2147483647 h 131"/>
                    <a:gd name="T4" fmla="*/ 2147483647 w 161"/>
                    <a:gd name="T5" fmla="*/ 2147483647 h 131"/>
                    <a:gd name="T6" fmla="*/ 2147483647 w 161"/>
                    <a:gd name="T7" fmla="*/ 2147483647 h 131"/>
                    <a:gd name="T8" fmla="*/ 2147483647 w 161"/>
                    <a:gd name="T9" fmla="*/ 2147483647 h 131"/>
                    <a:gd name="T10" fmla="*/ 2147483647 w 161"/>
                    <a:gd name="T11" fmla="*/ 2147483647 h 131"/>
                    <a:gd name="T12" fmla="*/ 2147483647 w 161"/>
                    <a:gd name="T13" fmla="*/ 2147483647 h 131"/>
                    <a:gd name="T14" fmla="*/ 2147483647 w 161"/>
                    <a:gd name="T15" fmla="*/ 2147483647 h 131"/>
                    <a:gd name="T16" fmla="*/ 2147483647 w 161"/>
                    <a:gd name="T17" fmla="*/ 2147483647 h 131"/>
                    <a:gd name="T18" fmla="*/ 2147483647 w 161"/>
                    <a:gd name="T19" fmla="*/ 2147483647 h 131"/>
                    <a:gd name="T20" fmla="*/ 2147483647 w 161"/>
                    <a:gd name="T21" fmla="*/ 2147483647 h 131"/>
                    <a:gd name="T22" fmla="*/ 2147483647 w 161"/>
                    <a:gd name="T23" fmla="*/ 2147483647 h 131"/>
                    <a:gd name="T24" fmla="*/ 2147483647 w 161"/>
                    <a:gd name="T25" fmla="*/ 2147483647 h 131"/>
                    <a:gd name="T26" fmla="*/ 2147483647 w 161"/>
                    <a:gd name="T27" fmla="*/ 2147483647 h 131"/>
                    <a:gd name="T28" fmla="*/ 2147483647 w 161"/>
                    <a:gd name="T29" fmla="*/ 2147483647 h 131"/>
                    <a:gd name="T30" fmla="*/ 2147483647 w 161"/>
                    <a:gd name="T31" fmla="*/ 2147483647 h 131"/>
                    <a:gd name="T32" fmla="*/ 2147483647 w 161"/>
                    <a:gd name="T33" fmla="*/ 2147483647 h 131"/>
                    <a:gd name="T34" fmla="*/ 2147483647 w 161"/>
                    <a:gd name="T35" fmla="*/ 2147483647 h 131"/>
                    <a:gd name="T36" fmla="*/ 2147483647 w 161"/>
                    <a:gd name="T37" fmla="*/ 2147483647 h 131"/>
                    <a:gd name="T38" fmla="*/ 2147483647 w 161"/>
                    <a:gd name="T39" fmla="*/ 2147483647 h 131"/>
                    <a:gd name="T40" fmla="*/ 2147483647 w 161"/>
                    <a:gd name="T41" fmla="*/ 2147483647 h 131"/>
                    <a:gd name="T42" fmla="*/ 2147483647 w 161"/>
                    <a:gd name="T43" fmla="*/ 2147483647 h 131"/>
                    <a:gd name="T44" fmla="*/ 0 w 161"/>
                    <a:gd name="T45" fmla="*/ 2147483647 h 131"/>
                    <a:gd name="T46" fmla="*/ 2147483647 w 161"/>
                    <a:gd name="T47" fmla="*/ 2147483647 h 131"/>
                    <a:gd name="T48" fmla="*/ 2147483647 w 161"/>
                    <a:gd name="T49" fmla="*/ 2147483647 h 131"/>
                    <a:gd name="T50" fmla="*/ 2147483647 w 161"/>
                    <a:gd name="T51" fmla="*/ 2147483647 h 131"/>
                    <a:gd name="T52" fmla="*/ 2147483647 w 161"/>
                    <a:gd name="T53" fmla="*/ 2147483647 h 131"/>
                    <a:gd name="T54" fmla="*/ 2147483647 w 161"/>
                    <a:gd name="T55" fmla="*/ 2147483647 h 131"/>
                    <a:gd name="T56" fmla="*/ 2147483647 w 161"/>
                    <a:gd name="T57" fmla="*/ 2147483647 h 131"/>
                    <a:gd name="T58" fmla="*/ 2147483647 w 161"/>
                    <a:gd name="T59" fmla="*/ 2147483647 h 131"/>
                    <a:gd name="T60" fmla="*/ 2147483647 w 161"/>
                    <a:gd name="T61" fmla="*/ 2147483647 h 131"/>
                    <a:gd name="T62" fmla="*/ 2147483647 w 161"/>
                    <a:gd name="T63" fmla="*/ 2147483647 h 131"/>
                    <a:gd name="T64" fmla="*/ 2147483647 w 161"/>
                    <a:gd name="T65" fmla="*/ 2147483647 h 131"/>
                    <a:gd name="T66" fmla="*/ 2147483647 w 161"/>
                    <a:gd name="T67" fmla="*/ 2147483647 h 131"/>
                    <a:gd name="T68" fmla="*/ 2147483647 w 161"/>
                    <a:gd name="T69" fmla="*/ 2147483647 h 131"/>
                    <a:gd name="T70" fmla="*/ 2147483647 w 161"/>
                    <a:gd name="T71" fmla="*/ 2147483647 h 131"/>
                    <a:gd name="T72" fmla="*/ 2147483647 w 161"/>
                    <a:gd name="T73" fmla="*/ 2147483647 h 131"/>
                    <a:gd name="T74" fmla="*/ 2147483647 w 161"/>
                    <a:gd name="T75" fmla="*/ 2147483647 h 131"/>
                    <a:gd name="T76" fmla="*/ 2147483647 w 161"/>
                    <a:gd name="T77" fmla="*/ 2147483647 h 131"/>
                    <a:gd name="T78" fmla="*/ 2147483647 w 161"/>
                    <a:gd name="T79" fmla="*/ 2147483647 h 131"/>
                    <a:gd name="T80" fmla="*/ 2147483647 w 161"/>
                    <a:gd name="T81" fmla="*/ 2147483647 h 131"/>
                    <a:gd name="T82" fmla="*/ 2147483647 w 161"/>
                    <a:gd name="T83" fmla="*/ 2147483647 h 131"/>
                    <a:gd name="T84" fmla="*/ 2147483647 w 161"/>
                    <a:gd name="T85" fmla="*/ 2147483647 h 131"/>
                    <a:gd name="T86" fmla="*/ 2147483647 w 161"/>
                    <a:gd name="T87" fmla="*/ 0 h 131"/>
                    <a:gd name="T88" fmla="*/ 2147483647 w 161"/>
                    <a:gd name="T89" fmla="*/ 2147483647 h 131"/>
                    <a:gd name="T90" fmla="*/ 2147483647 w 161"/>
                    <a:gd name="T91" fmla="*/ 2147483647 h 131"/>
                    <a:gd name="T92" fmla="*/ 2147483647 w 161"/>
                    <a:gd name="T93" fmla="*/ 2147483647 h 131"/>
                    <a:gd name="T94" fmla="*/ 2147483647 w 161"/>
                    <a:gd name="T95" fmla="*/ 2147483647 h 131"/>
                    <a:gd name="T96" fmla="*/ 2147483647 w 161"/>
                    <a:gd name="T97" fmla="*/ 2147483647 h 131"/>
                    <a:gd name="T98" fmla="*/ 2147483647 w 161"/>
                    <a:gd name="T99" fmla="*/ 2147483647 h 131"/>
                    <a:gd name="T100" fmla="*/ 2147483647 w 161"/>
                    <a:gd name="T101" fmla="*/ 2147483647 h 13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1"/>
                    <a:gd name="T154" fmla="*/ 0 h 131"/>
                    <a:gd name="T155" fmla="*/ 161 w 161"/>
                    <a:gd name="T156" fmla="*/ 131 h 131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1" h="131">
                      <a:moveTo>
                        <a:pt x="54" y="24"/>
                      </a:moveTo>
                      <a:lnTo>
                        <a:pt x="54" y="24"/>
                      </a:lnTo>
                      <a:lnTo>
                        <a:pt x="52" y="26"/>
                      </a:lnTo>
                      <a:lnTo>
                        <a:pt x="49" y="29"/>
                      </a:lnTo>
                      <a:lnTo>
                        <a:pt x="48" y="31"/>
                      </a:lnTo>
                      <a:lnTo>
                        <a:pt x="46" y="35"/>
                      </a:lnTo>
                      <a:lnTo>
                        <a:pt x="42" y="44"/>
                      </a:lnTo>
                      <a:lnTo>
                        <a:pt x="35" y="55"/>
                      </a:lnTo>
                      <a:lnTo>
                        <a:pt x="34" y="60"/>
                      </a:lnTo>
                      <a:lnTo>
                        <a:pt x="33" y="66"/>
                      </a:lnTo>
                      <a:lnTo>
                        <a:pt x="30" y="70"/>
                      </a:lnTo>
                      <a:lnTo>
                        <a:pt x="28" y="75"/>
                      </a:lnTo>
                      <a:lnTo>
                        <a:pt x="20" y="85"/>
                      </a:lnTo>
                      <a:lnTo>
                        <a:pt x="18" y="92"/>
                      </a:lnTo>
                      <a:lnTo>
                        <a:pt x="9" y="108"/>
                      </a:lnTo>
                      <a:lnTo>
                        <a:pt x="2" y="126"/>
                      </a:lnTo>
                      <a:lnTo>
                        <a:pt x="0" y="131"/>
                      </a:lnTo>
                      <a:lnTo>
                        <a:pt x="67" y="128"/>
                      </a:lnTo>
                      <a:lnTo>
                        <a:pt x="70" y="128"/>
                      </a:lnTo>
                      <a:lnTo>
                        <a:pt x="72" y="127"/>
                      </a:lnTo>
                      <a:lnTo>
                        <a:pt x="72" y="125"/>
                      </a:lnTo>
                      <a:lnTo>
                        <a:pt x="72" y="119"/>
                      </a:lnTo>
                      <a:lnTo>
                        <a:pt x="74" y="109"/>
                      </a:lnTo>
                      <a:lnTo>
                        <a:pt x="75" y="104"/>
                      </a:lnTo>
                      <a:lnTo>
                        <a:pt x="79" y="96"/>
                      </a:lnTo>
                      <a:lnTo>
                        <a:pt x="84" y="88"/>
                      </a:lnTo>
                      <a:lnTo>
                        <a:pt x="90" y="80"/>
                      </a:lnTo>
                      <a:lnTo>
                        <a:pt x="89" y="62"/>
                      </a:lnTo>
                      <a:lnTo>
                        <a:pt x="87" y="53"/>
                      </a:lnTo>
                      <a:lnTo>
                        <a:pt x="87" y="49"/>
                      </a:lnTo>
                      <a:lnTo>
                        <a:pt x="89" y="47"/>
                      </a:lnTo>
                      <a:lnTo>
                        <a:pt x="161" y="42"/>
                      </a:lnTo>
                      <a:lnTo>
                        <a:pt x="160" y="15"/>
                      </a:lnTo>
                      <a:lnTo>
                        <a:pt x="159" y="0"/>
                      </a:lnTo>
                      <a:lnTo>
                        <a:pt x="66" y="3"/>
                      </a:lnTo>
                      <a:lnTo>
                        <a:pt x="62" y="10"/>
                      </a:lnTo>
                      <a:lnTo>
                        <a:pt x="58" y="17"/>
                      </a:lnTo>
                      <a:lnTo>
                        <a:pt x="54" y="2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9" name="Freeform 677">
                  <a:extLst>
                    <a:ext uri="{FF2B5EF4-FFF2-40B4-BE49-F238E27FC236}">
                      <a16:creationId xmlns:a16="http://schemas.microsoft.com/office/drawing/2014/main" id="{7BEB484D-D51A-DB4E-BF44-97FCA3B00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9397" y="3834030"/>
                  <a:ext cx="301894" cy="369968"/>
                </a:xfrm>
                <a:custGeom>
                  <a:avLst/>
                  <a:gdLst>
                    <a:gd name="T0" fmla="*/ 2147483647 w 221"/>
                    <a:gd name="T1" fmla="*/ 2147483647 h 250"/>
                    <a:gd name="T2" fmla="*/ 2147483647 w 221"/>
                    <a:gd name="T3" fmla="*/ 2147483647 h 250"/>
                    <a:gd name="T4" fmla="*/ 2147483647 w 221"/>
                    <a:gd name="T5" fmla="*/ 2147483647 h 250"/>
                    <a:gd name="T6" fmla="*/ 2147483647 w 221"/>
                    <a:gd name="T7" fmla="*/ 2147483647 h 250"/>
                    <a:gd name="T8" fmla="*/ 2147483647 w 221"/>
                    <a:gd name="T9" fmla="*/ 2147483647 h 250"/>
                    <a:gd name="T10" fmla="*/ 2147483647 w 221"/>
                    <a:gd name="T11" fmla="*/ 2147483647 h 250"/>
                    <a:gd name="T12" fmla="*/ 2147483647 w 221"/>
                    <a:gd name="T13" fmla="*/ 2147483647 h 250"/>
                    <a:gd name="T14" fmla="*/ 2147483647 w 221"/>
                    <a:gd name="T15" fmla="*/ 2147483647 h 250"/>
                    <a:gd name="T16" fmla="*/ 2147483647 w 221"/>
                    <a:gd name="T17" fmla="*/ 2147483647 h 250"/>
                    <a:gd name="T18" fmla="*/ 2147483647 w 221"/>
                    <a:gd name="T19" fmla="*/ 2147483647 h 250"/>
                    <a:gd name="T20" fmla="*/ 2147483647 w 221"/>
                    <a:gd name="T21" fmla="*/ 2147483647 h 250"/>
                    <a:gd name="T22" fmla="*/ 2147483647 w 221"/>
                    <a:gd name="T23" fmla="*/ 2147483647 h 250"/>
                    <a:gd name="T24" fmla="*/ 2147483647 w 221"/>
                    <a:gd name="T25" fmla="*/ 2147483647 h 250"/>
                    <a:gd name="T26" fmla="*/ 2147483647 w 221"/>
                    <a:gd name="T27" fmla="*/ 2147483647 h 250"/>
                    <a:gd name="T28" fmla="*/ 2147483647 w 221"/>
                    <a:gd name="T29" fmla="*/ 2147483647 h 250"/>
                    <a:gd name="T30" fmla="*/ 2147483647 w 221"/>
                    <a:gd name="T31" fmla="*/ 2147483647 h 250"/>
                    <a:gd name="T32" fmla="*/ 2147483647 w 221"/>
                    <a:gd name="T33" fmla="*/ 2147483647 h 250"/>
                    <a:gd name="T34" fmla="*/ 2147483647 w 221"/>
                    <a:gd name="T35" fmla="*/ 2147483647 h 250"/>
                    <a:gd name="T36" fmla="*/ 2147483647 w 221"/>
                    <a:gd name="T37" fmla="*/ 2147483647 h 250"/>
                    <a:gd name="T38" fmla="*/ 2147483647 w 221"/>
                    <a:gd name="T39" fmla="*/ 2147483647 h 250"/>
                    <a:gd name="T40" fmla="*/ 2147483647 w 221"/>
                    <a:gd name="T41" fmla="*/ 2147483647 h 250"/>
                    <a:gd name="T42" fmla="*/ 2147483647 w 221"/>
                    <a:gd name="T43" fmla="*/ 2147483647 h 250"/>
                    <a:gd name="T44" fmla="*/ 2147483647 w 221"/>
                    <a:gd name="T45" fmla="*/ 2147483647 h 250"/>
                    <a:gd name="T46" fmla="*/ 2147483647 w 221"/>
                    <a:gd name="T47" fmla="*/ 2147483647 h 250"/>
                    <a:gd name="T48" fmla="*/ 2147483647 w 221"/>
                    <a:gd name="T49" fmla="*/ 2147483647 h 250"/>
                    <a:gd name="T50" fmla="*/ 2147483647 w 221"/>
                    <a:gd name="T51" fmla="*/ 2147483647 h 250"/>
                    <a:gd name="T52" fmla="*/ 2147483647 w 221"/>
                    <a:gd name="T53" fmla="*/ 2147483647 h 250"/>
                    <a:gd name="T54" fmla="*/ 2147483647 w 221"/>
                    <a:gd name="T55" fmla="*/ 2147483647 h 250"/>
                    <a:gd name="T56" fmla="*/ 2147483647 w 221"/>
                    <a:gd name="T57" fmla="*/ 2147483647 h 250"/>
                    <a:gd name="T58" fmla="*/ 2147483647 w 221"/>
                    <a:gd name="T59" fmla="*/ 2147483647 h 250"/>
                    <a:gd name="T60" fmla="*/ 2147483647 w 221"/>
                    <a:gd name="T61" fmla="*/ 2147483647 h 250"/>
                    <a:gd name="T62" fmla="*/ 2147483647 w 221"/>
                    <a:gd name="T63" fmla="*/ 2147483647 h 250"/>
                    <a:gd name="T64" fmla="*/ 2147483647 w 221"/>
                    <a:gd name="T65" fmla="*/ 2147483647 h 250"/>
                    <a:gd name="T66" fmla="*/ 2147483647 w 221"/>
                    <a:gd name="T67" fmla="*/ 2147483647 h 250"/>
                    <a:gd name="T68" fmla="*/ 2147483647 w 221"/>
                    <a:gd name="T69" fmla="*/ 2147483647 h 250"/>
                    <a:gd name="T70" fmla="*/ 2147483647 w 221"/>
                    <a:gd name="T71" fmla="*/ 2147483647 h 250"/>
                    <a:gd name="T72" fmla="*/ 2147483647 w 221"/>
                    <a:gd name="T73" fmla="*/ 2147483647 h 250"/>
                    <a:gd name="T74" fmla="*/ 2147483647 w 221"/>
                    <a:gd name="T75" fmla="*/ 2147483647 h 250"/>
                    <a:gd name="T76" fmla="*/ 2147483647 w 221"/>
                    <a:gd name="T77" fmla="*/ 2147483647 h 250"/>
                    <a:gd name="T78" fmla="*/ 2147483647 w 221"/>
                    <a:gd name="T79" fmla="*/ 2147483647 h 250"/>
                    <a:gd name="T80" fmla="*/ 2147483647 w 221"/>
                    <a:gd name="T81" fmla="*/ 2147483647 h 250"/>
                    <a:gd name="T82" fmla="*/ 2147483647 w 221"/>
                    <a:gd name="T83" fmla="*/ 2147483647 h 250"/>
                    <a:gd name="T84" fmla="*/ 2147483647 w 221"/>
                    <a:gd name="T85" fmla="*/ 2147483647 h 250"/>
                    <a:gd name="T86" fmla="*/ 2147483647 w 221"/>
                    <a:gd name="T87" fmla="*/ 2147483647 h 250"/>
                    <a:gd name="T88" fmla="*/ 2147483647 w 221"/>
                    <a:gd name="T89" fmla="*/ 2147483647 h 250"/>
                    <a:gd name="T90" fmla="*/ 2147483647 w 221"/>
                    <a:gd name="T91" fmla="*/ 2147483647 h 250"/>
                    <a:gd name="T92" fmla="*/ 2147483647 w 221"/>
                    <a:gd name="T93" fmla="*/ 2147483647 h 250"/>
                    <a:gd name="T94" fmla="*/ 2147483647 w 221"/>
                    <a:gd name="T95" fmla="*/ 2147483647 h 250"/>
                    <a:gd name="T96" fmla="*/ 2147483647 w 221"/>
                    <a:gd name="T97" fmla="*/ 2147483647 h 250"/>
                    <a:gd name="T98" fmla="*/ 2147483647 w 221"/>
                    <a:gd name="T99" fmla="*/ 2147483647 h 250"/>
                    <a:gd name="T100" fmla="*/ 0 w 221"/>
                    <a:gd name="T101" fmla="*/ 2147483647 h 250"/>
                    <a:gd name="T102" fmla="*/ 0 w 221"/>
                    <a:gd name="T103" fmla="*/ 2147483647 h 250"/>
                    <a:gd name="T104" fmla="*/ 2147483647 w 221"/>
                    <a:gd name="T105" fmla="*/ 2147483647 h 25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21"/>
                    <a:gd name="T160" fmla="*/ 0 h 250"/>
                    <a:gd name="T161" fmla="*/ 221 w 221"/>
                    <a:gd name="T162" fmla="*/ 250 h 25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21" h="250">
                      <a:moveTo>
                        <a:pt x="3" y="116"/>
                      </a:moveTo>
                      <a:lnTo>
                        <a:pt x="70" y="113"/>
                      </a:lnTo>
                      <a:lnTo>
                        <a:pt x="73" y="113"/>
                      </a:lnTo>
                      <a:lnTo>
                        <a:pt x="75" y="112"/>
                      </a:lnTo>
                      <a:lnTo>
                        <a:pt x="75" y="110"/>
                      </a:lnTo>
                      <a:lnTo>
                        <a:pt x="75" y="104"/>
                      </a:lnTo>
                      <a:lnTo>
                        <a:pt x="77" y="94"/>
                      </a:lnTo>
                      <a:lnTo>
                        <a:pt x="78" y="89"/>
                      </a:lnTo>
                      <a:lnTo>
                        <a:pt x="82" y="81"/>
                      </a:lnTo>
                      <a:lnTo>
                        <a:pt x="87" y="73"/>
                      </a:lnTo>
                      <a:lnTo>
                        <a:pt x="93" y="65"/>
                      </a:lnTo>
                      <a:lnTo>
                        <a:pt x="92" y="47"/>
                      </a:lnTo>
                      <a:lnTo>
                        <a:pt x="90" y="38"/>
                      </a:lnTo>
                      <a:lnTo>
                        <a:pt x="90" y="34"/>
                      </a:lnTo>
                      <a:lnTo>
                        <a:pt x="92" y="32"/>
                      </a:lnTo>
                      <a:lnTo>
                        <a:pt x="164" y="27"/>
                      </a:lnTo>
                      <a:lnTo>
                        <a:pt x="163" y="0"/>
                      </a:lnTo>
                      <a:lnTo>
                        <a:pt x="195" y="22"/>
                      </a:lnTo>
                      <a:lnTo>
                        <a:pt x="221" y="41"/>
                      </a:lnTo>
                      <a:lnTo>
                        <a:pt x="198" y="40"/>
                      </a:lnTo>
                      <a:lnTo>
                        <a:pt x="198" y="220"/>
                      </a:lnTo>
                      <a:lnTo>
                        <a:pt x="196" y="220"/>
                      </a:lnTo>
                      <a:lnTo>
                        <a:pt x="163" y="219"/>
                      </a:lnTo>
                      <a:lnTo>
                        <a:pt x="146" y="219"/>
                      </a:lnTo>
                      <a:lnTo>
                        <a:pt x="130" y="220"/>
                      </a:lnTo>
                      <a:lnTo>
                        <a:pt x="126" y="221"/>
                      </a:lnTo>
                      <a:lnTo>
                        <a:pt x="121" y="224"/>
                      </a:lnTo>
                      <a:lnTo>
                        <a:pt x="118" y="226"/>
                      </a:lnTo>
                      <a:lnTo>
                        <a:pt x="116" y="231"/>
                      </a:lnTo>
                      <a:lnTo>
                        <a:pt x="115" y="232"/>
                      </a:lnTo>
                      <a:lnTo>
                        <a:pt x="112" y="233"/>
                      </a:lnTo>
                      <a:lnTo>
                        <a:pt x="110" y="233"/>
                      </a:lnTo>
                      <a:lnTo>
                        <a:pt x="108" y="233"/>
                      </a:lnTo>
                      <a:lnTo>
                        <a:pt x="106" y="231"/>
                      </a:lnTo>
                      <a:lnTo>
                        <a:pt x="104" y="228"/>
                      </a:lnTo>
                      <a:lnTo>
                        <a:pt x="104" y="226"/>
                      </a:lnTo>
                      <a:lnTo>
                        <a:pt x="106" y="224"/>
                      </a:lnTo>
                      <a:lnTo>
                        <a:pt x="102" y="224"/>
                      </a:lnTo>
                      <a:lnTo>
                        <a:pt x="98" y="227"/>
                      </a:lnTo>
                      <a:lnTo>
                        <a:pt x="97" y="231"/>
                      </a:lnTo>
                      <a:lnTo>
                        <a:pt x="96" y="234"/>
                      </a:lnTo>
                      <a:lnTo>
                        <a:pt x="94" y="241"/>
                      </a:lnTo>
                      <a:lnTo>
                        <a:pt x="94" y="245"/>
                      </a:lnTo>
                      <a:lnTo>
                        <a:pt x="96" y="250"/>
                      </a:lnTo>
                      <a:lnTo>
                        <a:pt x="90" y="249"/>
                      </a:lnTo>
                      <a:lnTo>
                        <a:pt x="87" y="247"/>
                      </a:lnTo>
                      <a:lnTo>
                        <a:pt x="80" y="243"/>
                      </a:lnTo>
                      <a:lnTo>
                        <a:pt x="75" y="237"/>
                      </a:lnTo>
                      <a:lnTo>
                        <a:pt x="71" y="231"/>
                      </a:lnTo>
                      <a:lnTo>
                        <a:pt x="69" y="224"/>
                      </a:lnTo>
                      <a:lnTo>
                        <a:pt x="68" y="223"/>
                      </a:lnTo>
                      <a:lnTo>
                        <a:pt x="66" y="221"/>
                      </a:lnTo>
                      <a:lnTo>
                        <a:pt x="66" y="219"/>
                      </a:lnTo>
                      <a:lnTo>
                        <a:pt x="64" y="217"/>
                      </a:lnTo>
                      <a:lnTo>
                        <a:pt x="56" y="213"/>
                      </a:lnTo>
                      <a:lnTo>
                        <a:pt x="50" y="211"/>
                      </a:lnTo>
                      <a:lnTo>
                        <a:pt x="45" y="209"/>
                      </a:lnTo>
                      <a:lnTo>
                        <a:pt x="38" y="208"/>
                      </a:lnTo>
                      <a:lnTo>
                        <a:pt x="37" y="207"/>
                      </a:lnTo>
                      <a:lnTo>
                        <a:pt x="35" y="207"/>
                      </a:lnTo>
                      <a:lnTo>
                        <a:pt x="24" y="212"/>
                      </a:lnTo>
                      <a:lnTo>
                        <a:pt x="19" y="213"/>
                      </a:lnTo>
                      <a:lnTo>
                        <a:pt x="13" y="214"/>
                      </a:lnTo>
                      <a:lnTo>
                        <a:pt x="16" y="205"/>
                      </a:lnTo>
                      <a:lnTo>
                        <a:pt x="18" y="187"/>
                      </a:lnTo>
                      <a:lnTo>
                        <a:pt x="18" y="174"/>
                      </a:lnTo>
                      <a:lnTo>
                        <a:pt x="18" y="169"/>
                      </a:lnTo>
                      <a:lnTo>
                        <a:pt x="17" y="166"/>
                      </a:lnTo>
                      <a:lnTo>
                        <a:pt x="13" y="163"/>
                      </a:lnTo>
                      <a:lnTo>
                        <a:pt x="13" y="162"/>
                      </a:lnTo>
                      <a:lnTo>
                        <a:pt x="12" y="161"/>
                      </a:lnTo>
                      <a:lnTo>
                        <a:pt x="13" y="143"/>
                      </a:lnTo>
                      <a:lnTo>
                        <a:pt x="12" y="126"/>
                      </a:lnTo>
                      <a:lnTo>
                        <a:pt x="12" y="122"/>
                      </a:lnTo>
                      <a:lnTo>
                        <a:pt x="10" y="122"/>
                      </a:lnTo>
                      <a:lnTo>
                        <a:pt x="8" y="122"/>
                      </a:lnTo>
                      <a:lnTo>
                        <a:pt x="3" y="125"/>
                      </a:lnTo>
                      <a:lnTo>
                        <a:pt x="0" y="128"/>
                      </a:lnTo>
                      <a:lnTo>
                        <a:pt x="0" y="124"/>
                      </a:lnTo>
                      <a:lnTo>
                        <a:pt x="0" y="122"/>
                      </a:lnTo>
                      <a:lnTo>
                        <a:pt x="3" y="1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0" name="Freeform 678">
                  <a:extLst>
                    <a:ext uri="{FF2B5EF4-FFF2-40B4-BE49-F238E27FC236}">
                      <a16:creationId xmlns:a16="http://schemas.microsoft.com/office/drawing/2014/main" id="{A54276E4-A5DE-F049-B3A6-DD4C2B55DF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7558" y="4141843"/>
                  <a:ext cx="146507" cy="136148"/>
                </a:xfrm>
                <a:custGeom>
                  <a:avLst/>
                  <a:gdLst>
                    <a:gd name="T0" fmla="*/ 2147483647 w 107"/>
                    <a:gd name="T1" fmla="*/ 2147483647 h 92"/>
                    <a:gd name="T2" fmla="*/ 2147483647 w 107"/>
                    <a:gd name="T3" fmla="*/ 2147483647 h 92"/>
                    <a:gd name="T4" fmla="*/ 2147483647 w 107"/>
                    <a:gd name="T5" fmla="*/ 2147483647 h 92"/>
                    <a:gd name="T6" fmla="*/ 2147483647 w 107"/>
                    <a:gd name="T7" fmla="*/ 2147483647 h 92"/>
                    <a:gd name="T8" fmla="*/ 2147483647 w 107"/>
                    <a:gd name="T9" fmla="*/ 2147483647 h 92"/>
                    <a:gd name="T10" fmla="*/ 2147483647 w 107"/>
                    <a:gd name="T11" fmla="*/ 2147483647 h 92"/>
                    <a:gd name="T12" fmla="*/ 2147483647 w 107"/>
                    <a:gd name="T13" fmla="*/ 0 h 92"/>
                    <a:gd name="T14" fmla="*/ 2147483647 w 107"/>
                    <a:gd name="T15" fmla="*/ 2147483647 h 92"/>
                    <a:gd name="T16" fmla="*/ 2147483647 w 107"/>
                    <a:gd name="T17" fmla="*/ 2147483647 h 92"/>
                    <a:gd name="T18" fmla="*/ 2147483647 w 107"/>
                    <a:gd name="T19" fmla="*/ 2147483647 h 92"/>
                    <a:gd name="T20" fmla="*/ 2147483647 w 107"/>
                    <a:gd name="T21" fmla="*/ 2147483647 h 92"/>
                    <a:gd name="T22" fmla="*/ 0 w 107"/>
                    <a:gd name="T23" fmla="*/ 2147483647 h 92"/>
                    <a:gd name="T24" fmla="*/ 2147483647 w 107"/>
                    <a:gd name="T25" fmla="*/ 2147483647 h 92"/>
                    <a:gd name="T26" fmla="*/ 2147483647 w 107"/>
                    <a:gd name="T27" fmla="*/ 2147483647 h 92"/>
                    <a:gd name="T28" fmla="*/ 2147483647 w 107"/>
                    <a:gd name="T29" fmla="*/ 2147483647 h 92"/>
                    <a:gd name="T30" fmla="*/ 2147483647 w 107"/>
                    <a:gd name="T31" fmla="*/ 2147483647 h 92"/>
                    <a:gd name="T32" fmla="*/ 2147483647 w 107"/>
                    <a:gd name="T33" fmla="*/ 2147483647 h 92"/>
                    <a:gd name="T34" fmla="*/ 2147483647 w 107"/>
                    <a:gd name="T35" fmla="*/ 2147483647 h 92"/>
                    <a:gd name="T36" fmla="*/ 2147483647 w 107"/>
                    <a:gd name="T37" fmla="*/ 2147483647 h 92"/>
                    <a:gd name="T38" fmla="*/ 2147483647 w 107"/>
                    <a:gd name="T39" fmla="*/ 2147483647 h 92"/>
                    <a:gd name="T40" fmla="*/ 2147483647 w 107"/>
                    <a:gd name="T41" fmla="*/ 2147483647 h 92"/>
                    <a:gd name="T42" fmla="*/ 2147483647 w 107"/>
                    <a:gd name="T43" fmla="*/ 2147483647 h 92"/>
                    <a:gd name="T44" fmla="*/ 2147483647 w 107"/>
                    <a:gd name="T45" fmla="*/ 2147483647 h 92"/>
                    <a:gd name="T46" fmla="*/ 2147483647 w 107"/>
                    <a:gd name="T47" fmla="*/ 2147483647 h 92"/>
                    <a:gd name="T48" fmla="*/ 2147483647 w 107"/>
                    <a:gd name="T49" fmla="*/ 2147483647 h 92"/>
                    <a:gd name="T50" fmla="*/ 2147483647 w 107"/>
                    <a:gd name="T51" fmla="*/ 2147483647 h 92"/>
                    <a:gd name="T52" fmla="*/ 2147483647 w 107"/>
                    <a:gd name="T53" fmla="*/ 2147483647 h 92"/>
                    <a:gd name="T54" fmla="*/ 2147483647 w 107"/>
                    <a:gd name="T55" fmla="*/ 2147483647 h 92"/>
                    <a:gd name="T56" fmla="*/ 2147483647 w 107"/>
                    <a:gd name="T57" fmla="*/ 2147483647 h 92"/>
                    <a:gd name="T58" fmla="*/ 2147483647 w 107"/>
                    <a:gd name="T59" fmla="*/ 2147483647 h 92"/>
                    <a:gd name="T60" fmla="*/ 2147483647 w 107"/>
                    <a:gd name="T61" fmla="*/ 2147483647 h 92"/>
                    <a:gd name="T62" fmla="*/ 2147483647 w 107"/>
                    <a:gd name="T63" fmla="*/ 2147483647 h 9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07"/>
                    <a:gd name="T97" fmla="*/ 0 h 92"/>
                    <a:gd name="T98" fmla="*/ 107 w 107"/>
                    <a:gd name="T99" fmla="*/ 92 h 9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07" h="92">
                      <a:moveTo>
                        <a:pt x="97" y="41"/>
                      </a:moveTo>
                      <a:lnTo>
                        <a:pt x="91" y="36"/>
                      </a:lnTo>
                      <a:lnTo>
                        <a:pt x="86" y="30"/>
                      </a:lnTo>
                      <a:lnTo>
                        <a:pt x="82" y="24"/>
                      </a:lnTo>
                      <a:lnTo>
                        <a:pt x="79" y="17"/>
                      </a:lnTo>
                      <a:lnTo>
                        <a:pt x="78" y="16"/>
                      </a:lnTo>
                      <a:lnTo>
                        <a:pt x="77" y="15"/>
                      </a:lnTo>
                      <a:lnTo>
                        <a:pt x="77" y="12"/>
                      </a:lnTo>
                      <a:lnTo>
                        <a:pt x="74" y="10"/>
                      </a:lnTo>
                      <a:lnTo>
                        <a:pt x="66" y="6"/>
                      </a:lnTo>
                      <a:lnTo>
                        <a:pt x="60" y="4"/>
                      </a:lnTo>
                      <a:lnTo>
                        <a:pt x="55" y="3"/>
                      </a:lnTo>
                      <a:lnTo>
                        <a:pt x="49" y="1"/>
                      </a:lnTo>
                      <a:lnTo>
                        <a:pt x="47" y="0"/>
                      </a:lnTo>
                      <a:lnTo>
                        <a:pt x="45" y="0"/>
                      </a:lnTo>
                      <a:lnTo>
                        <a:pt x="35" y="5"/>
                      </a:lnTo>
                      <a:lnTo>
                        <a:pt x="30" y="6"/>
                      </a:lnTo>
                      <a:lnTo>
                        <a:pt x="23" y="7"/>
                      </a:lnTo>
                      <a:lnTo>
                        <a:pt x="23" y="10"/>
                      </a:lnTo>
                      <a:lnTo>
                        <a:pt x="22" y="13"/>
                      </a:lnTo>
                      <a:lnTo>
                        <a:pt x="19" y="17"/>
                      </a:lnTo>
                      <a:lnTo>
                        <a:pt x="13" y="26"/>
                      </a:lnTo>
                      <a:lnTo>
                        <a:pt x="0" y="42"/>
                      </a:lnTo>
                      <a:lnTo>
                        <a:pt x="0" y="43"/>
                      </a:lnTo>
                      <a:lnTo>
                        <a:pt x="2" y="43"/>
                      </a:lnTo>
                      <a:lnTo>
                        <a:pt x="3" y="44"/>
                      </a:lnTo>
                      <a:lnTo>
                        <a:pt x="8" y="44"/>
                      </a:lnTo>
                      <a:lnTo>
                        <a:pt x="9" y="45"/>
                      </a:lnTo>
                      <a:lnTo>
                        <a:pt x="11" y="47"/>
                      </a:lnTo>
                      <a:lnTo>
                        <a:pt x="18" y="61"/>
                      </a:lnTo>
                      <a:lnTo>
                        <a:pt x="35" y="58"/>
                      </a:lnTo>
                      <a:lnTo>
                        <a:pt x="42" y="58"/>
                      </a:lnTo>
                      <a:lnTo>
                        <a:pt x="49" y="58"/>
                      </a:lnTo>
                      <a:lnTo>
                        <a:pt x="63" y="61"/>
                      </a:lnTo>
                      <a:lnTo>
                        <a:pt x="77" y="63"/>
                      </a:lnTo>
                      <a:lnTo>
                        <a:pt x="74" y="71"/>
                      </a:lnTo>
                      <a:lnTo>
                        <a:pt x="73" y="74"/>
                      </a:lnTo>
                      <a:lnTo>
                        <a:pt x="69" y="76"/>
                      </a:lnTo>
                      <a:lnTo>
                        <a:pt x="64" y="77"/>
                      </a:lnTo>
                      <a:lnTo>
                        <a:pt x="59" y="76"/>
                      </a:lnTo>
                      <a:lnTo>
                        <a:pt x="49" y="75"/>
                      </a:lnTo>
                      <a:lnTo>
                        <a:pt x="42" y="74"/>
                      </a:lnTo>
                      <a:lnTo>
                        <a:pt x="36" y="74"/>
                      </a:lnTo>
                      <a:lnTo>
                        <a:pt x="25" y="75"/>
                      </a:lnTo>
                      <a:lnTo>
                        <a:pt x="26" y="83"/>
                      </a:lnTo>
                      <a:lnTo>
                        <a:pt x="27" y="92"/>
                      </a:lnTo>
                      <a:lnTo>
                        <a:pt x="39" y="88"/>
                      </a:lnTo>
                      <a:lnTo>
                        <a:pt x="49" y="87"/>
                      </a:lnTo>
                      <a:lnTo>
                        <a:pt x="60" y="86"/>
                      </a:lnTo>
                      <a:lnTo>
                        <a:pt x="72" y="87"/>
                      </a:lnTo>
                      <a:lnTo>
                        <a:pt x="78" y="88"/>
                      </a:lnTo>
                      <a:lnTo>
                        <a:pt x="84" y="89"/>
                      </a:lnTo>
                      <a:lnTo>
                        <a:pt x="91" y="89"/>
                      </a:lnTo>
                      <a:lnTo>
                        <a:pt x="105" y="86"/>
                      </a:lnTo>
                      <a:lnTo>
                        <a:pt x="107" y="86"/>
                      </a:lnTo>
                      <a:lnTo>
                        <a:pt x="107" y="82"/>
                      </a:lnTo>
                      <a:lnTo>
                        <a:pt x="107" y="79"/>
                      </a:lnTo>
                      <a:lnTo>
                        <a:pt x="103" y="74"/>
                      </a:lnTo>
                      <a:lnTo>
                        <a:pt x="99" y="69"/>
                      </a:lnTo>
                      <a:lnTo>
                        <a:pt x="94" y="64"/>
                      </a:lnTo>
                      <a:lnTo>
                        <a:pt x="93" y="61"/>
                      </a:lnTo>
                      <a:lnTo>
                        <a:pt x="93" y="58"/>
                      </a:lnTo>
                      <a:lnTo>
                        <a:pt x="93" y="52"/>
                      </a:lnTo>
                      <a:lnTo>
                        <a:pt x="97" y="4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1" name="Freeform 679">
                  <a:extLst>
                    <a:ext uri="{FF2B5EF4-FFF2-40B4-BE49-F238E27FC236}">
                      <a16:creationId xmlns:a16="http://schemas.microsoft.com/office/drawing/2014/main" id="{5AE49E0F-617B-C14D-903F-A7DC602A01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2719" y="4227675"/>
                  <a:ext cx="79913" cy="28117"/>
                </a:xfrm>
                <a:custGeom>
                  <a:avLst/>
                  <a:gdLst>
                    <a:gd name="T0" fmla="*/ 2147483647 w 59"/>
                    <a:gd name="T1" fmla="*/ 2147483647 h 19"/>
                    <a:gd name="T2" fmla="*/ 2147483647 w 59"/>
                    <a:gd name="T3" fmla="*/ 2147483647 h 19"/>
                    <a:gd name="T4" fmla="*/ 2147483647 w 59"/>
                    <a:gd name="T5" fmla="*/ 2147483647 h 19"/>
                    <a:gd name="T6" fmla="*/ 2147483647 w 59"/>
                    <a:gd name="T7" fmla="*/ 2147483647 h 19"/>
                    <a:gd name="T8" fmla="*/ 2147483647 w 59"/>
                    <a:gd name="T9" fmla="*/ 2147483647 h 19"/>
                    <a:gd name="T10" fmla="*/ 2147483647 w 59"/>
                    <a:gd name="T11" fmla="*/ 2147483647 h 19"/>
                    <a:gd name="T12" fmla="*/ 2147483647 w 59"/>
                    <a:gd name="T13" fmla="*/ 2147483647 h 19"/>
                    <a:gd name="T14" fmla="*/ 2147483647 w 59"/>
                    <a:gd name="T15" fmla="*/ 2147483647 h 19"/>
                    <a:gd name="T16" fmla="*/ 2147483647 w 59"/>
                    <a:gd name="T17" fmla="*/ 2147483647 h 19"/>
                    <a:gd name="T18" fmla="*/ 2147483647 w 59"/>
                    <a:gd name="T19" fmla="*/ 2147483647 h 19"/>
                    <a:gd name="T20" fmla="*/ 2147483647 w 59"/>
                    <a:gd name="T21" fmla="*/ 2147483647 h 19"/>
                    <a:gd name="T22" fmla="*/ 2147483647 w 59"/>
                    <a:gd name="T23" fmla="*/ 0 h 19"/>
                    <a:gd name="T24" fmla="*/ 2147483647 w 59"/>
                    <a:gd name="T25" fmla="*/ 0 h 19"/>
                    <a:gd name="T26" fmla="*/ 2147483647 w 59"/>
                    <a:gd name="T27" fmla="*/ 0 h 19"/>
                    <a:gd name="T28" fmla="*/ 0 w 59"/>
                    <a:gd name="T29" fmla="*/ 2147483647 h 19"/>
                    <a:gd name="T30" fmla="*/ 2147483647 w 59"/>
                    <a:gd name="T31" fmla="*/ 2147483647 h 19"/>
                    <a:gd name="T32" fmla="*/ 2147483647 w 59"/>
                    <a:gd name="T33" fmla="*/ 2147483647 h 19"/>
                    <a:gd name="T34" fmla="*/ 2147483647 w 59"/>
                    <a:gd name="T35" fmla="*/ 2147483647 h 1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59"/>
                    <a:gd name="T55" fmla="*/ 0 h 19"/>
                    <a:gd name="T56" fmla="*/ 59 w 59"/>
                    <a:gd name="T57" fmla="*/ 19 h 1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59" h="19">
                      <a:moveTo>
                        <a:pt x="7" y="17"/>
                      </a:moveTo>
                      <a:lnTo>
                        <a:pt x="18" y="16"/>
                      </a:lnTo>
                      <a:lnTo>
                        <a:pt x="24" y="16"/>
                      </a:lnTo>
                      <a:lnTo>
                        <a:pt x="31" y="17"/>
                      </a:lnTo>
                      <a:lnTo>
                        <a:pt x="41" y="18"/>
                      </a:lnTo>
                      <a:lnTo>
                        <a:pt x="46" y="19"/>
                      </a:lnTo>
                      <a:lnTo>
                        <a:pt x="51" y="18"/>
                      </a:lnTo>
                      <a:lnTo>
                        <a:pt x="55" y="16"/>
                      </a:lnTo>
                      <a:lnTo>
                        <a:pt x="56" y="13"/>
                      </a:lnTo>
                      <a:lnTo>
                        <a:pt x="59" y="5"/>
                      </a:lnTo>
                      <a:lnTo>
                        <a:pt x="45" y="3"/>
                      </a:lnTo>
                      <a:lnTo>
                        <a:pt x="31" y="0"/>
                      </a:lnTo>
                      <a:lnTo>
                        <a:pt x="24" y="0"/>
                      </a:lnTo>
                      <a:lnTo>
                        <a:pt x="17" y="0"/>
                      </a:lnTo>
                      <a:lnTo>
                        <a:pt x="0" y="3"/>
                      </a:lnTo>
                      <a:lnTo>
                        <a:pt x="4" y="7"/>
                      </a:lnTo>
                      <a:lnTo>
                        <a:pt x="5" y="12"/>
                      </a:lnTo>
                      <a:lnTo>
                        <a:pt x="7" y="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2" name="Freeform 680">
                  <a:extLst>
                    <a:ext uri="{FF2B5EF4-FFF2-40B4-BE49-F238E27FC236}">
                      <a16:creationId xmlns:a16="http://schemas.microsoft.com/office/drawing/2014/main" id="{6419C792-BAB1-FC47-967E-C2927D635A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6078" y="4140366"/>
                  <a:ext cx="146508" cy="134669"/>
                </a:xfrm>
                <a:custGeom>
                  <a:avLst/>
                  <a:gdLst>
                    <a:gd name="T0" fmla="*/ 2147483647 w 107"/>
                    <a:gd name="T1" fmla="*/ 2147483647 h 91"/>
                    <a:gd name="T2" fmla="*/ 2147483647 w 107"/>
                    <a:gd name="T3" fmla="*/ 2147483647 h 91"/>
                    <a:gd name="T4" fmla="*/ 2147483647 w 107"/>
                    <a:gd name="T5" fmla="*/ 2147483647 h 91"/>
                    <a:gd name="T6" fmla="*/ 2147483647 w 107"/>
                    <a:gd name="T7" fmla="*/ 2147483647 h 91"/>
                    <a:gd name="T8" fmla="*/ 2147483647 w 107"/>
                    <a:gd name="T9" fmla="*/ 2147483647 h 91"/>
                    <a:gd name="T10" fmla="*/ 2147483647 w 107"/>
                    <a:gd name="T11" fmla="*/ 2147483647 h 91"/>
                    <a:gd name="T12" fmla="*/ 2147483647 w 107"/>
                    <a:gd name="T13" fmla="*/ 2147483647 h 91"/>
                    <a:gd name="T14" fmla="*/ 2147483647 w 107"/>
                    <a:gd name="T15" fmla="*/ 2147483647 h 91"/>
                    <a:gd name="T16" fmla="*/ 2147483647 w 107"/>
                    <a:gd name="T17" fmla="*/ 2147483647 h 91"/>
                    <a:gd name="T18" fmla="*/ 2147483647 w 107"/>
                    <a:gd name="T19" fmla="*/ 0 h 91"/>
                    <a:gd name="T20" fmla="*/ 2147483647 w 107"/>
                    <a:gd name="T21" fmla="*/ 0 h 91"/>
                    <a:gd name="T22" fmla="*/ 2147483647 w 107"/>
                    <a:gd name="T23" fmla="*/ 2147483647 h 91"/>
                    <a:gd name="T24" fmla="*/ 2147483647 w 107"/>
                    <a:gd name="T25" fmla="*/ 2147483647 h 91"/>
                    <a:gd name="T26" fmla="*/ 2147483647 w 107"/>
                    <a:gd name="T27" fmla="*/ 2147483647 h 91"/>
                    <a:gd name="T28" fmla="*/ 2147483647 w 107"/>
                    <a:gd name="T29" fmla="*/ 2147483647 h 91"/>
                    <a:gd name="T30" fmla="*/ 0 w 107"/>
                    <a:gd name="T31" fmla="*/ 2147483647 h 91"/>
                    <a:gd name="T32" fmla="*/ 0 w 107"/>
                    <a:gd name="T33" fmla="*/ 2147483647 h 91"/>
                    <a:gd name="T34" fmla="*/ 2147483647 w 107"/>
                    <a:gd name="T35" fmla="*/ 2147483647 h 91"/>
                    <a:gd name="T36" fmla="*/ 2147483647 w 107"/>
                    <a:gd name="T37" fmla="*/ 2147483647 h 91"/>
                    <a:gd name="T38" fmla="*/ 2147483647 w 107"/>
                    <a:gd name="T39" fmla="*/ 2147483647 h 91"/>
                    <a:gd name="T40" fmla="*/ 2147483647 w 107"/>
                    <a:gd name="T41" fmla="*/ 2147483647 h 91"/>
                    <a:gd name="T42" fmla="*/ 2147483647 w 107"/>
                    <a:gd name="T43" fmla="*/ 2147483647 h 91"/>
                    <a:gd name="T44" fmla="*/ 2147483647 w 107"/>
                    <a:gd name="T45" fmla="*/ 2147483647 h 91"/>
                    <a:gd name="T46" fmla="*/ 2147483647 w 107"/>
                    <a:gd name="T47" fmla="*/ 2147483647 h 91"/>
                    <a:gd name="T48" fmla="*/ 2147483647 w 107"/>
                    <a:gd name="T49" fmla="*/ 2147483647 h 91"/>
                    <a:gd name="T50" fmla="*/ 2147483647 w 107"/>
                    <a:gd name="T51" fmla="*/ 2147483647 h 91"/>
                    <a:gd name="T52" fmla="*/ 2147483647 w 107"/>
                    <a:gd name="T53" fmla="*/ 2147483647 h 91"/>
                    <a:gd name="T54" fmla="*/ 2147483647 w 107"/>
                    <a:gd name="T55" fmla="*/ 2147483647 h 91"/>
                    <a:gd name="T56" fmla="*/ 2147483647 w 107"/>
                    <a:gd name="T57" fmla="*/ 2147483647 h 91"/>
                    <a:gd name="T58" fmla="*/ 2147483647 w 107"/>
                    <a:gd name="T59" fmla="*/ 2147483647 h 91"/>
                    <a:gd name="T60" fmla="*/ 2147483647 w 107"/>
                    <a:gd name="T61" fmla="*/ 2147483647 h 91"/>
                    <a:gd name="T62" fmla="*/ 2147483647 w 107"/>
                    <a:gd name="T63" fmla="*/ 2147483647 h 91"/>
                    <a:gd name="T64" fmla="*/ 2147483647 w 107"/>
                    <a:gd name="T65" fmla="*/ 2147483647 h 91"/>
                    <a:gd name="T66" fmla="*/ 2147483647 w 107"/>
                    <a:gd name="T67" fmla="*/ 2147483647 h 91"/>
                    <a:gd name="T68" fmla="*/ 2147483647 w 107"/>
                    <a:gd name="T69" fmla="*/ 2147483647 h 91"/>
                    <a:gd name="T70" fmla="*/ 2147483647 w 107"/>
                    <a:gd name="T71" fmla="*/ 2147483647 h 91"/>
                    <a:gd name="T72" fmla="*/ 2147483647 w 107"/>
                    <a:gd name="T73" fmla="*/ 2147483647 h 91"/>
                    <a:gd name="T74" fmla="*/ 2147483647 w 107"/>
                    <a:gd name="T75" fmla="*/ 2147483647 h 91"/>
                    <a:gd name="T76" fmla="*/ 2147483647 w 107"/>
                    <a:gd name="T77" fmla="*/ 2147483647 h 91"/>
                    <a:gd name="T78" fmla="*/ 2147483647 w 107"/>
                    <a:gd name="T79" fmla="*/ 2147483647 h 91"/>
                    <a:gd name="T80" fmla="*/ 2147483647 w 107"/>
                    <a:gd name="T81" fmla="*/ 2147483647 h 91"/>
                    <a:gd name="T82" fmla="*/ 2147483647 w 107"/>
                    <a:gd name="T83" fmla="*/ 2147483647 h 91"/>
                    <a:gd name="T84" fmla="*/ 2147483647 w 107"/>
                    <a:gd name="T85" fmla="*/ 2147483647 h 91"/>
                    <a:gd name="T86" fmla="*/ 2147483647 w 107"/>
                    <a:gd name="T87" fmla="*/ 2147483647 h 91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07"/>
                    <a:gd name="T133" fmla="*/ 0 h 91"/>
                    <a:gd name="T134" fmla="*/ 107 w 107"/>
                    <a:gd name="T135" fmla="*/ 91 h 91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07" h="91">
                      <a:moveTo>
                        <a:pt x="97" y="40"/>
                      </a:moveTo>
                      <a:lnTo>
                        <a:pt x="97" y="40"/>
                      </a:lnTo>
                      <a:lnTo>
                        <a:pt x="90" y="36"/>
                      </a:lnTo>
                      <a:lnTo>
                        <a:pt x="85" y="30"/>
                      </a:lnTo>
                      <a:lnTo>
                        <a:pt x="81" y="24"/>
                      </a:lnTo>
                      <a:lnTo>
                        <a:pt x="79" y="17"/>
                      </a:lnTo>
                      <a:lnTo>
                        <a:pt x="78" y="16"/>
                      </a:lnTo>
                      <a:lnTo>
                        <a:pt x="76" y="14"/>
                      </a:lnTo>
                      <a:lnTo>
                        <a:pt x="76" y="12"/>
                      </a:lnTo>
                      <a:lnTo>
                        <a:pt x="74" y="10"/>
                      </a:lnTo>
                      <a:lnTo>
                        <a:pt x="66" y="6"/>
                      </a:lnTo>
                      <a:lnTo>
                        <a:pt x="60" y="4"/>
                      </a:lnTo>
                      <a:lnTo>
                        <a:pt x="55" y="2"/>
                      </a:lnTo>
                      <a:lnTo>
                        <a:pt x="48" y="1"/>
                      </a:lnTo>
                      <a:lnTo>
                        <a:pt x="47" y="0"/>
                      </a:lnTo>
                      <a:lnTo>
                        <a:pt x="45" y="0"/>
                      </a:lnTo>
                      <a:lnTo>
                        <a:pt x="34" y="5"/>
                      </a:lnTo>
                      <a:lnTo>
                        <a:pt x="29" y="6"/>
                      </a:lnTo>
                      <a:lnTo>
                        <a:pt x="23" y="7"/>
                      </a:lnTo>
                      <a:lnTo>
                        <a:pt x="23" y="10"/>
                      </a:lnTo>
                      <a:lnTo>
                        <a:pt x="22" y="13"/>
                      </a:lnTo>
                      <a:lnTo>
                        <a:pt x="19" y="17"/>
                      </a:lnTo>
                      <a:lnTo>
                        <a:pt x="13" y="26"/>
                      </a:lnTo>
                      <a:lnTo>
                        <a:pt x="0" y="42"/>
                      </a:lnTo>
                      <a:lnTo>
                        <a:pt x="0" y="43"/>
                      </a:lnTo>
                      <a:lnTo>
                        <a:pt x="1" y="43"/>
                      </a:lnTo>
                      <a:lnTo>
                        <a:pt x="3" y="44"/>
                      </a:lnTo>
                      <a:lnTo>
                        <a:pt x="8" y="44"/>
                      </a:lnTo>
                      <a:lnTo>
                        <a:pt x="9" y="45"/>
                      </a:lnTo>
                      <a:lnTo>
                        <a:pt x="10" y="46"/>
                      </a:lnTo>
                      <a:lnTo>
                        <a:pt x="18" y="61"/>
                      </a:lnTo>
                      <a:lnTo>
                        <a:pt x="34" y="58"/>
                      </a:lnTo>
                      <a:lnTo>
                        <a:pt x="42" y="58"/>
                      </a:lnTo>
                      <a:lnTo>
                        <a:pt x="48" y="58"/>
                      </a:lnTo>
                      <a:lnTo>
                        <a:pt x="62" y="61"/>
                      </a:lnTo>
                      <a:lnTo>
                        <a:pt x="76" y="63"/>
                      </a:lnTo>
                      <a:lnTo>
                        <a:pt x="74" y="71"/>
                      </a:lnTo>
                      <a:lnTo>
                        <a:pt x="73" y="74"/>
                      </a:lnTo>
                      <a:lnTo>
                        <a:pt x="69" y="76"/>
                      </a:lnTo>
                      <a:lnTo>
                        <a:pt x="64" y="77"/>
                      </a:lnTo>
                      <a:lnTo>
                        <a:pt x="59" y="76"/>
                      </a:lnTo>
                      <a:lnTo>
                        <a:pt x="48" y="75"/>
                      </a:lnTo>
                      <a:lnTo>
                        <a:pt x="42" y="74"/>
                      </a:lnTo>
                      <a:lnTo>
                        <a:pt x="36" y="74"/>
                      </a:lnTo>
                      <a:lnTo>
                        <a:pt x="24" y="75"/>
                      </a:lnTo>
                      <a:lnTo>
                        <a:pt x="26" y="83"/>
                      </a:lnTo>
                      <a:lnTo>
                        <a:pt x="27" y="91"/>
                      </a:lnTo>
                      <a:lnTo>
                        <a:pt x="38" y="88"/>
                      </a:lnTo>
                      <a:lnTo>
                        <a:pt x="48" y="87"/>
                      </a:lnTo>
                      <a:lnTo>
                        <a:pt x="60" y="85"/>
                      </a:lnTo>
                      <a:lnTo>
                        <a:pt x="71" y="87"/>
                      </a:lnTo>
                      <a:lnTo>
                        <a:pt x="78" y="88"/>
                      </a:lnTo>
                      <a:lnTo>
                        <a:pt x="84" y="89"/>
                      </a:lnTo>
                      <a:lnTo>
                        <a:pt x="90" y="89"/>
                      </a:lnTo>
                      <a:lnTo>
                        <a:pt x="104" y="85"/>
                      </a:lnTo>
                      <a:lnTo>
                        <a:pt x="107" y="85"/>
                      </a:lnTo>
                      <a:lnTo>
                        <a:pt x="107" y="82"/>
                      </a:lnTo>
                      <a:lnTo>
                        <a:pt x="107" y="78"/>
                      </a:lnTo>
                      <a:lnTo>
                        <a:pt x="103" y="74"/>
                      </a:lnTo>
                      <a:lnTo>
                        <a:pt x="99" y="69"/>
                      </a:lnTo>
                      <a:lnTo>
                        <a:pt x="94" y="64"/>
                      </a:lnTo>
                      <a:lnTo>
                        <a:pt x="93" y="61"/>
                      </a:lnTo>
                      <a:lnTo>
                        <a:pt x="93" y="58"/>
                      </a:lnTo>
                      <a:lnTo>
                        <a:pt x="93" y="52"/>
                      </a:lnTo>
                      <a:lnTo>
                        <a:pt x="97" y="4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3" name="Freeform 681">
                  <a:extLst>
                    <a:ext uri="{FF2B5EF4-FFF2-40B4-BE49-F238E27FC236}">
                      <a16:creationId xmlns:a16="http://schemas.microsoft.com/office/drawing/2014/main" id="{31524939-5FE9-6C4B-A75E-BA76CA1CB0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1236" y="4226199"/>
                  <a:ext cx="78433" cy="28118"/>
                </a:xfrm>
                <a:custGeom>
                  <a:avLst/>
                  <a:gdLst>
                    <a:gd name="T0" fmla="*/ 2147483647 w 58"/>
                    <a:gd name="T1" fmla="*/ 2147483647 h 19"/>
                    <a:gd name="T2" fmla="*/ 2147483647 w 58"/>
                    <a:gd name="T3" fmla="*/ 2147483647 h 19"/>
                    <a:gd name="T4" fmla="*/ 2147483647 w 58"/>
                    <a:gd name="T5" fmla="*/ 2147483647 h 19"/>
                    <a:gd name="T6" fmla="*/ 2147483647 w 58"/>
                    <a:gd name="T7" fmla="*/ 2147483647 h 19"/>
                    <a:gd name="T8" fmla="*/ 2147483647 w 58"/>
                    <a:gd name="T9" fmla="*/ 2147483647 h 19"/>
                    <a:gd name="T10" fmla="*/ 2147483647 w 58"/>
                    <a:gd name="T11" fmla="*/ 2147483647 h 19"/>
                    <a:gd name="T12" fmla="*/ 2147483647 w 58"/>
                    <a:gd name="T13" fmla="*/ 2147483647 h 19"/>
                    <a:gd name="T14" fmla="*/ 2147483647 w 58"/>
                    <a:gd name="T15" fmla="*/ 2147483647 h 19"/>
                    <a:gd name="T16" fmla="*/ 2147483647 w 58"/>
                    <a:gd name="T17" fmla="*/ 2147483647 h 19"/>
                    <a:gd name="T18" fmla="*/ 2147483647 w 58"/>
                    <a:gd name="T19" fmla="*/ 2147483647 h 19"/>
                    <a:gd name="T20" fmla="*/ 2147483647 w 58"/>
                    <a:gd name="T21" fmla="*/ 2147483647 h 19"/>
                    <a:gd name="T22" fmla="*/ 2147483647 w 58"/>
                    <a:gd name="T23" fmla="*/ 2147483647 h 19"/>
                    <a:gd name="T24" fmla="*/ 2147483647 w 58"/>
                    <a:gd name="T25" fmla="*/ 2147483647 h 19"/>
                    <a:gd name="T26" fmla="*/ 2147483647 w 58"/>
                    <a:gd name="T27" fmla="*/ 2147483647 h 19"/>
                    <a:gd name="T28" fmla="*/ 2147483647 w 58"/>
                    <a:gd name="T29" fmla="*/ 2147483647 h 19"/>
                    <a:gd name="T30" fmla="*/ 2147483647 w 58"/>
                    <a:gd name="T31" fmla="*/ 0 h 19"/>
                    <a:gd name="T32" fmla="*/ 2147483647 w 58"/>
                    <a:gd name="T33" fmla="*/ 0 h 19"/>
                    <a:gd name="T34" fmla="*/ 2147483647 w 58"/>
                    <a:gd name="T35" fmla="*/ 0 h 19"/>
                    <a:gd name="T36" fmla="*/ 2147483647 w 58"/>
                    <a:gd name="T37" fmla="*/ 0 h 19"/>
                    <a:gd name="T38" fmla="*/ 0 w 58"/>
                    <a:gd name="T39" fmla="*/ 2147483647 h 19"/>
                    <a:gd name="T40" fmla="*/ 0 w 58"/>
                    <a:gd name="T41" fmla="*/ 2147483647 h 19"/>
                    <a:gd name="T42" fmla="*/ 2147483647 w 58"/>
                    <a:gd name="T43" fmla="*/ 2147483647 h 19"/>
                    <a:gd name="T44" fmla="*/ 2147483647 w 58"/>
                    <a:gd name="T45" fmla="*/ 2147483647 h 19"/>
                    <a:gd name="T46" fmla="*/ 2147483647 w 58"/>
                    <a:gd name="T47" fmla="*/ 2147483647 h 19"/>
                    <a:gd name="T48" fmla="*/ 2147483647 w 58"/>
                    <a:gd name="T49" fmla="*/ 2147483647 h 19"/>
                    <a:gd name="T50" fmla="*/ 2147483647 w 58"/>
                    <a:gd name="T51" fmla="*/ 2147483647 h 1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58"/>
                    <a:gd name="T79" fmla="*/ 0 h 19"/>
                    <a:gd name="T80" fmla="*/ 58 w 58"/>
                    <a:gd name="T81" fmla="*/ 19 h 19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58" h="19">
                      <a:moveTo>
                        <a:pt x="6" y="17"/>
                      </a:moveTo>
                      <a:lnTo>
                        <a:pt x="6" y="17"/>
                      </a:lnTo>
                      <a:lnTo>
                        <a:pt x="18" y="16"/>
                      </a:lnTo>
                      <a:lnTo>
                        <a:pt x="24" y="16"/>
                      </a:lnTo>
                      <a:lnTo>
                        <a:pt x="30" y="17"/>
                      </a:lnTo>
                      <a:lnTo>
                        <a:pt x="41" y="18"/>
                      </a:lnTo>
                      <a:lnTo>
                        <a:pt x="46" y="19"/>
                      </a:lnTo>
                      <a:lnTo>
                        <a:pt x="51" y="18"/>
                      </a:lnTo>
                      <a:lnTo>
                        <a:pt x="55" y="16"/>
                      </a:lnTo>
                      <a:lnTo>
                        <a:pt x="56" y="13"/>
                      </a:lnTo>
                      <a:lnTo>
                        <a:pt x="58" y="5"/>
                      </a:lnTo>
                      <a:lnTo>
                        <a:pt x="44" y="3"/>
                      </a:lnTo>
                      <a:lnTo>
                        <a:pt x="30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3"/>
                      </a:lnTo>
                      <a:lnTo>
                        <a:pt x="4" y="7"/>
                      </a:lnTo>
                      <a:lnTo>
                        <a:pt x="5" y="12"/>
                      </a:lnTo>
                      <a:lnTo>
                        <a:pt x="6" y="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4" name="Freeform 682">
                  <a:extLst>
                    <a:ext uri="{FF2B5EF4-FFF2-40B4-BE49-F238E27FC236}">
                      <a16:creationId xmlns:a16="http://schemas.microsoft.com/office/drawing/2014/main" id="{07DAC23B-3010-8A41-8CD7-2CE57DB4E0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24555" y="4269116"/>
                  <a:ext cx="65114" cy="47356"/>
                </a:xfrm>
                <a:custGeom>
                  <a:avLst/>
                  <a:gdLst>
                    <a:gd name="T0" fmla="*/ 0 w 48"/>
                    <a:gd name="T1" fmla="*/ 2147483647 h 32"/>
                    <a:gd name="T2" fmla="*/ 2147483647 w 48"/>
                    <a:gd name="T3" fmla="*/ 2147483647 h 32"/>
                    <a:gd name="T4" fmla="*/ 2147483647 w 48"/>
                    <a:gd name="T5" fmla="*/ 2147483647 h 32"/>
                    <a:gd name="T6" fmla="*/ 2147483647 w 48"/>
                    <a:gd name="T7" fmla="*/ 0 h 32"/>
                    <a:gd name="T8" fmla="*/ 2147483647 w 48"/>
                    <a:gd name="T9" fmla="*/ 2147483647 h 32"/>
                    <a:gd name="T10" fmla="*/ 2147483647 w 48"/>
                    <a:gd name="T11" fmla="*/ 2147483647 h 32"/>
                    <a:gd name="T12" fmla="*/ 2147483647 w 48"/>
                    <a:gd name="T13" fmla="*/ 2147483647 h 32"/>
                    <a:gd name="T14" fmla="*/ 2147483647 w 48"/>
                    <a:gd name="T15" fmla="*/ 2147483647 h 32"/>
                    <a:gd name="T16" fmla="*/ 2147483647 w 48"/>
                    <a:gd name="T17" fmla="*/ 2147483647 h 32"/>
                    <a:gd name="T18" fmla="*/ 2147483647 w 48"/>
                    <a:gd name="T19" fmla="*/ 2147483647 h 32"/>
                    <a:gd name="T20" fmla="*/ 2147483647 w 48"/>
                    <a:gd name="T21" fmla="*/ 2147483647 h 32"/>
                    <a:gd name="T22" fmla="*/ 2147483647 w 48"/>
                    <a:gd name="T23" fmla="*/ 2147483647 h 32"/>
                    <a:gd name="T24" fmla="*/ 2147483647 w 48"/>
                    <a:gd name="T25" fmla="*/ 2147483647 h 32"/>
                    <a:gd name="T26" fmla="*/ 2147483647 w 48"/>
                    <a:gd name="T27" fmla="*/ 2147483647 h 32"/>
                    <a:gd name="T28" fmla="*/ 2147483647 w 48"/>
                    <a:gd name="T29" fmla="*/ 2147483647 h 32"/>
                    <a:gd name="T30" fmla="*/ 2147483647 w 48"/>
                    <a:gd name="T31" fmla="*/ 2147483647 h 32"/>
                    <a:gd name="T32" fmla="*/ 2147483647 w 48"/>
                    <a:gd name="T33" fmla="*/ 2147483647 h 32"/>
                    <a:gd name="T34" fmla="*/ 2147483647 w 48"/>
                    <a:gd name="T35" fmla="*/ 2147483647 h 32"/>
                    <a:gd name="T36" fmla="*/ 2147483647 w 48"/>
                    <a:gd name="T37" fmla="*/ 2147483647 h 32"/>
                    <a:gd name="T38" fmla="*/ 2147483647 w 48"/>
                    <a:gd name="T39" fmla="*/ 2147483647 h 32"/>
                    <a:gd name="T40" fmla="*/ 2147483647 w 48"/>
                    <a:gd name="T41" fmla="*/ 2147483647 h 32"/>
                    <a:gd name="T42" fmla="*/ 2147483647 w 48"/>
                    <a:gd name="T43" fmla="*/ 2147483647 h 32"/>
                    <a:gd name="T44" fmla="*/ 2147483647 w 48"/>
                    <a:gd name="T45" fmla="*/ 2147483647 h 32"/>
                    <a:gd name="T46" fmla="*/ 2147483647 w 48"/>
                    <a:gd name="T47" fmla="*/ 2147483647 h 32"/>
                    <a:gd name="T48" fmla="*/ 0 w 48"/>
                    <a:gd name="T49" fmla="*/ 2147483647 h 3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48"/>
                    <a:gd name="T76" fmla="*/ 0 h 32"/>
                    <a:gd name="T77" fmla="*/ 48 w 48"/>
                    <a:gd name="T78" fmla="*/ 32 h 3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48" h="32">
                      <a:moveTo>
                        <a:pt x="0" y="6"/>
                      </a:moveTo>
                      <a:lnTo>
                        <a:pt x="12" y="2"/>
                      </a:lnTo>
                      <a:lnTo>
                        <a:pt x="22" y="1"/>
                      </a:lnTo>
                      <a:lnTo>
                        <a:pt x="33" y="0"/>
                      </a:lnTo>
                      <a:lnTo>
                        <a:pt x="45" y="1"/>
                      </a:lnTo>
                      <a:lnTo>
                        <a:pt x="45" y="9"/>
                      </a:lnTo>
                      <a:lnTo>
                        <a:pt x="46" y="14"/>
                      </a:lnTo>
                      <a:lnTo>
                        <a:pt x="48" y="17"/>
                      </a:lnTo>
                      <a:lnTo>
                        <a:pt x="36" y="23"/>
                      </a:lnTo>
                      <a:lnTo>
                        <a:pt x="29" y="28"/>
                      </a:lnTo>
                      <a:lnTo>
                        <a:pt x="24" y="32"/>
                      </a:lnTo>
                      <a:lnTo>
                        <a:pt x="20" y="28"/>
                      </a:lnTo>
                      <a:lnTo>
                        <a:pt x="18" y="27"/>
                      </a:lnTo>
                      <a:lnTo>
                        <a:pt x="14" y="26"/>
                      </a:lnTo>
                      <a:lnTo>
                        <a:pt x="13" y="25"/>
                      </a:lnTo>
                      <a:lnTo>
                        <a:pt x="18" y="22"/>
                      </a:lnTo>
                      <a:lnTo>
                        <a:pt x="22" y="20"/>
                      </a:lnTo>
                      <a:lnTo>
                        <a:pt x="24" y="17"/>
                      </a:lnTo>
                      <a:lnTo>
                        <a:pt x="25" y="13"/>
                      </a:lnTo>
                      <a:lnTo>
                        <a:pt x="13" y="15"/>
                      </a:lnTo>
                      <a:lnTo>
                        <a:pt x="10" y="15"/>
                      </a:lnTo>
                      <a:lnTo>
                        <a:pt x="6" y="15"/>
                      </a:lnTo>
                      <a:lnTo>
                        <a:pt x="5" y="14"/>
                      </a:lnTo>
                      <a:lnTo>
                        <a:pt x="3" y="1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5" name="Freeform 683">
                  <a:extLst>
                    <a:ext uri="{FF2B5EF4-FFF2-40B4-BE49-F238E27FC236}">
                      <a16:creationId xmlns:a16="http://schemas.microsoft.com/office/drawing/2014/main" id="{F852CF3E-8149-3D4A-83F5-C4EB529A1A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7111" y="4269116"/>
                  <a:ext cx="171665" cy="143547"/>
                </a:xfrm>
                <a:custGeom>
                  <a:avLst/>
                  <a:gdLst>
                    <a:gd name="T0" fmla="*/ 2147483647 w 126"/>
                    <a:gd name="T1" fmla="*/ 2147483647 h 97"/>
                    <a:gd name="T2" fmla="*/ 2147483647 w 126"/>
                    <a:gd name="T3" fmla="*/ 2147483647 h 97"/>
                    <a:gd name="T4" fmla="*/ 2147483647 w 126"/>
                    <a:gd name="T5" fmla="*/ 2147483647 h 97"/>
                    <a:gd name="T6" fmla="*/ 2147483647 w 126"/>
                    <a:gd name="T7" fmla="*/ 2147483647 h 97"/>
                    <a:gd name="T8" fmla="*/ 2147483647 w 126"/>
                    <a:gd name="T9" fmla="*/ 2147483647 h 97"/>
                    <a:gd name="T10" fmla="*/ 2147483647 w 126"/>
                    <a:gd name="T11" fmla="*/ 0 h 97"/>
                    <a:gd name="T12" fmla="*/ 2147483647 w 126"/>
                    <a:gd name="T13" fmla="*/ 2147483647 h 97"/>
                    <a:gd name="T14" fmla="*/ 2147483647 w 126"/>
                    <a:gd name="T15" fmla="*/ 2147483647 h 97"/>
                    <a:gd name="T16" fmla="*/ 2147483647 w 126"/>
                    <a:gd name="T17" fmla="*/ 2147483647 h 97"/>
                    <a:gd name="T18" fmla="*/ 2147483647 w 126"/>
                    <a:gd name="T19" fmla="*/ 2147483647 h 97"/>
                    <a:gd name="T20" fmla="*/ 2147483647 w 126"/>
                    <a:gd name="T21" fmla="*/ 2147483647 h 97"/>
                    <a:gd name="T22" fmla="*/ 2147483647 w 126"/>
                    <a:gd name="T23" fmla="*/ 2147483647 h 97"/>
                    <a:gd name="T24" fmla="*/ 2147483647 w 126"/>
                    <a:gd name="T25" fmla="*/ 2147483647 h 97"/>
                    <a:gd name="T26" fmla="*/ 2147483647 w 126"/>
                    <a:gd name="T27" fmla="*/ 2147483647 h 97"/>
                    <a:gd name="T28" fmla="*/ 2147483647 w 126"/>
                    <a:gd name="T29" fmla="*/ 2147483647 h 97"/>
                    <a:gd name="T30" fmla="*/ 2147483647 w 126"/>
                    <a:gd name="T31" fmla="*/ 2147483647 h 97"/>
                    <a:gd name="T32" fmla="*/ 2147483647 w 126"/>
                    <a:gd name="T33" fmla="*/ 2147483647 h 97"/>
                    <a:gd name="T34" fmla="*/ 2147483647 w 126"/>
                    <a:gd name="T35" fmla="*/ 2147483647 h 97"/>
                    <a:gd name="T36" fmla="*/ 2147483647 w 126"/>
                    <a:gd name="T37" fmla="*/ 2147483647 h 97"/>
                    <a:gd name="T38" fmla="*/ 2147483647 w 126"/>
                    <a:gd name="T39" fmla="*/ 2147483647 h 97"/>
                    <a:gd name="T40" fmla="*/ 2147483647 w 126"/>
                    <a:gd name="T41" fmla="*/ 2147483647 h 97"/>
                    <a:gd name="T42" fmla="*/ 2147483647 w 126"/>
                    <a:gd name="T43" fmla="*/ 2147483647 h 97"/>
                    <a:gd name="T44" fmla="*/ 2147483647 w 126"/>
                    <a:gd name="T45" fmla="*/ 2147483647 h 97"/>
                    <a:gd name="T46" fmla="*/ 2147483647 w 126"/>
                    <a:gd name="T47" fmla="*/ 2147483647 h 97"/>
                    <a:gd name="T48" fmla="*/ 2147483647 w 126"/>
                    <a:gd name="T49" fmla="*/ 2147483647 h 97"/>
                    <a:gd name="T50" fmla="*/ 2147483647 w 126"/>
                    <a:gd name="T51" fmla="*/ 2147483647 h 97"/>
                    <a:gd name="T52" fmla="*/ 2147483647 w 126"/>
                    <a:gd name="T53" fmla="*/ 2147483647 h 97"/>
                    <a:gd name="T54" fmla="*/ 2147483647 w 126"/>
                    <a:gd name="T55" fmla="*/ 2147483647 h 97"/>
                    <a:gd name="T56" fmla="*/ 2147483647 w 126"/>
                    <a:gd name="T57" fmla="*/ 2147483647 h 97"/>
                    <a:gd name="T58" fmla="*/ 2147483647 w 126"/>
                    <a:gd name="T59" fmla="*/ 2147483647 h 97"/>
                    <a:gd name="T60" fmla="*/ 2147483647 w 126"/>
                    <a:gd name="T61" fmla="*/ 2147483647 h 97"/>
                    <a:gd name="T62" fmla="*/ 2147483647 w 126"/>
                    <a:gd name="T63" fmla="*/ 2147483647 h 97"/>
                    <a:gd name="T64" fmla="*/ 2147483647 w 126"/>
                    <a:gd name="T65" fmla="*/ 2147483647 h 97"/>
                    <a:gd name="T66" fmla="*/ 2147483647 w 126"/>
                    <a:gd name="T67" fmla="*/ 2147483647 h 97"/>
                    <a:gd name="T68" fmla="*/ 2147483647 w 126"/>
                    <a:gd name="T69" fmla="*/ 2147483647 h 97"/>
                    <a:gd name="T70" fmla="*/ 2147483647 w 126"/>
                    <a:gd name="T71" fmla="*/ 2147483647 h 97"/>
                    <a:gd name="T72" fmla="*/ 2147483647 w 126"/>
                    <a:gd name="T73" fmla="*/ 2147483647 h 97"/>
                    <a:gd name="T74" fmla="*/ 2147483647 w 126"/>
                    <a:gd name="T75" fmla="*/ 2147483647 h 97"/>
                    <a:gd name="T76" fmla="*/ 2147483647 w 126"/>
                    <a:gd name="T77" fmla="*/ 2147483647 h 97"/>
                    <a:gd name="T78" fmla="*/ 2147483647 w 126"/>
                    <a:gd name="T79" fmla="*/ 2147483647 h 97"/>
                    <a:gd name="T80" fmla="*/ 2147483647 w 126"/>
                    <a:gd name="T81" fmla="*/ 2147483647 h 97"/>
                    <a:gd name="T82" fmla="*/ 2147483647 w 126"/>
                    <a:gd name="T83" fmla="*/ 2147483647 h 97"/>
                    <a:gd name="T84" fmla="*/ 2147483647 w 126"/>
                    <a:gd name="T85" fmla="*/ 2147483647 h 97"/>
                    <a:gd name="T86" fmla="*/ 2147483647 w 126"/>
                    <a:gd name="T87" fmla="*/ 2147483647 h 97"/>
                    <a:gd name="T88" fmla="*/ 2147483647 w 126"/>
                    <a:gd name="T89" fmla="*/ 2147483647 h 97"/>
                    <a:gd name="T90" fmla="*/ 2147483647 w 126"/>
                    <a:gd name="T91" fmla="*/ 2147483647 h 97"/>
                    <a:gd name="T92" fmla="*/ 2147483647 w 126"/>
                    <a:gd name="T93" fmla="*/ 2147483647 h 97"/>
                    <a:gd name="T94" fmla="*/ 2147483647 w 126"/>
                    <a:gd name="T95" fmla="*/ 2147483647 h 97"/>
                    <a:gd name="T96" fmla="*/ 2147483647 w 126"/>
                    <a:gd name="T97" fmla="*/ 2147483647 h 97"/>
                    <a:gd name="T98" fmla="*/ 0 w 126"/>
                    <a:gd name="T99" fmla="*/ 2147483647 h 97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26"/>
                    <a:gd name="T151" fmla="*/ 0 h 97"/>
                    <a:gd name="T152" fmla="*/ 126 w 126"/>
                    <a:gd name="T153" fmla="*/ 97 h 97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26" h="97">
                      <a:moveTo>
                        <a:pt x="0" y="32"/>
                      </a:moveTo>
                      <a:lnTo>
                        <a:pt x="5" y="28"/>
                      </a:lnTo>
                      <a:lnTo>
                        <a:pt x="12" y="23"/>
                      </a:lnTo>
                      <a:lnTo>
                        <a:pt x="24" y="17"/>
                      </a:lnTo>
                      <a:lnTo>
                        <a:pt x="22" y="14"/>
                      </a:lnTo>
                      <a:lnTo>
                        <a:pt x="21" y="9"/>
                      </a:lnTo>
                      <a:lnTo>
                        <a:pt x="21" y="1"/>
                      </a:lnTo>
                      <a:lnTo>
                        <a:pt x="27" y="2"/>
                      </a:lnTo>
                      <a:lnTo>
                        <a:pt x="33" y="3"/>
                      </a:lnTo>
                      <a:lnTo>
                        <a:pt x="40" y="3"/>
                      </a:lnTo>
                      <a:lnTo>
                        <a:pt x="54" y="0"/>
                      </a:lnTo>
                      <a:lnTo>
                        <a:pt x="56" y="0"/>
                      </a:lnTo>
                      <a:lnTo>
                        <a:pt x="60" y="1"/>
                      </a:lnTo>
                      <a:lnTo>
                        <a:pt x="64" y="2"/>
                      </a:lnTo>
                      <a:lnTo>
                        <a:pt x="70" y="3"/>
                      </a:lnTo>
                      <a:lnTo>
                        <a:pt x="75" y="2"/>
                      </a:lnTo>
                      <a:lnTo>
                        <a:pt x="80" y="2"/>
                      </a:lnTo>
                      <a:lnTo>
                        <a:pt x="87" y="3"/>
                      </a:lnTo>
                      <a:lnTo>
                        <a:pt x="89" y="3"/>
                      </a:lnTo>
                      <a:lnTo>
                        <a:pt x="92" y="6"/>
                      </a:lnTo>
                      <a:lnTo>
                        <a:pt x="94" y="9"/>
                      </a:lnTo>
                      <a:lnTo>
                        <a:pt x="95" y="13"/>
                      </a:lnTo>
                      <a:lnTo>
                        <a:pt x="95" y="15"/>
                      </a:lnTo>
                      <a:lnTo>
                        <a:pt x="94" y="20"/>
                      </a:lnTo>
                      <a:lnTo>
                        <a:pt x="93" y="22"/>
                      </a:lnTo>
                      <a:lnTo>
                        <a:pt x="94" y="25"/>
                      </a:lnTo>
                      <a:lnTo>
                        <a:pt x="97" y="27"/>
                      </a:lnTo>
                      <a:lnTo>
                        <a:pt x="101" y="28"/>
                      </a:lnTo>
                      <a:lnTo>
                        <a:pt x="101" y="29"/>
                      </a:lnTo>
                      <a:lnTo>
                        <a:pt x="101" y="30"/>
                      </a:lnTo>
                      <a:lnTo>
                        <a:pt x="98" y="34"/>
                      </a:lnTo>
                      <a:lnTo>
                        <a:pt x="94" y="36"/>
                      </a:lnTo>
                      <a:lnTo>
                        <a:pt x="93" y="38"/>
                      </a:lnTo>
                      <a:lnTo>
                        <a:pt x="92" y="39"/>
                      </a:lnTo>
                      <a:lnTo>
                        <a:pt x="92" y="42"/>
                      </a:lnTo>
                      <a:lnTo>
                        <a:pt x="94" y="44"/>
                      </a:lnTo>
                      <a:lnTo>
                        <a:pt x="98" y="45"/>
                      </a:lnTo>
                      <a:lnTo>
                        <a:pt x="103" y="46"/>
                      </a:lnTo>
                      <a:lnTo>
                        <a:pt x="113" y="46"/>
                      </a:lnTo>
                      <a:lnTo>
                        <a:pt x="115" y="46"/>
                      </a:lnTo>
                      <a:lnTo>
                        <a:pt x="116" y="47"/>
                      </a:lnTo>
                      <a:lnTo>
                        <a:pt x="117" y="52"/>
                      </a:lnTo>
                      <a:lnTo>
                        <a:pt x="118" y="55"/>
                      </a:lnTo>
                      <a:lnTo>
                        <a:pt x="120" y="57"/>
                      </a:lnTo>
                      <a:lnTo>
                        <a:pt x="121" y="57"/>
                      </a:lnTo>
                      <a:lnTo>
                        <a:pt x="123" y="57"/>
                      </a:lnTo>
                      <a:lnTo>
                        <a:pt x="126" y="58"/>
                      </a:lnTo>
                      <a:lnTo>
                        <a:pt x="123" y="66"/>
                      </a:lnTo>
                      <a:lnTo>
                        <a:pt x="122" y="76"/>
                      </a:lnTo>
                      <a:lnTo>
                        <a:pt x="121" y="76"/>
                      </a:lnTo>
                      <a:lnTo>
                        <a:pt x="120" y="76"/>
                      </a:lnTo>
                      <a:lnTo>
                        <a:pt x="117" y="76"/>
                      </a:lnTo>
                      <a:lnTo>
                        <a:pt x="116" y="76"/>
                      </a:lnTo>
                      <a:lnTo>
                        <a:pt x="115" y="77"/>
                      </a:lnTo>
                      <a:lnTo>
                        <a:pt x="115" y="79"/>
                      </a:lnTo>
                      <a:lnTo>
                        <a:pt x="116" y="81"/>
                      </a:lnTo>
                      <a:lnTo>
                        <a:pt x="118" y="85"/>
                      </a:lnTo>
                      <a:lnTo>
                        <a:pt x="118" y="86"/>
                      </a:lnTo>
                      <a:lnTo>
                        <a:pt x="117" y="87"/>
                      </a:lnTo>
                      <a:lnTo>
                        <a:pt x="115" y="91"/>
                      </a:lnTo>
                      <a:lnTo>
                        <a:pt x="109" y="93"/>
                      </a:lnTo>
                      <a:lnTo>
                        <a:pt x="109" y="91"/>
                      </a:lnTo>
                      <a:lnTo>
                        <a:pt x="107" y="91"/>
                      </a:lnTo>
                      <a:lnTo>
                        <a:pt x="104" y="93"/>
                      </a:lnTo>
                      <a:lnTo>
                        <a:pt x="102" y="96"/>
                      </a:lnTo>
                      <a:lnTo>
                        <a:pt x="101" y="97"/>
                      </a:lnTo>
                      <a:lnTo>
                        <a:pt x="98" y="97"/>
                      </a:lnTo>
                      <a:lnTo>
                        <a:pt x="95" y="96"/>
                      </a:lnTo>
                      <a:lnTo>
                        <a:pt x="94" y="93"/>
                      </a:lnTo>
                      <a:lnTo>
                        <a:pt x="93" y="89"/>
                      </a:lnTo>
                      <a:lnTo>
                        <a:pt x="93" y="83"/>
                      </a:lnTo>
                      <a:lnTo>
                        <a:pt x="93" y="80"/>
                      </a:lnTo>
                      <a:lnTo>
                        <a:pt x="92" y="79"/>
                      </a:lnTo>
                      <a:lnTo>
                        <a:pt x="89" y="79"/>
                      </a:lnTo>
                      <a:lnTo>
                        <a:pt x="87" y="80"/>
                      </a:lnTo>
                      <a:lnTo>
                        <a:pt x="83" y="81"/>
                      </a:lnTo>
                      <a:lnTo>
                        <a:pt x="80" y="81"/>
                      </a:lnTo>
                      <a:lnTo>
                        <a:pt x="79" y="81"/>
                      </a:lnTo>
                      <a:lnTo>
                        <a:pt x="76" y="79"/>
                      </a:lnTo>
                      <a:lnTo>
                        <a:pt x="70" y="66"/>
                      </a:lnTo>
                      <a:lnTo>
                        <a:pt x="68" y="60"/>
                      </a:lnTo>
                      <a:lnTo>
                        <a:pt x="62" y="55"/>
                      </a:lnTo>
                      <a:lnTo>
                        <a:pt x="59" y="52"/>
                      </a:lnTo>
                      <a:lnTo>
                        <a:pt x="55" y="51"/>
                      </a:lnTo>
                      <a:lnTo>
                        <a:pt x="51" y="49"/>
                      </a:lnTo>
                      <a:lnTo>
                        <a:pt x="46" y="51"/>
                      </a:lnTo>
                      <a:lnTo>
                        <a:pt x="42" y="52"/>
                      </a:lnTo>
                      <a:lnTo>
                        <a:pt x="37" y="53"/>
                      </a:lnTo>
                      <a:lnTo>
                        <a:pt x="31" y="59"/>
                      </a:lnTo>
                      <a:lnTo>
                        <a:pt x="26" y="58"/>
                      </a:lnTo>
                      <a:lnTo>
                        <a:pt x="21" y="55"/>
                      </a:lnTo>
                      <a:lnTo>
                        <a:pt x="17" y="51"/>
                      </a:lnTo>
                      <a:lnTo>
                        <a:pt x="15" y="49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7" y="45"/>
                      </a:lnTo>
                      <a:lnTo>
                        <a:pt x="4" y="40"/>
                      </a:lnTo>
                      <a:lnTo>
                        <a:pt x="4" y="36"/>
                      </a:lnTo>
                      <a:lnTo>
                        <a:pt x="1" y="33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6" name="Freeform 684">
                  <a:extLst>
                    <a:ext uri="{FF2B5EF4-FFF2-40B4-BE49-F238E27FC236}">
                      <a16:creationId xmlns:a16="http://schemas.microsoft.com/office/drawing/2014/main" id="{3ECCE309-DA56-0743-8FBD-87E250CE5A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23074" y="4266153"/>
                  <a:ext cx="65114" cy="47356"/>
                </a:xfrm>
                <a:custGeom>
                  <a:avLst/>
                  <a:gdLst>
                    <a:gd name="T0" fmla="*/ 0 w 48"/>
                    <a:gd name="T1" fmla="*/ 2147483647 h 32"/>
                    <a:gd name="T2" fmla="*/ 0 w 48"/>
                    <a:gd name="T3" fmla="*/ 2147483647 h 32"/>
                    <a:gd name="T4" fmla="*/ 2147483647 w 48"/>
                    <a:gd name="T5" fmla="*/ 2147483647 h 32"/>
                    <a:gd name="T6" fmla="*/ 2147483647 w 48"/>
                    <a:gd name="T7" fmla="*/ 2147483647 h 32"/>
                    <a:gd name="T8" fmla="*/ 2147483647 w 48"/>
                    <a:gd name="T9" fmla="*/ 0 h 32"/>
                    <a:gd name="T10" fmla="*/ 2147483647 w 48"/>
                    <a:gd name="T11" fmla="*/ 2147483647 h 32"/>
                    <a:gd name="T12" fmla="*/ 2147483647 w 48"/>
                    <a:gd name="T13" fmla="*/ 2147483647 h 32"/>
                    <a:gd name="T14" fmla="*/ 2147483647 w 48"/>
                    <a:gd name="T15" fmla="*/ 2147483647 h 32"/>
                    <a:gd name="T16" fmla="*/ 2147483647 w 48"/>
                    <a:gd name="T17" fmla="*/ 2147483647 h 32"/>
                    <a:gd name="T18" fmla="*/ 2147483647 w 48"/>
                    <a:gd name="T19" fmla="*/ 2147483647 h 32"/>
                    <a:gd name="T20" fmla="*/ 2147483647 w 48"/>
                    <a:gd name="T21" fmla="*/ 2147483647 h 32"/>
                    <a:gd name="T22" fmla="*/ 2147483647 w 48"/>
                    <a:gd name="T23" fmla="*/ 2147483647 h 32"/>
                    <a:gd name="T24" fmla="*/ 2147483647 w 48"/>
                    <a:gd name="T25" fmla="*/ 2147483647 h 32"/>
                    <a:gd name="T26" fmla="*/ 2147483647 w 48"/>
                    <a:gd name="T27" fmla="*/ 2147483647 h 32"/>
                    <a:gd name="T28" fmla="*/ 2147483647 w 48"/>
                    <a:gd name="T29" fmla="*/ 2147483647 h 32"/>
                    <a:gd name="T30" fmla="*/ 2147483647 w 48"/>
                    <a:gd name="T31" fmla="*/ 2147483647 h 32"/>
                    <a:gd name="T32" fmla="*/ 2147483647 w 48"/>
                    <a:gd name="T33" fmla="*/ 2147483647 h 32"/>
                    <a:gd name="T34" fmla="*/ 2147483647 w 48"/>
                    <a:gd name="T35" fmla="*/ 2147483647 h 32"/>
                    <a:gd name="T36" fmla="*/ 2147483647 w 48"/>
                    <a:gd name="T37" fmla="*/ 2147483647 h 32"/>
                    <a:gd name="T38" fmla="*/ 2147483647 w 48"/>
                    <a:gd name="T39" fmla="*/ 2147483647 h 32"/>
                    <a:gd name="T40" fmla="*/ 2147483647 w 48"/>
                    <a:gd name="T41" fmla="*/ 2147483647 h 32"/>
                    <a:gd name="T42" fmla="*/ 2147483647 w 48"/>
                    <a:gd name="T43" fmla="*/ 2147483647 h 32"/>
                    <a:gd name="T44" fmla="*/ 2147483647 w 48"/>
                    <a:gd name="T45" fmla="*/ 2147483647 h 32"/>
                    <a:gd name="T46" fmla="*/ 2147483647 w 48"/>
                    <a:gd name="T47" fmla="*/ 2147483647 h 32"/>
                    <a:gd name="T48" fmla="*/ 2147483647 w 48"/>
                    <a:gd name="T49" fmla="*/ 2147483647 h 32"/>
                    <a:gd name="T50" fmla="*/ 2147483647 w 48"/>
                    <a:gd name="T51" fmla="*/ 2147483647 h 32"/>
                    <a:gd name="T52" fmla="*/ 2147483647 w 48"/>
                    <a:gd name="T53" fmla="*/ 2147483647 h 32"/>
                    <a:gd name="T54" fmla="*/ 2147483647 w 48"/>
                    <a:gd name="T55" fmla="*/ 2147483647 h 32"/>
                    <a:gd name="T56" fmla="*/ 2147483647 w 48"/>
                    <a:gd name="T57" fmla="*/ 2147483647 h 32"/>
                    <a:gd name="T58" fmla="*/ 2147483647 w 48"/>
                    <a:gd name="T59" fmla="*/ 2147483647 h 32"/>
                    <a:gd name="T60" fmla="*/ 2147483647 w 48"/>
                    <a:gd name="T61" fmla="*/ 2147483647 h 32"/>
                    <a:gd name="T62" fmla="*/ 2147483647 w 48"/>
                    <a:gd name="T63" fmla="*/ 2147483647 h 32"/>
                    <a:gd name="T64" fmla="*/ 0 w 48"/>
                    <a:gd name="T65" fmla="*/ 2147483647 h 32"/>
                    <a:gd name="T66" fmla="*/ 0 w 48"/>
                    <a:gd name="T67" fmla="*/ 2147483647 h 3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48"/>
                    <a:gd name="T103" fmla="*/ 0 h 32"/>
                    <a:gd name="T104" fmla="*/ 48 w 48"/>
                    <a:gd name="T105" fmla="*/ 32 h 3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48" h="32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11" y="3"/>
                      </a:lnTo>
                      <a:lnTo>
                        <a:pt x="21" y="2"/>
                      </a:lnTo>
                      <a:lnTo>
                        <a:pt x="33" y="0"/>
                      </a:lnTo>
                      <a:lnTo>
                        <a:pt x="44" y="2"/>
                      </a:lnTo>
                      <a:lnTo>
                        <a:pt x="44" y="10"/>
                      </a:lnTo>
                      <a:lnTo>
                        <a:pt x="46" y="15"/>
                      </a:lnTo>
                      <a:lnTo>
                        <a:pt x="48" y="18"/>
                      </a:lnTo>
                      <a:lnTo>
                        <a:pt x="35" y="24"/>
                      </a:lnTo>
                      <a:lnTo>
                        <a:pt x="29" y="29"/>
                      </a:lnTo>
                      <a:lnTo>
                        <a:pt x="24" y="32"/>
                      </a:lnTo>
                      <a:lnTo>
                        <a:pt x="20" y="29"/>
                      </a:lnTo>
                      <a:lnTo>
                        <a:pt x="18" y="28"/>
                      </a:lnTo>
                      <a:lnTo>
                        <a:pt x="14" y="27"/>
                      </a:lnTo>
                      <a:lnTo>
                        <a:pt x="13" y="25"/>
                      </a:lnTo>
                      <a:lnTo>
                        <a:pt x="18" y="23"/>
                      </a:lnTo>
                      <a:lnTo>
                        <a:pt x="21" y="21"/>
                      </a:lnTo>
                      <a:lnTo>
                        <a:pt x="24" y="18"/>
                      </a:lnTo>
                      <a:lnTo>
                        <a:pt x="25" y="14"/>
                      </a:lnTo>
                      <a:lnTo>
                        <a:pt x="13" y="16"/>
                      </a:lnTo>
                      <a:lnTo>
                        <a:pt x="10" y="16"/>
                      </a:lnTo>
                      <a:lnTo>
                        <a:pt x="6" y="16"/>
                      </a:lnTo>
                      <a:lnTo>
                        <a:pt x="5" y="15"/>
                      </a:lnTo>
                      <a:lnTo>
                        <a:pt x="2" y="11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7" name="Freeform 686">
                  <a:extLst>
                    <a:ext uri="{FF2B5EF4-FFF2-40B4-BE49-F238E27FC236}">
                      <a16:creationId xmlns:a16="http://schemas.microsoft.com/office/drawing/2014/main" id="{2531C0E8-6210-494B-AA3F-2DE6ED2179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4111" y="4341625"/>
                  <a:ext cx="72513" cy="88792"/>
                </a:xfrm>
                <a:custGeom>
                  <a:avLst/>
                  <a:gdLst>
                    <a:gd name="T0" fmla="*/ 2147483647 w 53"/>
                    <a:gd name="T1" fmla="*/ 2147483647 h 60"/>
                    <a:gd name="T2" fmla="*/ 2147483647 w 53"/>
                    <a:gd name="T3" fmla="*/ 2147483647 h 60"/>
                    <a:gd name="T4" fmla="*/ 2147483647 w 53"/>
                    <a:gd name="T5" fmla="*/ 2147483647 h 60"/>
                    <a:gd name="T6" fmla="*/ 2147483647 w 53"/>
                    <a:gd name="T7" fmla="*/ 2147483647 h 60"/>
                    <a:gd name="T8" fmla="*/ 2147483647 w 53"/>
                    <a:gd name="T9" fmla="*/ 2147483647 h 60"/>
                    <a:gd name="T10" fmla="*/ 2147483647 w 53"/>
                    <a:gd name="T11" fmla="*/ 2147483647 h 60"/>
                    <a:gd name="T12" fmla="*/ 2147483647 w 53"/>
                    <a:gd name="T13" fmla="*/ 2147483647 h 60"/>
                    <a:gd name="T14" fmla="*/ 2147483647 w 53"/>
                    <a:gd name="T15" fmla="*/ 2147483647 h 60"/>
                    <a:gd name="T16" fmla="*/ 2147483647 w 53"/>
                    <a:gd name="T17" fmla="*/ 0 h 60"/>
                    <a:gd name="T18" fmla="*/ 2147483647 w 53"/>
                    <a:gd name="T19" fmla="*/ 2147483647 h 60"/>
                    <a:gd name="T20" fmla="*/ 2147483647 w 53"/>
                    <a:gd name="T21" fmla="*/ 2147483647 h 60"/>
                    <a:gd name="T22" fmla="*/ 2147483647 w 53"/>
                    <a:gd name="T23" fmla="*/ 2147483647 h 60"/>
                    <a:gd name="T24" fmla="*/ 2147483647 w 53"/>
                    <a:gd name="T25" fmla="*/ 2147483647 h 60"/>
                    <a:gd name="T26" fmla="*/ 2147483647 w 53"/>
                    <a:gd name="T27" fmla="*/ 2147483647 h 60"/>
                    <a:gd name="T28" fmla="*/ 2147483647 w 53"/>
                    <a:gd name="T29" fmla="*/ 2147483647 h 60"/>
                    <a:gd name="T30" fmla="*/ 2147483647 w 53"/>
                    <a:gd name="T31" fmla="*/ 2147483647 h 60"/>
                    <a:gd name="T32" fmla="*/ 2147483647 w 53"/>
                    <a:gd name="T33" fmla="*/ 2147483647 h 60"/>
                    <a:gd name="T34" fmla="*/ 2147483647 w 53"/>
                    <a:gd name="T35" fmla="*/ 2147483647 h 60"/>
                    <a:gd name="T36" fmla="*/ 0 w 53"/>
                    <a:gd name="T37" fmla="*/ 2147483647 h 60"/>
                    <a:gd name="T38" fmla="*/ 2147483647 w 53"/>
                    <a:gd name="T39" fmla="*/ 2147483647 h 60"/>
                    <a:gd name="T40" fmla="*/ 2147483647 w 53"/>
                    <a:gd name="T41" fmla="*/ 2147483647 h 60"/>
                    <a:gd name="T42" fmla="*/ 2147483647 w 53"/>
                    <a:gd name="T43" fmla="*/ 2147483647 h 60"/>
                    <a:gd name="T44" fmla="*/ 2147483647 w 53"/>
                    <a:gd name="T45" fmla="*/ 2147483647 h 60"/>
                    <a:gd name="T46" fmla="*/ 2147483647 w 53"/>
                    <a:gd name="T47" fmla="*/ 2147483647 h 60"/>
                    <a:gd name="T48" fmla="*/ 2147483647 w 53"/>
                    <a:gd name="T49" fmla="*/ 2147483647 h 60"/>
                    <a:gd name="T50" fmla="*/ 2147483647 w 53"/>
                    <a:gd name="T51" fmla="*/ 2147483647 h 60"/>
                    <a:gd name="T52" fmla="*/ 2147483647 w 53"/>
                    <a:gd name="T53" fmla="*/ 2147483647 h 60"/>
                    <a:gd name="T54" fmla="*/ 2147483647 w 53"/>
                    <a:gd name="T55" fmla="*/ 2147483647 h 60"/>
                    <a:gd name="T56" fmla="*/ 2147483647 w 53"/>
                    <a:gd name="T57" fmla="*/ 2147483647 h 60"/>
                    <a:gd name="T58" fmla="*/ 2147483647 w 53"/>
                    <a:gd name="T59" fmla="*/ 2147483647 h 60"/>
                    <a:gd name="T60" fmla="*/ 2147483647 w 53"/>
                    <a:gd name="T61" fmla="*/ 2147483647 h 60"/>
                    <a:gd name="T62" fmla="*/ 2147483647 w 53"/>
                    <a:gd name="T63" fmla="*/ 2147483647 h 60"/>
                    <a:gd name="T64" fmla="*/ 2147483647 w 53"/>
                    <a:gd name="T65" fmla="*/ 2147483647 h 6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3"/>
                    <a:gd name="T100" fmla="*/ 0 h 60"/>
                    <a:gd name="T101" fmla="*/ 53 w 53"/>
                    <a:gd name="T102" fmla="*/ 60 h 6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3" h="60">
                      <a:moveTo>
                        <a:pt x="53" y="32"/>
                      </a:moveTo>
                      <a:lnTo>
                        <a:pt x="52" y="32"/>
                      </a:lnTo>
                      <a:lnTo>
                        <a:pt x="49" y="30"/>
                      </a:lnTo>
                      <a:lnTo>
                        <a:pt x="43" y="17"/>
                      </a:lnTo>
                      <a:lnTo>
                        <a:pt x="41" y="11"/>
                      </a:lnTo>
                      <a:lnTo>
                        <a:pt x="35" y="6"/>
                      </a:lnTo>
                      <a:lnTo>
                        <a:pt x="32" y="3"/>
                      </a:lnTo>
                      <a:lnTo>
                        <a:pt x="28" y="2"/>
                      </a:lnTo>
                      <a:lnTo>
                        <a:pt x="24" y="0"/>
                      </a:lnTo>
                      <a:lnTo>
                        <a:pt x="19" y="2"/>
                      </a:lnTo>
                      <a:lnTo>
                        <a:pt x="15" y="3"/>
                      </a:lnTo>
                      <a:lnTo>
                        <a:pt x="10" y="4"/>
                      </a:lnTo>
                      <a:lnTo>
                        <a:pt x="4" y="10"/>
                      </a:lnTo>
                      <a:lnTo>
                        <a:pt x="5" y="11"/>
                      </a:lnTo>
                      <a:lnTo>
                        <a:pt x="6" y="12"/>
                      </a:lnTo>
                      <a:lnTo>
                        <a:pt x="6" y="15"/>
                      </a:lnTo>
                      <a:lnTo>
                        <a:pt x="5" y="16"/>
                      </a:lnTo>
                      <a:lnTo>
                        <a:pt x="1" y="21"/>
                      </a:lnTo>
                      <a:lnTo>
                        <a:pt x="0" y="27"/>
                      </a:lnTo>
                      <a:lnTo>
                        <a:pt x="1" y="31"/>
                      </a:lnTo>
                      <a:lnTo>
                        <a:pt x="2" y="36"/>
                      </a:lnTo>
                      <a:lnTo>
                        <a:pt x="6" y="41"/>
                      </a:lnTo>
                      <a:lnTo>
                        <a:pt x="10" y="45"/>
                      </a:lnTo>
                      <a:lnTo>
                        <a:pt x="18" y="54"/>
                      </a:lnTo>
                      <a:lnTo>
                        <a:pt x="23" y="57"/>
                      </a:lnTo>
                      <a:lnTo>
                        <a:pt x="27" y="60"/>
                      </a:lnTo>
                      <a:lnTo>
                        <a:pt x="32" y="55"/>
                      </a:lnTo>
                      <a:lnTo>
                        <a:pt x="37" y="50"/>
                      </a:lnTo>
                      <a:lnTo>
                        <a:pt x="43" y="45"/>
                      </a:lnTo>
                      <a:lnTo>
                        <a:pt x="48" y="41"/>
                      </a:lnTo>
                      <a:lnTo>
                        <a:pt x="51" y="36"/>
                      </a:lnTo>
                      <a:lnTo>
                        <a:pt x="52" y="35"/>
                      </a:lnTo>
                      <a:lnTo>
                        <a:pt x="53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8" name="Freeform 687">
                  <a:extLst>
                    <a:ext uri="{FF2B5EF4-FFF2-40B4-BE49-F238E27FC236}">
                      <a16:creationId xmlns:a16="http://schemas.microsoft.com/office/drawing/2014/main" id="{6453FC93-FA40-6340-AC39-4B48DC8D5D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1105" y="4386024"/>
                  <a:ext cx="100631" cy="112470"/>
                </a:xfrm>
                <a:custGeom>
                  <a:avLst/>
                  <a:gdLst>
                    <a:gd name="T0" fmla="*/ 0 w 74"/>
                    <a:gd name="T1" fmla="*/ 2147483647 h 76"/>
                    <a:gd name="T2" fmla="*/ 2147483647 w 74"/>
                    <a:gd name="T3" fmla="*/ 2147483647 h 76"/>
                    <a:gd name="T4" fmla="*/ 2147483647 w 74"/>
                    <a:gd name="T5" fmla="*/ 2147483647 h 76"/>
                    <a:gd name="T6" fmla="*/ 2147483647 w 74"/>
                    <a:gd name="T7" fmla="*/ 2147483647 h 76"/>
                    <a:gd name="T8" fmla="*/ 2147483647 w 74"/>
                    <a:gd name="T9" fmla="*/ 2147483647 h 76"/>
                    <a:gd name="T10" fmla="*/ 2147483647 w 74"/>
                    <a:gd name="T11" fmla="*/ 2147483647 h 76"/>
                    <a:gd name="T12" fmla="*/ 2147483647 w 74"/>
                    <a:gd name="T13" fmla="*/ 2147483647 h 76"/>
                    <a:gd name="T14" fmla="*/ 2147483647 w 74"/>
                    <a:gd name="T15" fmla="*/ 2147483647 h 76"/>
                    <a:gd name="T16" fmla="*/ 2147483647 w 74"/>
                    <a:gd name="T17" fmla="*/ 2147483647 h 76"/>
                    <a:gd name="T18" fmla="*/ 2147483647 w 74"/>
                    <a:gd name="T19" fmla="*/ 2147483647 h 76"/>
                    <a:gd name="T20" fmla="*/ 2147483647 w 74"/>
                    <a:gd name="T21" fmla="*/ 0 h 76"/>
                    <a:gd name="T22" fmla="*/ 2147483647 w 74"/>
                    <a:gd name="T23" fmla="*/ 0 h 76"/>
                    <a:gd name="T24" fmla="*/ 2147483647 w 74"/>
                    <a:gd name="T25" fmla="*/ 2147483647 h 76"/>
                    <a:gd name="T26" fmla="*/ 2147483647 w 74"/>
                    <a:gd name="T27" fmla="*/ 2147483647 h 76"/>
                    <a:gd name="T28" fmla="*/ 2147483647 w 74"/>
                    <a:gd name="T29" fmla="*/ 2147483647 h 76"/>
                    <a:gd name="T30" fmla="*/ 2147483647 w 74"/>
                    <a:gd name="T31" fmla="*/ 2147483647 h 76"/>
                    <a:gd name="T32" fmla="*/ 2147483647 w 74"/>
                    <a:gd name="T33" fmla="*/ 2147483647 h 76"/>
                    <a:gd name="T34" fmla="*/ 2147483647 w 74"/>
                    <a:gd name="T35" fmla="*/ 2147483647 h 76"/>
                    <a:gd name="T36" fmla="*/ 2147483647 w 74"/>
                    <a:gd name="T37" fmla="*/ 2147483647 h 76"/>
                    <a:gd name="T38" fmla="*/ 2147483647 w 74"/>
                    <a:gd name="T39" fmla="*/ 2147483647 h 76"/>
                    <a:gd name="T40" fmla="*/ 2147483647 w 74"/>
                    <a:gd name="T41" fmla="*/ 2147483647 h 76"/>
                    <a:gd name="T42" fmla="*/ 2147483647 w 74"/>
                    <a:gd name="T43" fmla="*/ 2147483647 h 76"/>
                    <a:gd name="T44" fmla="*/ 2147483647 w 74"/>
                    <a:gd name="T45" fmla="*/ 2147483647 h 76"/>
                    <a:gd name="T46" fmla="*/ 2147483647 w 74"/>
                    <a:gd name="T47" fmla="*/ 2147483647 h 76"/>
                    <a:gd name="T48" fmla="*/ 2147483647 w 74"/>
                    <a:gd name="T49" fmla="*/ 2147483647 h 76"/>
                    <a:gd name="T50" fmla="*/ 2147483647 w 74"/>
                    <a:gd name="T51" fmla="*/ 2147483647 h 76"/>
                    <a:gd name="T52" fmla="*/ 2147483647 w 74"/>
                    <a:gd name="T53" fmla="*/ 2147483647 h 76"/>
                    <a:gd name="T54" fmla="*/ 2147483647 w 74"/>
                    <a:gd name="T55" fmla="*/ 2147483647 h 76"/>
                    <a:gd name="T56" fmla="*/ 2147483647 w 74"/>
                    <a:gd name="T57" fmla="*/ 2147483647 h 76"/>
                    <a:gd name="T58" fmla="*/ 2147483647 w 74"/>
                    <a:gd name="T59" fmla="*/ 2147483647 h 76"/>
                    <a:gd name="T60" fmla="*/ 2147483647 w 74"/>
                    <a:gd name="T61" fmla="*/ 2147483647 h 76"/>
                    <a:gd name="T62" fmla="*/ 2147483647 w 74"/>
                    <a:gd name="T63" fmla="*/ 2147483647 h 76"/>
                    <a:gd name="T64" fmla="*/ 2147483647 w 74"/>
                    <a:gd name="T65" fmla="*/ 2147483647 h 76"/>
                    <a:gd name="T66" fmla="*/ 2147483647 w 74"/>
                    <a:gd name="T67" fmla="*/ 2147483647 h 76"/>
                    <a:gd name="T68" fmla="*/ 2147483647 w 74"/>
                    <a:gd name="T69" fmla="*/ 2147483647 h 76"/>
                    <a:gd name="T70" fmla="*/ 2147483647 w 74"/>
                    <a:gd name="T71" fmla="*/ 2147483647 h 76"/>
                    <a:gd name="T72" fmla="*/ 2147483647 w 74"/>
                    <a:gd name="T73" fmla="*/ 2147483647 h 76"/>
                    <a:gd name="T74" fmla="*/ 2147483647 w 74"/>
                    <a:gd name="T75" fmla="*/ 2147483647 h 76"/>
                    <a:gd name="T76" fmla="*/ 2147483647 w 74"/>
                    <a:gd name="T77" fmla="*/ 2147483647 h 76"/>
                    <a:gd name="T78" fmla="*/ 2147483647 w 74"/>
                    <a:gd name="T79" fmla="*/ 2147483647 h 76"/>
                    <a:gd name="T80" fmla="*/ 2147483647 w 74"/>
                    <a:gd name="T81" fmla="*/ 2147483647 h 76"/>
                    <a:gd name="T82" fmla="*/ 2147483647 w 74"/>
                    <a:gd name="T83" fmla="*/ 2147483647 h 76"/>
                    <a:gd name="T84" fmla="*/ 2147483647 w 74"/>
                    <a:gd name="T85" fmla="*/ 2147483647 h 76"/>
                    <a:gd name="T86" fmla="*/ 2147483647 w 74"/>
                    <a:gd name="T87" fmla="*/ 2147483647 h 76"/>
                    <a:gd name="T88" fmla="*/ 2147483647 w 74"/>
                    <a:gd name="T89" fmla="*/ 2147483647 h 76"/>
                    <a:gd name="T90" fmla="*/ 2147483647 w 74"/>
                    <a:gd name="T91" fmla="*/ 2147483647 h 76"/>
                    <a:gd name="T92" fmla="*/ 2147483647 w 74"/>
                    <a:gd name="T93" fmla="*/ 2147483647 h 76"/>
                    <a:gd name="T94" fmla="*/ 2147483647 w 74"/>
                    <a:gd name="T95" fmla="*/ 2147483647 h 76"/>
                    <a:gd name="T96" fmla="*/ 2147483647 w 74"/>
                    <a:gd name="T97" fmla="*/ 2147483647 h 76"/>
                    <a:gd name="T98" fmla="*/ 2147483647 w 74"/>
                    <a:gd name="T99" fmla="*/ 2147483647 h 76"/>
                    <a:gd name="T100" fmla="*/ 2147483647 w 74"/>
                    <a:gd name="T101" fmla="*/ 2147483647 h 76"/>
                    <a:gd name="T102" fmla="*/ 2147483647 w 74"/>
                    <a:gd name="T103" fmla="*/ 2147483647 h 76"/>
                    <a:gd name="T104" fmla="*/ 2147483647 w 74"/>
                    <a:gd name="T105" fmla="*/ 2147483647 h 76"/>
                    <a:gd name="T106" fmla="*/ 2147483647 w 74"/>
                    <a:gd name="T107" fmla="*/ 2147483647 h 76"/>
                    <a:gd name="T108" fmla="*/ 2147483647 w 74"/>
                    <a:gd name="T109" fmla="*/ 2147483647 h 76"/>
                    <a:gd name="T110" fmla="*/ 2147483647 w 74"/>
                    <a:gd name="T111" fmla="*/ 2147483647 h 76"/>
                    <a:gd name="T112" fmla="*/ 2147483647 w 74"/>
                    <a:gd name="T113" fmla="*/ 2147483647 h 76"/>
                    <a:gd name="T114" fmla="*/ 0 w 74"/>
                    <a:gd name="T115" fmla="*/ 2147483647 h 7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4"/>
                    <a:gd name="T175" fmla="*/ 0 h 76"/>
                    <a:gd name="T176" fmla="*/ 74 w 74"/>
                    <a:gd name="T177" fmla="*/ 76 h 7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4" h="76">
                      <a:moveTo>
                        <a:pt x="0" y="30"/>
                      </a:moveTo>
                      <a:lnTo>
                        <a:pt x="5" y="25"/>
                      </a:lnTo>
                      <a:lnTo>
                        <a:pt x="10" y="20"/>
                      </a:lnTo>
                      <a:lnTo>
                        <a:pt x="16" y="15"/>
                      </a:lnTo>
                      <a:lnTo>
                        <a:pt x="21" y="11"/>
                      </a:lnTo>
                      <a:lnTo>
                        <a:pt x="24" y="6"/>
                      </a:lnTo>
                      <a:lnTo>
                        <a:pt x="25" y="5"/>
                      </a:lnTo>
                      <a:lnTo>
                        <a:pt x="26" y="2"/>
                      </a:lnTo>
                      <a:lnTo>
                        <a:pt x="29" y="2"/>
                      </a:lnTo>
                      <a:lnTo>
                        <a:pt x="33" y="1"/>
                      </a:lnTo>
                      <a:lnTo>
                        <a:pt x="35" y="0"/>
                      </a:lnTo>
                      <a:lnTo>
                        <a:pt x="38" y="0"/>
                      </a:lnTo>
                      <a:lnTo>
                        <a:pt x="39" y="1"/>
                      </a:lnTo>
                      <a:lnTo>
                        <a:pt x="39" y="4"/>
                      </a:lnTo>
                      <a:lnTo>
                        <a:pt x="39" y="10"/>
                      </a:lnTo>
                      <a:lnTo>
                        <a:pt x="40" y="14"/>
                      </a:lnTo>
                      <a:lnTo>
                        <a:pt x="41" y="17"/>
                      </a:lnTo>
                      <a:lnTo>
                        <a:pt x="44" y="18"/>
                      </a:lnTo>
                      <a:lnTo>
                        <a:pt x="47" y="18"/>
                      </a:lnTo>
                      <a:lnTo>
                        <a:pt x="48" y="17"/>
                      </a:lnTo>
                      <a:lnTo>
                        <a:pt x="50" y="14"/>
                      </a:lnTo>
                      <a:lnTo>
                        <a:pt x="53" y="12"/>
                      </a:lnTo>
                      <a:lnTo>
                        <a:pt x="55" y="12"/>
                      </a:lnTo>
                      <a:lnTo>
                        <a:pt x="55" y="14"/>
                      </a:lnTo>
                      <a:lnTo>
                        <a:pt x="57" y="19"/>
                      </a:lnTo>
                      <a:lnTo>
                        <a:pt x="55" y="25"/>
                      </a:lnTo>
                      <a:lnTo>
                        <a:pt x="53" y="30"/>
                      </a:lnTo>
                      <a:lnTo>
                        <a:pt x="49" y="33"/>
                      </a:lnTo>
                      <a:lnTo>
                        <a:pt x="48" y="36"/>
                      </a:lnTo>
                      <a:lnTo>
                        <a:pt x="48" y="38"/>
                      </a:lnTo>
                      <a:lnTo>
                        <a:pt x="48" y="40"/>
                      </a:lnTo>
                      <a:lnTo>
                        <a:pt x="49" y="40"/>
                      </a:lnTo>
                      <a:lnTo>
                        <a:pt x="53" y="39"/>
                      </a:lnTo>
                      <a:lnTo>
                        <a:pt x="55" y="40"/>
                      </a:lnTo>
                      <a:lnTo>
                        <a:pt x="57" y="40"/>
                      </a:lnTo>
                      <a:lnTo>
                        <a:pt x="59" y="43"/>
                      </a:lnTo>
                      <a:lnTo>
                        <a:pt x="61" y="46"/>
                      </a:lnTo>
                      <a:lnTo>
                        <a:pt x="64" y="50"/>
                      </a:lnTo>
                      <a:lnTo>
                        <a:pt x="66" y="51"/>
                      </a:lnTo>
                      <a:lnTo>
                        <a:pt x="67" y="51"/>
                      </a:lnTo>
                      <a:lnTo>
                        <a:pt x="71" y="50"/>
                      </a:lnTo>
                      <a:lnTo>
                        <a:pt x="73" y="51"/>
                      </a:lnTo>
                      <a:lnTo>
                        <a:pt x="74" y="51"/>
                      </a:lnTo>
                      <a:lnTo>
                        <a:pt x="74" y="57"/>
                      </a:lnTo>
                      <a:lnTo>
                        <a:pt x="74" y="63"/>
                      </a:lnTo>
                      <a:lnTo>
                        <a:pt x="73" y="68"/>
                      </a:lnTo>
                      <a:lnTo>
                        <a:pt x="74" y="74"/>
                      </a:lnTo>
                      <a:lnTo>
                        <a:pt x="69" y="75"/>
                      </a:lnTo>
                      <a:lnTo>
                        <a:pt x="58" y="76"/>
                      </a:lnTo>
                      <a:lnTo>
                        <a:pt x="54" y="75"/>
                      </a:lnTo>
                      <a:lnTo>
                        <a:pt x="52" y="72"/>
                      </a:lnTo>
                      <a:lnTo>
                        <a:pt x="44" y="64"/>
                      </a:lnTo>
                      <a:lnTo>
                        <a:pt x="30" y="46"/>
                      </a:lnTo>
                      <a:lnTo>
                        <a:pt x="26" y="44"/>
                      </a:lnTo>
                      <a:lnTo>
                        <a:pt x="22" y="43"/>
                      </a:lnTo>
                      <a:lnTo>
                        <a:pt x="16" y="40"/>
                      </a:lnTo>
                      <a:lnTo>
                        <a:pt x="11" y="38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9" name="Freeform 688">
                  <a:extLst>
                    <a:ext uri="{FF2B5EF4-FFF2-40B4-BE49-F238E27FC236}">
                      <a16:creationId xmlns:a16="http://schemas.microsoft.com/office/drawing/2014/main" id="{2B9F39E1-4FBF-C842-A92F-0C94EC155E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2628" y="4340148"/>
                  <a:ext cx="72514" cy="88792"/>
                </a:xfrm>
                <a:custGeom>
                  <a:avLst/>
                  <a:gdLst>
                    <a:gd name="T0" fmla="*/ 2147483647 w 53"/>
                    <a:gd name="T1" fmla="*/ 2147483647 h 60"/>
                    <a:gd name="T2" fmla="*/ 2147483647 w 53"/>
                    <a:gd name="T3" fmla="*/ 2147483647 h 60"/>
                    <a:gd name="T4" fmla="*/ 2147483647 w 53"/>
                    <a:gd name="T5" fmla="*/ 2147483647 h 60"/>
                    <a:gd name="T6" fmla="*/ 2147483647 w 53"/>
                    <a:gd name="T7" fmla="*/ 2147483647 h 60"/>
                    <a:gd name="T8" fmla="*/ 2147483647 w 53"/>
                    <a:gd name="T9" fmla="*/ 2147483647 h 60"/>
                    <a:gd name="T10" fmla="*/ 2147483647 w 53"/>
                    <a:gd name="T11" fmla="*/ 2147483647 h 60"/>
                    <a:gd name="T12" fmla="*/ 2147483647 w 53"/>
                    <a:gd name="T13" fmla="*/ 2147483647 h 60"/>
                    <a:gd name="T14" fmla="*/ 2147483647 w 53"/>
                    <a:gd name="T15" fmla="*/ 2147483647 h 60"/>
                    <a:gd name="T16" fmla="*/ 2147483647 w 53"/>
                    <a:gd name="T17" fmla="*/ 2147483647 h 60"/>
                    <a:gd name="T18" fmla="*/ 2147483647 w 53"/>
                    <a:gd name="T19" fmla="*/ 2147483647 h 60"/>
                    <a:gd name="T20" fmla="*/ 2147483647 w 53"/>
                    <a:gd name="T21" fmla="*/ 2147483647 h 60"/>
                    <a:gd name="T22" fmla="*/ 2147483647 w 53"/>
                    <a:gd name="T23" fmla="*/ 0 h 60"/>
                    <a:gd name="T24" fmla="*/ 2147483647 w 53"/>
                    <a:gd name="T25" fmla="*/ 2147483647 h 60"/>
                    <a:gd name="T26" fmla="*/ 2147483647 w 53"/>
                    <a:gd name="T27" fmla="*/ 2147483647 h 60"/>
                    <a:gd name="T28" fmla="*/ 2147483647 w 53"/>
                    <a:gd name="T29" fmla="*/ 2147483647 h 60"/>
                    <a:gd name="T30" fmla="*/ 2147483647 w 53"/>
                    <a:gd name="T31" fmla="*/ 2147483647 h 60"/>
                    <a:gd name="T32" fmla="*/ 2147483647 w 53"/>
                    <a:gd name="T33" fmla="*/ 2147483647 h 60"/>
                    <a:gd name="T34" fmla="*/ 2147483647 w 53"/>
                    <a:gd name="T35" fmla="*/ 2147483647 h 60"/>
                    <a:gd name="T36" fmla="*/ 2147483647 w 53"/>
                    <a:gd name="T37" fmla="*/ 2147483647 h 60"/>
                    <a:gd name="T38" fmla="*/ 2147483647 w 53"/>
                    <a:gd name="T39" fmla="*/ 2147483647 h 60"/>
                    <a:gd name="T40" fmla="*/ 2147483647 w 53"/>
                    <a:gd name="T41" fmla="*/ 2147483647 h 60"/>
                    <a:gd name="T42" fmla="*/ 2147483647 w 53"/>
                    <a:gd name="T43" fmla="*/ 2147483647 h 60"/>
                    <a:gd name="T44" fmla="*/ 2147483647 w 53"/>
                    <a:gd name="T45" fmla="*/ 2147483647 h 60"/>
                    <a:gd name="T46" fmla="*/ 0 w 53"/>
                    <a:gd name="T47" fmla="*/ 2147483647 h 60"/>
                    <a:gd name="T48" fmla="*/ 2147483647 w 53"/>
                    <a:gd name="T49" fmla="*/ 2147483647 h 60"/>
                    <a:gd name="T50" fmla="*/ 2147483647 w 53"/>
                    <a:gd name="T51" fmla="*/ 2147483647 h 60"/>
                    <a:gd name="T52" fmla="*/ 2147483647 w 53"/>
                    <a:gd name="T53" fmla="*/ 2147483647 h 60"/>
                    <a:gd name="T54" fmla="*/ 2147483647 w 53"/>
                    <a:gd name="T55" fmla="*/ 2147483647 h 60"/>
                    <a:gd name="T56" fmla="*/ 2147483647 w 53"/>
                    <a:gd name="T57" fmla="*/ 2147483647 h 60"/>
                    <a:gd name="T58" fmla="*/ 2147483647 w 53"/>
                    <a:gd name="T59" fmla="*/ 2147483647 h 60"/>
                    <a:gd name="T60" fmla="*/ 2147483647 w 53"/>
                    <a:gd name="T61" fmla="*/ 2147483647 h 60"/>
                    <a:gd name="T62" fmla="*/ 2147483647 w 53"/>
                    <a:gd name="T63" fmla="*/ 2147483647 h 60"/>
                    <a:gd name="T64" fmla="*/ 2147483647 w 53"/>
                    <a:gd name="T65" fmla="*/ 2147483647 h 60"/>
                    <a:gd name="T66" fmla="*/ 2147483647 w 53"/>
                    <a:gd name="T67" fmla="*/ 2147483647 h 60"/>
                    <a:gd name="T68" fmla="*/ 2147483647 w 53"/>
                    <a:gd name="T69" fmla="*/ 2147483647 h 60"/>
                    <a:gd name="T70" fmla="*/ 2147483647 w 53"/>
                    <a:gd name="T71" fmla="*/ 2147483647 h 60"/>
                    <a:gd name="T72" fmla="*/ 2147483647 w 53"/>
                    <a:gd name="T73" fmla="*/ 2147483647 h 60"/>
                    <a:gd name="T74" fmla="*/ 2147483647 w 53"/>
                    <a:gd name="T75" fmla="*/ 2147483647 h 60"/>
                    <a:gd name="T76" fmla="*/ 2147483647 w 53"/>
                    <a:gd name="T77" fmla="*/ 2147483647 h 60"/>
                    <a:gd name="T78" fmla="*/ 2147483647 w 53"/>
                    <a:gd name="T79" fmla="*/ 2147483647 h 60"/>
                    <a:gd name="T80" fmla="*/ 2147483647 w 53"/>
                    <a:gd name="T81" fmla="*/ 2147483647 h 60"/>
                    <a:gd name="T82" fmla="*/ 2147483647 w 53"/>
                    <a:gd name="T83" fmla="*/ 2147483647 h 60"/>
                    <a:gd name="T84" fmla="*/ 2147483647 w 53"/>
                    <a:gd name="T85" fmla="*/ 2147483647 h 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3"/>
                    <a:gd name="T130" fmla="*/ 0 h 60"/>
                    <a:gd name="T131" fmla="*/ 53 w 53"/>
                    <a:gd name="T132" fmla="*/ 60 h 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3" h="60">
                      <a:moveTo>
                        <a:pt x="53" y="32"/>
                      </a:moveTo>
                      <a:lnTo>
                        <a:pt x="53" y="32"/>
                      </a:lnTo>
                      <a:lnTo>
                        <a:pt x="52" y="32"/>
                      </a:lnTo>
                      <a:lnTo>
                        <a:pt x="49" y="30"/>
                      </a:lnTo>
                      <a:lnTo>
                        <a:pt x="43" y="17"/>
                      </a:lnTo>
                      <a:lnTo>
                        <a:pt x="40" y="11"/>
                      </a:lnTo>
                      <a:lnTo>
                        <a:pt x="35" y="6"/>
                      </a:lnTo>
                      <a:lnTo>
                        <a:pt x="31" y="3"/>
                      </a:lnTo>
                      <a:lnTo>
                        <a:pt x="28" y="1"/>
                      </a:lnTo>
                      <a:lnTo>
                        <a:pt x="24" y="0"/>
                      </a:lnTo>
                      <a:lnTo>
                        <a:pt x="19" y="1"/>
                      </a:lnTo>
                      <a:lnTo>
                        <a:pt x="15" y="3"/>
                      </a:lnTo>
                      <a:lnTo>
                        <a:pt x="10" y="4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5" y="16"/>
                      </a:lnTo>
                      <a:lnTo>
                        <a:pt x="1" y="20"/>
                      </a:lnTo>
                      <a:lnTo>
                        <a:pt x="0" y="26"/>
                      </a:lnTo>
                      <a:lnTo>
                        <a:pt x="1" y="31"/>
                      </a:lnTo>
                      <a:lnTo>
                        <a:pt x="2" y="36"/>
                      </a:lnTo>
                      <a:lnTo>
                        <a:pt x="6" y="41"/>
                      </a:lnTo>
                      <a:lnTo>
                        <a:pt x="10" y="45"/>
                      </a:lnTo>
                      <a:lnTo>
                        <a:pt x="17" y="54"/>
                      </a:lnTo>
                      <a:lnTo>
                        <a:pt x="22" y="57"/>
                      </a:lnTo>
                      <a:lnTo>
                        <a:pt x="26" y="60"/>
                      </a:lnTo>
                      <a:lnTo>
                        <a:pt x="31" y="55"/>
                      </a:lnTo>
                      <a:lnTo>
                        <a:pt x="36" y="50"/>
                      </a:lnTo>
                      <a:lnTo>
                        <a:pt x="43" y="45"/>
                      </a:lnTo>
                      <a:lnTo>
                        <a:pt x="48" y="41"/>
                      </a:lnTo>
                      <a:lnTo>
                        <a:pt x="50" y="36"/>
                      </a:lnTo>
                      <a:lnTo>
                        <a:pt x="52" y="35"/>
                      </a:lnTo>
                      <a:lnTo>
                        <a:pt x="53" y="3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0" name="Freeform 689">
                  <a:extLst>
                    <a:ext uri="{FF2B5EF4-FFF2-40B4-BE49-F238E27FC236}">
                      <a16:creationId xmlns:a16="http://schemas.microsoft.com/office/drawing/2014/main" id="{53BEB81E-99EE-3F47-8535-E6183CAD20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28146" y="4384542"/>
                  <a:ext cx="102112" cy="112470"/>
                </a:xfrm>
                <a:custGeom>
                  <a:avLst/>
                  <a:gdLst>
                    <a:gd name="T0" fmla="*/ 0 w 75"/>
                    <a:gd name="T1" fmla="*/ 2147483647 h 76"/>
                    <a:gd name="T2" fmla="*/ 2147483647 w 75"/>
                    <a:gd name="T3" fmla="*/ 2147483647 h 76"/>
                    <a:gd name="T4" fmla="*/ 2147483647 w 75"/>
                    <a:gd name="T5" fmla="*/ 2147483647 h 76"/>
                    <a:gd name="T6" fmla="*/ 2147483647 w 75"/>
                    <a:gd name="T7" fmla="*/ 2147483647 h 76"/>
                    <a:gd name="T8" fmla="*/ 2147483647 w 75"/>
                    <a:gd name="T9" fmla="*/ 2147483647 h 76"/>
                    <a:gd name="T10" fmla="*/ 2147483647 w 75"/>
                    <a:gd name="T11" fmla="*/ 2147483647 h 76"/>
                    <a:gd name="T12" fmla="*/ 2147483647 w 75"/>
                    <a:gd name="T13" fmla="*/ 0 h 76"/>
                    <a:gd name="T14" fmla="*/ 2147483647 w 75"/>
                    <a:gd name="T15" fmla="*/ 0 h 76"/>
                    <a:gd name="T16" fmla="*/ 2147483647 w 75"/>
                    <a:gd name="T17" fmla="*/ 2147483647 h 76"/>
                    <a:gd name="T18" fmla="*/ 2147483647 w 75"/>
                    <a:gd name="T19" fmla="*/ 2147483647 h 76"/>
                    <a:gd name="T20" fmla="*/ 2147483647 w 75"/>
                    <a:gd name="T21" fmla="*/ 2147483647 h 76"/>
                    <a:gd name="T22" fmla="*/ 2147483647 w 75"/>
                    <a:gd name="T23" fmla="*/ 2147483647 h 76"/>
                    <a:gd name="T24" fmla="*/ 2147483647 w 75"/>
                    <a:gd name="T25" fmla="*/ 2147483647 h 76"/>
                    <a:gd name="T26" fmla="*/ 2147483647 w 75"/>
                    <a:gd name="T27" fmla="*/ 2147483647 h 76"/>
                    <a:gd name="T28" fmla="*/ 2147483647 w 75"/>
                    <a:gd name="T29" fmla="*/ 2147483647 h 76"/>
                    <a:gd name="T30" fmla="*/ 2147483647 w 75"/>
                    <a:gd name="T31" fmla="*/ 2147483647 h 76"/>
                    <a:gd name="T32" fmla="*/ 2147483647 w 75"/>
                    <a:gd name="T33" fmla="*/ 2147483647 h 76"/>
                    <a:gd name="T34" fmla="*/ 2147483647 w 75"/>
                    <a:gd name="T35" fmla="*/ 2147483647 h 76"/>
                    <a:gd name="T36" fmla="*/ 2147483647 w 75"/>
                    <a:gd name="T37" fmla="*/ 2147483647 h 76"/>
                    <a:gd name="T38" fmla="*/ 2147483647 w 75"/>
                    <a:gd name="T39" fmla="*/ 2147483647 h 76"/>
                    <a:gd name="T40" fmla="*/ 2147483647 w 75"/>
                    <a:gd name="T41" fmla="*/ 2147483647 h 76"/>
                    <a:gd name="T42" fmla="*/ 2147483647 w 75"/>
                    <a:gd name="T43" fmla="*/ 2147483647 h 76"/>
                    <a:gd name="T44" fmla="*/ 2147483647 w 75"/>
                    <a:gd name="T45" fmla="*/ 2147483647 h 76"/>
                    <a:gd name="T46" fmla="*/ 2147483647 w 75"/>
                    <a:gd name="T47" fmla="*/ 2147483647 h 76"/>
                    <a:gd name="T48" fmla="*/ 2147483647 w 75"/>
                    <a:gd name="T49" fmla="*/ 2147483647 h 76"/>
                    <a:gd name="T50" fmla="*/ 2147483647 w 75"/>
                    <a:gd name="T51" fmla="*/ 2147483647 h 76"/>
                    <a:gd name="T52" fmla="*/ 2147483647 w 75"/>
                    <a:gd name="T53" fmla="*/ 2147483647 h 76"/>
                    <a:gd name="T54" fmla="*/ 2147483647 w 75"/>
                    <a:gd name="T55" fmla="*/ 2147483647 h 76"/>
                    <a:gd name="T56" fmla="*/ 2147483647 w 75"/>
                    <a:gd name="T57" fmla="*/ 2147483647 h 76"/>
                    <a:gd name="T58" fmla="*/ 2147483647 w 75"/>
                    <a:gd name="T59" fmla="*/ 2147483647 h 76"/>
                    <a:gd name="T60" fmla="*/ 2147483647 w 75"/>
                    <a:gd name="T61" fmla="*/ 2147483647 h 76"/>
                    <a:gd name="T62" fmla="*/ 2147483647 w 75"/>
                    <a:gd name="T63" fmla="*/ 2147483647 h 76"/>
                    <a:gd name="T64" fmla="*/ 2147483647 w 75"/>
                    <a:gd name="T65" fmla="*/ 2147483647 h 76"/>
                    <a:gd name="T66" fmla="*/ 2147483647 w 75"/>
                    <a:gd name="T67" fmla="*/ 2147483647 h 76"/>
                    <a:gd name="T68" fmla="*/ 2147483647 w 75"/>
                    <a:gd name="T69" fmla="*/ 2147483647 h 76"/>
                    <a:gd name="T70" fmla="*/ 2147483647 w 75"/>
                    <a:gd name="T71" fmla="*/ 2147483647 h 76"/>
                    <a:gd name="T72" fmla="*/ 2147483647 w 75"/>
                    <a:gd name="T73" fmla="*/ 2147483647 h 76"/>
                    <a:gd name="T74" fmla="*/ 0 w 75"/>
                    <a:gd name="T75" fmla="*/ 2147483647 h 7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75"/>
                    <a:gd name="T115" fmla="*/ 0 h 76"/>
                    <a:gd name="T116" fmla="*/ 75 w 75"/>
                    <a:gd name="T117" fmla="*/ 76 h 7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75" h="76">
                      <a:moveTo>
                        <a:pt x="0" y="30"/>
                      </a:moveTo>
                      <a:lnTo>
                        <a:pt x="0" y="30"/>
                      </a:lnTo>
                      <a:lnTo>
                        <a:pt x="5" y="25"/>
                      </a:lnTo>
                      <a:lnTo>
                        <a:pt x="10" y="20"/>
                      </a:lnTo>
                      <a:lnTo>
                        <a:pt x="17" y="15"/>
                      </a:lnTo>
                      <a:lnTo>
                        <a:pt x="22" y="11"/>
                      </a:lnTo>
                      <a:lnTo>
                        <a:pt x="24" y="6"/>
                      </a:lnTo>
                      <a:lnTo>
                        <a:pt x="26" y="5"/>
                      </a:lnTo>
                      <a:lnTo>
                        <a:pt x="27" y="2"/>
                      </a:lnTo>
                      <a:lnTo>
                        <a:pt x="29" y="2"/>
                      </a:lnTo>
                      <a:lnTo>
                        <a:pt x="33" y="1"/>
                      </a:lnTo>
                      <a:lnTo>
                        <a:pt x="36" y="0"/>
                      </a:lnTo>
                      <a:lnTo>
                        <a:pt x="38" y="0"/>
                      </a:lnTo>
                      <a:lnTo>
                        <a:pt x="40" y="1"/>
                      </a:lnTo>
                      <a:lnTo>
                        <a:pt x="40" y="3"/>
                      </a:lnTo>
                      <a:lnTo>
                        <a:pt x="40" y="9"/>
                      </a:lnTo>
                      <a:lnTo>
                        <a:pt x="41" y="14"/>
                      </a:lnTo>
                      <a:lnTo>
                        <a:pt x="42" y="16"/>
                      </a:lnTo>
                      <a:lnTo>
                        <a:pt x="45" y="18"/>
                      </a:lnTo>
                      <a:lnTo>
                        <a:pt x="47" y="18"/>
                      </a:lnTo>
                      <a:lnTo>
                        <a:pt x="49" y="16"/>
                      </a:lnTo>
                      <a:lnTo>
                        <a:pt x="51" y="14"/>
                      </a:lnTo>
                      <a:lnTo>
                        <a:pt x="54" y="12"/>
                      </a:lnTo>
                      <a:lnTo>
                        <a:pt x="56" y="12"/>
                      </a:lnTo>
                      <a:lnTo>
                        <a:pt x="56" y="14"/>
                      </a:lnTo>
                      <a:lnTo>
                        <a:pt x="57" y="19"/>
                      </a:lnTo>
                      <a:lnTo>
                        <a:pt x="56" y="25"/>
                      </a:lnTo>
                      <a:lnTo>
                        <a:pt x="54" y="30"/>
                      </a:lnTo>
                      <a:lnTo>
                        <a:pt x="50" y="33"/>
                      </a:lnTo>
                      <a:lnTo>
                        <a:pt x="49" y="35"/>
                      </a:lnTo>
                      <a:lnTo>
                        <a:pt x="49" y="38"/>
                      </a:lnTo>
                      <a:lnTo>
                        <a:pt x="49" y="40"/>
                      </a:lnTo>
                      <a:lnTo>
                        <a:pt x="50" y="40"/>
                      </a:lnTo>
                      <a:lnTo>
                        <a:pt x="54" y="39"/>
                      </a:lnTo>
                      <a:lnTo>
                        <a:pt x="56" y="40"/>
                      </a:lnTo>
                      <a:lnTo>
                        <a:pt x="57" y="40"/>
                      </a:lnTo>
                      <a:lnTo>
                        <a:pt x="60" y="43"/>
                      </a:lnTo>
                      <a:lnTo>
                        <a:pt x="61" y="46"/>
                      </a:lnTo>
                      <a:lnTo>
                        <a:pt x="65" y="50"/>
                      </a:lnTo>
                      <a:lnTo>
                        <a:pt x="66" y="51"/>
                      </a:lnTo>
                      <a:lnTo>
                        <a:pt x="68" y="51"/>
                      </a:lnTo>
                      <a:lnTo>
                        <a:pt x="71" y="50"/>
                      </a:lnTo>
                      <a:lnTo>
                        <a:pt x="74" y="51"/>
                      </a:lnTo>
                      <a:lnTo>
                        <a:pt x="75" y="51"/>
                      </a:lnTo>
                      <a:lnTo>
                        <a:pt x="75" y="57"/>
                      </a:lnTo>
                      <a:lnTo>
                        <a:pt x="75" y="63"/>
                      </a:lnTo>
                      <a:lnTo>
                        <a:pt x="74" y="67"/>
                      </a:lnTo>
                      <a:lnTo>
                        <a:pt x="75" y="73"/>
                      </a:lnTo>
                      <a:lnTo>
                        <a:pt x="70" y="75"/>
                      </a:lnTo>
                      <a:lnTo>
                        <a:pt x="59" y="76"/>
                      </a:lnTo>
                      <a:lnTo>
                        <a:pt x="55" y="75"/>
                      </a:lnTo>
                      <a:lnTo>
                        <a:pt x="52" y="72"/>
                      </a:lnTo>
                      <a:lnTo>
                        <a:pt x="45" y="64"/>
                      </a:lnTo>
                      <a:lnTo>
                        <a:pt x="31" y="46"/>
                      </a:lnTo>
                      <a:lnTo>
                        <a:pt x="27" y="44"/>
                      </a:lnTo>
                      <a:lnTo>
                        <a:pt x="23" y="43"/>
                      </a:lnTo>
                      <a:lnTo>
                        <a:pt x="17" y="40"/>
                      </a:lnTo>
                      <a:lnTo>
                        <a:pt x="12" y="38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1" name="Freeform 690">
                  <a:extLst>
                    <a:ext uri="{FF2B5EF4-FFF2-40B4-BE49-F238E27FC236}">
                      <a16:creationId xmlns:a16="http://schemas.microsoft.com/office/drawing/2014/main" id="{D053CF5D-8AB1-104E-A592-B2BD9DDEAA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6219" y="4322388"/>
                  <a:ext cx="155387" cy="173145"/>
                </a:xfrm>
                <a:custGeom>
                  <a:avLst/>
                  <a:gdLst>
                    <a:gd name="T0" fmla="*/ 2147483647 w 113"/>
                    <a:gd name="T1" fmla="*/ 2147483647 h 117"/>
                    <a:gd name="T2" fmla="*/ 2147483647 w 113"/>
                    <a:gd name="T3" fmla="*/ 2147483647 h 117"/>
                    <a:gd name="T4" fmla="*/ 2147483647 w 113"/>
                    <a:gd name="T5" fmla="*/ 2147483647 h 117"/>
                    <a:gd name="T6" fmla="*/ 2147483647 w 113"/>
                    <a:gd name="T7" fmla="*/ 2147483647 h 117"/>
                    <a:gd name="T8" fmla="*/ 2147483647 w 113"/>
                    <a:gd name="T9" fmla="*/ 2147483647 h 117"/>
                    <a:gd name="T10" fmla="*/ 2147483647 w 113"/>
                    <a:gd name="T11" fmla="*/ 2147483647 h 117"/>
                    <a:gd name="T12" fmla="*/ 2147483647 w 113"/>
                    <a:gd name="T13" fmla="*/ 2147483647 h 117"/>
                    <a:gd name="T14" fmla="*/ 2147483647 w 113"/>
                    <a:gd name="T15" fmla="*/ 2147483647 h 117"/>
                    <a:gd name="T16" fmla="*/ 2147483647 w 113"/>
                    <a:gd name="T17" fmla="*/ 2147483647 h 117"/>
                    <a:gd name="T18" fmla="*/ 0 w 113"/>
                    <a:gd name="T19" fmla="*/ 2147483647 h 117"/>
                    <a:gd name="T20" fmla="*/ 0 w 113"/>
                    <a:gd name="T21" fmla="*/ 2147483647 h 117"/>
                    <a:gd name="T22" fmla="*/ 2147483647 w 113"/>
                    <a:gd name="T23" fmla="*/ 2147483647 h 117"/>
                    <a:gd name="T24" fmla="*/ 2147483647 w 113"/>
                    <a:gd name="T25" fmla="*/ 2147483647 h 117"/>
                    <a:gd name="T26" fmla="*/ 2147483647 w 113"/>
                    <a:gd name="T27" fmla="*/ 2147483647 h 117"/>
                    <a:gd name="T28" fmla="*/ 2147483647 w 113"/>
                    <a:gd name="T29" fmla="*/ 2147483647 h 117"/>
                    <a:gd name="T30" fmla="*/ 2147483647 w 113"/>
                    <a:gd name="T31" fmla="*/ 2147483647 h 117"/>
                    <a:gd name="T32" fmla="*/ 2147483647 w 113"/>
                    <a:gd name="T33" fmla="*/ 2147483647 h 117"/>
                    <a:gd name="T34" fmla="*/ 2147483647 w 113"/>
                    <a:gd name="T35" fmla="*/ 2147483647 h 117"/>
                    <a:gd name="T36" fmla="*/ 2147483647 w 113"/>
                    <a:gd name="T37" fmla="*/ 2147483647 h 117"/>
                    <a:gd name="T38" fmla="*/ 2147483647 w 113"/>
                    <a:gd name="T39" fmla="*/ 2147483647 h 117"/>
                    <a:gd name="T40" fmla="*/ 2147483647 w 113"/>
                    <a:gd name="T41" fmla="*/ 2147483647 h 117"/>
                    <a:gd name="T42" fmla="*/ 2147483647 w 113"/>
                    <a:gd name="T43" fmla="*/ 2147483647 h 117"/>
                    <a:gd name="T44" fmla="*/ 2147483647 w 113"/>
                    <a:gd name="T45" fmla="*/ 2147483647 h 117"/>
                    <a:gd name="T46" fmla="*/ 2147483647 w 113"/>
                    <a:gd name="T47" fmla="*/ 2147483647 h 117"/>
                    <a:gd name="T48" fmla="*/ 2147483647 w 113"/>
                    <a:gd name="T49" fmla="*/ 2147483647 h 117"/>
                    <a:gd name="T50" fmla="*/ 2147483647 w 113"/>
                    <a:gd name="T51" fmla="*/ 2147483647 h 117"/>
                    <a:gd name="T52" fmla="*/ 2147483647 w 113"/>
                    <a:gd name="T53" fmla="*/ 2147483647 h 117"/>
                    <a:gd name="T54" fmla="*/ 2147483647 w 113"/>
                    <a:gd name="T55" fmla="*/ 2147483647 h 117"/>
                    <a:gd name="T56" fmla="*/ 2147483647 w 113"/>
                    <a:gd name="T57" fmla="*/ 2147483647 h 117"/>
                    <a:gd name="T58" fmla="*/ 2147483647 w 113"/>
                    <a:gd name="T59" fmla="*/ 2147483647 h 117"/>
                    <a:gd name="T60" fmla="*/ 2147483647 w 113"/>
                    <a:gd name="T61" fmla="*/ 2147483647 h 117"/>
                    <a:gd name="T62" fmla="*/ 2147483647 w 113"/>
                    <a:gd name="T63" fmla="*/ 2147483647 h 117"/>
                    <a:gd name="T64" fmla="*/ 2147483647 w 113"/>
                    <a:gd name="T65" fmla="*/ 2147483647 h 117"/>
                    <a:gd name="T66" fmla="*/ 2147483647 w 113"/>
                    <a:gd name="T67" fmla="*/ 2147483647 h 117"/>
                    <a:gd name="T68" fmla="*/ 2147483647 w 113"/>
                    <a:gd name="T69" fmla="*/ 2147483647 h 117"/>
                    <a:gd name="T70" fmla="*/ 2147483647 w 113"/>
                    <a:gd name="T71" fmla="*/ 2147483647 h 117"/>
                    <a:gd name="T72" fmla="*/ 2147483647 w 113"/>
                    <a:gd name="T73" fmla="*/ 0 h 117"/>
                    <a:gd name="T74" fmla="*/ 2147483647 w 113"/>
                    <a:gd name="T75" fmla="*/ 2147483647 h 117"/>
                    <a:gd name="T76" fmla="*/ 2147483647 w 113"/>
                    <a:gd name="T77" fmla="*/ 2147483647 h 117"/>
                    <a:gd name="T78" fmla="*/ 2147483647 w 113"/>
                    <a:gd name="T79" fmla="*/ 2147483647 h 117"/>
                    <a:gd name="T80" fmla="*/ 2147483647 w 113"/>
                    <a:gd name="T81" fmla="*/ 2147483647 h 117"/>
                    <a:gd name="T82" fmla="*/ 2147483647 w 113"/>
                    <a:gd name="T83" fmla="*/ 2147483647 h 117"/>
                    <a:gd name="T84" fmla="*/ 2147483647 w 113"/>
                    <a:gd name="T85" fmla="*/ 2147483647 h 11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3"/>
                    <a:gd name="T130" fmla="*/ 0 h 117"/>
                    <a:gd name="T131" fmla="*/ 113 w 113"/>
                    <a:gd name="T132" fmla="*/ 117 h 11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3" h="117">
                      <a:moveTo>
                        <a:pt x="24" y="22"/>
                      </a:moveTo>
                      <a:lnTo>
                        <a:pt x="21" y="30"/>
                      </a:lnTo>
                      <a:lnTo>
                        <a:pt x="20" y="40"/>
                      </a:lnTo>
                      <a:lnTo>
                        <a:pt x="19" y="40"/>
                      </a:lnTo>
                      <a:lnTo>
                        <a:pt x="18" y="40"/>
                      </a:lnTo>
                      <a:lnTo>
                        <a:pt x="15" y="40"/>
                      </a:lnTo>
                      <a:lnTo>
                        <a:pt x="14" y="40"/>
                      </a:lnTo>
                      <a:lnTo>
                        <a:pt x="13" y="41"/>
                      </a:lnTo>
                      <a:lnTo>
                        <a:pt x="13" y="43"/>
                      </a:lnTo>
                      <a:lnTo>
                        <a:pt x="14" y="45"/>
                      </a:lnTo>
                      <a:lnTo>
                        <a:pt x="16" y="49"/>
                      </a:lnTo>
                      <a:lnTo>
                        <a:pt x="16" y="50"/>
                      </a:lnTo>
                      <a:lnTo>
                        <a:pt x="15" y="51"/>
                      </a:lnTo>
                      <a:lnTo>
                        <a:pt x="13" y="55"/>
                      </a:lnTo>
                      <a:lnTo>
                        <a:pt x="7" y="57"/>
                      </a:lnTo>
                      <a:lnTo>
                        <a:pt x="9" y="62"/>
                      </a:lnTo>
                      <a:lnTo>
                        <a:pt x="7" y="68"/>
                      </a:lnTo>
                      <a:lnTo>
                        <a:pt x="5" y="73"/>
                      </a:lnTo>
                      <a:lnTo>
                        <a:pt x="1" y="76"/>
                      </a:lnTo>
                      <a:lnTo>
                        <a:pt x="0" y="79"/>
                      </a:lnTo>
                      <a:lnTo>
                        <a:pt x="0" y="81"/>
                      </a:lnTo>
                      <a:lnTo>
                        <a:pt x="0" y="83"/>
                      </a:lnTo>
                      <a:lnTo>
                        <a:pt x="1" y="83"/>
                      </a:lnTo>
                      <a:lnTo>
                        <a:pt x="5" y="82"/>
                      </a:lnTo>
                      <a:lnTo>
                        <a:pt x="7" y="83"/>
                      </a:lnTo>
                      <a:lnTo>
                        <a:pt x="9" y="83"/>
                      </a:lnTo>
                      <a:lnTo>
                        <a:pt x="11" y="86"/>
                      </a:lnTo>
                      <a:lnTo>
                        <a:pt x="13" y="89"/>
                      </a:lnTo>
                      <a:lnTo>
                        <a:pt x="16" y="93"/>
                      </a:lnTo>
                      <a:lnTo>
                        <a:pt x="18" y="94"/>
                      </a:lnTo>
                      <a:lnTo>
                        <a:pt x="19" y="94"/>
                      </a:lnTo>
                      <a:lnTo>
                        <a:pt x="23" y="93"/>
                      </a:lnTo>
                      <a:lnTo>
                        <a:pt x="25" y="94"/>
                      </a:lnTo>
                      <a:lnTo>
                        <a:pt x="26" y="94"/>
                      </a:lnTo>
                      <a:lnTo>
                        <a:pt x="26" y="100"/>
                      </a:lnTo>
                      <a:lnTo>
                        <a:pt x="26" y="106"/>
                      </a:lnTo>
                      <a:lnTo>
                        <a:pt x="25" y="111"/>
                      </a:lnTo>
                      <a:lnTo>
                        <a:pt x="26" y="117"/>
                      </a:lnTo>
                      <a:lnTo>
                        <a:pt x="39" y="117"/>
                      </a:lnTo>
                      <a:lnTo>
                        <a:pt x="46" y="115"/>
                      </a:lnTo>
                      <a:lnTo>
                        <a:pt x="52" y="115"/>
                      </a:lnTo>
                      <a:lnTo>
                        <a:pt x="61" y="112"/>
                      </a:lnTo>
                      <a:lnTo>
                        <a:pt x="70" y="108"/>
                      </a:lnTo>
                      <a:lnTo>
                        <a:pt x="79" y="107"/>
                      </a:lnTo>
                      <a:lnTo>
                        <a:pt x="82" y="107"/>
                      </a:lnTo>
                      <a:lnTo>
                        <a:pt x="87" y="108"/>
                      </a:lnTo>
                      <a:lnTo>
                        <a:pt x="91" y="109"/>
                      </a:lnTo>
                      <a:lnTo>
                        <a:pt x="96" y="109"/>
                      </a:lnTo>
                      <a:lnTo>
                        <a:pt x="105" y="108"/>
                      </a:lnTo>
                      <a:lnTo>
                        <a:pt x="105" y="105"/>
                      </a:lnTo>
                      <a:lnTo>
                        <a:pt x="105" y="101"/>
                      </a:lnTo>
                      <a:lnTo>
                        <a:pt x="105" y="96"/>
                      </a:lnTo>
                      <a:lnTo>
                        <a:pt x="104" y="93"/>
                      </a:lnTo>
                      <a:lnTo>
                        <a:pt x="100" y="88"/>
                      </a:lnTo>
                      <a:lnTo>
                        <a:pt x="99" y="82"/>
                      </a:lnTo>
                      <a:lnTo>
                        <a:pt x="99" y="76"/>
                      </a:lnTo>
                      <a:lnTo>
                        <a:pt x="100" y="70"/>
                      </a:lnTo>
                      <a:lnTo>
                        <a:pt x="106" y="57"/>
                      </a:lnTo>
                      <a:lnTo>
                        <a:pt x="112" y="44"/>
                      </a:lnTo>
                      <a:lnTo>
                        <a:pt x="113" y="37"/>
                      </a:lnTo>
                      <a:lnTo>
                        <a:pt x="113" y="30"/>
                      </a:lnTo>
                      <a:lnTo>
                        <a:pt x="113" y="23"/>
                      </a:lnTo>
                      <a:lnTo>
                        <a:pt x="110" y="16"/>
                      </a:lnTo>
                      <a:lnTo>
                        <a:pt x="109" y="13"/>
                      </a:lnTo>
                      <a:lnTo>
                        <a:pt x="106" y="11"/>
                      </a:lnTo>
                      <a:lnTo>
                        <a:pt x="101" y="9"/>
                      </a:lnTo>
                      <a:lnTo>
                        <a:pt x="98" y="10"/>
                      </a:lnTo>
                      <a:lnTo>
                        <a:pt x="90" y="15"/>
                      </a:lnTo>
                      <a:lnTo>
                        <a:pt x="87" y="15"/>
                      </a:lnTo>
                      <a:lnTo>
                        <a:pt x="85" y="15"/>
                      </a:lnTo>
                      <a:lnTo>
                        <a:pt x="81" y="12"/>
                      </a:lnTo>
                      <a:lnTo>
                        <a:pt x="72" y="3"/>
                      </a:lnTo>
                      <a:lnTo>
                        <a:pt x="70" y="2"/>
                      </a:lnTo>
                      <a:lnTo>
                        <a:pt x="67" y="0"/>
                      </a:lnTo>
                      <a:lnTo>
                        <a:pt x="63" y="2"/>
                      </a:lnTo>
                      <a:lnTo>
                        <a:pt x="61" y="3"/>
                      </a:lnTo>
                      <a:lnTo>
                        <a:pt x="53" y="6"/>
                      </a:lnTo>
                      <a:lnTo>
                        <a:pt x="48" y="10"/>
                      </a:lnTo>
                      <a:lnTo>
                        <a:pt x="46" y="11"/>
                      </a:lnTo>
                      <a:lnTo>
                        <a:pt x="43" y="11"/>
                      </a:lnTo>
                      <a:lnTo>
                        <a:pt x="39" y="11"/>
                      </a:lnTo>
                      <a:lnTo>
                        <a:pt x="37" y="10"/>
                      </a:lnTo>
                      <a:lnTo>
                        <a:pt x="37" y="9"/>
                      </a:lnTo>
                      <a:lnTo>
                        <a:pt x="33" y="11"/>
                      </a:lnTo>
                      <a:lnTo>
                        <a:pt x="29" y="13"/>
                      </a:lnTo>
                      <a:lnTo>
                        <a:pt x="24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2" name="Freeform 691">
                  <a:extLst>
                    <a:ext uri="{FF2B5EF4-FFF2-40B4-BE49-F238E27FC236}">
                      <a16:creationId xmlns:a16="http://schemas.microsoft.com/office/drawing/2014/main" id="{E77F9162-6969-F545-95A8-647EEF765A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4828" y="3894705"/>
                  <a:ext cx="393646" cy="460241"/>
                </a:xfrm>
                <a:custGeom>
                  <a:avLst/>
                  <a:gdLst>
                    <a:gd name="T0" fmla="*/ 2147483647 w 288"/>
                    <a:gd name="T1" fmla="*/ 2147483647 h 311"/>
                    <a:gd name="T2" fmla="*/ 2147483647 w 288"/>
                    <a:gd name="T3" fmla="*/ 2147483647 h 311"/>
                    <a:gd name="T4" fmla="*/ 2147483647 w 288"/>
                    <a:gd name="T5" fmla="*/ 2147483647 h 311"/>
                    <a:gd name="T6" fmla="*/ 2147483647 w 288"/>
                    <a:gd name="T7" fmla="*/ 2147483647 h 311"/>
                    <a:gd name="T8" fmla="*/ 2147483647 w 288"/>
                    <a:gd name="T9" fmla="*/ 2147483647 h 311"/>
                    <a:gd name="T10" fmla="*/ 2147483647 w 288"/>
                    <a:gd name="T11" fmla="*/ 2147483647 h 311"/>
                    <a:gd name="T12" fmla="*/ 2147483647 w 288"/>
                    <a:gd name="T13" fmla="*/ 2147483647 h 311"/>
                    <a:gd name="T14" fmla="*/ 2147483647 w 288"/>
                    <a:gd name="T15" fmla="*/ 2147483647 h 311"/>
                    <a:gd name="T16" fmla="*/ 2147483647 w 288"/>
                    <a:gd name="T17" fmla="*/ 2147483647 h 311"/>
                    <a:gd name="T18" fmla="*/ 2147483647 w 288"/>
                    <a:gd name="T19" fmla="*/ 2147483647 h 311"/>
                    <a:gd name="T20" fmla="*/ 2147483647 w 288"/>
                    <a:gd name="T21" fmla="*/ 2147483647 h 311"/>
                    <a:gd name="T22" fmla="*/ 2147483647 w 288"/>
                    <a:gd name="T23" fmla="*/ 2147483647 h 311"/>
                    <a:gd name="T24" fmla="*/ 2147483647 w 288"/>
                    <a:gd name="T25" fmla="*/ 2147483647 h 311"/>
                    <a:gd name="T26" fmla="*/ 2147483647 w 288"/>
                    <a:gd name="T27" fmla="*/ 2147483647 h 311"/>
                    <a:gd name="T28" fmla="*/ 2147483647 w 288"/>
                    <a:gd name="T29" fmla="*/ 2147483647 h 311"/>
                    <a:gd name="T30" fmla="*/ 2147483647 w 288"/>
                    <a:gd name="T31" fmla="*/ 2147483647 h 311"/>
                    <a:gd name="T32" fmla="*/ 2147483647 w 288"/>
                    <a:gd name="T33" fmla="*/ 2147483647 h 311"/>
                    <a:gd name="T34" fmla="*/ 0 w 288"/>
                    <a:gd name="T35" fmla="*/ 2147483647 h 311"/>
                    <a:gd name="T36" fmla="*/ 2147483647 w 288"/>
                    <a:gd name="T37" fmla="*/ 2147483647 h 311"/>
                    <a:gd name="T38" fmla="*/ 2147483647 w 288"/>
                    <a:gd name="T39" fmla="*/ 2147483647 h 311"/>
                    <a:gd name="T40" fmla="*/ 2147483647 w 288"/>
                    <a:gd name="T41" fmla="*/ 2147483647 h 311"/>
                    <a:gd name="T42" fmla="*/ 2147483647 w 288"/>
                    <a:gd name="T43" fmla="*/ 2147483647 h 311"/>
                    <a:gd name="T44" fmla="*/ 2147483647 w 288"/>
                    <a:gd name="T45" fmla="*/ 2147483647 h 311"/>
                    <a:gd name="T46" fmla="*/ 2147483647 w 288"/>
                    <a:gd name="T47" fmla="*/ 2147483647 h 311"/>
                    <a:gd name="T48" fmla="*/ 2147483647 w 288"/>
                    <a:gd name="T49" fmla="*/ 2147483647 h 311"/>
                    <a:gd name="T50" fmla="*/ 2147483647 w 288"/>
                    <a:gd name="T51" fmla="*/ 2147483647 h 311"/>
                    <a:gd name="T52" fmla="*/ 2147483647 w 288"/>
                    <a:gd name="T53" fmla="*/ 2147483647 h 311"/>
                    <a:gd name="T54" fmla="*/ 2147483647 w 288"/>
                    <a:gd name="T55" fmla="*/ 2147483647 h 311"/>
                    <a:gd name="T56" fmla="*/ 2147483647 w 288"/>
                    <a:gd name="T57" fmla="*/ 2147483647 h 311"/>
                    <a:gd name="T58" fmla="*/ 2147483647 w 288"/>
                    <a:gd name="T59" fmla="*/ 2147483647 h 311"/>
                    <a:gd name="T60" fmla="*/ 2147483647 w 288"/>
                    <a:gd name="T61" fmla="*/ 2147483647 h 311"/>
                    <a:gd name="T62" fmla="*/ 2147483647 w 288"/>
                    <a:gd name="T63" fmla="*/ 2147483647 h 311"/>
                    <a:gd name="T64" fmla="*/ 2147483647 w 288"/>
                    <a:gd name="T65" fmla="*/ 2147483647 h 311"/>
                    <a:gd name="T66" fmla="*/ 2147483647 w 288"/>
                    <a:gd name="T67" fmla="*/ 2147483647 h 311"/>
                    <a:gd name="T68" fmla="*/ 2147483647 w 288"/>
                    <a:gd name="T69" fmla="*/ 2147483647 h 311"/>
                    <a:gd name="T70" fmla="*/ 2147483647 w 288"/>
                    <a:gd name="T71" fmla="*/ 2147483647 h 311"/>
                    <a:gd name="T72" fmla="*/ 2147483647 w 288"/>
                    <a:gd name="T73" fmla="*/ 2147483647 h 311"/>
                    <a:gd name="T74" fmla="*/ 2147483647 w 288"/>
                    <a:gd name="T75" fmla="*/ 2147483647 h 311"/>
                    <a:gd name="T76" fmla="*/ 2147483647 w 288"/>
                    <a:gd name="T77" fmla="*/ 2147483647 h 311"/>
                    <a:gd name="T78" fmla="*/ 2147483647 w 288"/>
                    <a:gd name="T79" fmla="*/ 2147483647 h 311"/>
                    <a:gd name="T80" fmla="*/ 2147483647 w 288"/>
                    <a:gd name="T81" fmla="*/ 2147483647 h 311"/>
                    <a:gd name="T82" fmla="*/ 2147483647 w 288"/>
                    <a:gd name="T83" fmla="*/ 2147483647 h 311"/>
                    <a:gd name="T84" fmla="*/ 2147483647 w 288"/>
                    <a:gd name="T85" fmla="*/ 2147483647 h 311"/>
                    <a:gd name="T86" fmla="*/ 2147483647 w 288"/>
                    <a:gd name="T87" fmla="*/ 2147483647 h 311"/>
                    <a:gd name="T88" fmla="*/ 2147483647 w 288"/>
                    <a:gd name="T89" fmla="*/ 2147483647 h 311"/>
                    <a:gd name="T90" fmla="*/ 2147483647 w 288"/>
                    <a:gd name="T91" fmla="*/ 2147483647 h 31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88"/>
                    <a:gd name="T139" fmla="*/ 0 h 311"/>
                    <a:gd name="T140" fmla="*/ 288 w 288"/>
                    <a:gd name="T141" fmla="*/ 311 h 31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88" h="311">
                      <a:moveTo>
                        <a:pt x="287" y="117"/>
                      </a:moveTo>
                      <a:lnTo>
                        <a:pt x="283" y="117"/>
                      </a:lnTo>
                      <a:lnTo>
                        <a:pt x="278" y="117"/>
                      </a:lnTo>
                      <a:lnTo>
                        <a:pt x="276" y="115"/>
                      </a:lnTo>
                      <a:lnTo>
                        <a:pt x="273" y="112"/>
                      </a:lnTo>
                      <a:lnTo>
                        <a:pt x="273" y="109"/>
                      </a:lnTo>
                      <a:lnTo>
                        <a:pt x="273" y="106"/>
                      </a:lnTo>
                      <a:lnTo>
                        <a:pt x="276" y="102"/>
                      </a:lnTo>
                      <a:lnTo>
                        <a:pt x="276" y="100"/>
                      </a:lnTo>
                      <a:lnTo>
                        <a:pt x="274" y="97"/>
                      </a:lnTo>
                      <a:lnTo>
                        <a:pt x="272" y="96"/>
                      </a:lnTo>
                      <a:lnTo>
                        <a:pt x="267" y="94"/>
                      </a:lnTo>
                      <a:lnTo>
                        <a:pt x="266" y="94"/>
                      </a:lnTo>
                      <a:lnTo>
                        <a:pt x="264" y="91"/>
                      </a:lnTo>
                      <a:lnTo>
                        <a:pt x="264" y="89"/>
                      </a:lnTo>
                      <a:lnTo>
                        <a:pt x="260" y="87"/>
                      </a:lnTo>
                      <a:lnTo>
                        <a:pt x="257" y="85"/>
                      </a:lnTo>
                      <a:lnTo>
                        <a:pt x="248" y="83"/>
                      </a:lnTo>
                      <a:lnTo>
                        <a:pt x="245" y="83"/>
                      </a:lnTo>
                      <a:lnTo>
                        <a:pt x="243" y="82"/>
                      </a:lnTo>
                      <a:lnTo>
                        <a:pt x="243" y="81"/>
                      </a:lnTo>
                      <a:lnTo>
                        <a:pt x="240" y="75"/>
                      </a:lnTo>
                      <a:lnTo>
                        <a:pt x="236" y="69"/>
                      </a:lnTo>
                      <a:lnTo>
                        <a:pt x="139" y="1"/>
                      </a:lnTo>
                      <a:lnTo>
                        <a:pt x="116" y="0"/>
                      </a:lnTo>
                      <a:lnTo>
                        <a:pt x="116" y="180"/>
                      </a:lnTo>
                      <a:lnTo>
                        <a:pt x="113" y="180"/>
                      </a:lnTo>
                      <a:lnTo>
                        <a:pt x="80" y="179"/>
                      </a:lnTo>
                      <a:lnTo>
                        <a:pt x="64" y="179"/>
                      </a:lnTo>
                      <a:lnTo>
                        <a:pt x="47" y="180"/>
                      </a:lnTo>
                      <a:lnTo>
                        <a:pt x="43" y="182"/>
                      </a:lnTo>
                      <a:lnTo>
                        <a:pt x="38" y="184"/>
                      </a:lnTo>
                      <a:lnTo>
                        <a:pt x="36" y="186"/>
                      </a:lnTo>
                      <a:lnTo>
                        <a:pt x="33" y="191"/>
                      </a:lnTo>
                      <a:lnTo>
                        <a:pt x="32" y="192"/>
                      </a:lnTo>
                      <a:lnTo>
                        <a:pt x="29" y="193"/>
                      </a:lnTo>
                      <a:lnTo>
                        <a:pt x="27" y="193"/>
                      </a:lnTo>
                      <a:lnTo>
                        <a:pt x="26" y="193"/>
                      </a:lnTo>
                      <a:lnTo>
                        <a:pt x="23" y="191"/>
                      </a:lnTo>
                      <a:lnTo>
                        <a:pt x="22" y="189"/>
                      </a:lnTo>
                      <a:lnTo>
                        <a:pt x="22" y="186"/>
                      </a:lnTo>
                      <a:lnTo>
                        <a:pt x="23" y="184"/>
                      </a:lnTo>
                      <a:lnTo>
                        <a:pt x="19" y="184"/>
                      </a:lnTo>
                      <a:lnTo>
                        <a:pt x="15" y="187"/>
                      </a:lnTo>
                      <a:lnTo>
                        <a:pt x="14" y="191"/>
                      </a:lnTo>
                      <a:lnTo>
                        <a:pt x="13" y="195"/>
                      </a:lnTo>
                      <a:lnTo>
                        <a:pt x="12" y="202"/>
                      </a:lnTo>
                      <a:lnTo>
                        <a:pt x="12" y="205"/>
                      </a:lnTo>
                      <a:lnTo>
                        <a:pt x="13" y="210"/>
                      </a:lnTo>
                      <a:lnTo>
                        <a:pt x="8" y="209"/>
                      </a:lnTo>
                      <a:lnTo>
                        <a:pt x="4" y="208"/>
                      </a:lnTo>
                      <a:lnTo>
                        <a:pt x="0" y="219"/>
                      </a:lnTo>
                      <a:lnTo>
                        <a:pt x="0" y="225"/>
                      </a:lnTo>
                      <a:lnTo>
                        <a:pt x="0" y="228"/>
                      </a:lnTo>
                      <a:lnTo>
                        <a:pt x="1" y="231"/>
                      </a:lnTo>
                      <a:lnTo>
                        <a:pt x="6" y="236"/>
                      </a:lnTo>
                      <a:lnTo>
                        <a:pt x="10" y="241"/>
                      </a:lnTo>
                      <a:lnTo>
                        <a:pt x="14" y="246"/>
                      </a:lnTo>
                      <a:lnTo>
                        <a:pt x="14" y="249"/>
                      </a:lnTo>
                      <a:lnTo>
                        <a:pt x="14" y="253"/>
                      </a:lnTo>
                      <a:lnTo>
                        <a:pt x="18" y="254"/>
                      </a:lnTo>
                      <a:lnTo>
                        <a:pt x="22" y="255"/>
                      </a:lnTo>
                      <a:lnTo>
                        <a:pt x="28" y="256"/>
                      </a:lnTo>
                      <a:lnTo>
                        <a:pt x="33" y="255"/>
                      </a:lnTo>
                      <a:lnTo>
                        <a:pt x="38" y="255"/>
                      </a:lnTo>
                      <a:lnTo>
                        <a:pt x="45" y="256"/>
                      </a:lnTo>
                      <a:lnTo>
                        <a:pt x="47" y="256"/>
                      </a:lnTo>
                      <a:lnTo>
                        <a:pt x="50" y="259"/>
                      </a:lnTo>
                      <a:lnTo>
                        <a:pt x="52" y="262"/>
                      </a:lnTo>
                      <a:lnTo>
                        <a:pt x="53" y="266"/>
                      </a:lnTo>
                      <a:lnTo>
                        <a:pt x="53" y="268"/>
                      </a:lnTo>
                      <a:lnTo>
                        <a:pt x="52" y="273"/>
                      </a:lnTo>
                      <a:lnTo>
                        <a:pt x="51" y="275"/>
                      </a:lnTo>
                      <a:lnTo>
                        <a:pt x="52" y="278"/>
                      </a:lnTo>
                      <a:lnTo>
                        <a:pt x="55" y="280"/>
                      </a:lnTo>
                      <a:lnTo>
                        <a:pt x="59" y="281"/>
                      </a:lnTo>
                      <a:lnTo>
                        <a:pt x="59" y="282"/>
                      </a:lnTo>
                      <a:lnTo>
                        <a:pt x="59" y="283"/>
                      </a:lnTo>
                      <a:lnTo>
                        <a:pt x="56" y="287"/>
                      </a:lnTo>
                      <a:lnTo>
                        <a:pt x="52" y="289"/>
                      </a:lnTo>
                      <a:lnTo>
                        <a:pt x="51" y="291"/>
                      </a:lnTo>
                      <a:lnTo>
                        <a:pt x="50" y="292"/>
                      </a:lnTo>
                      <a:lnTo>
                        <a:pt x="50" y="295"/>
                      </a:lnTo>
                      <a:lnTo>
                        <a:pt x="52" y="297"/>
                      </a:lnTo>
                      <a:lnTo>
                        <a:pt x="56" y="298"/>
                      </a:lnTo>
                      <a:lnTo>
                        <a:pt x="61" y="299"/>
                      </a:lnTo>
                      <a:lnTo>
                        <a:pt x="71" y="299"/>
                      </a:lnTo>
                      <a:lnTo>
                        <a:pt x="73" y="299"/>
                      </a:lnTo>
                      <a:lnTo>
                        <a:pt x="74" y="300"/>
                      </a:lnTo>
                      <a:lnTo>
                        <a:pt x="75" y="305"/>
                      </a:lnTo>
                      <a:lnTo>
                        <a:pt x="76" y="308"/>
                      </a:lnTo>
                      <a:lnTo>
                        <a:pt x="78" y="310"/>
                      </a:lnTo>
                      <a:lnTo>
                        <a:pt x="79" y="310"/>
                      </a:lnTo>
                      <a:lnTo>
                        <a:pt x="81" y="310"/>
                      </a:lnTo>
                      <a:lnTo>
                        <a:pt x="84" y="311"/>
                      </a:lnTo>
                      <a:lnTo>
                        <a:pt x="89" y="302"/>
                      </a:lnTo>
                      <a:lnTo>
                        <a:pt x="93" y="300"/>
                      </a:lnTo>
                      <a:lnTo>
                        <a:pt x="97" y="298"/>
                      </a:lnTo>
                      <a:lnTo>
                        <a:pt x="97" y="299"/>
                      </a:lnTo>
                      <a:lnTo>
                        <a:pt x="99" y="300"/>
                      </a:lnTo>
                      <a:lnTo>
                        <a:pt x="103" y="300"/>
                      </a:lnTo>
                      <a:lnTo>
                        <a:pt x="106" y="300"/>
                      </a:lnTo>
                      <a:lnTo>
                        <a:pt x="108" y="299"/>
                      </a:lnTo>
                      <a:lnTo>
                        <a:pt x="113" y="295"/>
                      </a:lnTo>
                      <a:lnTo>
                        <a:pt x="121" y="292"/>
                      </a:lnTo>
                      <a:lnTo>
                        <a:pt x="121" y="286"/>
                      </a:lnTo>
                      <a:lnTo>
                        <a:pt x="122" y="280"/>
                      </a:lnTo>
                      <a:lnTo>
                        <a:pt x="125" y="268"/>
                      </a:lnTo>
                      <a:lnTo>
                        <a:pt x="128" y="259"/>
                      </a:lnTo>
                      <a:lnTo>
                        <a:pt x="131" y="250"/>
                      </a:lnTo>
                      <a:lnTo>
                        <a:pt x="133" y="247"/>
                      </a:lnTo>
                      <a:lnTo>
                        <a:pt x="136" y="243"/>
                      </a:lnTo>
                      <a:lnTo>
                        <a:pt x="140" y="241"/>
                      </a:lnTo>
                      <a:lnTo>
                        <a:pt x="144" y="238"/>
                      </a:lnTo>
                      <a:lnTo>
                        <a:pt x="150" y="235"/>
                      </a:lnTo>
                      <a:lnTo>
                        <a:pt x="155" y="231"/>
                      </a:lnTo>
                      <a:lnTo>
                        <a:pt x="164" y="223"/>
                      </a:lnTo>
                      <a:lnTo>
                        <a:pt x="172" y="215"/>
                      </a:lnTo>
                      <a:lnTo>
                        <a:pt x="180" y="206"/>
                      </a:lnTo>
                      <a:lnTo>
                        <a:pt x="189" y="199"/>
                      </a:lnTo>
                      <a:lnTo>
                        <a:pt x="198" y="193"/>
                      </a:lnTo>
                      <a:lnTo>
                        <a:pt x="203" y="191"/>
                      </a:lnTo>
                      <a:lnTo>
                        <a:pt x="208" y="191"/>
                      </a:lnTo>
                      <a:lnTo>
                        <a:pt x="213" y="192"/>
                      </a:lnTo>
                      <a:lnTo>
                        <a:pt x="219" y="195"/>
                      </a:lnTo>
                      <a:lnTo>
                        <a:pt x="222" y="196"/>
                      </a:lnTo>
                      <a:lnTo>
                        <a:pt x="226" y="195"/>
                      </a:lnTo>
                      <a:lnTo>
                        <a:pt x="234" y="192"/>
                      </a:lnTo>
                      <a:lnTo>
                        <a:pt x="255" y="189"/>
                      </a:lnTo>
                      <a:lnTo>
                        <a:pt x="264" y="185"/>
                      </a:lnTo>
                      <a:lnTo>
                        <a:pt x="269" y="184"/>
                      </a:lnTo>
                      <a:lnTo>
                        <a:pt x="273" y="180"/>
                      </a:lnTo>
                      <a:lnTo>
                        <a:pt x="279" y="174"/>
                      </a:lnTo>
                      <a:lnTo>
                        <a:pt x="285" y="167"/>
                      </a:lnTo>
                      <a:lnTo>
                        <a:pt x="287" y="160"/>
                      </a:lnTo>
                      <a:lnTo>
                        <a:pt x="288" y="152"/>
                      </a:lnTo>
                      <a:lnTo>
                        <a:pt x="288" y="134"/>
                      </a:lnTo>
                      <a:lnTo>
                        <a:pt x="287" y="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3" name="Freeform 692">
                  <a:extLst>
                    <a:ext uri="{FF2B5EF4-FFF2-40B4-BE49-F238E27FC236}">
                      <a16:creationId xmlns:a16="http://schemas.microsoft.com/office/drawing/2014/main" id="{70213D93-A52A-F948-8A7D-3C551565A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4743" y="4320907"/>
                  <a:ext cx="155386" cy="171665"/>
                </a:xfrm>
                <a:custGeom>
                  <a:avLst/>
                  <a:gdLst>
                    <a:gd name="T0" fmla="*/ 2147483647 w 113"/>
                    <a:gd name="T1" fmla="*/ 2147483647 h 116"/>
                    <a:gd name="T2" fmla="*/ 2147483647 w 113"/>
                    <a:gd name="T3" fmla="*/ 2147483647 h 116"/>
                    <a:gd name="T4" fmla="*/ 2147483647 w 113"/>
                    <a:gd name="T5" fmla="*/ 2147483647 h 116"/>
                    <a:gd name="T6" fmla="*/ 2147483647 w 113"/>
                    <a:gd name="T7" fmla="*/ 2147483647 h 116"/>
                    <a:gd name="T8" fmla="*/ 2147483647 w 113"/>
                    <a:gd name="T9" fmla="*/ 2147483647 h 116"/>
                    <a:gd name="T10" fmla="*/ 2147483647 w 113"/>
                    <a:gd name="T11" fmla="*/ 2147483647 h 116"/>
                    <a:gd name="T12" fmla="*/ 2147483647 w 113"/>
                    <a:gd name="T13" fmla="*/ 2147483647 h 116"/>
                    <a:gd name="T14" fmla="*/ 2147483647 w 113"/>
                    <a:gd name="T15" fmla="*/ 2147483647 h 116"/>
                    <a:gd name="T16" fmla="*/ 2147483647 w 113"/>
                    <a:gd name="T17" fmla="*/ 2147483647 h 116"/>
                    <a:gd name="T18" fmla="*/ 2147483647 w 113"/>
                    <a:gd name="T19" fmla="*/ 2147483647 h 116"/>
                    <a:gd name="T20" fmla="*/ 2147483647 w 113"/>
                    <a:gd name="T21" fmla="*/ 2147483647 h 116"/>
                    <a:gd name="T22" fmla="*/ 2147483647 w 113"/>
                    <a:gd name="T23" fmla="*/ 2147483647 h 116"/>
                    <a:gd name="T24" fmla="*/ 0 w 113"/>
                    <a:gd name="T25" fmla="*/ 2147483647 h 116"/>
                    <a:gd name="T26" fmla="*/ 0 w 113"/>
                    <a:gd name="T27" fmla="*/ 2147483647 h 116"/>
                    <a:gd name="T28" fmla="*/ 2147483647 w 113"/>
                    <a:gd name="T29" fmla="*/ 2147483647 h 116"/>
                    <a:gd name="T30" fmla="*/ 2147483647 w 113"/>
                    <a:gd name="T31" fmla="*/ 2147483647 h 116"/>
                    <a:gd name="T32" fmla="*/ 2147483647 w 113"/>
                    <a:gd name="T33" fmla="*/ 2147483647 h 116"/>
                    <a:gd name="T34" fmla="*/ 2147483647 w 113"/>
                    <a:gd name="T35" fmla="*/ 2147483647 h 116"/>
                    <a:gd name="T36" fmla="*/ 2147483647 w 113"/>
                    <a:gd name="T37" fmla="*/ 2147483647 h 116"/>
                    <a:gd name="T38" fmla="*/ 2147483647 w 113"/>
                    <a:gd name="T39" fmla="*/ 2147483647 h 116"/>
                    <a:gd name="T40" fmla="*/ 2147483647 w 113"/>
                    <a:gd name="T41" fmla="*/ 2147483647 h 116"/>
                    <a:gd name="T42" fmla="*/ 2147483647 w 113"/>
                    <a:gd name="T43" fmla="*/ 2147483647 h 116"/>
                    <a:gd name="T44" fmla="*/ 2147483647 w 113"/>
                    <a:gd name="T45" fmla="*/ 2147483647 h 116"/>
                    <a:gd name="T46" fmla="*/ 2147483647 w 113"/>
                    <a:gd name="T47" fmla="*/ 2147483647 h 116"/>
                    <a:gd name="T48" fmla="*/ 2147483647 w 113"/>
                    <a:gd name="T49" fmla="*/ 2147483647 h 116"/>
                    <a:gd name="T50" fmla="*/ 2147483647 w 113"/>
                    <a:gd name="T51" fmla="*/ 2147483647 h 116"/>
                    <a:gd name="T52" fmla="*/ 2147483647 w 113"/>
                    <a:gd name="T53" fmla="*/ 2147483647 h 116"/>
                    <a:gd name="T54" fmla="*/ 2147483647 w 113"/>
                    <a:gd name="T55" fmla="*/ 2147483647 h 116"/>
                    <a:gd name="T56" fmla="*/ 2147483647 w 113"/>
                    <a:gd name="T57" fmla="*/ 2147483647 h 116"/>
                    <a:gd name="T58" fmla="*/ 2147483647 w 113"/>
                    <a:gd name="T59" fmla="*/ 2147483647 h 116"/>
                    <a:gd name="T60" fmla="*/ 2147483647 w 113"/>
                    <a:gd name="T61" fmla="*/ 2147483647 h 116"/>
                    <a:gd name="T62" fmla="*/ 2147483647 w 113"/>
                    <a:gd name="T63" fmla="*/ 2147483647 h 116"/>
                    <a:gd name="T64" fmla="*/ 2147483647 w 113"/>
                    <a:gd name="T65" fmla="*/ 2147483647 h 116"/>
                    <a:gd name="T66" fmla="*/ 2147483647 w 113"/>
                    <a:gd name="T67" fmla="*/ 2147483647 h 116"/>
                    <a:gd name="T68" fmla="*/ 2147483647 w 113"/>
                    <a:gd name="T69" fmla="*/ 2147483647 h 116"/>
                    <a:gd name="T70" fmla="*/ 2147483647 w 113"/>
                    <a:gd name="T71" fmla="*/ 2147483647 h 116"/>
                    <a:gd name="T72" fmla="*/ 2147483647 w 113"/>
                    <a:gd name="T73" fmla="*/ 2147483647 h 116"/>
                    <a:gd name="T74" fmla="*/ 2147483647 w 113"/>
                    <a:gd name="T75" fmla="*/ 2147483647 h 116"/>
                    <a:gd name="T76" fmla="*/ 2147483647 w 113"/>
                    <a:gd name="T77" fmla="*/ 2147483647 h 116"/>
                    <a:gd name="T78" fmla="*/ 2147483647 w 113"/>
                    <a:gd name="T79" fmla="*/ 2147483647 h 116"/>
                    <a:gd name="T80" fmla="*/ 2147483647 w 113"/>
                    <a:gd name="T81" fmla="*/ 2147483647 h 116"/>
                    <a:gd name="T82" fmla="*/ 2147483647 w 113"/>
                    <a:gd name="T83" fmla="*/ 2147483647 h 116"/>
                    <a:gd name="T84" fmla="*/ 2147483647 w 113"/>
                    <a:gd name="T85" fmla="*/ 2147483647 h 116"/>
                    <a:gd name="T86" fmla="*/ 2147483647 w 113"/>
                    <a:gd name="T87" fmla="*/ 2147483647 h 116"/>
                    <a:gd name="T88" fmla="*/ 2147483647 w 113"/>
                    <a:gd name="T89" fmla="*/ 2147483647 h 116"/>
                    <a:gd name="T90" fmla="*/ 2147483647 w 113"/>
                    <a:gd name="T91" fmla="*/ 2147483647 h 116"/>
                    <a:gd name="T92" fmla="*/ 2147483647 w 113"/>
                    <a:gd name="T93" fmla="*/ 0 h 116"/>
                    <a:gd name="T94" fmla="*/ 2147483647 w 113"/>
                    <a:gd name="T95" fmla="*/ 2147483647 h 116"/>
                    <a:gd name="T96" fmla="*/ 2147483647 w 113"/>
                    <a:gd name="T97" fmla="*/ 2147483647 h 116"/>
                    <a:gd name="T98" fmla="*/ 2147483647 w 113"/>
                    <a:gd name="T99" fmla="*/ 2147483647 h 116"/>
                    <a:gd name="T100" fmla="*/ 2147483647 w 113"/>
                    <a:gd name="T101" fmla="*/ 2147483647 h 116"/>
                    <a:gd name="T102" fmla="*/ 2147483647 w 113"/>
                    <a:gd name="T103" fmla="*/ 2147483647 h 116"/>
                    <a:gd name="T104" fmla="*/ 2147483647 w 113"/>
                    <a:gd name="T105" fmla="*/ 2147483647 h 116"/>
                    <a:gd name="T106" fmla="*/ 2147483647 w 113"/>
                    <a:gd name="T107" fmla="*/ 2147483647 h 116"/>
                    <a:gd name="T108" fmla="*/ 2147483647 w 113"/>
                    <a:gd name="T109" fmla="*/ 2147483647 h 11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13"/>
                    <a:gd name="T166" fmla="*/ 0 h 116"/>
                    <a:gd name="T167" fmla="*/ 113 w 113"/>
                    <a:gd name="T168" fmla="*/ 116 h 11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13" h="116">
                      <a:moveTo>
                        <a:pt x="24" y="22"/>
                      </a:moveTo>
                      <a:lnTo>
                        <a:pt x="24" y="22"/>
                      </a:lnTo>
                      <a:lnTo>
                        <a:pt x="21" y="30"/>
                      </a:lnTo>
                      <a:lnTo>
                        <a:pt x="20" y="39"/>
                      </a:lnTo>
                      <a:lnTo>
                        <a:pt x="19" y="39"/>
                      </a:lnTo>
                      <a:lnTo>
                        <a:pt x="17" y="39"/>
                      </a:lnTo>
                      <a:lnTo>
                        <a:pt x="15" y="39"/>
                      </a:lnTo>
                      <a:lnTo>
                        <a:pt x="14" y="39"/>
                      </a:lnTo>
                      <a:lnTo>
                        <a:pt x="12" y="41"/>
                      </a:lnTo>
                      <a:lnTo>
                        <a:pt x="12" y="43"/>
                      </a:lnTo>
                      <a:lnTo>
                        <a:pt x="14" y="45"/>
                      </a:lnTo>
                      <a:lnTo>
                        <a:pt x="16" y="49"/>
                      </a:lnTo>
                      <a:lnTo>
                        <a:pt x="16" y="50"/>
                      </a:lnTo>
                      <a:lnTo>
                        <a:pt x="15" y="51"/>
                      </a:lnTo>
                      <a:lnTo>
                        <a:pt x="12" y="55"/>
                      </a:lnTo>
                      <a:lnTo>
                        <a:pt x="7" y="57"/>
                      </a:lnTo>
                      <a:lnTo>
                        <a:pt x="8" y="62"/>
                      </a:lnTo>
                      <a:lnTo>
                        <a:pt x="7" y="68"/>
                      </a:lnTo>
                      <a:lnTo>
                        <a:pt x="5" y="73"/>
                      </a:lnTo>
                      <a:lnTo>
                        <a:pt x="1" y="76"/>
                      </a:lnTo>
                      <a:lnTo>
                        <a:pt x="0" y="78"/>
                      </a:lnTo>
                      <a:lnTo>
                        <a:pt x="0" y="81"/>
                      </a:lnTo>
                      <a:lnTo>
                        <a:pt x="0" y="83"/>
                      </a:lnTo>
                      <a:lnTo>
                        <a:pt x="1" y="83"/>
                      </a:lnTo>
                      <a:lnTo>
                        <a:pt x="5" y="82"/>
                      </a:lnTo>
                      <a:lnTo>
                        <a:pt x="7" y="83"/>
                      </a:lnTo>
                      <a:lnTo>
                        <a:pt x="8" y="83"/>
                      </a:lnTo>
                      <a:lnTo>
                        <a:pt x="11" y="86"/>
                      </a:lnTo>
                      <a:lnTo>
                        <a:pt x="12" y="89"/>
                      </a:lnTo>
                      <a:lnTo>
                        <a:pt x="16" y="93"/>
                      </a:lnTo>
                      <a:lnTo>
                        <a:pt x="17" y="94"/>
                      </a:lnTo>
                      <a:lnTo>
                        <a:pt x="19" y="94"/>
                      </a:lnTo>
                      <a:lnTo>
                        <a:pt x="22" y="93"/>
                      </a:lnTo>
                      <a:lnTo>
                        <a:pt x="25" y="94"/>
                      </a:lnTo>
                      <a:lnTo>
                        <a:pt x="26" y="94"/>
                      </a:lnTo>
                      <a:lnTo>
                        <a:pt x="26" y="100"/>
                      </a:lnTo>
                      <a:lnTo>
                        <a:pt x="26" y="106"/>
                      </a:lnTo>
                      <a:lnTo>
                        <a:pt x="25" y="110"/>
                      </a:lnTo>
                      <a:lnTo>
                        <a:pt x="26" y="116"/>
                      </a:lnTo>
                      <a:lnTo>
                        <a:pt x="39" y="116"/>
                      </a:lnTo>
                      <a:lnTo>
                        <a:pt x="45" y="115"/>
                      </a:lnTo>
                      <a:lnTo>
                        <a:pt x="52" y="115"/>
                      </a:lnTo>
                      <a:lnTo>
                        <a:pt x="60" y="112"/>
                      </a:lnTo>
                      <a:lnTo>
                        <a:pt x="69" y="108"/>
                      </a:lnTo>
                      <a:lnTo>
                        <a:pt x="78" y="107"/>
                      </a:lnTo>
                      <a:lnTo>
                        <a:pt x="82" y="107"/>
                      </a:lnTo>
                      <a:lnTo>
                        <a:pt x="87" y="108"/>
                      </a:lnTo>
                      <a:lnTo>
                        <a:pt x="91" y="109"/>
                      </a:lnTo>
                      <a:lnTo>
                        <a:pt x="96" y="109"/>
                      </a:lnTo>
                      <a:lnTo>
                        <a:pt x="105" y="108"/>
                      </a:lnTo>
                      <a:lnTo>
                        <a:pt x="105" y="105"/>
                      </a:lnTo>
                      <a:lnTo>
                        <a:pt x="105" y="101"/>
                      </a:lnTo>
                      <a:lnTo>
                        <a:pt x="105" y="96"/>
                      </a:lnTo>
                      <a:lnTo>
                        <a:pt x="104" y="93"/>
                      </a:lnTo>
                      <a:lnTo>
                        <a:pt x="100" y="88"/>
                      </a:lnTo>
                      <a:lnTo>
                        <a:pt x="99" y="82"/>
                      </a:lnTo>
                      <a:lnTo>
                        <a:pt x="99" y="76"/>
                      </a:lnTo>
                      <a:lnTo>
                        <a:pt x="100" y="70"/>
                      </a:lnTo>
                      <a:lnTo>
                        <a:pt x="106" y="57"/>
                      </a:lnTo>
                      <a:lnTo>
                        <a:pt x="111" y="44"/>
                      </a:lnTo>
                      <a:lnTo>
                        <a:pt x="113" y="37"/>
                      </a:lnTo>
                      <a:lnTo>
                        <a:pt x="113" y="30"/>
                      </a:lnTo>
                      <a:lnTo>
                        <a:pt x="113" y="23"/>
                      </a:lnTo>
                      <a:lnTo>
                        <a:pt x="110" y="16"/>
                      </a:lnTo>
                      <a:lnTo>
                        <a:pt x="109" y="13"/>
                      </a:lnTo>
                      <a:lnTo>
                        <a:pt x="106" y="11"/>
                      </a:lnTo>
                      <a:lnTo>
                        <a:pt x="101" y="9"/>
                      </a:lnTo>
                      <a:lnTo>
                        <a:pt x="97" y="10"/>
                      </a:lnTo>
                      <a:lnTo>
                        <a:pt x="90" y="14"/>
                      </a:lnTo>
                      <a:lnTo>
                        <a:pt x="87" y="14"/>
                      </a:lnTo>
                      <a:lnTo>
                        <a:pt x="85" y="14"/>
                      </a:lnTo>
                      <a:lnTo>
                        <a:pt x="81" y="12"/>
                      </a:lnTo>
                      <a:lnTo>
                        <a:pt x="72" y="3"/>
                      </a:lnTo>
                      <a:lnTo>
                        <a:pt x="69" y="1"/>
                      </a:lnTo>
                      <a:lnTo>
                        <a:pt x="67" y="0"/>
                      </a:lnTo>
                      <a:lnTo>
                        <a:pt x="63" y="1"/>
                      </a:lnTo>
                      <a:lnTo>
                        <a:pt x="60" y="3"/>
                      </a:lnTo>
                      <a:lnTo>
                        <a:pt x="53" y="6"/>
                      </a:lnTo>
                      <a:lnTo>
                        <a:pt x="48" y="10"/>
                      </a:lnTo>
                      <a:lnTo>
                        <a:pt x="45" y="11"/>
                      </a:lnTo>
                      <a:lnTo>
                        <a:pt x="43" y="11"/>
                      </a:lnTo>
                      <a:lnTo>
                        <a:pt x="39" y="11"/>
                      </a:lnTo>
                      <a:lnTo>
                        <a:pt x="36" y="10"/>
                      </a:lnTo>
                      <a:lnTo>
                        <a:pt x="36" y="9"/>
                      </a:lnTo>
                      <a:lnTo>
                        <a:pt x="33" y="11"/>
                      </a:lnTo>
                      <a:lnTo>
                        <a:pt x="29" y="13"/>
                      </a:lnTo>
                      <a:lnTo>
                        <a:pt x="24" y="2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4" name="Freeform 693">
                  <a:extLst>
                    <a:ext uri="{FF2B5EF4-FFF2-40B4-BE49-F238E27FC236}">
                      <a16:creationId xmlns:a16="http://schemas.microsoft.com/office/drawing/2014/main" id="{CB3655BB-1F56-A747-8453-3A2D7CF202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3348" y="3893227"/>
                  <a:ext cx="393646" cy="460240"/>
                </a:xfrm>
                <a:custGeom>
                  <a:avLst/>
                  <a:gdLst>
                    <a:gd name="T0" fmla="*/ 2147483647 w 288"/>
                    <a:gd name="T1" fmla="*/ 2147483647 h 311"/>
                    <a:gd name="T2" fmla="*/ 2147483647 w 288"/>
                    <a:gd name="T3" fmla="*/ 2147483647 h 311"/>
                    <a:gd name="T4" fmla="*/ 2147483647 w 288"/>
                    <a:gd name="T5" fmla="*/ 2147483647 h 311"/>
                    <a:gd name="T6" fmla="*/ 2147483647 w 288"/>
                    <a:gd name="T7" fmla="*/ 2147483647 h 311"/>
                    <a:gd name="T8" fmla="*/ 2147483647 w 288"/>
                    <a:gd name="T9" fmla="*/ 2147483647 h 311"/>
                    <a:gd name="T10" fmla="*/ 2147483647 w 288"/>
                    <a:gd name="T11" fmla="*/ 2147483647 h 311"/>
                    <a:gd name="T12" fmla="*/ 2147483647 w 288"/>
                    <a:gd name="T13" fmla="*/ 2147483647 h 311"/>
                    <a:gd name="T14" fmla="*/ 2147483647 w 288"/>
                    <a:gd name="T15" fmla="*/ 2147483647 h 311"/>
                    <a:gd name="T16" fmla="*/ 2147483647 w 288"/>
                    <a:gd name="T17" fmla="*/ 2147483647 h 311"/>
                    <a:gd name="T18" fmla="*/ 2147483647 w 288"/>
                    <a:gd name="T19" fmla="*/ 2147483647 h 311"/>
                    <a:gd name="T20" fmla="*/ 2147483647 w 288"/>
                    <a:gd name="T21" fmla="*/ 0 h 311"/>
                    <a:gd name="T22" fmla="*/ 2147483647 w 288"/>
                    <a:gd name="T23" fmla="*/ 2147483647 h 311"/>
                    <a:gd name="T24" fmla="*/ 2147483647 w 288"/>
                    <a:gd name="T25" fmla="*/ 2147483647 h 311"/>
                    <a:gd name="T26" fmla="*/ 2147483647 w 288"/>
                    <a:gd name="T27" fmla="*/ 2147483647 h 311"/>
                    <a:gd name="T28" fmla="*/ 2147483647 w 288"/>
                    <a:gd name="T29" fmla="*/ 2147483647 h 311"/>
                    <a:gd name="T30" fmla="*/ 2147483647 w 288"/>
                    <a:gd name="T31" fmla="*/ 2147483647 h 311"/>
                    <a:gd name="T32" fmla="*/ 2147483647 w 288"/>
                    <a:gd name="T33" fmla="*/ 2147483647 h 311"/>
                    <a:gd name="T34" fmla="*/ 2147483647 w 288"/>
                    <a:gd name="T35" fmla="*/ 2147483647 h 311"/>
                    <a:gd name="T36" fmla="*/ 2147483647 w 288"/>
                    <a:gd name="T37" fmla="*/ 2147483647 h 311"/>
                    <a:gd name="T38" fmla="*/ 2147483647 w 288"/>
                    <a:gd name="T39" fmla="*/ 2147483647 h 311"/>
                    <a:gd name="T40" fmla="*/ 2147483647 w 288"/>
                    <a:gd name="T41" fmla="*/ 2147483647 h 311"/>
                    <a:gd name="T42" fmla="*/ 2147483647 w 288"/>
                    <a:gd name="T43" fmla="*/ 2147483647 h 311"/>
                    <a:gd name="T44" fmla="*/ 0 w 288"/>
                    <a:gd name="T45" fmla="*/ 2147483647 h 311"/>
                    <a:gd name="T46" fmla="*/ 2147483647 w 288"/>
                    <a:gd name="T47" fmla="*/ 2147483647 h 311"/>
                    <a:gd name="T48" fmla="*/ 2147483647 w 288"/>
                    <a:gd name="T49" fmla="*/ 2147483647 h 311"/>
                    <a:gd name="T50" fmla="*/ 2147483647 w 288"/>
                    <a:gd name="T51" fmla="*/ 2147483647 h 311"/>
                    <a:gd name="T52" fmla="*/ 2147483647 w 288"/>
                    <a:gd name="T53" fmla="*/ 2147483647 h 311"/>
                    <a:gd name="T54" fmla="*/ 2147483647 w 288"/>
                    <a:gd name="T55" fmla="*/ 2147483647 h 311"/>
                    <a:gd name="T56" fmla="*/ 2147483647 w 288"/>
                    <a:gd name="T57" fmla="*/ 2147483647 h 311"/>
                    <a:gd name="T58" fmla="*/ 2147483647 w 288"/>
                    <a:gd name="T59" fmla="*/ 2147483647 h 311"/>
                    <a:gd name="T60" fmla="*/ 2147483647 w 288"/>
                    <a:gd name="T61" fmla="*/ 2147483647 h 311"/>
                    <a:gd name="T62" fmla="*/ 2147483647 w 288"/>
                    <a:gd name="T63" fmla="*/ 2147483647 h 311"/>
                    <a:gd name="T64" fmla="*/ 2147483647 w 288"/>
                    <a:gd name="T65" fmla="*/ 2147483647 h 311"/>
                    <a:gd name="T66" fmla="*/ 2147483647 w 288"/>
                    <a:gd name="T67" fmla="*/ 2147483647 h 311"/>
                    <a:gd name="T68" fmla="*/ 2147483647 w 288"/>
                    <a:gd name="T69" fmla="*/ 2147483647 h 311"/>
                    <a:gd name="T70" fmla="*/ 2147483647 w 288"/>
                    <a:gd name="T71" fmla="*/ 2147483647 h 311"/>
                    <a:gd name="T72" fmla="*/ 2147483647 w 288"/>
                    <a:gd name="T73" fmla="*/ 2147483647 h 311"/>
                    <a:gd name="T74" fmla="*/ 2147483647 w 288"/>
                    <a:gd name="T75" fmla="*/ 2147483647 h 311"/>
                    <a:gd name="T76" fmla="*/ 2147483647 w 288"/>
                    <a:gd name="T77" fmla="*/ 2147483647 h 311"/>
                    <a:gd name="T78" fmla="*/ 2147483647 w 288"/>
                    <a:gd name="T79" fmla="*/ 2147483647 h 311"/>
                    <a:gd name="T80" fmla="*/ 2147483647 w 288"/>
                    <a:gd name="T81" fmla="*/ 2147483647 h 311"/>
                    <a:gd name="T82" fmla="*/ 2147483647 w 288"/>
                    <a:gd name="T83" fmla="*/ 2147483647 h 311"/>
                    <a:gd name="T84" fmla="*/ 2147483647 w 288"/>
                    <a:gd name="T85" fmla="*/ 2147483647 h 311"/>
                    <a:gd name="T86" fmla="*/ 2147483647 w 288"/>
                    <a:gd name="T87" fmla="*/ 2147483647 h 311"/>
                    <a:gd name="T88" fmla="*/ 2147483647 w 288"/>
                    <a:gd name="T89" fmla="*/ 2147483647 h 311"/>
                    <a:gd name="T90" fmla="*/ 2147483647 w 288"/>
                    <a:gd name="T91" fmla="*/ 2147483647 h 311"/>
                    <a:gd name="T92" fmla="*/ 2147483647 w 288"/>
                    <a:gd name="T93" fmla="*/ 2147483647 h 311"/>
                    <a:gd name="T94" fmla="*/ 2147483647 w 288"/>
                    <a:gd name="T95" fmla="*/ 2147483647 h 311"/>
                    <a:gd name="T96" fmla="*/ 2147483647 w 288"/>
                    <a:gd name="T97" fmla="*/ 2147483647 h 311"/>
                    <a:gd name="T98" fmla="*/ 2147483647 w 288"/>
                    <a:gd name="T99" fmla="*/ 2147483647 h 311"/>
                    <a:gd name="T100" fmla="*/ 2147483647 w 288"/>
                    <a:gd name="T101" fmla="*/ 2147483647 h 311"/>
                    <a:gd name="T102" fmla="*/ 2147483647 w 288"/>
                    <a:gd name="T103" fmla="*/ 2147483647 h 311"/>
                    <a:gd name="T104" fmla="*/ 2147483647 w 288"/>
                    <a:gd name="T105" fmla="*/ 2147483647 h 311"/>
                    <a:gd name="T106" fmla="*/ 2147483647 w 288"/>
                    <a:gd name="T107" fmla="*/ 2147483647 h 311"/>
                    <a:gd name="T108" fmla="*/ 2147483647 w 288"/>
                    <a:gd name="T109" fmla="*/ 2147483647 h 311"/>
                    <a:gd name="T110" fmla="*/ 2147483647 w 288"/>
                    <a:gd name="T111" fmla="*/ 2147483647 h 311"/>
                    <a:gd name="T112" fmla="*/ 2147483647 w 288"/>
                    <a:gd name="T113" fmla="*/ 2147483647 h 311"/>
                    <a:gd name="T114" fmla="*/ 2147483647 w 288"/>
                    <a:gd name="T115" fmla="*/ 2147483647 h 311"/>
                    <a:gd name="T116" fmla="*/ 2147483647 w 288"/>
                    <a:gd name="T117" fmla="*/ 2147483647 h 311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88"/>
                    <a:gd name="T178" fmla="*/ 0 h 311"/>
                    <a:gd name="T179" fmla="*/ 288 w 288"/>
                    <a:gd name="T180" fmla="*/ 311 h 311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88" h="311">
                      <a:moveTo>
                        <a:pt x="287" y="117"/>
                      </a:moveTo>
                      <a:lnTo>
                        <a:pt x="287" y="117"/>
                      </a:lnTo>
                      <a:lnTo>
                        <a:pt x="283" y="117"/>
                      </a:lnTo>
                      <a:lnTo>
                        <a:pt x="278" y="117"/>
                      </a:lnTo>
                      <a:lnTo>
                        <a:pt x="275" y="115"/>
                      </a:lnTo>
                      <a:lnTo>
                        <a:pt x="273" y="111"/>
                      </a:lnTo>
                      <a:lnTo>
                        <a:pt x="273" y="109"/>
                      </a:lnTo>
                      <a:lnTo>
                        <a:pt x="273" y="105"/>
                      </a:lnTo>
                      <a:lnTo>
                        <a:pt x="275" y="102"/>
                      </a:lnTo>
                      <a:lnTo>
                        <a:pt x="275" y="100"/>
                      </a:lnTo>
                      <a:lnTo>
                        <a:pt x="274" y="97"/>
                      </a:lnTo>
                      <a:lnTo>
                        <a:pt x="272" y="96"/>
                      </a:lnTo>
                      <a:lnTo>
                        <a:pt x="267" y="94"/>
                      </a:lnTo>
                      <a:lnTo>
                        <a:pt x="265" y="94"/>
                      </a:lnTo>
                      <a:lnTo>
                        <a:pt x="264" y="91"/>
                      </a:lnTo>
                      <a:lnTo>
                        <a:pt x="264" y="89"/>
                      </a:lnTo>
                      <a:lnTo>
                        <a:pt x="260" y="86"/>
                      </a:lnTo>
                      <a:lnTo>
                        <a:pt x="256" y="85"/>
                      </a:lnTo>
                      <a:lnTo>
                        <a:pt x="247" y="83"/>
                      </a:lnTo>
                      <a:lnTo>
                        <a:pt x="245" y="83"/>
                      </a:lnTo>
                      <a:lnTo>
                        <a:pt x="242" y="82"/>
                      </a:lnTo>
                      <a:lnTo>
                        <a:pt x="242" y="81"/>
                      </a:lnTo>
                      <a:lnTo>
                        <a:pt x="240" y="75"/>
                      </a:lnTo>
                      <a:lnTo>
                        <a:pt x="236" y="69"/>
                      </a:lnTo>
                      <a:lnTo>
                        <a:pt x="138" y="1"/>
                      </a:lnTo>
                      <a:lnTo>
                        <a:pt x="115" y="0"/>
                      </a:lnTo>
                      <a:lnTo>
                        <a:pt x="115" y="180"/>
                      </a:lnTo>
                      <a:lnTo>
                        <a:pt x="113" y="180"/>
                      </a:lnTo>
                      <a:lnTo>
                        <a:pt x="80" y="179"/>
                      </a:lnTo>
                      <a:lnTo>
                        <a:pt x="63" y="179"/>
                      </a:lnTo>
                      <a:lnTo>
                        <a:pt x="47" y="180"/>
                      </a:lnTo>
                      <a:lnTo>
                        <a:pt x="43" y="181"/>
                      </a:lnTo>
                      <a:lnTo>
                        <a:pt x="38" y="184"/>
                      </a:lnTo>
                      <a:lnTo>
                        <a:pt x="35" y="186"/>
                      </a:lnTo>
                      <a:lnTo>
                        <a:pt x="33" y="191"/>
                      </a:lnTo>
                      <a:lnTo>
                        <a:pt x="32" y="192"/>
                      </a:lnTo>
                      <a:lnTo>
                        <a:pt x="29" y="193"/>
                      </a:lnTo>
                      <a:lnTo>
                        <a:pt x="27" y="193"/>
                      </a:lnTo>
                      <a:lnTo>
                        <a:pt x="25" y="193"/>
                      </a:lnTo>
                      <a:lnTo>
                        <a:pt x="23" y="191"/>
                      </a:lnTo>
                      <a:lnTo>
                        <a:pt x="21" y="188"/>
                      </a:lnTo>
                      <a:lnTo>
                        <a:pt x="21" y="186"/>
                      </a:lnTo>
                      <a:lnTo>
                        <a:pt x="23" y="184"/>
                      </a:lnTo>
                      <a:lnTo>
                        <a:pt x="19" y="184"/>
                      </a:lnTo>
                      <a:lnTo>
                        <a:pt x="15" y="187"/>
                      </a:lnTo>
                      <a:lnTo>
                        <a:pt x="14" y="191"/>
                      </a:lnTo>
                      <a:lnTo>
                        <a:pt x="13" y="194"/>
                      </a:lnTo>
                      <a:lnTo>
                        <a:pt x="11" y="201"/>
                      </a:lnTo>
                      <a:lnTo>
                        <a:pt x="11" y="205"/>
                      </a:lnTo>
                      <a:lnTo>
                        <a:pt x="13" y="210"/>
                      </a:lnTo>
                      <a:lnTo>
                        <a:pt x="7" y="209"/>
                      </a:lnTo>
                      <a:lnTo>
                        <a:pt x="4" y="207"/>
                      </a:lnTo>
                      <a:lnTo>
                        <a:pt x="0" y="219"/>
                      </a:lnTo>
                      <a:lnTo>
                        <a:pt x="0" y="225"/>
                      </a:lnTo>
                      <a:lnTo>
                        <a:pt x="0" y="228"/>
                      </a:lnTo>
                      <a:lnTo>
                        <a:pt x="1" y="231"/>
                      </a:lnTo>
                      <a:lnTo>
                        <a:pt x="6" y="236"/>
                      </a:lnTo>
                      <a:lnTo>
                        <a:pt x="10" y="241"/>
                      </a:lnTo>
                      <a:lnTo>
                        <a:pt x="14" y="245"/>
                      </a:lnTo>
                      <a:lnTo>
                        <a:pt x="14" y="249"/>
                      </a:lnTo>
                      <a:lnTo>
                        <a:pt x="14" y="252"/>
                      </a:lnTo>
                      <a:lnTo>
                        <a:pt x="18" y="254"/>
                      </a:lnTo>
                      <a:lnTo>
                        <a:pt x="21" y="255"/>
                      </a:lnTo>
                      <a:lnTo>
                        <a:pt x="28" y="256"/>
                      </a:lnTo>
                      <a:lnTo>
                        <a:pt x="33" y="255"/>
                      </a:lnTo>
                      <a:lnTo>
                        <a:pt x="38" y="255"/>
                      </a:lnTo>
                      <a:lnTo>
                        <a:pt x="44" y="256"/>
                      </a:lnTo>
                      <a:lnTo>
                        <a:pt x="47" y="256"/>
                      </a:lnTo>
                      <a:lnTo>
                        <a:pt x="49" y="258"/>
                      </a:lnTo>
                      <a:lnTo>
                        <a:pt x="52" y="262"/>
                      </a:lnTo>
                      <a:lnTo>
                        <a:pt x="53" y="266"/>
                      </a:lnTo>
                      <a:lnTo>
                        <a:pt x="53" y="268"/>
                      </a:lnTo>
                      <a:lnTo>
                        <a:pt x="52" y="273"/>
                      </a:lnTo>
                      <a:lnTo>
                        <a:pt x="51" y="275"/>
                      </a:lnTo>
                      <a:lnTo>
                        <a:pt x="52" y="277"/>
                      </a:lnTo>
                      <a:lnTo>
                        <a:pt x="54" y="280"/>
                      </a:lnTo>
                      <a:lnTo>
                        <a:pt x="58" y="281"/>
                      </a:lnTo>
                      <a:lnTo>
                        <a:pt x="58" y="282"/>
                      </a:lnTo>
                      <a:lnTo>
                        <a:pt x="58" y="283"/>
                      </a:lnTo>
                      <a:lnTo>
                        <a:pt x="56" y="287"/>
                      </a:lnTo>
                      <a:lnTo>
                        <a:pt x="52" y="289"/>
                      </a:lnTo>
                      <a:lnTo>
                        <a:pt x="51" y="290"/>
                      </a:lnTo>
                      <a:lnTo>
                        <a:pt x="49" y="292"/>
                      </a:lnTo>
                      <a:lnTo>
                        <a:pt x="49" y="295"/>
                      </a:lnTo>
                      <a:lnTo>
                        <a:pt x="52" y="296"/>
                      </a:lnTo>
                      <a:lnTo>
                        <a:pt x="56" y="298"/>
                      </a:lnTo>
                      <a:lnTo>
                        <a:pt x="61" y="299"/>
                      </a:lnTo>
                      <a:lnTo>
                        <a:pt x="71" y="299"/>
                      </a:lnTo>
                      <a:lnTo>
                        <a:pt x="72" y="299"/>
                      </a:lnTo>
                      <a:lnTo>
                        <a:pt x="74" y="300"/>
                      </a:lnTo>
                      <a:lnTo>
                        <a:pt x="75" y="305"/>
                      </a:lnTo>
                      <a:lnTo>
                        <a:pt x="76" y="308"/>
                      </a:lnTo>
                      <a:lnTo>
                        <a:pt x="77" y="309"/>
                      </a:lnTo>
                      <a:lnTo>
                        <a:pt x="79" y="309"/>
                      </a:lnTo>
                      <a:lnTo>
                        <a:pt x="81" y="309"/>
                      </a:lnTo>
                      <a:lnTo>
                        <a:pt x="84" y="311"/>
                      </a:lnTo>
                      <a:lnTo>
                        <a:pt x="89" y="302"/>
                      </a:lnTo>
                      <a:lnTo>
                        <a:pt x="93" y="300"/>
                      </a:lnTo>
                      <a:lnTo>
                        <a:pt x="96" y="298"/>
                      </a:lnTo>
                      <a:lnTo>
                        <a:pt x="96" y="299"/>
                      </a:lnTo>
                      <a:lnTo>
                        <a:pt x="99" y="300"/>
                      </a:lnTo>
                      <a:lnTo>
                        <a:pt x="103" y="300"/>
                      </a:lnTo>
                      <a:lnTo>
                        <a:pt x="105" y="300"/>
                      </a:lnTo>
                      <a:lnTo>
                        <a:pt x="108" y="299"/>
                      </a:lnTo>
                      <a:lnTo>
                        <a:pt x="113" y="295"/>
                      </a:lnTo>
                      <a:lnTo>
                        <a:pt x="120" y="292"/>
                      </a:lnTo>
                      <a:lnTo>
                        <a:pt x="120" y="286"/>
                      </a:lnTo>
                      <a:lnTo>
                        <a:pt x="122" y="280"/>
                      </a:lnTo>
                      <a:lnTo>
                        <a:pt x="124" y="268"/>
                      </a:lnTo>
                      <a:lnTo>
                        <a:pt x="128" y="258"/>
                      </a:lnTo>
                      <a:lnTo>
                        <a:pt x="131" y="250"/>
                      </a:lnTo>
                      <a:lnTo>
                        <a:pt x="133" y="247"/>
                      </a:lnTo>
                      <a:lnTo>
                        <a:pt x="136" y="243"/>
                      </a:lnTo>
                      <a:lnTo>
                        <a:pt x="140" y="241"/>
                      </a:lnTo>
                      <a:lnTo>
                        <a:pt x="143" y="238"/>
                      </a:lnTo>
                      <a:lnTo>
                        <a:pt x="150" y="235"/>
                      </a:lnTo>
                      <a:lnTo>
                        <a:pt x="155" y="231"/>
                      </a:lnTo>
                      <a:lnTo>
                        <a:pt x="164" y="223"/>
                      </a:lnTo>
                      <a:lnTo>
                        <a:pt x="171" y="215"/>
                      </a:lnTo>
                      <a:lnTo>
                        <a:pt x="180" y="206"/>
                      </a:lnTo>
                      <a:lnTo>
                        <a:pt x="189" y="199"/>
                      </a:lnTo>
                      <a:lnTo>
                        <a:pt x="198" y="193"/>
                      </a:lnTo>
                      <a:lnTo>
                        <a:pt x="203" y="191"/>
                      </a:lnTo>
                      <a:lnTo>
                        <a:pt x="208" y="191"/>
                      </a:lnTo>
                      <a:lnTo>
                        <a:pt x="213" y="192"/>
                      </a:lnTo>
                      <a:lnTo>
                        <a:pt x="218" y="194"/>
                      </a:lnTo>
                      <a:lnTo>
                        <a:pt x="222" y="196"/>
                      </a:lnTo>
                      <a:lnTo>
                        <a:pt x="226" y="194"/>
                      </a:lnTo>
                      <a:lnTo>
                        <a:pt x="234" y="192"/>
                      </a:lnTo>
                      <a:lnTo>
                        <a:pt x="255" y="188"/>
                      </a:lnTo>
                      <a:lnTo>
                        <a:pt x="264" y="185"/>
                      </a:lnTo>
                      <a:lnTo>
                        <a:pt x="269" y="184"/>
                      </a:lnTo>
                      <a:lnTo>
                        <a:pt x="273" y="180"/>
                      </a:lnTo>
                      <a:lnTo>
                        <a:pt x="279" y="174"/>
                      </a:lnTo>
                      <a:lnTo>
                        <a:pt x="284" y="167"/>
                      </a:lnTo>
                      <a:lnTo>
                        <a:pt x="287" y="160"/>
                      </a:lnTo>
                      <a:lnTo>
                        <a:pt x="288" y="152"/>
                      </a:lnTo>
                      <a:lnTo>
                        <a:pt x="288" y="134"/>
                      </a:lnTo>
                      <a:lnTo>
                        <a:pt x="287" y="1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5" name="Freeform 694">
                  <a:extLst>
                    <a:ext uri="{FF2B5EF4-FFF2-40B4-BE49-F238E27FC236}">
                      <a16:creationId xmlns:a16="http://schemas.microsoft.com/office/drawing/2014/main" id="{A8A3A619-BBC8-AC4C-B5B2-FF99E52FB5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2370" y="4294273"/>
                  <a:ext cx="109511" cy="192383"/>
                </a:xfrm>
                <a:custGeom>
                  <a:avLst/>
                  <a:gdLst>
                    <a:gd name="T0" fmla="*/ 2147483647 w 81"/>
                    <a:gd name="T1" fmla="*/ 2147483647 h 130"/>
                    <a:gd name="T2" fmla="*/ 2147483647 w 81"/>
                    <a:gd name="T3" fmla="*/ 2147483647 h 130"/>
                    <a:gd name="T4" fmla="*/ 2147483647 w 81"/>
                    <a:gd name="T5" fmla="*/ 2147483647 h 130"/>
                    <a:gd name="T6" fmla="*/ 2147483647 w 81"/>
                    <a:gd name="T7" fmla="*/ 2147483647 h 130"/>
                    <a:gd name="T8" fmla="*/ 2147483647 w 81"/>
                    <a:gd name="T9" fmla="*/ 2147483647 h 130"/>
                    <a:gd name="T10" fmla="*/ 2147483647 w 81"/>
                    <a:gd name="T11" fmla="*/ 2147483647 h 130"/>
                    <a:gd name="T12" fmla="*/ 0 w 81"/>
                    <a:gd name="T13" fmla="*/ 2147483647 h 130"/>
                    <a:gd name="T14" fmla="*/ 0 w 81"/>
                    <a:gd name="T15" fmla="*/ 2147483647 h 130"/>
                    <a:gd name="T16" fmla="*/ 2147483647 w 81"/>
                    <a:gd name="T17" fmla="*/ 2147483647 h 130"/>
                    <a:gd name="T18" fmla="*/ 2147483647 w 81"/>
                    <a:gd name="T19" fmla="*/ 2147483647 h 130"/>
                    <a:gd name="T20" fmla="*/ 2147483647 w 81"/>
                    <a:gd name="T21" fmla="*/ 2147483647 h 130"/>
                    <a:gd name="T22" fmla="*/ 2147483647 w 81"/>
                    <a:gd name="T23" fmla="*/ 2147483647 h 130"/>
                    <a:gd name="T24" fmla="*/ 2147483647 w 81"/>
                    <a:gd name="T25" fmla="*/ 2147483647 h 130"/>
                    <a:gd name="T26" fmla="*/ 2147483647 w 81"/>
                    <a:gd name="T27" fmla="*/ 2147483647 h 130"/>
                    <a:gd name="T28" fmla="*/ 2147483647 w 81"/>
                    <a:gd name="T29" fmla="*/ 2147483647 h 130"/>
                    <a:gd name="T30" fmla="*/ 2147483647 w 81"/>
                    <a:gd name="T31" fmla="*/ 2147483647 h 130"/>
                    <a:gd name="T32" fmla="*/ 2147483647 w 81"/>
                    <a:gd name="T33" fmla="*/ 2147483647 h 130"/>
                    <a:gd name="T34" fmla="*/ 2147483647 w 81"/>
                    <a:gd name="T35" fmla="*/ 2147483647 h 130"/>
                    <a:gd name="T36" fmla="*/ 2147483647 w 81"/>
                    <a:gd name="T37" fmla="*/ 2147483647 h 130"/>
                    <a:gd name="T38" fmla="*/ 2147483647 w 81"/>
                    <a:gd name="T39" fmla="*/ 2147483647 h 130"/>
                    <a:gd name="T40" fmla="*/ 2147483647 w 81"/>
                    <a:gd name="T41" fmla="*/ 2147483647 h 130"/>
                    <a:gd name="T42" fmla="*/ 2147483647 w 81"/>
                    <a:gd name="T43" fmla="*/ 2147483647 h 130"/>
                    <a:gd name="T44" fmla="*/ 2147483647 w 81"/>
                    <a:gd name="T45" fmla="*/ 0 h 130"/>
                    <a:gd name="T46" fmla="*/ 2147483647 w 81"/>
                    <a:gd name="T47" fmla="*/ 0 h 130"/>
                    <a:gd name="T48" fmla="*/ 2147483647 w 81"/>
                    <a:gd name="T49" fmla="*/ 2147483647 h 130"/>
                    <a:gd name="T50" fmla="*/ 2147483647 w 81"/>
                    <a:gd name="T51" fmla="*/ 2147483647 h 130"/>
                    <a:gd name="T52" fmla="*/ 2147483647 w 81"/>
                    <a:gd name="T53" fmla="*/ 2147483647 h 130"/>
                    <a:gd name="T54" fmla="*/ 2147483647 w 81"/>
                    <a:gd name="T55" fmla="*/ 2147483647 h 130"/>
                    <a:gd name="T56" fmla="*/ 2147483647 w 81"/>
                    <a:gd name="T57" fmla="*/ 2147483647 h 130"/>
                    <a:gd name="T58" fmla="*/ 2147483647 w 81"/>
                    <a:gd name="T59" fmla="*/ 2147483647 h 130"/>
                    <a:gd name="T60" fmla="*/ 2147483647 w 81"/>
                    <a:gd name="T61" fmla="*/ 2147483647 h 130"/>
                    <a:gd name="T62" fmla="*/ 2147483647 w 81"/>
                    <a:gd name="T63" fmla="*/ 2147483647 h 130"/>
                    <a:gd name="T64" fmla="*/ 2147483647 w 81"/>
                    <a:gd name="T65" fmla="*/ 2147483647 h 130"/>
                    <a:gd name="T66" fmla="*/ 2147483647 w 81"/>
                    <a:gd name="T67" fmla="*/ 2147483647 h 130"/>
                    <a:gd name="T68" fmla="*/ 2147483647 w 81"/>
                    <a:gd name="T69" fmla="*/ 2147483647 h 130"/>
                    <a:gd name="T70" fmla="*/ 2147483647 w 81"/>
                    <a:gd name="T71" fmla="*/ 2147483647 h 130"/>
                    <a:gd name="T72" fmla="*/ 2147483647 w 81"/>
                    <a:gd name="T73" fmla="*/ 2147483647 h 130"/>
                    <a:gd name="T74" fmla="*/ 2147483647 w 81"/>
                    <a:gd name="T75" fmla="*/ 2147483647 h 130"/>
                    <a:gd name="T76" fmla="*/ 2147483647 w 81"/>
                    <a:gd name="T77" fmla="*/ 2147483647 h 130"/>
                    <a:gd name="T78" fmla="*/ 2147483647 w 81"/>
                    <a:gd name="T79" fmla="*/ 2147483647 h 130"/>
                    <a:gd name="T80" fmla="*/ 2147483647 w 81"/>
                    <a:gd name="T81" fmla="*/ 2147483647 h 130"/>
                    <a:gd name="T82" fmla="*/ 2147483647 w 81"/>
                    <a:gd name="T83" fmla="*/ 2147483647 h 130"/>
                    <a:gd name="T84" fmla="*/ 2147483647 w 81"/>
                    <a:gd name="T85" fmla="*/ 2147483647 h 130"/>
                    <a:gd name="T86" fmla="*/ 2147483647 w 81"/>
                    <a:gd name="T87" fmla="*/ 2147483647 h 130"/>
                    <a:gd name="T88" fmla="*/ 2147483647 w 81"/>
                    <a:gd name="T89" fmla="*/ 2147483647 h 130"/>
                    <a:gd name="T90" fmla="*/ 2147483647 w 81"/>
                    <a:gd name="T91" fmla="*/ 2147483647 h 130"/>
                    <a:gd name="T92" fmla="*/ 2147483647 w 81"/>
                    <a:gd name="T93" fmla="*/ 2147483647 h 130"/>
                    <a:gd name="T94" fmla="*/ 2147483647 w 81"/>
                    <a:gd name="T95" fmla="*/ 2147483647 h 130"/>
                    <a:gd name="T96" fmla="*/ 2147483647 w 81"/>
                    <a:gd name="T97" fmla="*/ 2147483647 h 130"/>
                    <a:gd name="T98" fmla="*/ 2147483647 w 81"/>
                    <a:gd name="T99" fmla="*/ 2147483647 h 130"/>
                    <a:gd name="T100" fmla="*/ 2147483647 w 81"/>
                    <a:gd name="T101" fmla="*/ 2147483647 h 130"/>
                    <a:gd name="T102" fmla="*/ 2147483647 w 81"/>
                    <a:gd name="T103" fmla="*/ 2147483647 h 130"/>
                    <a:gd name="T104" fmla="*/ 2147483647 w 81"/>
                    <a:gd name="T105" fmla="*/ 2147483647 h 13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81"/>
                    <a:gd name="T160" fmla="*/ 0 h 130"/>
                    <a:gd name="T161" fmla="*/ 81 w 81"/>
                    <a:gd name="T162" fmla="*/ 130 h 13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81" h="130">
                      <a:moveTo>
                        <a:pt x="6" y="127"/>
                      </a:moveTo>
                      <a:lnTo>
                        <a:pt x="6" y="124"/>
                      </a:lnTo>
                      <a:lnTo>
                        <a:pt x="6" y="120"/>
                      </a:lnTo>
                      <a:lnTo>
                        <a:pt x="6" y="115"/>
                      </a:lnTo>
                      <a:lnTo>
                        <a:pt x="5" y="112"/>
                      </a:lnTo>
                      <a:lnTo>
                        <a:pt x="1" y="107"/>
                      </a:lnTo>
                      <a:lnTo>
                        <a:pt x="0" y="101"/>
                      </a:lnTo>
                      <a:lnTo>
                        <a:pt x="0" y="95"/>
                      </a:lnTo>
                      <a:lnTo>
                        <a:pt x="1" y="89"/>
                      </a:lnTo>
                      <a:lnTo>
                        <a:pt x="7" y="76"/>
                      </a:lnTo>
                      <a:lnTo>
                        <a:pt x="13" y="63"/>
                      </a:lnTo>
                      <a:lnTo>
                        <a:pt x="14" y="56"/>
                      </a:lnTo>
                      <a:lnTo>
                        <a:pt x="14" y="49"/>
                      </a:lnTo>
                      <a:lnTo>
                        <a:pt x="14" y="42"/>
                      </a:lnTo>
                      <a:lnTo>
                        <a:pt x="11" y="35"/>
                      </a:lnTo>
                      <a:lnTo>
                        <a:pt x="11" y="31"/>
                      </a:lnTo>
                      <a:lnTo>
                        <a:pt x="13" y="27"/>
                      </a:lnTo>
                      <a:lnTo>
                        <a:pt x="11" y="17"/>
                      </a:lnTo>
                      <a:lnTo>
                        <a:pt x="13" y="8"/>
                      </a:lnTo>
                      <a:lnTo>
                        <a:pt x="14" y="5"/>
                      </a:lnTo>
                      <a:lnTo>
                        <a:pt x="16" y="3"/>
                      </a:lnTo>
                      <a:lnTo>
                        <a:pt x="27" y="2"/>
                      </a:lnTo>
                      <a:lnTo>
                        <a:pt x="38" y="0"/>
                      </a:lnTo>
                      <a:lnTo>
                        <a:pt x="60" y="0"/>
                      </a:lnTo>
                      <a:lnTo>
                        <a:pt x="62" y="11"/>
                      </a:lnTo>
                      <a:lnTo>
                        <a:pt x="62" y="23"/>
                      </a:lnTo>
                      <a:lnTo>
                        <a:pt x="63" y="34"/>
                      </a:lnTo>
                      <a:lnTo>
                        <a:pt x="66" y="44"/>
                      </a:lnTo>
                      <a:lnTo>
                        <a:pt x="66" y="48"/>
                      </a:lnTo>
                      <a:lnTo>
                        <a:pt x="66" y="51"/>
                      </a:lnTo>
                      <a:lnTo>
                        <a:pt x="65" y="55"/>
                      </a:lnTo>
                      <a:lnTo>
                        <a:pt x="66" y="57"/>
                      </a:lnTo>
                      <a:lnTo>
                        <a:pt x="67" y="62"/>
                      </a:lnTo>
                      <a:lnTo>
                        <a:pt x="68" y="66"/>
                      </a:lnTo>
                      <a:lnTo>
                        <a:pt x="68" y="76"/>
                      </a:lnTo>
                      <a:lnTo>
                        <a:pt x="70" y="87"/>
                      </a:lnTo>
                      <a:lnTo>
                        <a:pt x="71" y="92"/>
                      </a:lnTo>
                      <a:lnTo>
                        <a:pt x="74" y="96"/>
                      </a:lnTo>
                      <a:lnTo>
                        <a:pt x="77" y="100"/>
                      </a:lnTo>
                      <a:lnTo>
                        <a:pt x="81" y="104"/>
                      </a:lnTo>
                      <a:lnTo>
                        <a:pt x="79" y="105"/>
                      </a:lnTo>
                      <a:lnTo>
                        <a:pt x="77" y="108"/>
                      </a:lnTo>
                      <a:lnTo>
                        <a:pt x="74" y="112"/>
                      </a:lnTo>
                      <a:lnTo>
                        <a:pt x="70" y="115"/>
                      </a:lnTo>
                      <a:lnTo>
                        <a:pt x="65" y="117"/>
                      </a:lnTo>
                      <a:lnTo>
                        <a:pt x="57" y="119"/>
                      </a:lnTo>
                      <a:lnTo>
                        <a:pt x="49" y="121"/>
                      </a:lnTo>
                      <a:lnTo>
                        <a:pt x="39" y="127"/>
                      </a:lnTo>
                      <a:lnTo>
                        <a:pt x="35" y="128"/>
                      </a:lnTo>
                      <a:lnTo>
                        <a:pt x="32" y="130"/>
                      </a:lnTo>
                      <a:lnTo>
                        <a:pt x="23" y="128"/>
                      </a:lnTo>
                      <a:lnTo>
                        <a:pt x="15" y="127"/>
                      </a:lnTo>
                      <a:lnTo>
                        <a:pt x="6" y="12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6" name="Freeform 695">
                  <a:extLst>
                    <a:ext uri="{FF2B5EF4-FFF2-40B4-BE49-F238E27FC236}">
                      <a16:creationId xmlns:a16="http://schemas.microsoft.com/office/drawing/2014/main" id="{BFD4927D-06B6-C44B-8540-C5AFB56A67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0572" y="4177361"/>
                  <a:ext cx="165746" cy="168705"/>
                </a:xfrm>
                <a:custGeom>
                  <a:avLst/>
                  <a:gdLst>
                    <a:gd name="T0" fmla="*/ 0 w 122"/>
                    <a:gd name="T1" fmla="*/ 2147483647 h 114"/>
                    <a:gd name="T2" fmla="*/ 0 w 122"/>
                    <a:gd name="T3" fmla="*/ 2147483647 h 114"/>
                    <a:gd name="T4" fmla="*/ 2147483647 w 122"/>
                    <a:gd name="T5" fmla="*/ 2147483647 h 114"/>
                    <a:gd name="T6" fmla="*/ 2147483647 w 122"/>
                    <a:gd name="T7" fmla="*/ 2147483647 h 114"/>
                    <a:gd name="T8" fmla="*/ 2147483647 w 122"/>
                    <a:gd name="T9" fmla="*/ 2147483647 h 114"/>
                    <a:gd name="T10" fmla="*/ 2147483647 w 122"/>
                    <a:gd name="T11" fmla="*/ 2147483647 h 114"/>
                    <a:gd name="T12" fmla="*/ 2147483647 w 122"/>
                    <a:gd name="T13" fmla="*/ 2147483647 h 114"/>
                    <a:gd name="T14" fmla="*/ 2147483647 w 122"/>
                    <a:gd name="T15" fmla="*/ 2147483647 h 114"/>
                    <a:gd name="T16" fmla="*/ 2147483647 w 122"/>
                    <a:gd name="T17" fmla="*/ 2147483647 h 114"/>
                    <a:gd name="T18" fmla="*/ 2147483647 w 122"/>
                    <a:gd name="T19" fmla="*/ 2147483647 h 114"/>
                    <a:gd name="T20" fmla="*/ 2147483647 w 122"/>
                    <a:gd name="T21" fmla="*/ 2147483647 h 114"/>
                    <a:gd name="T22" fmla="*/ 2147483647 w 122"/>
                    <a:gd name="T23" fmla="*/ 2147483647 h 114"/>
                    <a:gd name="T24" fmla="*/ 2147483647 w 122"/>
                    <a:gd name="T25" fmla="*/ 2147483647 h 114"/>
                    <a:gd name="T26" fmla="*/ 2147483647 w 122"/>
                    <a:gd name="T27" fmla="*/ 2147483647 h 114"/>
                    <a:gd name="T28" fmla="*/ 2147483647 w 122"/>
                    <a:gd name="T29" fmla="*/ 2147483647 h 114"/>
                    <a:gd name="T30" fmla="*/ 2147483647 w 122"/>
                    <a:gd name="T31" fmla="*/ 2147483647 h 114"/>
                    <a:gd name="T32" fmla="*/ 2147483647 w 122"/>
                    <a:gd name="T33" fmla="*/ 2147483647 h 114"/>
                    <a:gd name="T34" fmla="*/ 2147483647 w 122"/>
                    <a:gd name="T35" fmla="*/ 0 h 114"/>
                    <a:gd name="T36" fmla="*/ 2147483647 w 122"/>
                    <a:gd name="T37" fmla="*/ 0 h 114"/>
                    <a:gd name="T38" fmla="*/ 2147483647 w 122"/>
                    <a:gd name="T39" fmla="*/ 2147483647 h 114"/>
                    <a:gd name="T40" fmla="*/ 2147483647 w 122"/>
                    <a:gd name="T41" fmla="*/ 2147483647 h 114"/>
                    <a:gd name="T42" fmla="*/ 2147483647 w 122"/>
                    <a:gd name="T43" fmla="*/ 2147483647 h 114"/>
                    <a:gd name="T44" fmla="*/ 2147483647 w 122"/>
                    <a:gd name="T45" fmla="*/ 2147483647 h 114"/>
                    <a:gd name="T46" fmla="*/ 2147483647 w 122"/>
                    <a:gd name="T47" fmla="*/ 2147483647 h 114"/>
                    <a:gd name="T48" fmla="*/ 2147483647 w 122"/>
                    <a:gd name="T49" fmla="*/ 2147483647 h 114"/>
                    <a:gd name="T50" fmla="*/ 2147483647 w 122"/>
                    <a:gd name="T51" fmla="*/ 2147483647 h 114"/>
                    <a:gd name="T52" fmla="*/ 2147483647 w 122"/>
                    <a:gd name="T53" fmla="*/ 2147483647 h 114"/>
                    <a:gd name="T54" fmla="*/ 2147483647 w 122"/>
                    <a:gd name="T55" fmla="*/ 2147483647 h 114"/>
                    <a:gd name="T56" fmla="*/ 2147483647 w 122"/>
                    <a:gd name="T57" fmla="*/ 2147483647 h 114"/>
                    <a:gd name="T58" fmla="*/ 2147483647 w 122"/>
                    <a:gd name="T59" fmla="*/ 2147483647 h 114"/>
                    <a:gd name="T60" fmla="*/ 2147483647 w 122"/>
                    <a:gd name="T61" fmla="*/ 2147483647 h 114"/>
                    <a:gd name="T62" fmla="*/ 2147483647 w 122"/>
                    <a:gd name="T63" fmla="*/ 2147483647 h 114"/>
                    <a:gd name="T64" fmla="*/ 2147483647 w 122"/>
                    <a:gd name="T65" fmla="*/ 2147483647 h 114"/>
                    <a:gd name="T66" fmla="*/ 2147483647 w 122"/>
                    <a:gd name="T67" fmla="*/ 2147483647 h 114"/>
                    <a:gd name="T68" fmla="*/ 2147483647 w 122"/>
                    <a:gd name="T69" fmla="*/ 2147483647 h 114"/>
                    <a:gd name="T70" fmla="*/ 2147483647 w 122"/>
                    <a:gd name="T71" fmla="*/ 2147483647 h 114"/>
                    <a:gd name="T72" fmla="*/ 2147483647 w 122"/>
                    <a:gd name="T73" fmla="*/ 2147483647 h 114"/>
                    <a:gd name="T74" fmla="*/ 2147483647 w 122"/>
                    <a:gd name="T75" fmla="*/ 2147483647 h 114"/>
                    <a:gd name="T76" fmla="*/ 2147483647 w 122"/>
                    <a:gd name="T77" fmla="*/ 2147483647 h 114"/>
                    <a:gd name="T78" fmla="*/ 2147483647 w 122"/>
                    <a:gd name="T79" fmla="*/ 2147483647 h 114"/>
                    <a:gd name="T80" fmla="*/ 2147483647 w 122"/>
                    <a:gd name="T81" fmla="*/ 2147483647 h 114"/>
                    <a:gd name="T82" fmla="*/ 2147483647 w 122"/>
                    <a:gd name="T83" fmla="*/ 2147483647 h 114"/>
                    <a:gd name="T84" fmla="*/ 2147483647 w 122"/>
                    <a:gd name="T85" fmla="*/ 2147483647 h 114"/>
                    <a:gd name="T86" fmla="*/ 2147483647 w 122"/>
                    <a:gd name="T87" fmla="*/ 2147483647 h 114"/>
                    <a:gd name="T88" fmla="*/ 2147483647 w 122"/>
                    <a:gd name="T89" fmla="*/ 2147483647 h 114"/>
                    <a:gd name="T90" fmla="*/ 2147483647 w 122"/>
                    <a:gd name="T91" fmla="*/ 2147483647 h 114"/>
                    <a:gd name="T92" fmla="*/ 2147483647 w 122"/>
                    <a:gd name="T93" fmla="*/ 2147483647 h 114"/>
                    <a:gd name="T94" fmla="*/ 2147483647 w 122"/>
                    <a:gd name="T95" fmla="*/ 2147483647 h 114"/>
                    <a:gd name="T96" fmla="*/ 2147483647 w 122"/>
                    <a:gd name="T97" fmla="*/ 2147483647 h 114"/>
                    <a:gd name="T98" fmla="*/ 2147483647 w 122"/>
                    <a:gd name="T99" fmla="*/ 2147483647 h 114"/>
                    <a:gd name="T100" fmla="*/ 2147483647 w 122"/>
                    <a:gd name="T101" fmla="*/ 2147483647 h 114"/>
                    <a:gd name="T102" fmla="*/ 2147483647 w 122"/>
                    <a:gd name="T103" fmla="*/ 2147483647 h 114"/>
                    <a:gd name="T104" fmla="*/ 2147483647 w 122"/>
                    <a:gd name="T105" fmla="*/ 2147483647 h 114"/>
                    <a:gd name="T106" fmla="*/ 2147483647 w 122"/>
                    <a:gd name="T107" fmla="*/ 2147483647 h 114"/>
                    <a:gd name="T108" fmla="*/ 2147483647 w 122"/>
                    <a:gd name="T109" fmla="*/ 2147483647 h 114"/>
                    <a:gd name="T110" fmla="*/ 2147483647 w 122"/>
                    <a:gd name="T111" fmla="*/ 2147483647 h 114"/>
                    <a:gd name="T112" fmla="*/ 2147483647 w 122"/>
                    <a:gd name="T113" fmla="*/ 2147483647 h 114"/>
                    <a:gd name="T114" fmla="*/ 2147483647 w 122"/>
                    <a:gd name="T115" fmla="*/ 2147483647 h 114"/>
                    <a:gd name="T116" fmla="*/ 2147483647 w 122"/>
                    <a:gd name="T117" fmla="*/ 2147483647 h 114"/>
                    <a:gd name="T118" fmla="*/ 2147483647 w 122"/>
                    <a:gd name="T119" fmla="*/ 2147483647 h 114"/>
                    <a:gd name="T120" fmla="*/ 2147483647 w 122"/>
                    <a:gd name="T121" fmla="*/ 2147483647 h 114"/>
                    <a:gd name="T122" fmla="*/ 2147483647 w 122"/>
                    <a:gd name="T123" fmla="*/ 2147483647 h 114"/>
                    <a:gd name="T124" fmla="*/ 0 w 122"/>
                    <a:gd name="T125" fmla="*/ 2147483647 h 11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2"/>
                    <a:gd name="T190" fmla="*/ 0 h 114"/>
                    <a:gd name="T191" fmla="*/ 122 w 122"/>
                    <a:gd name="T192" fmla="*/ 114 h 11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2" h="114">
                      <a:moveTo>
                        <a:pt x="0" y="101"/>
                      </a:moveTo>
                      <a:lnTo>
                        <a:pt x="0" y="95"/>
                      </a:lnTo>
                      <a:lnTo>
                        <a:pt x="1" y="89"/>
                      </a:lnTo>
                      <a:lnTo>
                        <a:pt x="4" y="77"/>
                      </a:lnTo>
                      <a:lnTo>
                        <a:pt x="7" y="68"/>
                      </a:lnTo>
                      <a:lnTo>
                        <a:pt x="10" y="59"/>
                      </a:lnTo>
                      <a:lnTo>
                        <a:pt x="12" y="56"/>
                      </a:lnTo>
                      <a:lnTo>
                        <a:pt x="15" y="52"/>
                      </a:lnTo>
                      <a:lnTo>
                        <a:pt x="19" y="50"/>
                      </a:lnTo>
                      <a:lnTo>
                        <a:pt x="23" y="47"/>
                      </a:lnTo>
                      <a:lnTo>
                        <a:pt x="29" y="44"/>
                      </a:lnTo>
                      <a:lnTo>
                        <a:pt x="34" y="40"/>
                      </a:lnTo>
                      <a:lnTo>
                        <a:pt x="43" y="32"/>
                      </a:lnTo>
                      <a:lnTo>
                        <a:pt x="51" y="24"/>
                      </a:lnTo>
                      <a:lnTo>
                        <a:pt x="59" y="15"/>
                      </a:lnTo>
                      <a:lnTo>
                        <a:pt x="68" y="8"/>
                      </a:lnTo>
                      <a:lnTo>
                        <a:pt x="77" y="2"/>
                      </a:lnTo>
                      <a:lnTo>
                        <a:pt x="82" y="0"/>
                      </a:lnTo>
                      <a:lnTo>
                        <a:pt x="87" y="0"/>
                      </a:lnTo>
                      <a:lnTo>
                        <a:pt x="92" y="1"/>
                      </a:lnTo>
                      <a:lnTo>
                        <a:pt x="98" y="4"/>
                      </a:lnTo>
                      <a:lnTo>
                        <a:pt x="98" y="7"/>
                      </a:lnTo>
                      <a:lnTo>
                        <a:pt x="98" y="11"/>
                      </a:lnTo>
                      <a:lnTo>
                        <a:pt x="100" y="15"/>
                      </a:lnTo>
                      <a:lnTo>
                        <a:pt x="104" y="21"/>
                      </a:lnTo>
                      <a:lnTo>
                        <a:pt x="108" y="26"/>
                      </a:lnTo>
                      <a:lnTo>
                        <a:pt x="108" y="28"/>
                      </a:lnTo>
                      <a:lnTo>
                        <a:pt x="108" y="31"/>
                      </a:lnTo>
                      <a:lnTo>
                        <a:pt x="108" y="33"/>
                      </a:lnTo>
                      <a:lnTo>
                        <a:pt x="108" y="36"/>
                      </a:lnTo>
                      <a:lnTo>
                        <a:pt x="114" y="41"/>
                      </a:lnTo>
                      <a:lnTo>
                        <a:pt x="119" y="50"/>
                      </a:lnTo>
                      <a:lnTo>
                        <a:pt x="122" y="58"/>
                      </a:lnTo>
                      <a:lnTo>
                        <a:pt x="122" y="62"/>
                      </a:lnTo>
                      <a:lnTo>
                        <a:pt x="120" y="66"/>
                      </a:lnTo>
                      <a:lnTo>
                        <a:pt x="118" y="72"/>
                      </a:lnTo>
                      <a:lnTo>
                        <a:pt x="117" y="76"/>
                      </a:lnTo>
                      <a:lnTo>
                        <a:pt x="117" y="79"/>
                      </a:lnTo>
                      <a:lnTo>
                        <a:pt x="113" y="81"/>
                      </a:lnTo>
                      <a:lnTo>
                        <a:pt x="110" y="79"/>
                      </a:lnTo>
                      <a:lnTo>
                        <a:pt x="98" y="79"/>
                      </a:lnTo>
                      <a:lnTo>
                        <a:pt x="76" y="79"/>
                      </a:lnTo>
                      <a:lnTo>
                        <a:pt x="65" y="81"/>
                      </a:lnTo>
                      <a:lnTo>
                        <a:pt x="54" y="82"/>
                      </a:lnTo>
                      <a:lnTo>
                        <a:pt x="52" y="84"/>
                      </a:lnTo>
                      <a:lnTo>
                        <a:pt x="51" y="87"/>
                      </a:lnTo>
                      <a:lnTo>
                        <a:pt x="49" y="96"/>
                      </a:lnTo>
                      <a:lnTo>
                        <a:pt x="51" y="106"/>
                      </a:lnTo>
                      <a:lnTo>
                        <a:pt x="49" y="110"/>
                      </a:lnTo>
                      <a:lnTo>
                        <a:pt x="49" y="114"/>
                      </a:lnTo>
                      <a:lnTo>
                        <a:pt x="48" y="111"/>
                      </a:lnTo>
                      <a:lnTo>
                        <a:pt x="45" y="109"/>
                      </a:lnTo>
                      <a:lnTo>
                        <a:pt x="40" y="107"/>
                      </a:lnTo>
                      <a:lnTo>
                        <a:pt x="37" y="108"/>
                      </a:lnTo>
                      <a:lnTo>
                        <a:pt x="29" y="113"/>
                      </a:lnTo>
                      <a:lnTo>
                        <a:pt x="26" y="113"/>
                      </a:lnTo>
                      <a:lnTo>
                        <a:pt x="24" y="113"/>
                      </a:lnTo>
                      <a:lnTo>
                        <a:pt x="20" y="110"/>
                      </a:lnTo>
                      <a:lnTo>
                        <a:pt x="11" y="101"/>
                      </a:lnTo>
                      <a:lnTo>
                        <a:pt x="9" y="100"/>
                      </a:lnTo>
                      <a:lnTo>
                        <a:pt x="6" y="98"/>
                      </a:lnTo>
                      <a:lnTo>
                        <a:pt x="2" y="100"/>
                      </a:lnTo>
                      <a:lnTo>
                        <a:pt x="0" y="10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7" name="Freeform 696">
                  <a:extLst>
                    <a:ext uri="{FF2B5EF4-FFF2-40B4-BE49-F238E27FC236}">
                      <a16:creationId xmlns:a16="http://schemas.microsoft.com/office/drawing/2014/main" id="{0B09FA7B-ABB0-BA4A-BA8A-558129E40E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0889" y="4292792"/>
                  <a:ext cx="110990" cy="190903"/>
                </a:xfrm>
                <a:custGeom>
                  <a:avLst/>
                  <a:gdLst>
                    <a:gd name="T0" fmla="*/ 2147483647 w 81"/>
                    <a:gd name="T1" fmla="*/ 2147483647 h 129"/>
                    <a:gd name="T2" fmla="*/ 2147483647 w 81"/>
                    <a:gd name="T3" fmla="*/ 2147483647 h 129"/>
                    <a:gd name="T4" fmla="*/ 2147483647 w 81"/>
                    <a:gd name="T5" fmla="*/ 2147483647 h 129"/>
                    <a:gd name="T6" fmla="*/ 2147483647 w 81"/>
                    <a:gd name="T7" fmla="*/ 2147483647 h 129"/>
                    <a:gd name="T8" fmla="*/ 0 w 81"/>
                    <a:gd name="T9" fmla="*/ 2147483647 h 129"/>
                    <a:gd name="T10" fmla="*/ 2147483647 w 81"/>
                    <a:gd name="T11" fmla="*/ 2147483647 h 129"/>
                    <a:gd name="T12" fmla="*/ 2147483647 w 81"/>
                    <a:gd name="T13" fmla="*/ 2147483647 h 129"/>
                    <a:gd name="T14" fmla="*/ 2147483647 w 81"/>
                    <a:gd name="T15" fmla="*/ 2147483647 h 129"/>
                    <a:gd name="T16" fmla="*/ 2147483647 w 81"/>
                    <a:gd name="T17" fmla="*/ 2147483647 h 129"/>
                    <a:gd name="T18" fmla="*/ 2147483647 w 81"/>
                    <a:gd name="T19" fmla="*/ 2147483647 h 129"/>
                    <a:gd name="T20" fmla="*/ 2147483647 w 81"/>
                    <a:gd name="T21" fmla="*/ 2147483647 h 129"/>
                    <a:gd name="T22" fmla="*/ 2147483647 w 81"/>
                    <a:gd name="T23" fmla="*/ 2147483647 h 129"/>
                    <a:gd name="T24" fmla="*/ 2147483647 w 81"/>
                    <a:gd name="T25" fmla="*/ 2147483647 h 129"/>
                    <a:gd name="T26" fmla="*/ 2147483647 w 81"/>
                    <a:gd name="T27" fmla="*/ 0 h 129"/>
                    <a:gd name="T28" fmla="*/ 2147483647 w 81"/>
                    <a:gd name="T29" fmla="*/ 0 h 129"/>
                    <a:gd name="T30" fmla="*/ 2147483647 w 81"/>
                    <a:gd name="T31" fmla="*/ 2147483647 h 129"/>
                    <a:gd name="T32" fmla="*/ 2147483647 w 81"/>
                    <a:gd name="T33" fmla="*/ 2147483647 h 129"/>
                    <a:gd name="T34" fmla="*/ 2147483647 w 81"/>
                    <a:gd name="T35" fmla="*/ 2147483647 h 129"/>
                    <a:gd name="T36" fmla="*/ 2147483647 w 81"/>
                    <a:gd name="T37" fmla="*/ 2147483647 h 129"/>
                    <a:gd name="T38" fmla="*/ 2147483647 w 81"/>
                    <a:gd name="T39" fmla="*/ 2147483647 h 129"/>
                    <a:gd name="T40" fmla="*/ 2147483647 w 81"/>
                    <a:gd name="T41" fmla="*/ 2147483647 h 129"/>
                    <a:gd name="T42" fmla="*/ 2147483647 w 81"/>
                    <a:gd name="T43" fmla="*/ 2147483647 h 129"/>
                    <a:gd name="T44" fmla="*/ 2147483647 w 81"/>
                    <a:gd name="T45" fmla="*/ 2147483647 h 129"/>
                    <a:gd name="T46" fmla="*/ 2147483647 w 81"/>
                    <a:gd name="T47" fmla="*/ 2147483647 h 129"/>
                    <a:gd name="T48" fmla="*/ 2147483647 w 81"/>
                    <a:gd name="T49" fmla="*/ 2147483647 h 129"/>
                    <a:gd name="T50" fmla="*/ 2147483647 w 81"/>
                    <a:gd name="T51" fmla="*/ 2147483647 h 129"/>
                    <a:gd name="T52" fmla="*/ 2147483647 w 81"/>
                    <a:gd name="T53" fmla="*/ 2147483647 h 129"/>
                    <a:gd name="T54" fmla="*/ 2147483647 w 81"/>
                    <a:gd name="T55" fmla="*/ 2147483647 h 129"/>
                    <a:gd name="T56" fmla="*/ 2147483647 w 81"/>
                    <a:gd name="T57" fmla="*/ 2147483647 h 129"/>
                    <a:gd name="T58" fmla="*/ 2147483647 w 81"/>
                    <a:gd name="T59" fmla="*/ 2147483647 h 129"/>
                    <a:gd name="T60" fmla="*/ 2147483647 w 81"/>
                    <a:gd name="T61" fmla="*/ 2147483647 h 129"/>
                    <a:gd name="T62" fmla="*/ 2147483647 w 81"/>
                    <a:gd name="T63" fmla="*/ 2147483647 h 129"/>
                    <a:gd name="T64" fmla="*/ 2147483647 w 81"/>
                    <a:gd name="T65" fmla="*/ 2147483647 h 12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81"/>
                    <a:gd name="T100" fmla="*/ 0 h 129"/>
                    <a:gd name="T101" fmla="*/ 81 w 81"/>
                    <a:gd name="T102" fmla="*/ 129 h 12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81" h="129">
                      <a:moveTo>
                        <a:pt x="6" y="127"/>
                      </a:moveTo>
                      <a:lnTo>
                        <a:pt x="6" y="127"/>
                      </a:lnTo>
                      <a:lnTo>
                        <a:pt x="6" y="124"/>
                      </a:lnTo>
                      <a:lnTo>
                        <a:pt x="6" y="120"/>
                      </a:lnTo>
                      <a:lnTo>
                        <a:pt x="6" y="115"/>
                      </a:lnTo>
                      <a:lnTo>
                        <a:pt x="5" y="112"/>
                      </a:lnTo>
                      <a:lnTo>
                        <a:pt x="1" y="107"/>
                      </a:lnTo>
                      <a:lnTo>
                        <a:pt x="0" y="101"/>
                      </a:lnTo>
                      <a:lnTo>
                        <a:pt x="0" y="95"/>
                      </a:lnTo>
                      <a:lnTo>
                        <a:pt x="1" y="89"/>
                      </a:lnTo>
                      <a:lnTo>
                        <a:pt x="7" y="76"/>
                      </a:lnTo>
                      <a:lnTo>
                        <a:pt x="12" y="63"/>
                      </a:lnTo>
                      <a:lnTo>
                        <a:pt x="14" y="56"/>
                      </a:lnTo>
                      <a:lnTo>
                        <a:pt x="14" y="49"/>
                      </a:lnTo>
                      <a:lnTo>
                        <a:pt x="14" y="42"/>
                      </a:lnTo>
                      <a:lnTo>
                        <a:pt x="11" y="35"/>
                      </a:lnTo>
                      <a:lnTo>
                        <a:pt x="11" y="31"/>
                      </a:lnTo>
                      <a:lnTo>
                        <a:pt x="12" y="26"/>
                      </a:lnTo>
                      <a:lnTo>
                        <a:pt x="11" y="17"/>
                      </a:lnTo>
                      <a:lnTo>
                        <a:pt x="12" y="7"/>
                      </a:lnTo>
                      <a:lnTo>
                        <a:pt x="14" y="5"/>
                      </a:lnTo>
                      <a:lnTo>
                        <a:pt x="16" y="3"/>
                      </a:lnTo>
                      <a:lnTo>
                        <a:pt x="26" y="1"/>
                      </a:lnTo>
                      <a:lnTo>
                        <a:pt x="38" y="0"/>
                      </a:lnTo>
                      <a:lnTo>
                        <a:pt x="59" y="0"/>
                      </a:lnTo>
                      <a:lnTo>
                        <a:pt x="62" y="11"/>
                      </a:lnTo>
                      <a:lnTo>
                        <a:pt x="62" y="23"/>
                      </a:lnTo>
                      <a:lnTo>
                        <a:pt x="63" y="33"/>
                      </a:lnTo>
                      <a:lnTo>
                        <a:pt x="66" y="44"/>
                      </a:lnTo>
                      <a:lnTo>
                        <a:pt x="66" y="48"/>
                      </a:lnTo>
                      <a:lnTo>
                        <a:pt x="66" y="51"/>
                      </a:lnTo>
                      <a:lnTo>
                        <a:pt x="64" y="55"/>
                      </a:lnTo>
                      <a:lnTo>
                        <a:pt x="66" y="57"/>
                      </a:lnTo>
                      <a:lnTo>
                        <a:pt x="67" y="62"/>
                      </a:lnTo>
                      <a:lnTo>
                        <a:pt x="68" y="65"/>
                      </a:lnTo>
                      <a:lnTo>
                        <a:pt x="68" y="76"/>
                      </a:lnTo>
                      <a:lnTo>
                        <a:pt x="69" y="87"/>
                      </a:lnTo>
                      <a:lnTo>
                        <a:pt x="71" y="92"/>
                      </a:lnTo>
                      <a:lnTo>
                        <a:pt x="73" y="96"/>
                      </a:lnTo>
                      <a:lnTo>
                        <a:pt x="77" y="100"/>
                      </a:lnTo>
                      <a:lnTo>
                        <a:pt x="81" y="103"/>
                      </a:lnTo>
                      <a:lnTo>
                        <a:pt x="78" y="105"/>
                      </a:lnTo>
                      <a:lnTo>
                        <a:pt x="77" y="108"/>
                      </a:lnTo>
                      <a:lnTo>
                        <a:pt x="73" y="112"/>
                      </a:lnTo>
                      <a:lnTo>
                        <a:pt x="69" y="115"/>
                      </a:lnTo>
                      <a:lnTo>
                        <a:pt x="64" y="116"/>
                      </a:lnTo>
                      <a:lnTo>
                        <a:pt x="57" y="119"/>
                      </a:lnTo>
                      <a:lnTo>
                        <a:pt x="49" y="121"/>
                      </a:lnTo>
                      <a:lnTo>
                        <a:pt x="39" y="127"/>
                      </a:lnTo>
                      <a:lnTo>
                        <a:pt x="35" y="128"/>
                      </a:lnTo>
                      <a:lnTo>
                        <a:pt x="31" y="129"/>
                      </a:lnTo>
                      <a:lnTo>
                        <a:pt x="22" y="128"/>
                      </a:lnTo>
                      <a:lnTo>
                        <a:pt x="15" y="127"/>
                      </a:lnTo>
                      <a:lnTo>
                        <a:pt x="6" y="12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8" name="Freeform 697">
                  <a:extLst>
                    <a:ext uri="{FF2B5EF4-FFF2-40B4-BE49-F238E27FC236}">
                      <a16:creationId xmlns:a16="http://schemas.microsoft.com/office/drawing/2014/main" id="{C59BAC8C-4935-1643-9C44-5EA7FDD1C0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7612" y="4175879"/>
                  <a:ext cx="165746" cy="168705"/>
                </a:xfrm>
                <a:custGeom>
                  <a:avLst/>
                  <a:gdLst>
                    <a:gd name="T0" fmla="*/ 0 w 122"/>
                    <a:gd name="T1" fmla="*/ 2147483647 h 114"/>
                    <a:gd name="T2" fmla="*/ 2147483647 w 122"/>
                    <a:gd name="T3" fmla="*/ 2147483647 h 114"/>
                    <a:gd name="T4" fmla="*/ 2147483647 w 122"/>
                    <a:gd name="T5" fmla="*/ 2147483647 h 114"/>
                    <a:gd name="T6" fmla="*/ 2147483647 w 122"/>
                    <a:gd name="T7" fmla="*/ 2147483647 h 114"/>
                    <a:gd name="T8" fmla="*/ 2147483647 w 122"/>
                    <a:gd name="T9" fmla="*/ 2147483647 h 114"/>
                    <a:gd name="T10" fmla="*/ 2147483647 w 122"/>
                    <a:gd name="T11" fmla="*/ 2147483647 h 114"/>
                    <a:gd name="T12" fmla="*/ 2147483647 w 122"/>
                    <a:gd name="T13" fmla="*/ 2147483647 h 114"/>
                    <a:gd name="T14" fmla="*/ 2147483647 w 122"/>
                    <a:gd name="T15" fmla="*/ 2147483647 h 114"/>
                    <a:gd name="T16" fmla="*/ 2147483647 w 122"/>
                    <a:gd name="T17" fmla="*/ 2147483647 h 114"/>
                    <a:gd name="T18" fmla="*/ 2147483647 w 122"/>
                    <a:gd name="T19" fmla="*/ 2147483647 h 114"/>
                    <a:gd name="T20" fmla="*/ 2147483647 w 122"/>
                    <a:gd name="T21" fmla="*/ 2147483647 h 114"/>
                    <a:gd name="T22" fmla="*/ 2147483647 w 122"/>
                    <a:gd name="T23" fmla="*/ 0 h 114"/>
                    <a:gd name="T24" fmla="*/ 2147483647 w 122"/>
                    <a:gd name="T25" fmla="*/ 2147483647 h 114"/>
                    <a:gd name="T26" fmla="*/ 2147483647 w 122"/>
                    <a:gd name="T27" fmla="*/ 2147483647 h 114"/>
                    <a:gd name="T28" fmla="*/ 2147483647 w 122"/>
                    <a:gd name="T29" fmla="*/ 2147483647 h 114"/>
                    <a:gd name="T30" fmla="*/ 2147483647 w 122"/>
                    <a:gd name="T31" fmla="*/ 2147483647 h 114"/>
                    <a:gd name="T32" fmla="*/ 2147483647 w 122"/>
                    <a:gd name="T33" fmla="*/ 2147483647 h 114"/>
                    <a:gd name="T34" fmla="*/ 2147483647 w 122"/>
                    <a:gd name="T35" fmla="*/ 2147483647 h 114"/>
                    <a:gd name="T36" fmla="*/ 2147483647 w 122"/>
                    <a:gd name="T37" fmla="*/ 2147483647 h 114"/>
                    <a:gd name="T38" fmla="*/ 2147483647 w 122"/>
                    <a:gd name="T39" fmla="*/ 2147483647 h 114"/>
                    <a:gd name="T40" fmla="*/ 2147483647 w 122"/>
                    <a:gd name="T41" fmla="*/ 2147483647 h 114"/>
                    <a:gd name="T42" fmla="*/ 2147483647 w 122"/>
                    <a:gd name="T43" fmla="*/ 2147483647 h 114"/>
                    <a:gd name="T44" fmla="*/ 2147483647 w 122"/>
                    <a:gd name="T45" fmla="*/ 2147483647 h 114"/>
                    <a:gd name="T46" fmla="*/ 2147483647 w 122"/>
                    <a:gd name="T47" fmla="*/ 2147483647 h 114"/>
                    <a:gd name="T48" fmla="*/ 2147483647 w 122"/>
                    <a:gd name="T49" fmla="*/ 2147483647 h 114"/>
                    <a:gd name="T50" fmla="*/ 2147483647 w 122"/>
                    <a:gd name="T51" fmla="*/ 2147483647 h 114"/>
                    <a:gd name="T52" fmla="*/ 2147483647 w 122"/>
                    <a:gd name="T53" fmla="*/ 2147483647 h 114"/>
                    <a:gd name="T54" fmla="*/ 2147483647 w 122"/>
                    <a:gd name="T55" fmla="*/ 2147483647 h 114"/>
                    <a:gd name="T56" fmla="*/ 2147483647 w 122"/>
                    <a:gd name="T57" fmla="*/ 2147483647 h 114"/>
                    <a:gd name="T58" fmla="*/ 2147483647 w 122"/>
                    <a:gd name="T59" fmla="*/ 2147483647 h 114"/>
                    <a:gd name="T60" fmla="*/ 2147483647 w 122"/>
                    <a:gd name="T61" fmla="*/ 2147483647 h 114"/>
                    <a:gd name="T62" fmla="*/ 2147483647 w 122"/>
                    <a:gd name="T63" fmla="*/ 2147483647 h 114"/>
                    <a:gd name="T64" fmla="*/ 2147483647 w 122"/>
                    <a:gd name="T65" fmla="*/ 2147483647 h 114"/>
                    <a:gd name="T66" fmla="*/ 2147483647 w 122"/>
                    <a:gd name="T67" fmla="*/ 2147483647 h 114"/>
                    <a:gd name="T68" fmla="*/ 2147483647 w 122"/>
                    <a:gd name="T69" fmla="*/ 2147483647 h 114"/>
                    <a:gd name="T70" fmla="*/ 2147483647 w 122"/>
                    <a:gd name="T71" fmla="*/ 2147483647 h 114"/>
                    <a:gd name="T72" fmla="*/ 2147483647 w 122"/>
                    <a:gd name="T73" fmla="*/ 2147483647 h 114"/>
                    <a:gd name="T74" fmla="*/ 2147483647 w 122"/>
                    <a:gd name="T75" fmla="*/ 2147483647 h 114"/>
                    <a:gd name="T76" fmla="*/ 2147483647 w 122"/>
                    <a:gd name="T77" fmla="*/ 2147483647 h 114"/>
                    <a:gd name="T78" fmla="*/ 2147483647 w 122"/>
                    <a:gd name="T79" fmla="*/ 2147483647 h 114"/>
                    <a:gd name="T80" fmla="*/ 0 w 122"/>
                    <a:gd name="T81" fmla="*/ 2147483647 h 1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22"/>
                    <a:gd name="T124" fmla="*/ 0 h 114"/>
                    <a:gd name="T125" fmla="*/ 122 w 122"/>
                    <a:gd name="T126" fmla="*/ 114 h 1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22" h="114">
                      <a:moveTo>
                        <a:pt x="0" y="101"/>
                      </a:moveTo>
                      <a:lnTo>
                        <a:pt x="0" y="101"/>
                      </a:lnTo>
                      <a:lnTo>
                        <a:pt x="0" y="95"/>
                      </a:lnTo>
                      <a:lnTo>
                        <a:pt x="2" y="89"/>
                      </a:lnTo>
                      <a:lnTo>
                        <a:pt x="4" y="77"/>
                      </a:lnTo>
                      <a:lnTo>
                        <a:pt x="8" y="67"/>
                      </a:lnTo>
                      <a:lnTo>
                        <a:pt x="11" y="59"/>
                      </a:lnTo>
                      <a:lnTo>
                        <a:pt x="13" y="56"/>
                      </a:lnTo>
                      <a:lnTo>
                        <a:pt x="16" y="52"/>
                      </a:lnTo>
                      <a:lnTo>
                        <a:pt x="20" y="50"/>
                      </a:lnTo>
                      <a:lnTo>
                        <a:pt x="23" y="47"/>
                      </a:lnTo>
                      <a:lnTo>
                        <a:pt x="30" y="44"/>
                      </a:lnTo>
                      <a:lnTo>
                        <a:pt x="35" y="40"/>
                      </a:lnTo>
                      <a:lnTo>
                        <a:pt x="44" y="32"/>
                      </a:lnTo>
                      <a:lnTo>
                        <a:pt x="51" y="24"/>
                      </a:lnTo>
                      <a:lnTo>
                        <a:pt x="60" y="15"/>
                      </a:lnTo>
                      <a:lnTo>
                        <a:pt x="69" y="8"/>
                      </a:lnTo>
                      <a:lnTo>
                        <a:pt x="78" y="2"/>
                      </a:lnTo>
                      <a:lnTo>
                        <a:pt x="83" y="0"/>
                      </a:lnTo>
                      <a:lnTo>
                        <a:pt x="88" y="0"/>
                      </a:lnTo>
                      <a:lnTo>
                        <a:pt x="93" y="1"/>
                      </a:lnTo>
                      <a:lnTo>
                        <a:pt x="98" y="3"/>
                      </a:lnTo>
                      <a:lnTo>
                        <a:pt x="98" y="7"/>
                      </a:lnTo>
                      <a:lnTo>
                        <a:pt x="98" y="10"/>
                      </a:lnTo>
                      <a:lnTo>
                        <a:pt x="101" y="15"/>
                      </a:lnTo>
                      <a:lnTo>
                        <a:pt x="105" y="21"/>
                      </a:lnTo>
                      <a:lnTo>
                        <a:pt x="108" y="26"/>
                      </a:lnTo>
                      <a:lnTo>
                        <a:pt x="108" y="28"/>
                      </a:lnTo>
                      <a:lnTo>
                        <a:pt x="108" y="31"/>
                      </a:lnTo>
                      <a:lnTo>
                        <a:pt x="108" y="33"/>
                      </a:lnTo>
                      <a:lnTo>
                        <a:pt x="108" y="35"/>
                      </a:lnTo>
                      <a:lnTo>
                        <a:pt x="115" y="41"/>
                      </a:lnTo>
                      <a:lnTo>
                        <a:pt x="120" y="50"/>
                      </a:lnTo>
                      <a:lnTo>
                        <a:pt x="122" y="58"/>
                      </a:lnTo>
                      <a:lnTo>
                        <a:pt x="122" y="61"/>
                      </a:lnTo>
                      <a:lnTo>
                        <a:pt x="121" y="66"/>
                      </a:lnTo>
                      <a:lnTo>
                        <a:pt x="119" y="72"/>
                      </a:lnTo>
                      <a:lnTo>
                        <a:pt x="117" y="76"/>
                      </a:lnTo>
                      <a:lnTo>
                        <a:pt x="117" y="79"/>
                      </a:lnTo>
                      <a:lnTo>
                        <a:pt x="114" y="80"/>
                      </a:lnTo>
                      <a:lnTo>
                        <a:pt x="111" y="79"/>
                      </a:lnTo>
                      <a:lnTo>
                        <a:pt x="98" y="79"/>
                      </a:lnTo>
                      <a:lnTo>
                        <a:pt x="77" y="79"/>
                      </a:lnTo>
                      <a:lnTo>
                        <a:pt x="65" y="80"/>
                      </a:lnTo>
                      <a:lnTo>
                        <a:pt x="55" y="82"/>
                      </a:lnTo>
                      <a:lnTo>
                        <a:pt x="53" y="84"/>
                      </a:lnTo>
                      <a:lnTo>
                        <a:pt x="51" y="86"/>
                      </a:lnTo>
                      <a:lnTo>
                        <a:pt x="50" y="96"/>
                      </a:lnTo>
                      <a:lnTo>
                        <a:pt x="51" y="105"/>
                      </a:lnTo>
                      <a:lnTo>
                        <a:pt x="50" y="110"/>
                      </a:lnTo>
                      <a:lnTo>
                        <a:pt x="50" y="114"/>
                      </a:lnTo>
                      <a:lnTo>
                        <a:pt x="49" y="111"/>
                      </a:lnTo>
                      <a:lnTo>
                        <a:pt x="46" y="109"/>
                      </a:lnTo>
                      <a:lnTo>
                        <a:pt x="41" y="107"/>
                      </a:lnTo>
                      <a:lnTo>
                        <a:pt x="37" y="108"/>
                      </a:lnTo>
                      <a:lnTo>
                        <a:pt x="30" y="112"/>
                      </a:lnTo>
                      <a:lnTo>
                        <a:pt x="27" y="112"/>
                      </a:lnTo>
                      <a:lnTo>
                        <a:pt x="25" y="112"/>
                      </a:lnTo>
                      <a:lnTo>
                        <a:pt x="21" y="110"/>
                      </a:lnTo>
                      <a:lnTo>
                        <a:pt x="12" y="101"/>
                      </a:lnTo>
                      <a:lnTo>
                        <a:pt x="9" y="99"/>
                      </a:lnTo>
                      <a:lnTo>
                        <a:pt x="7" y="98"/>
                      </a:lnTo>
                      <a:lnTo>
                        <a:pt x="3" y="99"/>
                      </a:lnTo>
                      <a:lnTo>
                        <a:pt x="0" y="10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9" name="Freeform 698">
                  <a:extLst>
                    <a:ext uri="{FF2B5EF4-FFF2-40B4-BE49-F238E27FC236}">
                      <a16:creationId xmlns:a16="http://schemas.microsoft.com/office/drawing/2014/main" id="{1DF88345-7219-F542-8087-5DA4691E08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762" y="4294270"/>
                  <a:ext cx="45876" cy="153907"/>
                </a:xfrm>
                <a:custGeom>
                  <a:avLst/>
                  <a:gdLst>
                    <a:gd name="T0" fmla="*/ 2147483647 w 33"/>
                    <a:gd name="T1" fmla="*/ 2147483647 h 104"/>
                    <a:gd name="T2" fmla="*/ 2147483647 w 33"/>
                    <a:gd name="T3" fmla="*/ 2147483647 h 104"/>
                    <a:gd name="T4" fmla="*/ 2147483647 w 33"/>
                    <a:gd name="T5" fmla="*/ 2147483647 h 104"/>
                    <a:gd name="T6" fmla="*/ 2147483647 w 33"/>
                    <a:gd name="T7" fmla="*/ 2147483647 h 104"/>
                    <a:gd name="T8" fmla="*/ 2147483647 w 33"/>
                    <a:gd name="T9" fmla="*/ 2147483647 h 104"/>
                    <a:gd name="T10" fmla="*/ 2147483647 w 33"/>
                    <a:gd name="T11" fmla="*/ 2147483647 h 104"/>
                    <a:gd name="T12" fmla="*/ 2147483647 w 33"/>
                    <a:gd name="T13" fmla="*/ 2147483647 h 104"/>
                    <a:gd name="T14" fmla="*/ 2147483647 w 33"/>
                    <a:gd name="T15" fmla="*/ 2147483647 h 104"/>
                    <a:gd name="T16" fmla="*/ 2147483647 w 33"/>
                    <a:gd name="T17" fmla="*/ 2147483647 h 104"/>
                    <a:gd name="T18" fmla="*/ 2147483647 w 33"/>
                    <a:gd name="T19" fmla="*/ 2147483647 h 104"/>
                    <a:gd name="T20" fmla="*/ 2147483647 w 33"/>
                    <a:gd name="T21" fmla="*/ 2147483647 h 104"/>
                    <a:gd name="T22" fmla="*/ 2147483647 w 33"/>
                    <a:gd name="T23" fmla="*/ 2147483647 h 104"/>
                    <a:gd name="T24" fmla="*/ 2147483647 w 33"/>
                    <a:gd name="T25" fmla="*/ 2147483647 h 104"/>
                    <a:gd name="T26" fmla="*/ 2147483647 w 33"/>
                    <a:gd name="T27" fmla="*/ 2147483647 h 104"/>
                    <a:gd name="T28" fmla="*/ 2147483647 w 33"/>
                    <a:gd name="T29" fmla="*/ 2147483647 h 104"/>
                    <a:gd name="T30" fmla="*/ 2147483647 w 33"/>
                    <a:gd name="T31" fmla="*/ 2147483647 h 104"/>
                    <a:gd name="T32" fmla="*/ 2147483647 w 33"/>
                    <a:gd name="T33" fmla="*/ 2147483647 h 104"/>
                    <a:gd name="T34" fmla="*/ 0 w 33"/>
                    <a:gd name="T35" fmla="*/ 0 h 104"/>
                    <a:gd name="T36" fmla="*/ 2147483647 w 33"/>
                    <a:gd name="T37" fmla="*/ 0 h 104"/>
                    <a:gd name="T38" fmla="*/ 2147483647 w 33"/>
                    <a:gd name="T39" fmla="*/ 2147483647 h 104"/>
                    <a:gd name="T40" fmla="*/ 2147483647 w 33"/>
                    <a:gd name="T41" fmla="*/ 2147483647 h 104"/>
                    <a:gd name="T42" fmla="*/ 2147483647 w 33"/>
                    <a:gd name="T43" fmla="*/ 2147483647 h 104"/>
                    <a:gd name="T44" fmla="*/ 2147483647 w 33"/>
                    <a:gd name="T45" fmla="*/ 2147483647 h 104"/>
                    <a:gd name="T46" fmla="*/ 2147483647 w 33"/>
                    <a:gd name="T47" fmla="*/ 2147483647 h 104"/>
                    <a:gd name="T48" fmla="*/ 2147483647 w 33"/>
                    <a:gd name="T49" fmla="*/ 2147483647 h 104"/>
                    <a:gd name="T50" fmla="*/ 2147483647 w 33"/>
                    <a:gd name="T51" fmla="*/ 2147483647 h 104"/>
                    <a:gd name="T52" fmla="*/ 2147483647 w 33"/>
                    <a:gd name="T53" fmla="*/ 2147483647 h 104"/>
                    <a:gd name="T54" fmla="*/ 2147483647 w 33"/>
                    <a:gd name="T55" fmla="*/ 2147483647 h 104"/>
                    <a:gd name="T56" fmla="*/ 2147483647 w 33"/>
                    <a:gd name="T57" fmla="*/ 2147483647 h 104"/>
                    <a:gd name="T58" fmla="*/ 2147483647 w 33"/>
                    <a:gd name="T59" fmla="*/ 2147483647 h 104"/>
                    <a:gd name="T60" fmla="*/ 2147483647 w 33"/>
                    <a:gd name="T61" fmla="*/ 2147483647 h 10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3"/>
                    <a:gd name="T94" fmla="*/ 0 h 104"/>
                    <a:gd name="T95" fmla="*/ 33 w 33"/>
                    <a:gd name="T96" fmla="*/ 104 h 10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3" h="104">
                      <a:moveTo>
                        <a:pt x="21" y="104"/>
                      </a:moveTo>
                      <a:lnTo>
                        <a:pt x="17" y="100"/>
                      </a:lnTo>
                      <a:lnTo>
                        <a:pt x="14" y="96"/>
                      </a:lnTo>
                      <a:lnTo>
                        <a:pt x="11" y="92"/>
                      </a:lnTo>
                      <a:lnTo>
                        <a:pt x="10" y="87"/>
                      </a:lnTo>
                      <a:lnTo>
                        <a:pt x="8" y="76"/>
                      </a:lnTo>
                      <a:lnTo>
                        <a:pt x="8" y="66"/>
                      </a:lnTo>
                      <a:lnTo>
                        <a:pt x="8" y="63"/>
                      </a:lnTo>
                      <a:lnTo>
                        <a:pt x="7" y="62"/>
                      </a:lnTo>
                      <a:lnTo>
                        <a:pt x="6" y="59"/>
                      </a:lnTo>
                      <a:lnTo>
                        <a:pt x="5" y="55"/>
                      </a:lnTo>
                      <a:lnTo>
                        <a:pt x="5" y="51"/>
                      </a:lnTo>
                      <a:lnTo>
                        <a:pt x="6" y="48"/>
                      </a:lnTo>
                      <a:lnTo>
                        <a:pt x="6" y="44"/>
                      </a:lnTo>
                      <a:lnTo>
                        <a:pt x="3" y="34"/>
                      </a:lnTo>
                      <a:lnTo>
                        <a:pt x="2" y="23"/>
                      </a:lnTo>
                      <a:lnTo>
                        <a:pt x="2" y="11"/>
                      </a:lnTo>
                      <a:lnTo>
                        <a:pt x="0" y="0"/>
                      </a:lnTo>
                      <a:lnTo>
                        <a:pt x="12" y="0"/>
                      </a:lnTo>
                      <a:lnTo>
                        <a:pt x="15" y="12"/>
                      </a:lnTo>
                      <a:lnTo>
                        <a:pt x="16" y="18"/>
                      </a:lnTo>
                      <a:lnTo>
                        <a:pt x="17" y="23"/>
                      </a:lnTo>
                      <a:lnTo>
                        <a:pt x="22" y="32"/>
                      </a:lnTo>
                      <a:lnTo>
                        <a:pt x="25" y="42"/>
                      </a:lnTo>
                      <a:lnTo>
                        <a:pt x="26" y="53"/>
                      </a:lnTo>
                      <a:lnTo>
                        <a:pt x="27" y="62"/>
                      </a:lnTo>
                      <a:lnTo>
                        <a:pt x="29" y="83"/>
                      </a:lnTo>
                      <a:lnTo>
                        <a:pt x="30" y="93"/>
                      </a:lnTo>
                      <a:lnTo>
                        <a:pt x="33" y="104"/>
                      </a:lnTo>
                      <a:lnTo>
                        <a:pt x="26" y="104"/>
                      </a:lnTo>
                      <a:lnTo>
                        <a:pt x="21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0" name="Freeform 699">
                  <a:extLst>
                    <a:ext uri="{FF2B5EF4-FFF2-40B4-BE49-F238E27FC236}">
                      <a16:creationId xmlns:a16="http://schemas.microsoft.com/office/drawing/2014/main" id="{42BE8DEB-A5C8-FE4C-8A76-E7DEA5526B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30040" y="4275032"/>
                  <a:ext cx="63635" cy="174626"/>
                </a:xfrm>
                <a:custGeom>
                  <a:avLst/>
                  <a:gdLst>
                    <a:gd name="T0" fmla="*/ 2147483647 w 46"/>
                    <a:gd name="T1" fmla="*/ 2147483647 h 118"/>
                    <a:gd name="T2" fmla="*/ 2147483647 w 46"/>
                    <a:gd name="T3" fmla="*/ 2147483647 h 118"/>
                    <a:gd name="T4" fmla="*/ 2147483647 w 46"/>
                    <a:gd name="T5" fmla="*/ 2147483647 h 118"/>
                    <a:gd name="T6" fmla="*/ 2147483647 w 46"/>
                    <a:gd name="T7" fmla="*/ 2147483647 h 118"/>
                    <a:gd name="T8" fmla="*/ 2147483647 w 46"/>
                    <a:gd name="T9" fmla="*/ 2147483647 h 118"/>
                    <a:gd name="T10" fmla="*/ 2147483647 w 46"/>
                    <a:gd name="T11" fmla="*/ 2147483647 h 118"/>
                    <a:gd name="T12" fmla="*/ 2147483647 w 46"/>
                    <a:gd name="T13" fmla="*/ 2147483647 h 118"/>
                    <a:gd name="T14" fmla="*/ 2147483647 w 46"/>
                    <a:gd name="T15" fmla="*/ 2147483647 h 118"/>
                    <a:gd name="T16" fmla="*/ 2147483647 w 46"/>
                    <a:gd name="T17" fmla="*/ 2147483647 h 118"/>
                    <a:gd name="T18" fmla="*/ 2147483647 w 46"/>
                    <a:gd name="T19" fmla="*/ 2147483647 h 118"/>
                    <a:gd name="T20" fmla="*/ 0 w 46"/>
                    <a:gd name="T21" fmla="*/ 2147483647 h 118"/>
                    <a:gd name="T22" fmla="*/ 2147483647 w 46"/>
                    <a:gd name="T23" fmla="*/ 2147483647 h 118"/>
                    <a:gd name="T24" fmla="*/ 2147483647 w 46"/>
                    <a:gd name="T25" fmla="*/ 2147483647 h 118"/>
                    <a:gd name="T26" fmla="*/ 2147483647 w 46"/>
                    <a:gd name="T27" fmla="*/ 2147483647 h 118"/>
                    <a:gd name="T28" fmla="*/ 2147483647 w 46"/>
                    <a:gd name="T29" fmla="*/ 2147483647 h 118"/>
                    <a:gd name="T30" fmla="*/ 2147483647 w 46"/>
                    <a:gd name="T31" fmla="*/ 2147483647 h 118"/>
                    <a:gd name="T32" fmla="*/ 2147483647 w 46"/>
                    <a:gd name="T33" fmla="*/ 2147483647 h 118"/>
                    <a:gd name="T34" fmla="*/ 2147483647 w 46"/>
                    <a:gd name="T35" fmla="*/ 0 h 118"/>
                    <a:gd name="T36" fmla="*/ 2147483647 w 46"/>
                    <a:gd name="T37" fmla="*/ 0 h 118"/>
                    <a:gd name="T38" fmla="*/ 2147483647 w 46"/>
                    <a:gd name="T39" fmla="*/ 2147483647 h 118"/>
                    <a:gd name="T40" fmla="*/ 2147483647 w 46"/>
                    <a:gd name="T41" fmla="*/ 2147483647 h 118"/>
                    <a:gd name="T42" fmla="*/ 2147483647 w 46"/>
                    <a:gd name="T43" fmla="*/ 2147483647 h 118"/>
                    <a:gd name="T44" fmla="*/ 2147483647 w 46"/>
                    <a:gd name="T45" fmla="*/ 2147483647 h 118"/>
                    <a:gd name="T46" fmla="*/ 2147483647 w 46"/>
                    <a:gd name="T47" fmla="*/ 2147483647 h 118"/>
                    <a:gd name="T48" fmla="*/ 2147483647 w 46"/>
                    <a:gd name="T49" fmla="*/ 2147483647 h 118"/>
                    <a:gd name="T50" fmla="*/ 2147483647 w 46"/>
                    <a:gd name="T51" fmla="*/ 2147483647 h 118"/>
                    <a:gd name="T52" fmla="*/ 2147483647 w 46"/>
                    <a:gd name="T53" fmla="*/ 2147483647 h 118"/>
                    <a:gd name="T54" fmla="*/ 2147483647 w 46"/>
                    <a:gd name="T55" fmla="*/ 2147483647 h 118"/>
                    <a:gd name="T56" fmla="*/ 2147483647 w 46"/>
                    <a:gd name="T57" fmla="*/ 2147483647 h 118"/>
                    <a:gd name="T58" fmla="*/ 2147483647 w 46"/>
                    <a:gd name="T59" fmla="*/ 2147483647 h 118"/>
                    <a:gd name="T60" fmla="*/ 2147483647 w 46"/>
                    <a:gd name="T61" fmla="*/ 2147483647 h 118"/>
                    <a:gd name="T62" fmla="*/ 2147483647 w 46"/>
                    <a:gd name="T63" fmla="*/ 2147483647 h 118"/>
                    <a:gd name="T64" fmla="*/ 2147483647 w 46"/>
                    <a:gd name="T65" fmla="*/ 2147483647 h 118"/>
                    <a:gd name="T66" fmla="*/ 2147483647 w 46"/>
                    <a:gd name="T67" fmla="*/ 2147483647 h 118"/>
                    <a:gd name="T68" fmla="*/ 2147483647 w 46"/>
                    <a:gd name="T69" fmla="*/ 2147483647 h 11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46"/>
                    <a:gd name="T106" fmla="*/ 0 h 118"/>
                    <a:gd name="T107" fmla="*/ 46 w 46"/>
                    <a:gd name="T108" fmla="*/ 118 h 118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46" h="118">
                      <a:moveTo>
                        <a:pt x="21" y="117"/>
                      </a:moveTo>
                      <a:lnTo>
                        <a:pt x="18" y="106"/>
                      </a:lnTo>
                      <a:lnTo>
                        <a:pt x="17" y="96"/>
                      </a:lnTo>
                      <a:lnTo>
                        <a:pt x="15" y="75"/>
                      </a:lnTo>
                      <a:lnTo>
                        <a:pt x="14" y="66"/>
                      </a:lnTo>
                      <a:lnTo>
                        <a:pt x="13" y="55"/>
                      </a:lnTo>
                      <a:lnTo>
                        <a:pt x="10" y="45"/>
                      </a:lnTo>
                      <a:lnTo>
                        <a:pt x="5" y="36"/>
                      </a:lnTo>
                      <a:lnTo>
                        <a:pt x="4" y="31"/>
                      </a:lnTo>
                      <a:lnTo>
                        <a:pt x="3" y="25"/>
                      </a:lnTo>
                      <a:lnTo>
                        <a:pt x="0" y="13"/>
                      </a:lnTo>
                      <a:lnTo>
                        <a:pt x="3" y="15"/>
                      </a:lnTo>
                      <a:lnTo>
                        <a:pt x="7" y="13"/>
                      </a:lnTo>
                      <a:lnTo>
                        <a:pt x="12" y="11"/>
                      </a:lnTo>
                      <a:lnTo>
                        <a:pt x="15" y="8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7" y="0"/>
                      </a:lnTo>
                      <a:lnTo>
                        <a:pt x="31" y="0"/>
                      </a:lnTo>
                      <a:lnTo>
                        <a:pt x="36" y="2"/>
                      </a:lnTo>
                      <a:lnTo>
                        <a:pt x="38" y="4"/>
                      </a:lnTo>
                      <a:lnTo>
                        <a:pt x="42" y="6"/>
                      </a:lnTo>
                      <a:lnTo>
                        <a:pt x="46" y="9"/>
                      </a:lnTo>
                      <a:lnTo>
                        <a:pt x="45" y="21"/>
                      </a:lnTo>
                      <a:lnTo>
                        <a:pt x="45" y="40"/>
                      </a:lnTo>
                      <a:lnTo>
                        <a:pt x="45" y="49"/>
                      </a:lnTo>
                      <a:lnTo>
                        <a:pt x="42" y="57"/>
                      </a:lnTo>
                      <a:lnTo>
                        <a:pt x="41" y="62"/>
                      </a:lnTo>
                      <a:lnTo>
                        <a:pt x="37" y="67"/>
                      </a:lnTo>
                      <a:lnTo>
                        <a:pt x="35" y="70"/>
                      </a:lnTo>
                      <a:lnTo>
                        <a:pt x="32" y="75"/>
                      </a:lnTo>
                      <a:lnTo>
                        <a:pt x="31" y="86"/>
                      </a:lnTo>
                      <a:lnTo>
                        <a:pt x="31" y="96"/>
                      </a:lnTo>
                      <a:lnTo>
                        <a:pt x="33" y="118"/>
                      </a:lnTo>
                      <a:lnTo>
                        <a:pt x="21" y="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1" name="Freeform 700">
                  <a:extLst>
                    <a:ext uri="{FF2B5EF4-FFF2-40B4-BE49-F238E27FC236}">
                      <a16:creationId xmlns:a16="http://schemas.microsoft.com/office/drawing/2014/main" id="{9D2CC099-E820-5743-8748-84EF617694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0801" y="4292791"/>
                  <a:ext cx="45876" cy="152426"/>
                </a:xfrm>
                <a:custGeom>
                  <a:avLst/>
                  <a:gdLst>
                    <a:gd name="T0" fmla="*/ 2147483647 w 33"/>
                    <a:gd name="T1" fmla="*/ 2147483647 h 103"/>
                    <a:gd name="T2" fmla="*/ 2147483647 w 33"/>
                    <a:gd name="T3" fmla="*/ 2147483647 h 103"/>
                    <a:gd name="T4" fmla="*/ 2147483647 w 33"/>
                    <a:gd name="T5" fmla="*/ 2147483647 h 103"/>
                    <a:gd name="T6" fmla="*/ 2147483647 w 33"/>
                    <a:gd name="T7" fmla="*/ 2147483647 h 103"/>
                    <a:gd name="T8" fmla="*/ 2147483647 w 33"/>
                    <a:gd name="T9" fmla="*/ 2147483647 h 103"/>
                    <a:gd name="T10" fmla="*/ 2147483647 w 33"/>
                    <a:gd name="T11" fmla="*/ 2147483647 h 103"/>
                    <a:gd name="T12" fmla="*/ 2147483647 w 33"/>
                    <a:gd name="T13" fmla="*/ 2147483647 h 103"/>
                    <a:gd name="T14" fmla="*/ 2147483647 w 33"/>
                    <a:gd name="T15" fmla="*/ 2147483647 h 103"/>
                    <a:gd name="T16" fmla="*/ 2147483647 w 33"/>
                    <a:gd name="T17" fmla="*/ 2147483647 h 103"/>
                    <a:gd name="T18" fmla="*/ 2147483647 w 33"/>
                    <a:gd name="T19" fmla="*/ 2147483647 h 103"/>
                    <a:gd name="T20" fmla="*/ 2147483647 w 33"/>
                    <a:gd name="T21" fmla="*/ 2147483647 h 103"/>
                    <a:gd name="T22" fmla="*/ 2147483647 w 33"/>
                    <a:gd name="T23" fmla="*/ 2147483647 h 103"/>
                    <a:gd name="T24" fmla="*/ 2147483647 w 33"/>
                    <a:gd name="T25" fmla="*/ 2147483647 h 103"/>
                    <a:gd name="T26" fmla="*/ 2147483647 w 33"/>
                    <a:gd name="T27" fmla="*/ 2147483647 h 103"/>
                    <a:gd name="T28" fmla="*/ 2147483647 w 33"/>
                    <a:gd name="T29" fmla="*/ 2147483647 h 103"/>
                    <a:gd name="T30" fmla="*/ 2147483647 w 33"/>
                    <a:gd name="T31" fmla="*/ 2147483647 h 103"/>
                    <a:gd name="T32" fmla="*/ 2147483647 w 33"/>
                    <a:gd name="T33" fmla="*/ 2147483647 h 103"/>
                    <a:gd name="T34" fmla="*/ 2147483647 w 33"/>
                    <a:gd name="T35" fmla="*/ 2147483647 h 103"/>
                    <a:gd name="T36" fmla="*/ 2147483647 w 33"/>
                    <a:gd name="T37" fmla="*/ 2147483647 h 103"/>
                    <a:gd name="T38" fmla="*/ 2147483647 w 33"/>
                    <a:gd name="T39" fmla="*/ 2147483647 h 103"/>
                    <a:gd name="T40" fmla="*/ 2147483647 w 33"/>
                    <a:gd name="T41" fmla="*/ 2147483647 h 103"/>
                    <a:gd name="T42" fmla="*/ 0 w 33"/>
                    <a:gd name="T43" fmla="*/ 0 h 103"/>
                    <a:gd name="T44" fmla="*/ 0 w 33"/>
                    <a:gd name="T45" fmla="*/ 0 h 103"/>
                    <a:gd name="T46" fmla="*/ 2147483647 w 33"/>
                    <a:gd name="T47" fmla="*/ 0 h 103"/>
                    <a:gd name="T48" fmla="*/ 2147483647 w 33"/>
                    <a:gd name="T49" fmla="*/ 0 h 103"/>
                    <a:gd name="T50" fmla="*/ 2147483647 w 33"/>
                    <a:gd name="T51" fmla="*/ 2147483647 h 103"/>
                    <a:gd name="T52" fmla="*/ 2147483647 w 33"/>
                    <a:gd name="T53" fmla="*/ 2147483647 h 103"/>
                    <a:gd name="T54" fmla="*/ 2147483647 w 33"/>
                    <a:gd name="T55" fmla="*/ 2147483647 h 103"/>
                    <a:gd name="T56" fmla="*/ 2147483647 w 33"/>
                    <a:gd name="T57" fmla="*/ 2147483647 h 103"/>
                    <a:gd name="T58" fmla="*/ 2147483647 w 33"/>
                    <a:gd name="T59" fmla="*/ 2147483647 h 103"/>
                    <a:gd name="T60" fmla="*/ 2147483647 w 33"/>
                    <a:gd name="T61" fmla="*/ 2147483647 h 103"/>
                    <a:gd name="T62" fmla="*/ 2147483647 w 33"/>
                    <a:gd name="T63" fmla="*/ 2147483647 h 103"/>
                    <a:gd name="T64" fmla="*/ 2147483647 w 33"/>
                    <a:gd name="T65" fmla="*/ 2147483647 h 103"/>
                    <a:gd name="T66" fmla="*/ 2147483647 w 33"/>
                    <a:gd name="T67" fmla="*/ 2147483647 h 103"/>
                    <a:gd name="T68" fmla="*/ 2147483647 w 33"/>
                    <a:gd name="T69" fmla="*/ 2147483647 h 103"/>
                    <a:gd name="T70" fmla="*/ 2147483647 w 33"/>
                    <a:gd name="T71" fmla="*/ 2147483647 h 103"/>
                    <a:gd name="T72" fmla="*/ 2147483647 w 33"/>
                    <a:gd name="T73" fmla="*/ 2147483647 h 103"/>
                    <a:gd name="T74" fmla="*/ 2147483647 w 33"/>
                    <a:gd name="T75" fmla="*/ 2147483647 h 103"/>
                    <a:gd name="T76" fmla="*/ 2147483647 w 33"/>
                    <a:gd name="T77" fmla="*/ 2147483647 h 103"/>
                    <a:gd name="T78" fmla="*/ 2147483647 w 33"/>
                    <a:gd name="T79" fmla="*/ 2147483647 h 103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3"/>
                    <a:gd name="T121" fmla="*/ 0 h 103"/>
                    <a:gd name="T122" fmla="*/ 33 w 33"/>
                    <a:gd name="T123" fmla="*/ 103 h 103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3" h="103">
                      <a:moveTo>
                        <a:pt x="22" y="103"/>
                      </a:moveTo>
                      <a:lnTo>
                        <a:pt x="22" y="103"/>
                      </a:lnTo>
                      <a:lnTo>
                        <a:pt x="18" y="100"/>
                      </a:lnTo>
                      <a:lnTo>
                        <a:pt x="14" y="96"/>
                      </a:lnTo>
                      <a:lnTo>
                        <a:pt x="12" y="92"/>
                      </a:lnTo>
                      <a:lnTo>
                        <a:pt x="10" y="87"/>
                      </a:lnTo>
                      <a:lnTo>
                        <a:pt x="9" y="76"/>
                      </a:lnTo>
                      <a:lnTo>
                        <a:pt x="9" y="65"/>
                      </a:lnTo>
                      <a:lnTo>
                        <a:pt x="9" y="63"/>
                      </a:lnTo>
                      <a:lnTo>
                        <a:pt x="8" y="62"/>
                      </a:lnTo>
                      <a:lnTo>
                        <a:pt x="7" y="58"/>
                      </a:lnTo>
                      <a:lnTo>
                        <a:pt x="5" y="55"/>
                      </a:lnTo>
                      <a:lnTo>
                        <a:pt x="5" y="51"/>
                      </a:lnTo>
                      <a:lnTo>
                        <a:pt x="7" y="48"/>
                      </a:lnTo>
                      <a:lnTo>
                        <a:pt x="7" y="44"/>
                      </a:lnTo>
                      <a:lnTo>
                        <a:pt x="4" y="33"/>
                      </a:lnTo>
                      <a:lnTo>
                        <a:pt x="3" y="23"/>
                      </a:lnTo>
                      <a:lnTo>
                        <a:pt x="3" y="11"/>
                      </a:lnTo>
                      <a:lnTo>
                        <a:pt x="0" y="0"/>
                      </a:lnTo>
                      <a:lnTo>
                        <a:pt x="13" y="0"/>
                      </a:lnTo>
                      <a:lnTo>
                        <a:pt x="16" y="12"/>
                      </a:lnTo>
                      <a:lnTo>
                        <a:pt x="17" y="18"/>
                      </a:lnTo>
                      <a:lnTo>
                        <a:pt x="18" y="23"/>
                      </a:lnTo>
                      <a:lnTo>
                        <a:pt x="23" y="32"/>
                      </a:lnTo>
                      <a:lnTo>
                        <a:pt x="26" y="42"/>
                      </a:lnTo>
                      <a:lnTo>
                        <a:pt x="27" y="52"/>
                      </a:lnTo>
                      <a:lnTo>
                        <a:pt x="28" y="62"/>
                      </a:lnTo>
                      <a:lnTo>
                        <a:pt x="29" y="83"/>
                      </a:lnTo>
                      <a:lnTo>
                        <a:pt x="31" y="93"/>
                      </a:lnTo>
                      <a:lnTo>
                        <a:pt x="33" y="103"/>
                      </a:lnTo>
                      <a:lnTo>
                        <a:pt x="27" y="103"/>
                      </a:lnTo>
                      <a:lnTo>
                        <a:pt x="22" y="10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2" name="Freeform 701">
                  <a:extLst>
                    <a:ext uri="{FF2B5EF4-FFF2-40B4-BE49-F238E27FC236}">
                      <a16:creationId xmlns:a16="http://schemas.microsoft.com/office/drawing/2014/main" id="{45FD310F-2FD6-4E48-9F88-99E5C76D7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8561" y="4273551"/>
                  <a:ext cx="63634" cy="174626"/>
                </a:xfrm>
                <a:custGeom>
                  <a:avLst/>
                  <a:gdLst>
                    <a:gd name="T0" fmla="*/ 2147483647 w 46"/>
                    <a:gd name="T1" fmla="*/ 2147483647 h 118"/>
                    <a:gd name="T2" fmla="*/ 2147483647 w 46"/>
                    <a:gd name="T3" fmla="*/ 2147483647 h 118"/>
                    <a:gd name="T4" fmla="*/ 2147483647 w 46"/>
                    <a:gd name="T5" fmla="*/ 2147483647 h 118"/>
                    <a:gd name="T6" fmla="*/ 2147483647 w 46"/>
                    <a:gd name="T7" fmla="*/ 2147483647 h 118"/>
                    <a:gd name="T8" fmla="*/ 2147483647 w 46"/>
                    <a:gd name="T9" fmla="*/ 2147483647 h 118"/>
                    <a:gd name="T10" fmla="*/ 2147483647 w 46"/>
                    <a:gd name="T11" fmla="*/ 2147483647 h 118"/>
                    <a:gd name="T12" fmla="*/ 2147483647 w 46"/>
                    <a:gd name="T13" fmla="*/ 2147483647 h 118"/>
                    <a:gd name="T14" fmla="*/ 2147483647 w 46"/>
                    <a:gd name="T15" fmla="*/ 2147483647 h 118"/>
                    <a:gd name="T16" fmla="*/ 2147483647 w 46"/>
                    <a:gd name="T17" fmla="*/ 2147483647 h 118"/>
                    <a:gd name="T18" fmla="*/ 2147483647 w 46"/>
                    <a:gd name="T19" fmla="*/ 2147483647 h 118"/>
                    <a:gd name="T20" fmla="*/ 2147483647 w 46"/>
                    <a:gd name="T21" fmla="*/ 2147483647 h 118"/>
                    <a:gd name="T22" fmla="*/ 2147483647 w 46"/>
                    <a:gd name="T23" fmla="*/ 2147483647 h 118"/>
                    <a:gd name="T24" fmla="*/ 0 w 46"/>
                    <a:gd name="T25" fmla="*/ 2147483647 h 118"/>
                    <a:gd name="T26" fmla="*/ 0 w 46"/>
                    <a:gd name="T27" fmla="*/ 2147483647 h 118"/>
                    <a:gd name="T28" fmla="*/ 2147483647 w 46"/>
                    <a:gd name="T29" fmla="*/ 2147483647 h 118"/>
                    <a:gd name="T30" fmla="*/ 2147483647 w 46"/>
                    <a:gd name="T31" fmla="*/ 2147483647 h 118"/>
                    <a:gd name="T32" fmla="*/ 2147483647 w 46"/>
                    <a:gd name="T33" fmla="*/ 2147483647 h 118"/>
                    <a:gd name="T34" fmla="*/ 2147483647 w 46"/>
                    <a:gd name="T35" fmla="*/ 2147483647 h 118"/>
                    <a:gd name="T36" fmla="*/ 2147483647 w 46"/>
                    <a:gd name="T37" fmla="*/ 2147483647 h 118"/>
                    <a:gd name="T38" fmla="*/ 2147483647 w 46"/>
                    <a:gd name="T39" fmla="*/ 2147483647 h 118"/>
                    <a:gd name="T40" fmla="*/ 2147483647 w 46"/>
                    <a:gd name="T41" fmla="*/ 2147483647 h 118"/>
                    <a:gd name="T42" fmla="*/ 2147483647 w 46"/>
                    <a:gd name="T43" fmla="*/ 2147483647 h 118"/>
                    <a:gd name="T44" fmla="*/ 2147483647 w 46"/>
                    <a:gd name="T45" fmla="*/ 2147483647 h 118"/>
                    <a:gd name="T46" fmla="*/ 2147483647 w 46"/>
                    <a:gd name="T47" fmla="*/ 0 h 118"/>
                    <a:gd name="T48" fmla="*/ 2147483647 w 46"/>
                    <a:gd name="T49" fmla="*/ 0 h 118"/>
                    <a:gd name="T50" fmla="*/ 2147483647 w 46"/>
                    <a:gd name="T51" fmla="*/ 0 h 118"/>
                    <a:gd name="T52" fmla="*/ 2147483647 w 46"/>
                    <a:gd name="T53" fmla="*/ 2147483647 h 118"/>
                    <a:gd name="T54" fmla="*/ 2147483647 w 46"/>
                    <a:gd name="T55" fmla="*/ 2147483647 h 118"/>
                    <a:gd name="T56" fmla="*/ 2147483647 w 46"/>
                    <a:gd name="T57" fmla="*/ 2147483647 h 118"/>
                    <a:gd name="T58" fmla="*/ 2147483647 w 46"/>
                    <a:gd name="T59" fmla="*/ 2147483647 h 118"/>
                    <a:gd name="T60" fmla="*/ 2147483647 w 46"/>
                    <a:gd name="T61" fmla="*/ 2147483647 h 118"/>
                    <a:gd name="T62" fmla="*/ 2147483647 w 46"/>
                    <a:gd name="T63" fmla="*/ 2147483647 h 118"/>
                    <a:gd name="T64" fmla="*/ 2147483647 w 46"/>
                    <a:gd name="T65" fmla="*/ 2147483647 h 118"/>
                    <a:gd name="T66" fmla="*/ 2147483647 w 46"/>
                    <a:gd name="T67" fmla="*/ 2147483647 h 118"/>
                    <a:gd name="T68" fmla="*/ 2147483647 w 46"/>
                    <a:gd name="T69" fmla="*/ 2147483647 h 118"/>
                    <a:gd name="T70" fmla="*/ 2147483647 w 46"/>
                    <a:gd name="T71" fmla="*/ 2147483647 h 118"/>
                    <a:gd name="T72" fmla="*/ 2147483647 w 46"/>
                    <a:gd name="T73" fmla="*/ 2147483647 h 118"/>
                    <a:gd name="T74" fmla="*/ 2147483647 w 46"/>
                    <a:gd name="T75" fmla="*/ 2147483647 h 118"/>
                    <a:gd name="T76" fmla="*/ 2147483647 w 46"/>
                    <a:gd name="T77" fmla="*/ 2147483647 h 118"/>
                    <a:gd name="T78" fmla="*/ 2147483647 w 46"/>
                    <a:gd name="T79" fmla="*/ 2147483647 h 118"/>
                    <a:gd name="T80" fmla="*/ 2147483647 w 46"/>
                    <a:gd name="T81" fmla="*/ 2147483647 h 118"/>
                    <a:gd name="T82" fmla="*/ 2147483647 w 46"/>
                    <a:gd name="T83" fmla="*/ 2147483647 h 118"/>
                    <a:gd name="T84" fmla="*/ 2147483647 w 46"/>
                    <a:gd name="T85" fmla="*/ 2147483647 h 118"/>
                    <a:gd name="T86" fmla="*/ 2147483647 w 46"/>
                    <a:gd name="T87" fmla="*/ 2147483647 h 118"/>
                    <a:gd name="T88" fmla="*/ 2147483647 w 46"/>
                    <a:gd name="T89" fmla="*/ 2147483647 h 118"/>
                    <a:gd name="T90" fmla="*/ 2147483647 w 46"/>
                    <a:gd name="T91" fmla="*/ 2147483647 h 118"/>
                    <a:gd name="T92" fmla="*/ 2147483647 w 46"/>
                    <a:gd name="T93" fmla="*/ 2147483647 h 118"/>
                    <a:gd name="T94" fmla="*/ 2147483647 w 46"/>
                    <a:gd name="T95" fmla="*/ 2147483647 h 11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6"/>
                    <a:gd name="T145" fmla="*/ 0 h 118"/>
                    <a:gd name="T146" fmla="*/ 46 w 46"/>
                    <a:gd name="T147" fmla="*/ 118 h 11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6" h="118">
                      <a:moveTo>
                        <a:pt x="20" y="116"/>
                      </a:moveTo>
                      <a:lnTo>
                        <a:pt x="20" y="116"/>
                      </a:lnTo>
                      <a:lnTo>
                        <a:pt x="18" y="106"/>
                      </a:lnTo>
                      <a:lnTo>
                        <a:pt x="16" y="96"/>
                      </a:lnTo>
                      <a:lnTo>
                        <a:pt x="15" y="75"/>
                      </a:lnTo>
                      <a:lnTo>
                        <a:pt x="14" y="65"/>
                      </a:lnTo>
                      <a:lnTo>
                        <a:pt x="13" y="55"/>
                      </a:lnTo>
                      <a:lnTo>
                        <a:pt x="10" y="45"/>
                      </a:lnTo>
                      <a:lnTo>
                        <a:pt x="5" y="36"/>
                      </a:lnTo>
                      <a:lnTo>
                        <a:pt x="4" y="31"/>
                      </a:lnTo>
                      <a:lnTo>
                        <a:pt x="3" y="25"/>
                      </a:lnTo>
                      <a:lnTo>
                        <a:pt x="0" y="13"/>
                      </a:lnTo>
                      <a:lnTo>
                        <a:pt x="3" y="14"/>
                      </a:lnTo>
                      <a:lnTo>
                        <a:pt x="6" y="13"/>
                      </a:lnTo>
                      <a:lnTo>
                        <a:pt x="11" y="11"/>
                      </a:lnTo>
                      <a:lnTo>
                        <a:pt x="15" y="7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7" y="0"/>
                      </a:lnTo>
                      <a:lnTo>
                        <a:pt x="30" y="0"/>
                      </a:lnTo>
                      <a:lnTo>
                        <a:pt x="36" y="1"/>
                      </a:lnTo>
                      <a:lnTo>
                        <a:pt x="38" y="4"/>
                      </a:lnTo>
                      <a:lnTo>
                        <a:pt x="42" y="6"/>
                      </a:lnTo>
                      <a:lnTo>
                        <a:pt x="46" y="9"/>
                      </a:lnTo>
                      <a:lnTo>
                        <a:pt x="44" y="20"/>
                      </a:lnTo>
                      <a:lnTo>
                        <a:pt x="44" y="39"/>
                      </a:lnTo>
                      <a:lnTo>
                        <a:pt x="44" y="49"/>
                      </a:lnTo>
                      <a:lnTo>
                        <a:pt x="42" y="57"/>
                      </a:lnTo>
                      <a:lnTo>
                        <a:pt x="41" y="62"/>
                      </a:lnTo>
                      <a:lnTo>
                        <a:pt x="37" y="67"/>
                      </a:lnTo>
                      <a:lnTo>
                        <a:pt x="34" y="70"/>
                      </a:lnTo>
                      <a:lnTo>
                        <a:pt x="32" y="75"/>
                      </a:lnTo>
                      <a:lnTo>
                        <a:pt x="30" y="86"/>
                      </a:lnTo>
                      <a:lnTo>
                        <a:pt x="30" y="96"/>
                      </a:lnTo>
                      <a:lnTo>
                        <a:pt x="33" y="118"/>
                      </a:lnTo>
                      <a:lnTo>
                        <a:pt x="20" y="1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3" name="Freeform 702">
                  <a:extLst>
                    <a:ext uri="{FF2B5EF4-FFF2-40B4-BE49-F238E27FC236}">
                      <a16:creationId xmlns:a16="http://schemas.microsoft.com/office/drawing/2014/main" id="{F9365880-73BF-5644-8FE1-3E7045E78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2956" y="4227675"/>
                  <a:ext cx="282655" cy="278216"/>
                </a:xfrm>
                <a:custGeom>
                  <a:avLst/>
                  <a:gdLst>
                    <a:gd name="T0" fmla="*/ 2147483647 w 207"/>
                    <a:gd name="T1" fmla="*/ 2147483647 h 188"/>
                    <a:gd name="T2" fmla="*/ 2147483647 w 207"/>
                    <a:gd name="T3" fmla="*/ 2147483647 h 188"/>
                    <a:gd name="T4" fmla="*/ 2147483647 w 207"/>
                    <a:gd name="T5" fmla="*/ 2147483647 h 188"/>
                    <a:gd name="T6" fmla="*/ 2147483647 w 207"/>
                    <a:gd name="T7" fmla="*/ 2147483647 h 188"/>
                    <a:gd name="T8" fmla="*/ 2147483647 w 207"/>
                    <a:gd name="T9" fmla="*/ 2147483647 h 188"/>
                    <a:gd name="T10" fmla="*/ 2147483647 w 207"/>
                    <a:gd name="T11" fmla="*/ 2147483647 h 188"/>
                    <a:gd name="T12" fmla="*/ 2147483647 w 207"/>
                    <a:gd name="T13" fmla="*/ 2147483647 h 188"/>
                    <a:gd name="T14" fmla="*/ 2147483647 w 207"/>
                    <a:gd name="T15" fmla="*/ 2147483647 h 188"/>
                    <a:gd name="T16" fmla="*/ 2147483647 w 207"/>
                    <a:gd name="T17" fmla="*/ 2147483647 h 188"/>
                    <a:gd name="T18" fmla="*/ 2147483647 w 207"/>
                    <a:gd name="T19" fmla="*/ 2147483647 h 188"/>
                    <a:gd name="T20" fmla="*/ 2147483647 w 207"/>
                    <a:gd name="T21" fmla="*/ 2147483647 h 188"/>
                    <a:gd name="T22" fmla="*/ 2147483647 w 207"/>
                    <a:gd name="T23" fmla="*/ 2147483647 h 188"/>
                    <a:gd name="T24" fmla="*/ 2147483647 w 207"/>
                    <a:gd name="T25" fmla="*/ 2147483647 h 188"/>
                    <a:gd name="T26" fmla="*/ 2147483647 w 207"/>
                    <a:gd name="T27" fmla="*/ 2147483647 h 188"/>
                    <a:gd name="T28" fmla="*/ 2147483647 w 207"/>
                    <a:gd name="T29" fmla="*/ 2147483647 h 188"/>
                    <a:gd name="T30" fmla="*/ 2147483647 w 207"/>
                    <a:gd name="T31" fmla="*/ 2147483647 h 188"/>
                    <a:gd name="T32" fmla="*/ 2147483647 w 207"/>
                    <a:gd name="T33" fmla="*/ 2147483647 h 188"/>
                    <a:gd name="T34" fmla="*/ 2147483647 w 207"/>
                    <a:gd name="T35" fmla="*/ 2147483647 h 188"/>
                    <a:gd name="T36" fmla="*/ 2147483647 w 207"/>
                    <a:gd name="T37" fmla="*/ 2147483647 h 188"/>
                    <a:gd name="T38" fmla="*/ 2147483647 w 207"/>
                    <a:gd name="T39" fmla="*/ 2147483647 h 188"/>
                    <a:gd name="T40" fmla="*/ 2147483647 w 207"/>
                    <a:gd name="T41" fmla="*/ 2147483647 h 188"/>
                    <a:gd name="T42" fmla="*/ 2147483647 w 207"/>
                    <a:gd name="T43" fmla="*/ 2147483647 h 188"/>
                    <a:gd name="T44" fmla="*/ 2147483647 w 207"/>
                    <a:gd name="T45" fmla="*/ 2147483647 h 188"/>
                    <a:gd name="T46" fmla="*/ 2147483647 w 207"/>
                    <a:gd name="T47" fmla="*/ 2147483647 h 188"/>
                    <a:gd name="T48" fmla="*/ 2147483647 w 207"/>
                    <a:gd name="T49" fmla="*/ 2147483647 h 188"/>
                    <a:gd name="T50" fmla="*/ 2147483647 w 207"/>
                    <a:gd name="T51" fmla="*/ 2147483647 h 188"/>
                    <a:gd name="T52" fmla="*/ 2147483647 w 207"/>
                    <a:gd name="T53" fmla="*/ 2147483647 h 188"/>
                    <a:gd name="T54" fmla="*/ 2147483647 w 207"/>
                    <a:gd name="T55" fmla="*/ 0 h 188"/>
                    <a:gd name="T56" fmla="*/ 2147483647 w 207"/>
                    <a:gd name="T57" fmla="*/ 2147483647 h 188"/>
                    <a:gd name="T58" fmla="*/ 2147483647 w 207"/>
                    <a:gd name="T59" fmla="*/ 2147483647 h 188"/>
                    <a:gd name="T60" fmla="*/ 2147483647 w 207"/>
                    <a:gd name="T61" fmla="*/ 2147483647 h 188"/>
                    <a:gd name="T62" fmla="*/ 2147483647 w 207"/>
                    <a:gd name="T63" fmla="*/ 2147483647 h 188"/>
                    <a:gd name="T64" fmla="*/ 2147483647 w 207"/>
                    <a:gd name="T65" fmla="*/ 2147483647 h 188"/>
                    <a:gd name="T66" fmla="*/ 2147483647 w 207"/>
                    <a:gd name="T67" fmla="*/ 2147483647 h 188"/>
                    <a:gd name="T68" fmla="*/ 2147483647 w 207"/>
                    <a:gd name="T69" fmla="*/ 2147483647 h 188"/>
                    <a:gd name="T70" fmla="*/ 2147483647 w 207"/>
                    <a:gd name="T71" fmla="*/ 2147483647 h 188"/>
                    <a:gd name="T72" fmla="*/ 2147483647 w 207"/>
                    <a:gd name="T73" fmla="*/ 2147483647 h 188"/>
                    <a:gd name="T74" fmla="*/ 2147483647 w 207"/>
                    <a:gd name="T75" fmla="*/ 2147483647 h 188"/>
                    <a:gd name="T76" fmla="*/ 2147483647 w 207"/>
                    <a:gd name="T77" fmla="*/ 2147483647 h 188"/>
                    <a:gd name="T78" fmla="*/ 2147483647 w 207"/>
                    <a:gd name="T79" fmla="*/ 2147483647 h 188"/>
                    <a:gd name="T80" fmla="*/ 2147483647 w 207"/>
                    <a:gd name="T81" fmla="*/ 2147483647 h 188"/>
                    <a:gd name="T82" fmla="*/ 2147483647 w 207"/>
                    <a:gd name="T83" fmla="*/ 2147483647 h 188"/>
                    <a:gd name="T84" fmla="*/ 2147483647 w 207"/>
                    <a:gd name="T85" fmla="*/ 2147483647 h 188"/>
                    <a:gd name="T86" fmla="*/ 2147483647 w 207"/>
                    <a:gd name="T87" fmla="*/ 2147483647 h 18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07"/>
                    <a:gd name="T133" fmla="*/ 0 h 188"/>
                    <a:gd name="T134" fmla="*/ 207 w 207"/>
                    <a:gd name="T135" fmla="*/ 188 h 18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07" h="188">
                      <a:moveTo>
                        <a:pt x="104" y="181"/>
                      </a:moveTo>
                      <a:lnTo>
                        <a:pt x="97" y="173"/>
                      </a:lnTo>
                      <a:lnTo>
                        <a:pt x="95" y="170"/>
                      </a:lnTo>
                      <a:lnTo>
                        <a:pt x="95" y="169"/>
                      </a:lnTo>
                      <a:lnTo>
                        <a:pt x="96" y="166"/>
                      </a:lnTo>
                      <a:lnTo>
                        <a:pt x="101" y="159"/>
                      </a:lnTo>
                      <a:lnTo>
                        <a:pt x="105" y="152"/>
                      </a:lnTo>
                      <a:lnTo>
                        <a:pt x="108" y="150"/>
                      </a:lnTo>
                      <a:lnTo>
                        <a:pt x="110" y="147"/>
                      </a:lnTo>
                      <a:lnTo>
                        <a:pt x="114" y="145"/>
                      </a:lnTo>
                      <a:lnTo>
                        <a:pt x="118" y="145"/>
                      </a:lnTo>
                      <a:lnTo>
                        <a:pt x="123" y="145"/>
                      </a:lnTo>
                      <a:lnTo>
                        <a:pt x="128" y="145"/>
                      </a:lnTo>
                      <a:lnTo>
                        <a:pt x="137" y="141"/>
                      </a:lnTo>
                      <a:lnTo>
                        <a:pt x="144" y="136"/>
                      </a:lnTo>
                      <a:lnTo>
                        <a:pt x="152" y="130"/>
                      </a:lnTo>
                      <a:lnTo>
                        <a:pt x="157" y="121"/>
                      </a:lnTo>
                      <a:lnTo>
                        <a:pt x="162" y="112"/>
                      </a:lnTo>
                      <a:lnTo>
                        <a:pt x="170" y="95"/>
                      </a:lnTo>
                      <a:lnTo>
                        <a:pt x="171" y="93"/>
                      </a:lnTo>
                      <a:lnTo>
                        <a:pt x="174" y="92"/>
                      </a:lnTo>
                      <a:lnTo>
                        <a:pt x="176" y="90"/>
                      </a:lnTo>
                      <a:lnTo>
                        <a:pt x="179" y="88"/>
                      </a:lnTo>
                      <a:lnTo>
                        <a:pt x="183" y="81"/>
                      </a:lnTo>
                      <a:lnTo>
                        <a:pt x="188" y="75"/>
                      </a:lnTo>
                      <a:lnTo>
                        <a:pt x="188" y="74"/>
                      </a:lnTo>
                      <a:lnTo>
                        <a:pt x="188" y="73"/>
                      </a:lnTo>
                      <a:lnTo>
                        <a:pt x="188" y="70"/>
                      </a:lnTo>
                      <a:lnTo>
                        <a:pt x="188" y="68"/>
                      </a:lnTo>
                      <a:lnTo>
                        <a:pt x="189" y="66"/>
                      </a:lnTo>
                      <a:lnTo>
                        <a:pt x="190" y="63"/>
                      </a:lnTo>
                      <a:lnTo>
                        <a:pt x="190" y="60"/>
                      </a:lnTo>
                      <a:lnTo>
                        <a:pt x="190" y="56"/>
                      </a:lnTo>
                      <a:lnTo>
                        <a:pt x="194" y="50"/>
                      </a:lnTo>
                      <a:lnTo>
                        <a:pt x="205" y="41"/>
                      </a:lnTo>
                      <a:lnTo>
                        <a:pt x="207" y="40"/>
                      </a:lnTo>
                      <a:lnTo>
                        <a:pt x="207" y="37"/>
                      </a:lnTo>
                      <a:lnTo>
                        <a:pt x="205" y="31"/>
                      </a:lnTo>
                      <a:lnTo>
                        <a:pt x="203" y="25"/>
                      </a:lnTo>
                      <a:lnTo>
                        <a:pt x="200" y="19"/>
                      </a:lnTo>
                      <a:lnTo>
                        <a:pt x="197" y="18"/>
                      </a:lnTo>
                      <a:lnTo>
                        <a:pt x="197" y="17"/>
                      </a:lnTo>
                      <a:lnTo>
                        <a:pt x="197" y="16"/>
                      </a:lnTo>
                      <a:lnTo>
                        <a:pt x="198" y="12"/>
                      </a:lnTo>
                      <a:lnTo>
                        <a:pt x="198" y="9"/>
                      </a:lnTo>
                      <a:lnTo>
                        <a:pt x="195" y="6"/>
                      </a:lnTo>
                      <a:lnTo>
                        <a:pt x="193" y="4"/>
                      </a:lnTo>
                      <a:lnTo>
                        <a:pt x="189" y="4"/>
                      </a:lnTo>
                      <a:lnTo>
                        <a:pt x="185" y="4"/>
                      </a:lnTo>
                      <a:lnTo>
                        <a:pt x="179" y="5"/>
                      </a:lnTo>
                      <a:lnTo>
                        <a:pt x="174" y="10"/>
                      </a:lnTo>
                      <a:lnTo>
                        <a:pt x="172" y="11"/>
                      </a:lnTo>
                      <a:lnTo>
                        <a:pt x="171" y="11"/>
                      </a:lnTo>
                      <a:lnTo>
                        <a:pt x="170" y="11"/>
                      </a:lnTo>
                      <a:lnTo>
                        <a:pt x="167" y="10"/>
                      </a:lnTo>
                      <a:lnTo>
                        <a:pt x="161" y="5"/>
                      </a:lnTo>
                      <a:lnTo>
                        <a:pt x="156" y="5"/>
                      </a:lnTo>
                      <a:lnTo>
                        <a:pt x="152" y="5"/>
                      </a:lnTo>
                      <a:lnTo>
                        <a:pt x="147" y="6"/>
                      </a:lnTo>
                      <a:lnTo>
                        <a:pt x="139" y="6"/>
                      </a:lnTo>
                      <a:lnTo>
                        <a:pt x="132" y="6"/>
                      </a:lnTo>
                      <a:lnTo>
                        <a:pt x="131" y="7"/>
                      </a:lnTo>
                      <a:lnTo>
                        <a:pt x="129" y="9"/>
                      </a:lnTo>
                      <a:lnTo>
                        <a:pt x="128" y="12"/>
                      </a:lnTo>
                      <a:lnTo>
                        <a:pt x="125" y="16"/>
                      </a:lnTo>
                      <a:lnTo>
                        <a:pt x="125" y="17"/>
                      </a:lnTo>
                      <a:lnTo>
                        <a:pt x="123" y="17"/>
                      </a:lnTo>
                      <a:lnTo>
                        <a:pt x="114" y="17"/>
                      </a:lnTo>
                      <a:lnTo>
                        <a:pt x="113" y="17"/>
                      </a:lnTo>
                      <a:lnTo>
                        <a:pt x="111" y="15"/>
                      </a:lnTo>
                      <a:lnTo>
                        <a:pt x="110" y="12"/>
                      </a:lnTo>
                      <a:lnTo>
                        <a:pt x="108" y="10"/>
                      </a:lnTo>
                      <a:lnTo>
                        <a:pt x="104" y="7"/>
                      </a:lnTo>
                      <a:lnTo>
                        <a:pt x="100" y="6"/>
                      </a:lnTo>
                      <a:lnTo>
                        <a:pt x="96" y="6"/>
                      </a:lnTo>
                      <a:lnTo>
                        <a:pt x="86" y="11"/>
                      </a:lnTo>
                      <a:lnTo>
                        <a:pt x="84" y="12"/>
                      </a:lnTo>
                      <a:lnTo>
                        <a:pt x="80" y="12"/>
                      </a:lnTo>
                      <a:lnTo>
                        <a:pt x="77" y="11"/>
                      </a:lnTo>
                      <a:lnTo>
                        <a:pt x="75" y="9"/>
                      </a:lnTo>
                      <a:lnTo>
                        <a:pt x="68" y="2"/>
                      </a:lnTo>
                      <a:lnTo>
                        <a:pt x="66" y="0"/>
                      </a:lnTo>
                      <a:lnTo>
                        <a:pt x="63" y="0"/>
                      </a:lnTo>
                      <a:lnTo>
                        <a:pt x="57" y="0"/>
                      </a:lnTo>
                      <a:lnTo>
                        <a:pt x="48" y="0"/>
                      </a:lnTo>
                      <a:lnTo>
                        <a:pt x="39" y="2"/>
                      </a:lnTo>
                      <a:lnTo>
                        <a:pt x="35" y="3"/>
                      </a:lnTo>
                      <a:lnTo>
                        <a:pt x="31" y="4"/>
                      </a:lnTo>
                      <a:lnTo>
                        <a:pt x="30" y="7"/>
                      </a:lnTo>
                      <a:lnTo>
                        <a:pt x="30" y="13"/>
                      </a:lnTo>
                      <a:lnTo>
                        <a:pt x="25" y="15"/>
                      </a:lnTo>
                      <a:lnTo>
                        <a:pt x="24" y="15"/>
                      </a:lnTo>
                      <a:lnTo>
                        <a:pt x="23" y="16"/>
                      </a:lnTo>
                      <a:lnTo>
                        <a:pt x="20" y="19"/>
                      </a:lnTo>
                      <a:lnTo>
                        <a:pt x="19" y="23"/>
                      </a:lnTo>
                      <a:lnTo>
                        <a:pt x="17" y="30"/>
                      </a:lnTo>
                      <a:lnTo>
                        <a:pt x="15" y="41"/>
                      </a:lnTo>
                      <a:lnTo>
                        <a:pt x="14" y="53"/>
                      </a:lnTo>
                      <a:lnTo>
                        <a:pt x="14" y="72"/>
                      </a:lnTo>
                      <a:lnTo>
                        <a:pt x="14" y="81"/>
                      </a:lnTo>
                      <a:lnTo>
                        <a:pt x="11" y="89"/>
                      </a:lnTo>
                      <a:lnTo>
                        <a:pt x="10" y="94"/>
                      </a:lnTo>
                      <a:lnTo>
                        <a:pt x="6" y="99"/>
                      </a:lnTo>
                      <a:lnTo>
                        <a:pt x="4" y="102"/>
                      </a:lnTo>
                      <a:lnTo>
                        <a:pt x="1" y="107"/>
                      </a:lnTo>
                      <a:lnTo>
                        <a:pt x="0" y="118"/>
                      </a:lnTo>
                      <a:lnTo>
                        <a:pt x="0" y="128"/>
                      </a:lnTo>
                      <a:lnTo>
                        <a:pt x="2" y="150"/>
                      </a:lnTo>
                      <a:lnTo>
                        <a:pt x="7" y="149"/>
                      </a:lnTo>
                      <a:lnTo>
                        <a:pt x="21" y="146"/>
                      </a:lnTo>
                      <a:lnTo>
                        <a:pt x="28" y="146"/>
                      </a:lnTo>
                      <a:lnTo>
                        <a:pt x="34" y="149"/>
                      </a:lnTo>
                      <a:lnTo>
                        <a:pt x="37" y="150"/>
                      </a:lnTo>
                      <a:lnTo>
                        <a:pt x="40" y="153"/>
                      </a:lnTo>
                      <a:lnTo>
                        <a:pt x="44" y="160"/>
                      </a:lnTo>
                      <a:lnTo>
                        <a:pt x="49" y="177"/>
                      </a:lnTo>
                      <a:lnTo>
                        <a:pt x="52" y="182"/>
                      </a:lnTo>
                      <a:lnTo>
                        <a:pt x="53" y="184"/>
                      </a:lnTo>
                      <a:lnTo>
                        <a:pt x="56" y="185"/>
                      </a:lnTo>
                      <a:lnTo>
                        <a:pt x="62" y="185"/>
                      </a:lnTo>
                      <a:lnTo>
                        <a:pt x="67" y="185"/>
                      </a:lnTo>
                      <a:lnTo>
                        <a:pt x="73" y="185"/>
                      </a:lnTo>
                      <a:lnTo>
                        <a:pt x="77" y="185"/>
                      </a:lnTo>
                      <a:lnTo>
                        <a:pt x="80" y="187"/>
                      </a:lnTo>
                      <a:lnTo>
                        <a:pt x="84" y="188"/>
                      </a:lnTo>
                      <a:lnTo>
                        <a:pt x="86" y="187"/>
                      </a:lnTo>
                      <a:lnTo>
                        <a:pt x="89" y="185"/>
                      </a:lnTo>
                      <a:lnTo>
                        <a:pt x="92" y="185"/>
                      </a:lnTo>
                      <a:lnTo>
                        <a:pt x="96" y="187"/>
                      </a:lnTo>
                      <a:lnTo>
                        <a:pt x="97" y="187"/>
                      </a:lnTo>
                      <a:lnTo>
                        <a:pt x="99" y="185"/>
                      </a:lnTo>
                      <a:lnTo>
                        <a:pt x="101" y="183"/>
                      </a:lnTo>
                      <a:lnTo>
                        <a:pt x="104" y="18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4" name="Freeform 703">
                  <a:extLst>
                    <a:ext uri="{FF2B5EF4-FFF2-40B4-BE49-F238E27FC236}">
                      <a16:creationId xmlns:a16="http://schemas.microsoft.com/office/drawing/2014/main" id="{F7624C90-E404-594E-92DE-A4753476FE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1708" y="4255793"/>
                  <a:ext cx="182025" cy="315213"/>
                </a:xfrm>
                <a:custGeom>
                  <a:avLst/>
                  <a:gdLst>
                    <a:gd name="T0" fmla="*/ 2147483647 w 133"/>
                    <a:gd name="T1" fmla="*/ 2147483647 h 213"/>
                    <a:gd name="T2" fmla="*/ 0 w 133"/>
                    <a:gd name="T3" fmla="*/ 2147483647 h 213"/>
                    <a:gd name="T4" fmla="*/ 2147483647 w 133"/>
                    <a:gd name="T5" fmla="*/ 2147483647 h 213"/>
                    <a:gd name="T6" fmla="*/ 2147483647 w 133"/>
                    <a:gd name="T7" fmla="*/ 2147483647 h 213"/>
                    <a:gd name="T8" fmla="*/ 2147483647 w 133"/>
                    <a:gd name="T9" fmla="*/ 2147483647 h 213"/>
                    <a:gd name="T10" fmla="*/ 2147483647 w 133"/>
                    <a:gd name="T11" fmla="*/ 2147483647 h 213"/>
                    <a:gd name="T12" fmla="*/ 2147483647 w 133"/>
                    <a:gd name="T13" fmla="*/ 2147483647 h 213"/>
                    <a:gd name="T14" fmla="*/ 2147483647 w 133"/>
                    <a:gd name="T15" fmla="*/ 2147483647 h 213"/>
                    <a:gd name="T16" fmla="*/ 2147483647 w 133"/>
                    <a:gd name="T17" fmla="*/ 2147483647 h 213"/>
                    <a:gd name="T18" fmla="*/ 2147483647 w 133"/>
                    <a:gd name="T19" fmla="*/ 2147483647 h 213"/>
                    <a:gd name="T20" fmla="*/ 2147483647 w 133"/>
                    <a:gd name="T21" fmla="*/ 2147483647 h 213"/>
                    <a:gd name="T22" fmla="*/ 2147483647 w 133"/>
                    <a:gd name="T23" fmla="*/ 2147483647 h 213"/>
                    <a:gd name="T24" fmla="*/ 2147483647 w 133"/>
                    <a:gd name="T25" fmla="*/ 2147483647 h 213"/>
                    <a:gd name="T26" fmla="*/ 2147483647 w 133"/>
                    <a:gd name="T27" fmla="*/ 2147483647 h 213"/>
                    <a:gd name="T28" fmla="*/ 2147483647 w 133"/>
                    <a:gd name="T29" fmla="*/ 2147483647 h 213"/>
                    <a:gd name="T30" fmla="*/ 2147483647 w 133"/>
                    <a:gd name="T31" fmla="*/ 2147483647 h 213"/>
                    <a:gd name="T32" fmla="*/ 2147483647 w 133"/>
                    <a:gd name="T33" fmla="*/ 2147483647 h 213"/>
                    <a:gd name="T34" fmla="*/ 2147483647 w 133"/>
                    <a:gd name="T35" fmla="*/ 2147483647 h 213"/>
                    <a:gd name="T36" fmla="*/ 2147483647 w 133"/>
                    <a:gd name="T37" fmla="*/ 2147483647 h 213"/>
                    <a:gd name="T38" fmla="*/ 2147483647 w 133"/>
                    <a:gd name="T39" fmla="*/ 0 h 213"/>
                    <a:gd name="T40" fmla="*/ 2147483647 w 133"/>
                    <a:gd name="T41" fmla="*/ 2147483647 h 213"/>
                    <a:gd name="T42" fmla="*/ 2147483647 w 133"/>
                    <a:gd name="T43" fmla="*/ 2147483647 h 213"/>
                    <a:gd name="T44" fmla="*/ 2147483647 w 133"/>
                    <a:gd name="T45" fmla="*/ 2147483647 h 213"/>
                    <a:gd name="T46" fmla="*/ 2147483647 w 133"/>
                    <a:gd name="T47" fmla="*/ 2147483647 h 213"/>
                    <a:gd name="T48" fmla="*/ 2147483647 w 133"/>
                    <a:gd name="T49" fmla="*/ 2147483647 h 213"/>
                    <a:gd name="T50" fmla="*/ 2147483647 w 133"/>
                    <a:gd name="T51" fmla="*/ 2147483647 h 213"/>
                    <a:gd name="T52" fmla="*/ 2147483647 w 133"/>
                    <a:gd name="T53" fmla="*/ 2147483647 h 213"/>
                    <a:gd name="T54" fmla="*/ 2147483647 w 133"/>
                    <a:gd name="T55" fmla="*/ 2147483647 h 213"/>
                    <a:gd name="T56" fmla="*/ 2147483647 w 133"/>
                    <a:gd name="T57" fmla="*/ 2147483647 h 213"/>
                    <a:gd name="T58" fmla="*/ 2147483647 w 133"/>
                    <a:gd name="T59" fmla="*/ 2147483647 h 213"/>
                    <a:gd name="T60" fmla="*/ 2147483647 w 133"/>
                    <a:gd name="T61" fmla="*/ 2147483647 h 213"/>
                    <a:gd name="T62" fmla="*/ 2147483647 w 133"/>
                    <a:gd name="T63" fmla="*/ 2147483647 h 213"/>
                    <a:gd name="T64" fmla="*/ 2147483647 w 133"/>
                    <a:gd name="T65" fmla="*/ 2147483647 h 213"/>
                    <a:gd name="T66" fmla="*/ 2147483647 w 133"/>
                    <a:gd name="T67" fmla="*/ 2147483647 h 213"/>
                    <a:gd name="T68" fmla="*/ 2147483647 w 133"/>
                    <a:gd name="T69" fmla="*/ 2147483647 h 213"/>
                    <a:gd name="T70" fmla="*/ 2147483647 w 133"/>
                    <a:gd name="T71" fmla="*/ 2147483647 h 213"/>
                    <a:gd name="T72" fmla="*/ 2147483647 w 133"/>
                    <a:gd name="T73" fmla="*/ 2147483647 h 213"/>
                    <a:gd name="T74" fmla="*/ 2147483647 w 133"/>
                    <a:gd name="T75" fmla="*/ 2147483647 h 213"/>
                    <a:gd name="T76" fmla="*/ 2147483647 w 133"/>
                    <a:gd name="T77" fmla="*/ 2147483647 h 213"/>
                    <a:gd name="T78" fmla="*/ 2147483647 w 133"/>
                    <a:gd name="T79" fmla="*/ 2147483647 h 213"/>
                    <a:gd name="T80" fmla="*/ 2147483647 w 133"/>
                    <a:gd name="T81" fmla="*/ 2147483647 h 213"/>
                    <a:gd name="T82" fmla="*/ 2147483647 w 133"/>
                    <a:gd name="T83" fmla="*/ 2147483647 h 213"/>
                    <a:gd name="T84" fmla="*/ 2147483647 w 133"/>
                    <a:gd name="T85" fmla="*/ 2147483647 h 213"/>
                    <a:gd name="T86" fmla="*/ 2147483647 w 133"/>
                    <a:gd name="T87" fmla="*/ 2147483647 h 213"/>
                    <a:gd name="T88" fmla="*/ 2147483647 w 133"/>
                    <a:gd name="T89" fmla="*/ 2147483647 h 213"/>
                    <a:gd name="T90" fmla="*/ 2147483647 w 133"/>
                    <a:gd name="T91" fmla="*/ 2147483647 h 213"/>
                    <a:gd name="T92" fmla="*/ 2147483647 w 133"/>
                    <a:gd name="T93" fmla="*/ 2147483647 h 213"/>
                    <a:gd name="T94" fmla="*/ 2147483647 w 133"/>
                    <a:gd name="T95" fmla="*/ 2147483647 h 213"/>
                    <a:gd name="T96" fmla="*/ 2147483647 w 133"/>
                    <a:gd name="T97" fmla="*/ 2147483647 h 213"/>
                    <a:gd name="T98" fmla="*/ 2147483647 w 133"/>
                    <a:gd name="T99" fmla="*/ 2147483647 h 213"/>
                    <a:gd name="T100" fmla="*/ 2147483647 w 133"/>
                    <a:gd name="T101" fmla="*/ 2147483647 h 213"/>
                    <a:gd name="T102" fmla="*/ 2147483647 w 133"/>
                    <a:gd name="T103" fmla="*/ 2147483647 h 213"/>
                    <a:gd name="T104" fmla="*/ 2147483647 w 133"/>
                    <a:gd name="T105" fmla="*/ 2147483647 h 213"/>
                    <a:gd name="T106" fmla="*/ 2147483647 w 133"/>
                    <a:gd name="T107" fmla="*/ 2147483647 h 213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33"/>
                    <a:gd name="T163" fmla="*/ 0 h 213"/>
                    <a:gd name="T164" fmla="*/ 133 w 133"/>
                    <a:gd name="T165" fmla="*/ 213 h 213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33" h="213">
                      <a:moveTo>
                        <a:pt x="9" y="162"/>
                      </a:moveTo>
                      <a:lnTo>
                        <a:pt x="2" y="154"/>
                      </a:lnTo>
                      <a:lnTo>
                        <a:pt x="0" y="151"/>
                      </a:lnTo>
                      <a:lnTo>
                        <a:pt x="0" y="150"/>
                      </a:lnTo>
                      <a:lnTo>
                        <a:pt x="1" y="147"/>
                      </a:lnTo>
                      <a:lnTo>
                        <a:pt x="6" y="140"/>
                      </a:lnTo>
                      <a:lnTo>
                        <a:pt x="10" y="133"/>
                      </a:lnTo>
                      <a:lnTo>
                        <a:pt x="13" y="131"/>
                      </a:lnTo>
                      <a:lnTo>
                        <a:pt x="15" y="128"/>
                      </a:lnTo>
                      <a:lnTo>
                        <a:pt x="19" y="126"/>
                      </a:lnTo>
                      <a:lnTo>
                        <a:pt x="23" y="126"/>
                      </a:lnTo>
                      <a:lnTo>
                        <a:pt x="28" y="126"/>
                      </a:lnTo>
                      <a:lnTo>
                        <a:pt x="33" y="126"/>
                      </a:lnTo>
                      <a:lnTo>
                        <a:pt x="42" y="122"/>
                      </a:lnTo>
                      <a:lnTo>
                        <a:pt x="49" y="117"/>
                      </a:lnTo>
                      <a:lnTo>
                        <a:pt x="57" y="111"/>
                      </a:lnTo>
                      <a:lnTo>
                        <a:pt x="62" y="102"/>
                      </a:lnTo>
                      <a:lnTo>
                        <a:pt x="67" y="93"/>
                      </a:lnTo>
                      <a:lnTo>
                        <a:pt x="75" y="76"/>
                      </a:lnTo>
                      <a:lnTo>
                        <a:pt x="76" y="74"/>
                      </a:lnTo>
                      <a:lnTo>
                        <a:pt x="79" y="73"/>
                      </a:lnTo>
                      <a:lnTo>
                        <a:pt x="81" y="71"/>
                      </a:lnTo>
                      <a:lnTo>
                        <a:pt x="84" y="69"/>
                      </a:lnTo>
                      <a:lnTo>
                        <a:pt x="88" y="62"/>
                      </a:lnTo>
                      <a:lnTo>
                        <a:pt x="93" y="56"/>
                      </a:lnTo>
                      <a:lnTo>
                        <a:pt x="93" y="55"/>
                      </a:lnTo>
                      <a:lnTo>
                        <a:pt x="93" y="54"/>
                      </a:lnTo>
                      <a:lnTo>
                        <a:pt x="93" y="51"/>
                      </a:lnTo>
                      <a:lnTo>
                        <a:pt x="93" y="49"/>
                      </a:lnTo>
                      <a:lnTo>
                        <a:pt x="94" y="47"/>
                      </a:lnTo>
                      <a:lnTo>
                        <a:pt x="95" y="44"/>
                      </a:lnTo>
                      <a:lnTo>
                        <a:pt x="95" y="41"/>
                      </a:lnTo>
                      <a:lnTo>
                        <a:pt x="95" y="37"/>
                      </a:lnTo>
                      <a:lnTo>
                        <a:pt x="99" y="31"/>
                      </a:lnTo>
                      <a:lnTo>
                        <a:pt x="110" y="22"/>
                      </a:lnTo>
                      <a:lnTo>
                        <a:pt x="112" y="21"/>
                      </a:lnTo>
                      <a:lnTo>
                        <a:pt x="112" y="18"/>
                      </a:lnTo>
                      <a:lnTo>
                        <a:pt x="110" y="12"/>
                      </a:lnTo>
                      <a:lnTo>
                        <a:pt x="108" y="6"/>
                      </a:lnTo>
                      <a:lnTo>
                        <a:pt x="105" y="0"/>
                      </a:lnTo>
                      <a:lnTo>
                        <a:pt x="112" y="4"/>
                      </a:lnTo>
                      <a:lnTo>
                        <a:pt x="117" y="9"/>
                      </a:lnTo>
                      <a:lnTo>
                        <a:pt x="121" y="13"/>
                      </a:lnTo>
                      <a:lnTo>
                        <a:pt x="123" y="19"/>
                      </a:lnTo>
                      <a:lnTo>
                        <a:pt x="126" y="25"/>
                      </a:lnTo>
                      <a:lnTo>
                        <a:pt x="127" y="31"/>
                      </a:lnTo>
                      <a:lnTo>
                        <a:pt x="127" y="45"/>
                      </a:lnTo>
                      <a:lnTo>
                        <a:pt x="127" y="48"/>
                      </a:lnTo>
                      <a:lnTo>
                        <a:pt x="128" y="51"/>
                      </a:lnTo>
                      <a:lnTo>
                        <a:pt x="132" y="57"/>
                      </a:lnTo>
                      <a:lnTo>
                        <a:pt x="133" y="60"/>
                      </a:lnTo>
                      <a:lnTo>
                        <a:pt x="133" y="61"/>
                      </a:lnTo>
                      <a:lnTo>
                        <a:pt x="132" y="62"/>
                      </a:lnTo>
                      <a:lnTo>
                        <a:pt x="128" y="63"/>
                      </a:lnTo>
                      <a:lnTo>
                        <a:pt x="124" y="64"/>
                      </a:lnTo>
                      <a:lnTo>
                        <a:pt x="117" y="63"/>
                      </a:lnTo>
                      <a:lnTo>
                        <a:pt x="113" y="64"/>
                      </a:lnTo>
                      <a:lnTo>
                        <a:pt x="110" y="64"/>
                      </a:lnTo>
                      <a:lnTo>
                        <a:pt x="109" y="67"/>
                      </a:lnTo>
                      <a:lnTo>
                        <a:pt x="109" y="70"/>
                      </a:lnTo>
                      <a:lnTo>
                        <a:pt x="109" y="73"/>
                      </a:lnTo>
                      <a:lnTo>
                        <a:pt x="112" y="75"/>
                      </a:lnTo>
                      <a:lnTo>
                        <a:pt x="116" y="79"/>
                      </a:lnTo>
                      <a:lnTo>
                        <a:pt x="119" y="83"/>
                      </a:lnTo>
                      <a:lnTo>
                        <a:pt x="122" y="86"/>
                      </a:lnTo>
                      <a:lnTo>
                        <a:pt x="122" y="88"/>
                      </a:lnTo>
                      <a:lnTo>
                        <a:pt x="123" y="94"/>
                      </a:lnTo>
                      <a:lnTo>
                        <a:pt x="123" y="101"/>
                      </a:lnTo>
                      <a:lnTo>
                        <a:pt x="123" y="114"/>
                      </a:lnTo>
                      <a:lnTo>
                        <a:pt x="121" y="115"/>
                      </a:lnTo>
                      <a:lnTo>
                        <a:pt x="117" y="117"/>
                      </a:lnTo>
                      <a:lnTo>
                        <a:pt x="113" y="120"/>
                      </a:lnTo>
                      <a:lnTo>
                        <a:pt x="109" y="124"/>
                      </a:lnTo>
                      <a:lnTo>
                        <a:pt x="108" y="128"/>
                      </a:lnTo>
                      <a:lnTo>
                        <a:pt x="107" y="133"/>
                      </a:lnTo>
                      <a:lnTo>
                        <a:pt x="107" y="143"/>
                      </a:lnTo>
                      <a:lnTo>
                        <a:pt x="109" y="152"/>
                      </a:lnTo>
                      <a:lnTo>
                        <a:pt x="110" y="157"/>
                      </a:lnTo>
                      <a:lnTo>
                        <a:pt x="113" y="160"/>
                      </a:lnTo>
                      <a:lnTo>
                        <a:pt x="119" y="166"/>
                      </a:lnTo>
                      <a:lnTo>
                        <a:pt x="126" y="171"/>
                      </a:lnTo>
                      <a:lnTo>
                        <a:pt x="132" y="177"/>
                      </a:lnTo>
                      <a:lnTo>
                        <a:pt x="133" y="182"/>
                      </a:lnTo>
                      <a:lnTo>
                        <a:pt x="133" y="188"/>
                      </a:lnTo>
                      <a:lnTo>
                        <a:pt x="132" y="198"/>
                      </a:lnTo>
                      <a:lnTo>
                        <a:pt x="133" y="207"/>
                      </a:lnTo>
                      <a:lnTo>
                        <a:pt x="132" y="213"/>
                      </a:lnTo>
                      <a:lnTo>
                        <a:pt x="119" y="204"/>
                      </a:lnTo>
                      <a:lnTo>
                        <a:pt x="116" y="202"/>
                      </a:lnTo>
                      <a:lnTo>
                        <a:pt x="112" y="201"/>
                      </a:lnTo>
                      <a:lnTo>
                        <a:pt x="108" y="201"/>
                      </a:lnTo>
                      <a:lnTo>
                        <a:pt x="104" y="202"/>
                      </a:lnTo>
                      <a:lnTo>
                        <a:pt x="100" y="204"/>
                      </a:lnTo>
                      <a:lnTo>
                        <a:pt x="81" y="204"/>
                      </a:lnTo>
                      <a:lnTo>
                        <a:pt x="62" y="204"/>
                      </a:lnTo>
                      <a:lnTo>
                        <a:pt x="32" y="202"/>
                      </a:lnTo>
                      <a:lnTo>
                        <a:pt x="33" y="196"/>
                      </a:lnTo>
                      <a:lnTo>
                        <a:pt x="34" y="192"/>
                      </a:lnTo>
                      <a:lnTo>
                        <a:pt x="34" y="189"/>
                      </a:lnTo>
                      <a:lnTo>
                        <a:pt x="32" y="181"/>
                      </a:lnTo>
                      <a:lnTo>
                        <a:pt x="25" y="173"/>
                      </a:lnTo>
                      <a:lnTo>
                        <a:pt x="18" y="169"/>
                      </a:lnTo>
                      <a:lnTo>
                        <a:pt x="16" y="166"/>
                      </a:lnTo>
                      <a:lnTo>
                        <a:pt x="16" y="165"/>
                      </a:lnTo>
                      <a:lnTo>
                        <a:pt x="16" y="163"/>
                      </a:lnTo>
                      <a:lnTo>
                        <a:pt x="14" y="162"/>
                      </a:lnTo>
                      <a:lnTo>
                        <a:pt x="11" y="160"/>
                      </a:lnTo>
                      <a:lnTo>
                        <a:pt x="9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5" name="Freeform 704">
                  <a:extLst>
                    <a:ext uri="{FF2B5EF4-FFF2-40B4-BE49-F238E27FC236}">
                      <a16:creationId xmlns:a16="http://schemas.microsoft.com/office/drawing/2014/main" id="{B1712394-200F-C04E-ADF5-233089D7EA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764" y="3937624"/>
                  <a:ext cx="375888" cy="356649"/>
                </a:xfrm>
                <a:custGeom>
                  <a:avLst/>
                  <a:gdLst>
                    <a:gd name="T0" fmla="*/ 2147483647 w 275"/>
                    <a:gd name="T1" fmla="*/ 2147483647 h 241"/>
                    <a:gd name="T2" fmla="*/ 2147483647 w 275"/>
                    <a:gd name="T3" fmla="*/ 2147483647 h 241"/>
                    <a:gd name="T4" fmla="*/ 2147483647 w 275"/>
                    <a:gd name="T5" fmla="*/ 2147483647 h 241"/>
                    <a:gd name="T6" fmla="*/ 2147483647 w 275"/>
                    <a:gd name="T7" fmla="*/ 2147483647 h 241"/>
                    <a:gd name="T8" fmla="*/ 2147483647 w 275"/>
                    <a:gd name="T9" fmla="*/ 2147483647 h 241"/>
                    <a:gd name="T10" fmla="*/ 2147483647 w 275"/>
                    <a:gd name="T11" fmla="*/ 2147483647 h 241"/>
                    <a:gd name="T12" fmla="*/ 2147483647 w 275"/>
                    <a:gd name="T13" fmla="*/ 2147483647 h 241"/>
                    <a:gd name="T14" fmla="*/ 2147483647 w 275"/>
                    <a:gd name="T15" fmla="*/ 2147483647 h 241"/>
                    <a:gd name="T16" fmla="*/ 2147483647 w 275"/>
                    <a:gd name="T17" fmla="*/ 2147483647 h 241"/>
                    <a:gd name="T18" fmla="*/ 2147483647 w 275"/>
                    <a:gd name="T19" fmla="*/ 2147483647 h 241"/>
                    <a:gd name="T20" fmla="*/ 2147483647 w 275"/>
                    <a:gd name="T21" fmla="*/ 2147483647 h 241"/>
                    <a:gd name="T22" fmla="*/ 2147483647 w 275"/>
                    <a:gd name="T23" fmla="*/ 2147483647 h 241"/>
                    <a:gd name="T24" fmla="*/ 2147483647 w 275"/>
                    <a:gd name="T25" fmla="*/ 2147483647 h 241"/>
                    <a:gd name="T26" fmla="*/ 2147483647 w 275"/>
                    <a:gd name="T27" fmla="*/ 2147483647 h 241"/>
                    <a:gd name="T28" fmla="*/ 2147483647 w 275"/>
                    <a:gd name="T29" fmla="*/ 2147483647 h 241"/>
                    <a:gd name="T30" fmla="*/ 2147483647 w 275"/>
                    <a:gd name="T31" fmla="*/ 2147483647 h 241"/>
                    <a:gd name="T32" fmla="*/ 2147483647 w 275"/>
                    <a:gd name="T33" fmla="*/ 2147483647 h 241"/>
                    <a:gd name="T34" fmla="*/ 2147483647 w 275"/>
                    <a:gd name="T35" fmla="*/ 2147483647 h 241"/>
                    <a:gd name="T36" fmla="*/ 2147483647 w 275"/>
                    <a:gd name="T37" fmla="*/ 2147483647 h 241"/>
                    <a:gd name="T38" fmla="*/ 2147483647 w 275"/>
                    <a:gd name="T39" fmla="*/ 2147483647 h 241"/>
                    <a:gd name="T40" fmla="*/ 2147483647 w 275"/>
                    <a:gd name="T41" fmla="*/ 2147483647 h 241"/>
                    <a:gd name="T42" fmla="*/ 2147483647 w 275"/>
                    <a:gd name="T43" fmla="*/ 2147483647 h 241"/>
                    <a:gd name="T44" fmla="*/ 2147483647 w 275"/>
                    <a:gd name="T45" fmla="*/ 2147483647 h 241"/>
                    <a:gd name="T46" fmla="*/ 2147483647 w 275"/>
                    <a:gd name="T47" fmla="*/ 2147483647 h 241"/>
                    <a:gd name="T48" fmla="*/ 0 w 275"/>
                    <a:gd name="T49" fmla="*/ 2147483647 h 241"/>
                    <a:gd name="T50" fmla="*/ 2147483647 w 275"/>
                    <a:gd name="T51" fmla="*/ 2147483647 h 241"/>
                    <a:gd name="T52" fmla="*/ 2147483647 w 275"/>
                    <a:gd name="T53" fmla="*/ 2147483647 h 241"/>
                    <a:gd name="T54" fmla="*/ 2147483647 w 275"/>
                    <a:gd name="T55" fmla="*/ 2147483647 h 241"/>
                    <a:gd name="T56" fmla="*/ 2147483647 w 275"/>
                    <a:gd name="T57" fmla="*/ 2147483647 h 241"/>
                    <a:gd name="T58" fmla="*/ 2147483647 w 275"/>
                    <a:gd name="T59" fmla="*/ 2147483647 h 241"/>
                    <a:gd name="T60" fmla="*/ 2147483647 w 275"/>
                    <a:gd name="T61" fmla="*/ 2147483647 h 241"/>
                    <a:gd name="T62" fmla="*/ 2147483647 w 275"/>
                    <a:gd name="T63" fmla="*/ 2147483647 h 241"/>
                    <a:gd name="T64" fmla="*/ 2147483647 w 275"/>
                    <a:gd name="T65" fmla="*/ 2147483647 h 241"/>
                    <a:gd name="T66" fmla="*/ 2147483647 w 275"/>
                    <a:gd name="T67" fmla="*/ 2147483647 h 241"/>
                    <a:gd name="T68" fmla="*/ 2147483647 w 275"/>
                    <a:gd name="T69" fmla="*/ 2147483647 h 241"/>
                    <a:gd name="T70" fmla="*/ 2147483647 w 275"/>
                    <a:gd name="T71" fmla="*/ 2147483647 h 241"/>
                    <a:gd name="T72" fmla="*/ 2147483647 w 275"/>
                    <a:gd name="T73" fmla="*/ 2147483647 h 241"/>
                    <a:gd name="T74" fmla="*/ 2147483647 w 275"/>
                    <a:gd name="T75" fmla="*/ 2147483647 h 241"/>
                    <a:gd name="T76" fmla="*/ 2147483647 w 275"/>
                    <a:gd name="T77" fmla="*/ 2147483647 h 241"/>
                    <a:gd name="T78" fmla="*/ 2147483647 w 275"/>
                    <a:gd name="T79" fmla="*/ 2147483647 h 241"/>
                    <a:gd name="T80" fmla="*/ 2147483647 w 275"/>
                    <a:gd name="T81" fmla="*/ 2147483647 h 241"/>
                    <a:gd name="T82" fmla="*/ 2147483647 w 275"/>
                    <a:gd name="T83" fmla="*/ 2147483647 h 241"/>
                    <a:gd name="T84" fmla="*/ 2147483647 w 275"/>
                    <a:gd name="T85" fmla="*/ 2147483647 h 241"/>
                    <a:gd name="T86" fmla="*/ 2147483647 w 275"/>
                    <a:gd name="T87" fmla="*/ 2147483647 h 241"/>
                    <a:gd name="T88" fmla="*/ 2147483647 w 275"/>
                    <a:gd name="T89" fmla="*/ 2147483647 h 241"/>
                    <a:gd name="T90" fmla="*/ 2147483647 w 275"/>
                    <a:gd name="T91" fmla="*/ 2147483647 h 241"/>
                    <a:gd name="T92" fmla="*/ 2147483647 w 275"/>
                    <a:gd name="T93" fmla="*/ 2147483647 h 241"/>
                    <a:gd name="T94" fmla="*/ 2147483647 w 275"/>
                    <a:gd name="T95" fmla="*/ 2147483647 h 241"/>
                    <a:gd name="T96" fmla="*/ 2147483647 w 275"/>
                    <a:gd name="T97" fmla="*/ 2147483647 h 241"/>
                    <a:gd name="T98" fmla="*/ 2147483647 w 275"/>
                    <a:gd name="T99" fmla="*/ 2147483647 h 241"/>
                    <a:gd name="T100" fmla="*/ 2147483647 w 275"/>
                    <a:gd name="T101" fmla="*/ 2147483647 h 24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75"/>
                    <a:gd name="T154" fmla="*/ 0 h 241"/>
                    <a:gd name="T155" fmla="*/ 275 w 275"/>
                    <a:gd name="T156" fmla="*/ 241 h 241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75" h="241">
                      <a:moveTo>
                        <a:pt x="228" y="200"/>
                      </a:moveTo>
                      <a:lnTo>
                        <a:pt x="222" y="201"/>
                      </a:lnTo>
                      <a:lnTo>
                        <a:pt x="217" y="206"/>
                      </a:lnTo>
                      <a:lnTo>
                        <a:pt x="215" y="207"/>
                      </a:lnTo>
                      <a:lnTo>
                        <a:pt x="214" y="207"/>
                      </a:lnTo>
                      <a:lnTo>
                        <a:pt x="213" y="207"/>
                      </a:lnTo>
                      <a:lnTo>
                        <a:pt x="210" y="206"/>
                      </a:lnTo>
                      <a:lnTo>
                        <a:pt x="204" y="201"/>
                      </a:lnTo>
                      <a:lnTo>
                        <a:pt x="199" y="201"/>
                      </a:lnTo>
                      <a:lnTo>
                        <a:pt x="195" y="201"/>
                      </a:lnTo>
                      <a:lnTo>
                        <a:pt x="190" y="202"/>
                      </a:lnTo>
                      <a:lnTo>
                        <a:pt x="182" y="202"/>
                      </a:lnTo>
                      <a:lnTo>
                        <a:pt x="175" y="202"/>
                      </a:lnTo>
                      <a:lnTo>
                        <a:pt x="174" y="203"/>
                      </a:lnTo>
                      <a:lnTo>
                        <a:pt x="172" y="205"/>
                      </a:lnTo>
                      <a:lnTo>
                        <a:pt x="171" y="208"/>
                      </a:lnTo>
                      <a:lnTo>
                        <a:pt x="168" y="212"/>
                      </a:lnTo>
                      <a:lnTo>
                        <a:pt x="168" y="213"/>
                      </a:lnTo>
                      <a:lnTo>
                        <a:pt x="166" y="213"/>
                      </a:lnTo>
                      <a:lnTo>
                        <a:pt x="157" y="213"/>
                      </a:lnTo>
                      <a:lnTo>
                        <a:pt x="156" y="213"/>
                      </a:lnTo>
                      <a:lnTo>
                        <a:pt x="154" y="211"/>
                      </a:lnTo>
                      <a:lnTo>
                        <a:pt x="153" y="208"/>
                      </a:lnTo>
                      <a:lnTo>
                        <a:pt x="151" y="206"/>
                      </a:lnTo>
                      <a:lnTo>
                        <a:pt x="147" y="203"/>
                      </a:lnTo>
                      <a:lnTo>
                        <a:pt x="143" y="202"/>
                      </a:lnTo>
                      <a:lnTo>
                        <a:pt x="139" y="202"/>
                      </a:lnTo>
                      <a:lnTo>
                        <a:pt x="129" y="207"/>
                      </a:lnTo>
                      <a:lnTo>
                        <a:pt x="127" y="208"/>
                      </a:lnTo>
                      <a:lnTo>
                        <a:pt x="123" y="208"/>
                      </a:lnTo>
                      <a:lnTo>
                        <a:pt x="120" y="207"/>
                      </a:lnTo>
                      <a:lnTo>
                        <a:pt x="118" y="205"/>
                      </a:lnTo>
                      <a:lnTo>
                        <a:pt x="111" y="198"/>
                      </a:lnTo>
                      <a:lnTo>
                        <a:pt x="109" y="196"/>
                      </a:lnTo>
                      <a:lnTo>
                        <a:pt x="106" y="196"/>
                      </a:lnTo>
                      <a:lnTo>
                        <a:pt x="100" y="196"/>
                      </a:lnTo>
                      <a:lnTo>
                        <a:pt x="91" y="196"/>
                      </a:lnTo>
                      <a:lnTo>
                        <a:pt x="82" y="198"/>
                      </a:lnTo>
                      <a:lnTo>
                        <a:pt x="78" y="199"/>
                      </a:lnTo>
                      <a:lnTo>
                        <a:pt x="74" y="200"/>
                      </a:lnTo>
                      <a:lnTo>
                        <a:pt x="73" y="203"/>
                      </a:lnTo>
                      <a:lnTo>
                        <a:pt x="73" y="209"/>
                      </a:lnTo>
                      <a:lnTo>
                        <a:pt x="68" y="211"/>
                      </a:lnTo>
                      <a:lnTo>
                        <a:pt x="67" y="211"/>
                      </a:lnTo>
                      <a:lnTo>
                        <a:pt x="66" y="212"/>
                      </a:lnTo>
                      <a:lnTo>
                        <a:pt x="63" y="215"/>
                      </a:lnTo>
                      <a:lnTo>
                        <a:pt x="62" y="219"/>
                      </a:lnTo>
                      <a:lnTo>
                        <a:pt x="60" y="226"/>
                      </a:lnTo>
                      <a:lnTo>
                        <a:pt x="58" y="237"/>
                      </a:lnTo>
                      <a:lnTo>
                        <a:pt x="54" y="234"/>
                      </a:lnTo>
                      <a:lnTo>
                        <a:pt x="50" y="232"/>
                      </a:lnTo>
                      <a:lnTo>
                        <a:pt x="48" y="230"/>
                      </a:lnTo>
                      <a:lnTo>
                        <a:pt x="43" y="228"/>
                      </a:lnTo>
                      <a:lnTo>
                        <a:pt x="39" y="228"/>
                      </a:lnTo>
                      <a:lnTo>
                        <a:pt x="35" y="231"/>
                      </a:lnTo>
                      <a:lnTo>
                        <a:pt x="31" y="233"/>
                      </a:lnTo>
                      <a:lnTo>
                        <a:pt x="27" y="236"/>
                      </a:lnTo>
                      <a:lnTo>
                        <a:pt x="24" y="239"/>
                      </a:lnTo>
                      <a:lnTo>
                        <a:pt x="19" y="241"/>
                      </a:lnTo>
                      <a:lnTo>
                        <a:pt x="19" y="238"/>
                      </a:lnTo>
                      <a:lnTo>
                        <a:pt x="20" y="234"/>
                      </a:lnTo>
                      <a:lnTo>
                        <a:pt x="22" y="228"/>
                      </a:lnTo>
                      <a:lnTo>
                        <a:pt x="24" y="224"/>
                      </a:lnTo>
                      <a:lnTo>
                        <a:pt x="24" y="220"/>
                      </a:lnTo>
                      <a:lnTo>
                        <a:pt x="21" y="212"/>
                      </a:lnTo>
                      <a:lnTo>
                        <a:pt x="16" y="203"/>
                      </a:lnTo>
                      <a:lnTo>
                        <a:pt x="10" y="198"/>
                      </a:lnTo>
                      <a:lnTo>
                        <a:pt x="10" y="195"/>
                      </a:lnTo>
                      <a:lnTo>
                        <a:pt x="10" y="193"/>
                      </a:lnTo>
                      <a:lnTo>
                        <a:pt x="10" y="190"/>
                      </a:lnTo>
                      <a:lnTo>
                        <a:pt x="10" y="188"/>
                      </a:lnTo>
                      <a:lnTo>
                        <a:pt x="6" y="183"/>
                      </a:lnTo>
                      <a:lnTo>
                        <a:pt x="2" y="177"/>
                      </a:lnTo>
                      <a:lnTo>
                        <a:pt x="0" y="173"/>
                      </a:lnTo>
                      <a:lnTo>
                        <a:pt x="0" y="169"/>
                      </a:lnTo>
                      <a:lnTo>
                        <a:pt x="0" y="166"/>
                      </a:lnTo>
                      <a:lnTo>
                        <a:pt x="3" y="167"/>
                      </a:lnTo>
                      <a:lnTo>
                        <a:pt x="7" y="166"/>
                      </a:lnTo>
                      <a:lnTo>
                        <a:pt x="15" y="163"/>
                      </a:lnTo>
                      <a:lnTo>
                        <a:pt x="36" y="160"/>
                      </a:lnTo>
                      <a:lnTo>
                        <a:pt x="45" y="156"/>
                      </a:lnTo>
                      <a:lnTo>
                        <a:pt x="50" y="155"/>
                      </a:lnTo>
                      <a:lnTo>
                        <a:pt x="54" y="151"/>
                      </a:lnTo>
                      <a:lnTo>
                        <a:pt x="60" y="145"/>
                      </a:lnTo>
                      <a:lnTo>
                        <a:pt x="66" y="138"/>
                      </a:lnTo>
                      <a:lnTo>
                        <a:pt x="68" y="131"/>
                      </a:lnTo>
                      <a:lnTo>
                        <a:pt x="69" y="123"/>
                      </a:lnTo>
                      <a:lnTo>
                        <a:pt x="69" y="105"/>
                      </a:lnTo>
                      <a:lnTo>
                        <a:pt x="68" y="88"/>
                      </a:lnTo>
                      <a:lnTo>
                        <a:pt x="73" y="87"/>
                      </a:lnTo>
                      <a:lnTo>
                        <a:pt x="80" y="86"/>
                      </a:lnTo>
                      <a:lnTo>
                        <a:pt x="83" y="86"/>
                      </a:lnTo>
                      <a:lnTo>
                        <a:pt x="85" y="85"/>
                      </a:lnTo>
                      <a:lnTo>
                        <a:pt x="90" y="85"/>
                      </a:lnTo>
                      <a:lnTo>
                        <a:pt x="92" y="84"/>
                      </a:lnTo>
                      <a:lnTo>
                        <a:pt x="99" y="81"/>
                      </a:lnTo>
                      <a:lnTo>
                        <a:pt x="110" y="70"/>
                      </a:lnTo>
                      <a:lnTo>
                        <a:pt x="125" y="56"/>
                      </a:lnTo>
                      <a:lnTo>
                        <a:pt x="142" y="45"/>
                      </a:lnTo>
                      <a:lnTo>
                        <a:pt x="158" y="33"/>
                      </a:lnTo>
                      <a:lnTo>
                        <a:pt x="175" y="20"/>
                      </a:lnTo>
                      <a:lnTo>
                        <a:pt x="187" y="9"/>
                      </a:lnTo>
                      <a:lnTo>
                        <a:pt x="194" y="4"/>
                      </a:lnTo>
                      <a:lnTo>
                        <a:pt x="201" y="0"/>
                      </a:lnTo>
                      <a:lnTo>
                        <a:pt x="203" y="3"/>
                      </a:lnTo>
                      <a:lnTo>
                        <a:pt x="205" y="6"/>
                      </a:lnTo>
                      <a:lnTo>
                        <a:pt x="209" y="7"/>
                      </a:lnTo>
                      <a:lnTo>
                        <a:pt x="213" y="7"/>
                      </a:lnTo>
                      <a:lnTo>
                        <a:pt x="219" y="7"/>
                      </a:lnTo>
                      <a:lnTo>
                        <a:pt x="226" y="9"/>
                      </a:lnTo>
                      <a:lnTo>
                        <a:pt x="228" y="10"/>
                      </a:lnTo>
                      <a:lnTo>
                        <a:pt x="229" y="13"/>
                      </a:lnTo>
                      <a:lnTo>
                        <a:pt x="232" y="16"/>
                      </a:lnTo>
                      <a:lnTo>
                        <a:pt x="232" y="21"/>
                      </a:lnTo>
                      <a:lnTo>
                        <a:pt x="233" y="22"/>
                      </a:lnTo>
                      <a:lnTo>
                        <a:pt x="236" y="23"/>
                      </a:lnTo>
                      <a:lnTo>
                        <a:pt x="240" y="23"/>
                      </a:lnTo>
                      <a:lnTo>
                        <a:pt x="257" y="13"/>
                      </a:lnTo>
                      <a:lnTo>
                        <a:pt x="260" y="16"/>
                      </a:lnTo>
                      <a:lnTo>
                        <a:pt x="261" y="19"/>
                      </a:lnTo>
                      <a:lnTo>
                        <a:pt x="261" y="21"/>
                      </a:lnTo>
                      <a:lnTo>
                        <a:pt x="259" y="29"/>
                      </a:lnTo>
                      <a:lnTo>
                        <a:pt x="257" y="33"/>
                      </a:lnTo>
                      <a:lnTo>
                        <a:pt x="259" y="36"/>
                      </a:lnTo>
                      <a:lnTo>
                        <a:pt x="261" y="42"/>
                      </a:lnTo>
                      <a:lnTo>
                        <a:pt x="265" y="47"/>
                      </a:lnTo>
                      <a:lnTo>
                        <a:pt x="269" y="53"/>
                      </a:lnTo>
                      <a:lnTo>
                        <a:pt x="271" y="59"/>
                      </a:lnTo>
                      <a:lnTo>
                        <a:pt x="273" y="61"/>
                      </a:lnTo>
                      <a:lnTo>
                        <a:pt x="274" y="64"/>
                      </a:lnTo>
                      <a:lnTo>
                        <a:pt x="275" y="64"/>
                      </a:lnTo>
                      <a:lnTo>
                        <a:pt x="269" y="77"/>
                      </a:lnTo>
                      <a:lnTo>
                        <a:pt x="264" y="91"/>
                      </a:lnTo>
                      <a:lnTo>
                        <a:pt x="262" y="98"/>
                      </a:lnTo>
                      <a:lnTo>
                        <a:pt x="262" y="105"/>
                      </a:lnTo>
                      <a:lnTo>
                        <a:pt x="264" y="112"/>
                      </a:lnTo>
                      <a:lnTo>
                        <a:pt x="265" y="119"/>
                      </a:lnTo>
                      <a:lnTo>
                        <a:pt x="266" y="128"/>
                      </a:lnTo>
                      <a:lnTo>
                        <a:pt x="266" y="136"/>
                      </a:lnTo>
                      <a:lnTo>
                        <a:pt x="265" y="144"/>
                      </a:lnTo>
                      <a:lnTo>
                        <a:pt x="262" y="151"/>
                      </a:lnTo>
                      <a:lnTo>
                        <a:pt x="257" y="157"/>
                      </a:lnTo>
                      <a:lnTo>
                        <a:pt x="252" y="163"/>
                      </a:lnTo>
                      <a:lnTo>
                        <a:pt x="246" y="169"/>
                      </a:lnTo>
                      <a:lnTo>
                        <a:pt x="238" y="174"/>
                      </a:lnTo>
                      <a:lnTo>
                        <a:pt x="237" y="176"/>
                      </a:lnTo>
                      <a:lnTo>
                        <a:pt x="236" y="180"/>
                      </a:lnTo>
                      <a:lnTo>
                        <a:pt x="236" y="182"/>
                      </a:lnTo>
                      <a:lnTo>
                        <a:pt x="233" y="185"/>
                      </a:lnTo>
                      <a:lnTo>
                        <a:pt x="227" y="188"/>
                      </a:lnTo>
                      <a:lnTo>
                        <a:pt x="224" y="190"/>
                      </a:lnTo>
                      <a:lnTo>
                        <a:pt x="223" y="193"/>
                      </a:lnTo>
                      <a:lnTo>
                        <a:pt x="224" y="196"/>
                      </a:lnTo>
                      <a:lnTo>
                        <a:pt x="228" y="20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6" name="Freeform 705">
                  <a:extLst>
                    <a:ext uri="{FF2B5EF4-FFF2-40B4-BE49-F238E27FC236}">
                      <a16:creationId xmlns:a16="http://schemas.microsoft.com/office/drawing/2014/main" id="{AED0811C-25F5-7649-AE9B-64C8C428EA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9997" y="4226196"/>
                  <a:ext cx="312253" cy="341851"/>
                </a:xfrm>
                <a:custGeom>
                  <a:avLst/>
                  <a:gdLst>
                    <a:gd name="T0" fmla="*/ 2147483647 w 229"/>
                    <a:gd name="T1" fmla="*/ 2147483647 h 231"/>
                    <a:gd name="T2" fmla="*/ 2147483647 w 229"/>
                    <a:gd name="T3" fmla="*/ 2147483647 h 231"/>
                    <a:gd name="T4" fmla="*/ 2147483647 w 229"/>
                    <a:gd name="T5" fmla="*/ 2147483647 h 231"/>
                    <a:gd name="T6" fmla="*/ 2147483647 w 229"/>
                    <a:gd name="T7" fmla="*/ 2147483647 h 231"/>
                    <a:gd name="T8" fmla="*/ 2147483647 w 229"/>
                    <a:gd name="T9" fmla="*/ 2147483647 h 231"/>
                    <a:gd name="T10" fmla="*/ 2147483647 w 229"/>
                    <a:gd name="T11" fmla="*/ 2147483647 h 231"/>
                    <a:gd name="T12" fmla="*/ 2147483647 w 229"/>
                    <a:gd name="T13" fmla="*/ 2147483647 h 231"/>
                    <a:gd name="T14" fmla="*/ 2147483647 w 229"/>
                    <a:gd name="T15" fmla="*/ 2147483647 h 231"/>
                    <a:gd name="T16" fmla="*/ 2147483647 w 229"/>
                    <a:gd name="T17" fmla="*/ 2147483647 h 231"/>
                    <a:gd name="T18" fmla="*/ 2147483647 w 229"/>
                    <a:gd name="T19" fmla="*/ 2147483647 h 231"/>
                    <a:gd name="T20" fmla="*/ 2147483647 w 229"/>
                    <a:gd name="T21" fmla="*/ 2147483647 h 231"/>
                    <a:gd name="T22" fmla="*/ 2147483647 w 229"/>
                    <a:gd name="T23" fmla="*/ 2147483647 h 231"/>
                    <a:gd name="T24" fmla="*/ 2147483647 w 229"/>
                    <a:gd name="T25" fmla="*/ 2147483647 h 231"/>
                    <a:gd name="T26" fmla="*/ 2147483647 w 229"/>
                    <a:gd name="T27" fmla="*/ 2147483647 h 231"/>
                    <a:gd name="T28" fmla="*/ 2147483647 w 229"/>
                    <a:gd name="T29" fmla="*/ 2147483647 h 231"/>
                    <a:gd name="T30" fmla="*/ 2147483647 w 229"/>
                    <a:gd name="T31" fmla="*/ 2147483647 h 231"/>
                    <a:gd name="T32" fmla="*/ 2147483647 w 229"/>
                    <a:gd name="T33" fmla="*/ 2147483647 h 231"/>
                    <a:gd name="T34" fmla="*/ 2147483647 w 229"/>
                    <a:gd name="T35" fmla="*/ 2147483647 h 231"/>
                    <a:gd name="T36" fmla="*/ 2147483647 w 229"/>
                    <a:gd name="T37" fmla="*/ 2147483647 h 231"/>
                    <a:gd name="T38" fmla="*/ 2147483647 w 229"/>
                    <a:gd name="T39" fmla="*/ 2147483647 h 231"/>
                    <a:gd name="T40" fmla="*/ 2147483647 w 229"/>
                    <a:gd name="T41" fmla="*/ 0 h 231"/>
                    <a:gd name="T42" fmla="*/ 2147483647 w 229"/>
                    <a:gd name="T43" fmla="*/ 2147483647 h 231"/>
                    <a:gd name="T44" fmla="*/ 2147483647 w 229"/>
                    <a:gd name="T45" fmla="*/ 2147483647 h 231"/>
                    <a:gd name="T46" fmla="*/ 2147483647 w 229"/>
                    <a:gd name="T47" fmla="*/ 2147483647 h 231"/>
                    <a:gd name="T48" fmla="*/ 2147483647 w 229"/>
                    <a:gd name="T49" fmla="*/ 2147483647 h 231"/>
                    <a:gd name="T50" fmla="*/ 2147483647 w 229"/>
                    <a:gd name="T51" fmla="*/ 2147483647 h 231"/>
                    <a:gd name="T52" fmla="*/ 2147483647 w 229"/>
                    <a:gd name="T53" fmla="*/ 2147483647 h 231"/>
                    <a:gd name="T54" fmla="*/ 2147483647 w 229"/>
                    <a:gd name="T55" fmla="*/ 2147483647 h 231"/>
                    <a:gd name="T56" fmla="*/ 2147483647 w 229"/>
                    <a:gd name="T57" fmla="*/ 2147483647 h 231"/>
                    <a:gd name="T58" fmla="*/ 2147483647 w 229"/>
                    <a:gd name="T59" fmla="*/ 2147483647 h 231"/>
                    <a:gd name="T60" fmla="*/ 2147483647 w 229"/>
                    <a:gd name="T61" fmla="*/ 2147483647 h 231"/>
                    <a:gd name="T62" fmla="*/ 2147483647 w 229"/>
                    <a:gd name="T63" fmla="*/ 2147483647 h 231"/>
                    <a:gd name="T64" fmla="*/ 2147483647 w 229"/>
                    <a:gd name="T65" fmla="*/ 2147483647 h 231"/>
                    <a:gd name="T66" fmla="*/ 2147483647 w 229"/>
                    <a:gd name="T67" fmla="*/ 2147483647 h 231"/>
                    <a:gd name="T68" fmla="*/ 2147483647 w 229"/>
                    <a:gd name="T69" fmla="*/ 2147483647 h 231"/>
                    <a:gd name="T70" fmla="*/ 2147483647 w 229"/>
                    <a:gd name="T71" fmla="*/ 2147483647 h 231"/>
                    <a:gd name="T72" fmla="*/ 2147483647 w 229"/>
                    <a:gd name="T73" fmla="*/ 2147483647 h 231"/>
                    <a:gd name="T74" fmla="*/ 2147483647 w 229"/>
                    <a:gd name="T75" fmla="*/ 2147483647 h 231"/>
                    <a:gd name="T76" fmla="*/ 2147483647 w 229"/>
                    <a:gd name="T77" fmla="*/ 2147483647 h 231"/>
                    <a:gd name="T78" fmla="*/ 2147483647 w 229"/>
                    <a:gd name="T79" fmla="*/ 2147483647 h 231"/>
                    <a:gd name="T80" fmla="*/ 2147483647 w 229"/>
                    <a:gd name="T81" fmla="*/ 2147483647 h 231"/>
                    <a:gd name="T82" fmla="*/ 2147483647 w 229"/>
                    <a:gd name="T83" fmla="*/ 2147483647 h 231"/>
                    <a:gd name="T84" fmla="*/ 2147483647 w 229"/>
                    <a:gd name="T85" fmla="*/ 2147483647 h 231"/>
                    <a:gd name="T86" fmla="*/ 2147483647 w 229"/>
                    <a:gd name="T87" fmla="*/ 2147483647 h 231"/>
                    <a:gd name="T88" fmla="*/ 2147483647 w 229"/>
                    <a:gd name="T89" fmla="*/ 2147483647 h 231"/>
                    <a:gd name="T90" fmla="*/ 2147483647 w 229"/>
                    <a:gd name="T91" fmla="*/ 2147483647 h 231"/>
                    <a:gd name="T92" fmla="*/ 2147483647 w 229"/>
                    <a:gd name="T93" fmla="*/ 2147483647 h 231"/>
                    <a:gd name="T94" fmla="*/ 2147483647 w 229"/>
                    <a:gd name="T95" fmla="*/ 2147483647 h 231"/>
                    <a:gd name="T96" fmla="*/ 2147483647 w 229"/>
                    <a:gd name="T97" fmla="*/ 2147483647 h 231"/>
                    <a:gd name="T98" fmla="*/ 2147483647 w 229"/>
                    <a:gd name="T99" fmla="*/ 2147483647 h 231"/>
                    <a:gd name="T100" fmla="*/ 2147483647 w 229"/>
                    <a:gd name="T101" fmla="*/ 2147483647 h 231"/>
                    <a:gd name="T102" fmla="*/ 2147483647 w 229"/>
                    <a:gd name="T103" fmla="*/ 2147483647 h 231"/>
                    <a:gd name="T104" fmla="*/ 2147483647 w 229"/>
                    <a:gd name="T105" fmla="*/ 2147483647 h 231"/>
                    <a:gd name="T106" fmla="*/ 2147483647 w 229"/>
                    <a:gd name="T107" fmla="*/ 2147483647 h 231"/>
                    <a:gd name="T108" fmla="*/ 2147483647 w 229"/>
                    <a:gd name="T109" fmla="*/ 2147483647 h 231"/>
                    <a:gd name="T110" fmla="*/ 2147483647 w 229"/>
                    <a:gd name="T111" fmla="*/ 2147483647 h 231"/>
                    <a:gd name="T112" fmla="*/ 2147483647 w 229"/>
                    <a:gd name="T113" fmla="*/ 2147483647 h 231"/>
                    <a:gd name="T114" fmla="*/ 2147483647 w 229"/>
                    <a:gd name="T115" fmla="*/ 2147483647 h 231"/>
                    <a:gd name="T116" fmla="*/ 2147483647 w 229"/>
                    <a:gd name="T117" fmla="*/ 2147483647 h 231"/>
                    <a:gd name="T118" fmla="*/ 2147483647 w 229"/>
                    <a:gd name="T119" fmla="*/ 2147483647 h 231"/>
                    <a:gd name="T120" fmla="*/ 2147483647 w 229"/>
                    <a:gd name="T121" fmla="*/ 2147483647 h 231"/>
                    <a:gd name="T122" fmla="*/ 2147483647 w 229"/>
                    <a:gd name="T123" fmla="*/ 2147483647 h 23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29"/>
                    <a:gd name="T187" fmla="*/ 0 h 231"/>
                    <a:gd name="T188" fmla="*/ 229 w 229"/>
                    <a:gd name="T189" fmla="*/ 231 h 23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29" h="231">
                      <a:moveTo>
                        <a:pt x="105" y="180"/>
                      </a:moveTo>
                      <a:lnTo>
                        <a:pt x="105" y="180"/>
                      </a:lnTo>
                      <a:lnTo>
                        <a:pt x="98" y="173"/>
                      </a:lnTo>
                      <a:lnTo>
                        <a:pt x="96" y="170"/>
                      </a:lnTo>
                      <a:lnTo>
                        <a:pt x="96" y="169"/>
                      </a:lnTo>
                      <a:lnTo>
                        <a:pt x="97" y="166"/>
                      </a:lnTo>
                      <a:lnTo>
                        <a:pt x="102" y="159"/>
                      </a:lnTo>
                      <a:lnTo>
                        <a:pt x="106" y="152"/>
                      </a:lnTo>
                      <a:lnTo>
                        <a:pt x="108" y="150"/>
                      </a:lnTo>
                      <a:lnTo>
                        <a:pt x="111" y="147"/>
                      </a:lnTo>
                      <a:lnTo>
                        <a:pt x="115" y="145"/>
                      </a:lnTo>
                      <a:lnTo>
                        <a:pt x="119" y="145"/>
                      </a:lnTo>
                      <a:lnTo>
                        <a:pt x="124" y="145"/>
                      </a:lnTo>
                      <a:lnTo>
                        <a:pt x="129" y="145"/>
                      </a:lnTo>
                      <a:lnTo>
                        <a:pt x="138" y="141"/>
                      </a:lnTo>
                      <a:lnTo>
                        <a:pt x="145" y="135"/>
                      </a:lnTo>
                      <a:lnTo>
                        <a:pt x="153" y="129"/>
                      </a:lnTo>
                      <a:lnTo>
                        <a:pt x="158" y="121"/>
                      </a:lnTo>
                      <a:lnTo>
                        <a:pt x="163" y="112"/>
                      </a:lnTo>
                      <a:lnTo>
                        <a:pt x="171" y="95"/>
                      </a:lnTo>
                      <a:lnTo>
                        <a:pt x="172" y="93"/>
                      </a:lnTo>
                      <a:lnTo>
                        <a:pt x="174" y="91"/>
                      </a:lnTo>
                      <a:lnTo>
                        <a:pt x="177" y="90"/>
                      </a:lnTo>
                      <a:lnTo>
                        <a:pt x="179" y="88"/>
                      </a:lnTo>
                      <a:lnTo>
                        <a:pt x="183" y="81"/>
                      </a:lnTo>
                      <a:lnTo>
                        <a:pt x="188" y="75"/>
                      </a:lnTo>
                      <a:lnTo>
                        <a:pt x="188" y="74"/>
                      </a:lnTo>
                      <a:lnTo>
                        <a:pt x="188" y="73"/>
                      </a:lnTo>
                      <a:lnTo>
                        <a:pt x="188" y="70"/>
                      </a:lnTo>
                      <a:lnTo>
                        <a:pt x="188" y="68"/>
                      </a:lnTo>
                      <a:lnTo>
                        <a:pt x="190" y="65"/>
                      </a:lnTo>
                      <a:lnTo>
                        <a:pt x="191" y="63"/>
                      </a:lnTo>
                      <a:lnTo>
                        <a:pt x="191" y="59"/>
                      </a:lnTo>
                      <a:lnTo>
                        <a:pt x="191" y="56"/>
                      </a:lnTo>
                      <a:lnTo>
                        <a:pt x="195" y="50"/>
                      </a:lnTo>
                      <a:lnTo>
                        <a:pt x="206" y="41"/>
                      </a:lnTo>
                      <a:lnTo>
                        <a:pt x="207" y="39"/>
                      </a:lnTo>
                      <a:lnTo>
                        <a:pt x="207" y="37"/>
                      </a:lnTo>
                      <a:lnTo>
                        <a:pt x="206" y="31"/>
                      </a:lnTo>
                      <a:lnTo>
                        <a:pt x="204" y="25"/>
                      </a:lnTo>
                      <a:lnTo>
                        <a:pt x="201" y="19"/>
                      </a:lnTo>
                      <a:lnTo>
                        <a:pt x="197" y="18"/>
                      </a:lnTo>
                      <a:lnTo>
                        <a:pt x="197" y="17"/>
                      </a:lnTo>
                      <a:lnTo>
                        <a:pt x="197" y="16"/>
                      </a:lnTo>
                      <a:lnTo>
                        <a:pt x="199" y="12"/>
                      </a:lnTo>
                      <a:lnTo>
                        <a:pt x="199" y="8"/>
                      </a:lnTo>
                      <a:lnTo>
                        <a:pt x="196" y="6"/>
                      </a:lnTo>
                      <a:lnTo>
                        <a:pt x="193" y="4"/>
                      </a:lnTo>
                      <a:lnTo>
                        <a:pt x="190" y="4"/>
                      </a:lnTo>
                      <a:lnTo>
                        <a:pt x="186" y="4"/>
                      </a:lnTo>
                      <a:lnTo>
                        <a:pt x="179" y="5"/>
                      </a:lnTo>
                      <a:lnTo>
                        <a:pt x="174" y="10"/>
                      </a:lnTo>
                      <a:lnTo>
                        <a:pt x="173" y="11"/>
                      </a:lnTo>
                      <a:lnTo>
                        <a:pt x="172" y="11"/>
                      </a:lnTo>
                      <a:lnTo>
                        <a:pt x="171" y="11"/>
                      </a:lnTo>
                      <a:lnTo>
                        <a:pt x="168" y="10"/>
                      </a:lnTo>
                      <a:lnTo>
                        <a:pt x="162" y="5"/>
                      </a:lnTo>
                      <a:lnTo>
                        <a:pt x="157" y="5"/>
                      </a:lnTo>
                      <a:lnTo>
                        <a:pt x="153" y="5"/>
                      </a:lnTo>
                      <a:lnTo>
                        <a:pt x="148" y="6"/>
                      </a:lnTo>
                      <a:lnTo>
                        <a:pt x="140" y="6"/>
                      </a:lnTo>
                      <a:lnTo>
                        <a:pt x="133" y="6"/>
                      </a:lnTo>
                      <a:lnTo>
                        <a:pt x="131" y="7"/>
                      </a:lnTo>
                      <a:lnTo>
                        <a:pt x="130" y="8"/>
                      </a:lnTo>
                      <a:lnTo>
                        <a:pt x="129" y="12"/>
                      </a:lnTo>
                      <a:lnTo>
                        <a:pt x="126" y="16"/>
                      </a:lnTo>
                      <a:lnTo>
                        <a:pt x="126" y="17"/>
                      </a:lnTo>
                      <a:lnTo>
                        <a:pt x="124" y="17"/>
                      </a:lnTo>
                      <a:lnTo>
                        <a:pt x="115" y="17"/>
                      </a:lnTo>
                      <a:lnTo>
                        <a:pt x="113" y="17"/>
                      </a:lnTo>
                      <a:lnTo>
                        <a:pt x="112" y="14"/>
                      </a:lnTo>
                      <a:lnTo>
                        <a:pt x="111" y="12"/>
                      </a:lnTo>
                      <a:lnTo>
                        <a:pt x="108" y="10"/>
                      </a:lnTo>
                      <a:lnTo>
                        <a:pt x="105" y="7"/>
                      </a:lnTo>
                      <a:lnTo>
                        <a:pt x="101" y="6"/>
                      </a:lnTo>
                      <a:lnTo>
                        <a:pt x="97" y="6"/>
                      </a:lnTo>
                      <a:lnTo>
                        <a:pt x="87" y="11"/>
                      </a:lnTo>
                      <a:lnTo>
                        <a:pt x="84" y="12"/>
                      </a:lnTo>
                      <a:lnTo>
                        <a:pt x="80" y="12"/>
                      </a:lnTo>
                      <a:lnTo>
                        <a:pt x="78" y="11"/>
                      </a:lnTo>
                      <a:lnTo>
                        <a:pt x="75" y="8"/>
                      </a:lnTo>
                      <a:lnTo>
                        <a:pt x="69" y="1"/>
                      </a:lnTo>
                      <a:lnTo>
                        <a:pt x="66" y="0"/>
                      </a:lnTo>
                      <a:lnTo>
                        <a:pt x="64" y="0"/>
                      </a:lnTo>
                      <a:lnTo>
                        <a:pt x="58" y="0"/>
                      </a:lnTo>
                      <a:lnTo>
                        <a:pt x="49" y="0"/>
                      </a:lnTo>
                      <a:lnTo>
                        <a:pt x="40" y="1"/>
                      </a:lnTo>
                      <a:lnTo>
                        <a:pt x="36" y="3"/>
                      </a:lnTo>
                      <a:lnTo>
                        <a:pt x="32" y="4"/>
                      </a:lnTo>
                      <a:lnTo>
                        <a:pt x="31" y="7"/>
                      </a:lnTo>
                      <a:lnTo>
                        <a:pt x="31" y="13"/>
                      </a:lnTo>
                      <a:lnTo>
                        <a:pt x="26" y="14"/>
                      </a:lnTo>
                      <a:lnTo>
                        <a:pt x="25" y="14"/>
                      </a:lnTo>
                      <a:lnTo>
                        <a:pt x="23" y="16"/>
                      </a:lnTo>
                      <a:lnTo>
                        <a:pt x="21" y="19"/>
                      </a:lnTo>
                      <a:lnTo>
                        <a:pt x="19" y="23"/>
                      </a:lnTo>
                      <a:lnTo>
                        <a:pt x="18" y="30"/>
                      </a:lnTo>
                      <a:lnTo>
                        <a:pt x="16" y="41"/>
                      </a:lnTo>
                      <a:lnTo>
                        <a:pt x="14" y="52"/>
                      </a:lnTo>
                      <a:lnTo>
                        <a:pt x="14" y="71"/>
                      </a:lnTo>
                      <a:lnTo>
                        <a:pt x="14" y="81"/>
                      </a:lnTo>
                      <a:lnTo>
                        <a:pt x="12" y="89"/>
                      </a:lnTo>
                      <a:lnTo>
                        <a:pt x="11" y="94"/>
                      </a:lnTo>
                      <a:lnTo>
                        <a:pt x="7" y="99"/>
                      </a:lnTo>
                      <a:lnTo>
                        <a:pt x="4" y="102"/>
                      </a:lnTo>
                      <a:lnTo>
                        <a:pt x="2" y="107"/>
                      </a:lnTo>
                      <a:lnTo>
                        <a:pt x="0" y="118"/>
                      </a:lnTo>
                      <a:lnTo>
                        <a:pt x="0" y="128"/>
                      </a:lnTo>
                      <a:lnTo>
                        <a:pt x="3" y="150"/>
                      </a:lnTo>
                      <a:lnTo>
                        <a:pt x="8" y="148"/>
                      </a:lnTo>
                      <a:lnTo>
                        <a:pt x="22" y="146"/>
                      </a:lnTo>
                      <a:lnTo>
                        <a:pt x="28" y="146"/>
                      </a:lnTo>
                      <a:lnTo>
                        <a:pt x="35" y="148"/>
                      </a:lnTo>
                      <a:lnTo>
                        <a:pt x="37" y="150"/>
                      </a:lnTo>
                      <a:lnTo>
                        <a:pt x="41" y="153"/>
                      </a:lnTo>
                      <a:lnTo>
                        <a:pt x="45" y="160"/>
                      </a:lnTo>
                      <a:lnTo>
                        <a:pt x="50" y="177"/>
                      </a:lnTo>
                      <a:lnTo>
                        <a:pt x="53" y="182"/>
                      </a:lnTo>
                      <a:lnTo>
                        <a:pt x="54" y="184"/>
                      </a:lnTo>
                      <a:lnTo>
                        <a:pt x="56" y="185"/>
                      </a:lnTo>
                      <a:lnTo>
                        <a:pt x="63" y="185"/>
                      </a:lnTo>
                      <a:lnTo>
                        <a:pt x="68" y="185"/>
                      </a:lnTo>
                      <a:lnTo>
                        <a:pt x="74" y="185"/>
                      </a:lnTo>
                      <a:lnTo>
                        <a:pt x="78" y="185"/>
                      </a:lnTo>
                      <a:lnTo>
                        <a:pt x="80" y="186"/>
                      </a:lnTo>
                      <a:lnTo>
                        <a:pt x="84" y="188"/>
                      </a:lnTo>
                      <a:lnTo>
                        <a:pt x="87" y="186"/>
                      </a:lnTo>
                      <a:lnTo>
                        <a:pt x="89" y="185"/>
                      </a:lnTo>
                      <a:lnTo>
                        <a:pt x="93" y="185"/>
                      </a:lnTo>
                      <a:lnTo>
                        <a:pt x="97" y="186"/>
                      </a:lnTo>
                      <a:lnTo>
                        <a:pt x="98" y="186"/>
                      </a:lnTo>
                      <a:lnTo>
                        <a:pt x="99" y="185"/>
                      </a:lnTo>
                      <a:lnTo>
                        <a:pt x="102" y="183"/>
                      </a:lnTo>
                      <a:lnTo>
                        <a:pt x="105" y="180"/>
                      </a:lnTo>
                      <a:lnTo>
                        <a:pt x="98" y="173"/>
                      </a:lnTo>
                      <a:lnTo>
                        <a:pt x="96" y="170"/>
                      </a:lnTo>
                      <a:lnTo>
                        <a:pt x="96" y="169"/>
                      </a:lnTo>
                      <a:lnTo>
                        <a:pt x="97" y="166"/>
                      </a:lnTo>
                      <a:lnTo>
                        <a:pt x="102" y="159"/>
                      </a:lnTo>
                      <a:lnTo>
                        <a:pt x="106" y="152"/>
                      </a:lnTo>
                      <a:lnTo>
                        <a:pt x="108" y="150"/>
                      </a:lnTo>
                      <a:lnTo>
                        <a:pt x="111" y="147"/>
                      </a:lnTo>
                      <a:lnTo>
                        <a:pt x="115" y="145"/>
                      </a:lnTo>
                      <a:lnTo>
                        <a:pt x="119" y="145"/>
                      </a:lnTo>
                      <a:lnTo>
                        <a:pt x="124" y="145"/>
                      </a:lnTo>
                      <a:lnTo>
                        <a:pt x="129" y="145"/>
                      </a:lnTo>
                      <a:lnTo>
                        <a:pt x="138" y="141"/>
                      </a:lnTo>
                      <a:lnTo>
                        <a:pt x="145" y="135"/>
                      </a:lnTo>
                      <a:lnTo>
                        <a:pt x="153" y="129"/>
                      </a:lnTo>
                      <a:lnTo>
                        <a:pt x="158" y="121"/>
                      </a:lnTo>
                      <a:lnTo>
                        <a:pt x="163" y="112"/>
                      </a:lnTo>
                      <a:lnTo>
                        <a:pt x="171" y="95"/>
                      </a:lnTo>
                      <a:lnTo>
                        <a:pt x="172" y="93"/>
                      </a:lnTo>
                      <a:lnTo>
                        <a:pt x="174" y="91"/>
                      </a:lnTo>
                      <a:lnTo>
                        <a:pt x="177" y="90"/>
                      </a:lnTo>
                      <a:lnTo>
                        <a:pt x="179" y="88"/>
                      </a:lnTo>
                      <a:lnTo>
                        <a:pt x="183" y="81"/>
                      </a:lnTo>
                      <a:lnTo>
                        <a:pt x="188" y="75"/>
                      </a:lnTo>
                      <a:lnTo>
                        <a:pt x="188" y="74"/>
                      </a:lnTo>
                      <a:lnTo>
                        <a:pt x="188" y="73"/>
                      </a:lnTo>
                      <a:lnTo>
                        <a:pt x="188" y="70"/>
                      </a:lnTo>
                      <a:lnTo>
                        <a:pt x="188" y="68"/>
                      </a:lnTo>
                      <a:lnTo>
                        <a:pt x="190" y="65"/>
                      </a:lnTo>
                      <a:lnTo>
                        <a:pt x="191" y="63"/>
                      </a:lnTo>
                      <a:lnTo>
                        <a:pt x="191" y="59"/>
                      </a:lnTo>
                      <a:lnTo>
                        <a:pt x="191" y="56"/>
                      </a:lnTo>
                      <a:lnTo>
                        <a:pt x="195" y="50"/>
                      </a:lnTo>
                      <a:lnTo>
                        <a:pt x="206" y="41"/>
                      </a:lnTo>
                      <a:lnTo>
                        <a:pt x="207" y="39"/>
                      </a:lnTo>
                      <a:lnTo>
                        <a:pt x="207" y="37"/>
                      </a:lnTo>
                      <a:lnTo>
                        <a:pt x="206" y="31"/>
                      </a:lnTo>
                      <a:lnTo>
                        <a:pt x="204" y="25"/>
                      </a:lnTo>
                      <a:lnTo>
                        <a:pt x="201" y="19"/>
                      </a:lnTo>
                      <a:lnTo>
                        <a:pt x="207" y="23"/>
                      </a:lnTo>
                      <a:lnTo>
                        <a:pt x="213" y="27"/>
                      </a:lnTo>
                      <a:lnTo>
                        <a:pt x="216" y="32"/>
                      </a:lnTo>
                      <a:lnTo>
                        <a:pt x="219" y="38"/>
                      </a:lnTo>
                      <a:lnTo>
                        <a:pt x="221" y="44"/>
                      </a:lnTo>
                      <a:lnTo>
                        <a:pt x="223" y="50"/>
                      </a:lnTo>
                      <a:lnTo>
                        <a:pt x="223" y="64"/>
                      </a:lnTo>
                      <a:lnTo>
                        <a:pt x="223" y="67"/>
                      </a:lnTo>
                      <a:lnTo>
                        <a:pt x="224" y="70"/>
                      </a:lnTo>
                      <a:lnTo>
                        <a:pt x="228" y="76"/>
                      </a:lnTo>
                      <a:lnTo>
                        <a:pt x="229" y="78"/>
                      </a:lnTo>
                      <a:lnTo>
                        <a:pt x="229" y="80"/>
                      </a:lnTo>
                      <a:lnTo>
                        <a:pt x="228" y="81"/>
                      </a:lnTo>
                      <a:lnTo>
                        <a:pt x="224" y="82"/>
                      </a:lnTo>
                      <a:lnTo>
                        <a:pt x="220" y="83"/>
                      </a:lnTo>
                      <a:lnTo>
                        <a:pt x="213" y="82"/>
                      </a:lnTo>
                      <a:lnTo>
                        <a:pt x="209" y="83"/>
                      </a:lnTo>
                      <a:lnTo>
                        <a:pt x="206" y="83"/>
                      </a:lnTo>
                      <a:lnTo>
                        <a:pt x="205" y="86"/>
                      </a:lnTo>
                      <a:lnTo>
                        <a:pt x="205" y="89"/>
                      </a:lnTo>
                      <a:lnTo>
                        <a:pt x="205" y="91"/>
                      </a:lnTo>
                      <a:lnTo>
                        <a:pt x="207" y="94"/>
                      </a:lnTo>
                      <a:lnTo>
                        <a:pt x="211" y="97"/>
                      </a:lnTo>
                      <a:lnTo>
                        <a:pt x="215" y="102"/>
                      </a:lnTo>
                      <a:lnTo>
                        <a:pt x="218" y="105"/>
                      </a:lnTo>
                      <a:lnTo>
                        <a:pt x="218" y="107"/>
                      </a:lnTo>
                      <a:lnTo>
                        <a:pt x="219" y="113"/>
                      </a:lnTo>
                      <a:lnTo>
                        <a:pt x="219" y="120"/>
                      </a:lnTo>
                      <a:lnTo>
                        <a:pt x="219" y="133"/>
                      </a:lnTo>
                      <a:lnTo>
                        <a:pt x="216" y="134"/>
                      </a:lnTo>
                      <a:lnTo>
                        <a:pt x="213" y="135"/>
                      </a:lnTo>
                      <a:lnTo>
                        <a:pt x="209" y="139"/>
                      </a:lnTo>
                      <a:lnTo>
                        <a:pt x="205" y="142"/>
                      </a:lnTo>
                      <a:lnTo>
                        <a:pt x="204" y="147"/>
                      </a:lnTo>
                      <a:lnTo>
                        <a:pt x="202" y="152"/>
                      </a:lnTo>
                      <a:lnTo>
                        <a:pt x="202" y="161"/>
                      </a:lnTo>
                      <a:lnTo>
                        <a:pt x="205" y="171"/>
                      </a:lnTo>
                      <a:lnTo>
                        <a:pt x="206" y="176"/>
                      </a:lnTo>
                      <a:lnTo>
                        <a:pt x="209" y="179"/>
                      </a:lnTo>
                      <a:lnTo>
                        <a:pt x="215" y="185"/>
                      </a:lnTo>
                      <a:lnTo>
                        <a:pt x="221" y="190"/>
                      </a:lnTo>
                      <a:lnTo>
                        <a:pt x="228" y="196"/>
                      </a:lnTo>
                      <a:lnTo>
                        <a:pt x="229" y="201"/>
                      </a:lnTo>
                      <a:lnTo>
                        <a:pt x="229" y="206"/>
                      </a:lnTo>
                      <a:lnTo>
                        <a:pt x="228" y="217"/>
                      </a:lnTo>
                      <a:lnTo>
                        <a:pt x="229" y="225"/>
                      </a:lnTo>
                      <a:lnTo>
                        <a:pt x="228" y="231"/>
                      </a:lnTo>
                      <a:lnTo>
                        <a:pt x="215" y="223"/>
                      </a:lnTo>
                      <a:lnTo>
                        <a:pt x="211" y="221"/>
                      </a:lnTo>
                      <a:lnTo>
                        <a:pt x="207" y="220"/>
                      </a:lnTo>
                      <a:lnTo>
                        <a:pt x="204" y="220"/>
                      </a:lnTo>
                      <a:lnTo>
                        <a:pt x="200" y="221"/>
                      </a:lnTo>
                      <a:lnTo>
                        <a:pt x="196" y="223"/>
                      </a:lnTo>
                      <a:lnTo>
                        <a:pt x="177" y="223"/>
                      </a:lnTo>
                      <a:lnTo>
                        <a:pt x="158" y="223"/>
                      </a:lnTo>
                      <a:lnTo>
                        <a:pt x="127" y="221"/>
                      </a:lnTo>
                      <a:lnTo>
                        <a:pt x="129" y="215"/>
                      </a:lnTo>
                      <a:lnTo>
                        <a:pt x="130" y="211"/>
                      </a:lnTo>
                      <a:lnTo>
                        <a:pt x="130" y="208"/>
                      </a:lnTo>
                      <a:lnTo>
                        <a:pt x="127" y="199"/>
                      </a:lnTo>
                      <a:lnTo>
                        <a:pt x="121" y="192"/>
                      </a:lnTo>
                      <a:lnTo>
                        <a:pt x="113" y="188"/>
                      </a:lnTo>
                      <a:lnTo>
                        <a:pt x="112" y="185"/>
                      </a:lnTo>
                      <a:lnTo>
                        <a:pt x="112" y="184"/>
                      </a:lnTo>
                      <a:lnTo>
                        <a:pt x="112" y="182"/>
                      </a:lnTo>
                      <a:lnTo>
                        <a:pt x="110" y="180"/>
                      </a:lnTo>
                      <a:lnTo>
                        <a:pt x="107" y="179"/>
                      </a:lnTo>
                      <a:lnTo>
                        <a:pt x="105" y="18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7" name="Freeform 706">
                  <a:extLst>
                    <a:ext uri="{FF2B5EF4-FFF2-40B4-BE49-F238E27FC236}">
                      <a16:creationId xmlns:a16="http://schemas.microsoft.com/office/drawing/2014/main" id="{70EE1E01-FF76-5545-8E87-21710CEBDC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0801" y="3934664"/>
                  <a:ext cx="377367" cy="358129"/>
                </a:xfrm>
                <a:custGeom>
                  <a:avLst/>
                  <a:gdLst>
                    <a:gd name="T0" fmla="*/ 2147483647 w 276"/>
                    <a:gd name="T1" fmla="*/ 2147483647 h 242"/>
                    <a:gd name="T2" fmla="*/ 2147483647 w 276"/>
                    <a:gd name="T3" fmla="*/ 2147483647 h 242"/>
                    <a:gd name="T4" fmla="*/ 2147483647 w 276"/>
                    <a:gd name="T5" fmla="*/ 2147483647 h 242"/>
                    <a:gd name="T6" fmla="*/ 2147483647 w 276"/>
                    <a:gd name="T7" fmla="*/ 2147483647 h 242"/>
                    <a:gd name="T8" fmla="*/ 2147483647 w 276"/>
                    <a:gd name="T9" fmla="*/ 2147483647 h 242"/>
                    <a:gd name="T10" fmla="*/ 2147483647 w 276"/>
                    <a:gd name="T11" fmla="*/ 2147483647 h 242"/>
                    <a:gd name="T12" fmla="*/ 2147483647 w 276"/>
                    <a:gd name="T13" fmla="*/ 2147483647 h 242"/>
                    <a:gd name="T14" fmla="*/ 2147483647 w 276"/>
                    <a:gd name="T15" fmla="*/ 2147483647 h 242"/>
                    <a:gd name="T16" fmla="*/ 2147483647 w 276"/>
                    <a:gd name="T17" fmla="*/ 2147483647 h 242"/>
                    <a:gd name="T18" fmla="*/ 2147483647 w 276"/>
                    <a:gd name="T19" fmla="*/ 2147483647 h 242"/>
                    <a:gd name="T20" fmla="*/ 2147483647 w 276"/>
                    <a:gd name="T21" fmla="*/ 2147483647 h 242"/>
                    <a:gd name="T22" fmla="*/ 2147483647 w 276"/>
                    <a:gd name="T23" fmla="*/ 2147483647 h 242"/>
                    <a:gd name="T24" fmla="*/ 2147483647 w 276"/>
                    <a:gd name="T25" fmla="*/ 2147483647 h 242"/>
                    <a:gd name="T26" fmla="*/ 2147483647 w 276"/>
                    <a:gd name="T27" fmla="*/ 2147483647 h 242"/>
                    <a:gd name="T28" fmla="*/ 2147483647 w 276"/>
                    <a:gd name="T29" fmla="*/ 2147483647 h 242"/>
                    <a:gd name="T30" fmla="*/ 2147483647 w 276"/>
                    <a:gd name="T31" fmla="*/ 2147483647 h 242"/>
                    <a:gd name="T32" fmla="*/ 2147483647 w 276"/>
                    <a:gd name="T33" fmla="*/ 2147483647 h 242"/>
                    <a:gd name="T34" fmla="*/ 2147483647 w 276"/>
                    <a:gd name="T35" fmla="*/ 2147483647 h 242"/>
                    <a:gd name="T36" fmla="*/ 2147483647 w 276"/>
                    <a:gd name="T37" fmla="*/ 2147483647 h 242"/>
                    <a:gd name="T38" fmla="*/ 2147483647 w 276"/>
                    <a:gd name="T39" fmla="*/ 2147483647 h 242"/>
                    <a:gd name="T40" fmla="*/ 2147483647 w 276"/>
                    <a:gd name="T41" fmla="*/ 2147483647 h 242"/>
                    <a:gd name="T42" fmla="*/ 2147483647 w 276"/>
                    <a:gd name="T43" fmla="*/ 2147483647 h 242"/>
                    <a:gd name="T44" fmla="*/ 2147483647 w 276"/>
                    <a:gd name="T45" fmla="*/ 2147483647 h 242"/>
                    <a:gd name="T46" fmla="*/ 0 w 276"/>
                    <a:gd name="T47" fmla="*/ 2147483647 h 242"/>
                    <a:gd name="T48" fmla="*/ 2147483647 w 276"/>
                    <a:gd name="T49" fmla="*/ 2147483647 h 242"/>
                    <a:gd name="T50" fmla="*/ 2147483647 w 276"/>
                    <a:gd name="T51" fmla="*/ 2147483647 h 242"/>
                    <a:gd name="T52" fmla="*/ 2147483647 w 276"/>
                    <a:gd name="T53" fmla="*/ 2147483647 h 242"/>
                    <a:gd name="T54" fmla="*/ 2147483647 w 276"/>
                    <a:gd name="T55" fmla="*/ 2147483647 h 242"/>
                    <a:gd name="T56" fmla="*/ 2147483647 w 276"/>
                    <a:gd name="T57" fmla="*/ 2147483647 h 242"/>
                    <a:gd name="T58" fmla="*/ 2147483647 w 276"/>
                    <a:gd name="T59" fmla="*/ 2147483647 h 242"/>
                    <a:gd name="T60" fmla="*/ 2147483647 w 276"/>
                    <a:gd name="T61" fmla="*/ 2147483647 h 242"/>
                    <a:gd name="T62" fmla="*/ 2147483647 w 276"/>
                    <a:gd name="T63" fmla="*/ 2147483647 h 242"/>
                    <a:gd name="T64" fmla="*/ 2147483647 w 276"/>
                    <a:gd name="T65" fmla="*/ 2147483647 h 242"/>
                    <a:gd name="T66" fmla="*/ 2147483647 w 276"/>
                    <a:gd name="T67" fmla="*/ 2147483647 h 242"/>
                    <a:gd name="T68" fmla="*/ 2147483647 w 276"/>
                    <a:gd name="T69" fmla="*/ 2147483647 h 242"/>
                    <a:gd name="T70" fmla="*/ 2147483647 w 276"/>
                    <a:gd name="T71" fmla="*/ 2147483647 h 242"/>
                    <a:gd name="T72" fmla="*/ 2147483647 w 276"/>
                    <a:gd name="T73" fmla="*/ 2147483647 h 242"/>
                    <a:gd name="T74" fmla="*/ 2147483647 w 276"/>
                    <a:gd name="T75" fmla="*/ 2147483647 h 242"/>
                    <a:gd name="T76" fmla="*/ 2147483647 w 276"/>
                    <a:gd name="T77" fmla="*/ 2147483647 h 242"/>
                    <a:gd name="T78" fmla="*/ 2147483647 w 276"/>
                    <a:gd name="T79" fmla="*/ 2147483647 h 242"/>
                    <a:gd name="T80" fmla="*/ 2147483647 w 276"/>
                    <a:gd name="T81" fmla="*/ 2147483647 h 242"/>
                    <a:gd name="T82" fmla="*/ 2147483647 w 276"/>
                    <a:gd name="T83" fmla="*/ 2147483647 h 242"/>
                    <a:gd name="T84" fmla="*/ 2147483647 w 276"/>
                    <a:gd name="T85" fmla="*/ 2147483647 h 242"/>
                    <a:gd name="T86" fmla="*/ 2147483647 w 276"/>
                    <a:gd name="T87" fmla="*/ 2147483647 h 242"/>
                    <a:gd name="T88" fmla="*/ 2147483647 w 276"/>
                    <a:gd name="T89" fmla="*/ 2147483647 h 242"/>
                    <a:gd name="T90" fmla="*/ 2147483647 w 276"/>
                    <a:gd name="T91" fmla="*/ 2147483647 h 242"/>
                    <a:gd name="T92" fmla="*/ 2147483647 w 276"/>
                    <a:gd name="T93" fmla="*/ 2147483647 h 242"/>
                    <a:gd name="T94" fmla="*/ 2147483647 w 276"/>
                    <a:gd name="T95" fmla="*/ 2147483647 h 242"/>
                    <a:gd name="T96" fmla="*/ 2147483647 w 276"/>
                    <a:gd name="T97" fmla="*/ 2147483647 h 24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76"/>
                    <a:gd name="T148" fmla="*/ 0 h 242"/>
                    <a:gd name="T149" fmla="*/ 276 w 276"/>
                    <a:gd name="T150" fmla="*/ 242 h 24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76" h="242">
                      <a:moveTo>
                        <a:pt x="229" y="201"/>
                      </a:moveTo>
                      <a:lnTo>
                        <a:pt x="229" y="201"/>
                      </a:lnTo>
                      <a:lnTo>
                        <a:pt x="222" y="202"/>
                      </a:lnTo>
                      <a:lnTo>
                        <a:pt x="217" y="207"/>
                      </a:lnTo>
                      <a:lnTo>
                        <a:pt x="216" y="208"/>
                      </a:lnTo>
                      <a:lnTo>
                        <a:pt x="215" y="208"/>
                      </a:lnTo>
                      <a:lnTo>
                        <a:pt x="214" y="208"/>
                      </a:lnTo>
                      <a:lnTo>
                        <a:pt x="211" y="207"/>
                      </a:lnTo>
                      <a:lnTo>
                        <a:pt x="205" y="202"/>
                      </a:lnTo>
                      <a:lnTo>
                        <a:pt x="200" y="202"/>
                      </a:lnTo>
                      <a:lnTo>
                        <a:pt x="196" y="202"/>
                      </a:lnTo>
                      <a:lnTo>
                        <a:pt x="191" y="203"/>
                      </a:lnTo>
                      <a:lnTo>
                        <a:pt x="183" y="203"/>
                      </a:lnTo>
                      <a:lnTo>
                        <a:pt x="176" y="203"/>
                      </a:lnTo>
                      <a:lnTo>
                        <a:pt x="174" y="204"/>
                      </a:lnTo>
                      <a:lnTo>
                        <a:pt x="173" y="205"/>
                      </a:lnTo>
                      <a:lnTo>
                        <a:pt x="172" y="209"/>
                      </a:lnTo>
                      <a:lnTo>
                        <a:pt x="169" y="213"/>
                      </a:lnTo>
                      <a:lnTo>
                        <a:pt x="169" y="214"/>
                      </a:lnTo>
                      <a:lnTo>
                        <a:pt x="167" y="214"/>
                      </a:lnTo>
                      <a:lnTo>
                        <a:pt x="158" y="214"/>
                      </a:lnTo>
                      <a:lnTo>
                        <a:pt x="156" y="214"/>
                      </a:lnTo>
                      <a:lnTo>
                        <a:pt x="155" y="211"/>
                      </a:lnTo>
                      <a:lnTo>
                        <a:pt x="154" y="209"/>
                      </a:lnTo>
                      <a:lnTo>
                        <a:pt x="151" y="207"/>
                      </a:lnTo>
                      <a:lnTo>
                        <a:pt x="148" y="204"/>
                      </a:lnTo>
                      <a:lnTo>
                        <a:pt x="144" y="203"/>
                      </a:lnTo>
                      <a:lnTo>
                        <a:pt x="140" y="203"/>
                      </a:lnTo>
                      <a:lnTo>
                        <a:pt x="130" y="208"/>
                      </a:lnTo>
                      <a:lnTo>
                        <a:pt x="127" y="209"/>
                      </a:lnTo>
                      <a:lnTo>
                        <a:pt x="123" y="209"/>
                      </a:lnTo>
                      <a:lnTo>
                        <a:pt x="121" y="208"/>
                      </a:lnTo>
                      <a:lnTo>
                        <a:pt x="118" y="205"/>
                      </a:lnTo>
                      <a:lnTo>
                        <a:pt x="112" y="198"/>
                      </a:lnTo>
                      <a:lnTo>
                        <a:pt x="109" y="197"/>
                      </a:lnTo>
                      <a:lnTo>
                        <a:pt x="107" y="197"/>
                      </a:lnTo>
                      <a:lnTo>
                        <a:pt x="101" y="197"/>
                      </a:lnTo>
                      <a:lnTo>
                        <a:pt x="92" y="197"/>
                      </a:lnTo>
                      <a:lnTo>
                        <a:pt x="83" y="198"/>
                      </a:lnTo>
                      <a:lnTo>
                        <a:pt x="79" y="200"/>
                      </a:lnTo>
                      <a:lnTo>
                        <a:pt x="75" y="201"/>
                      </a:lnTo>
                      <a:lnTo>
                        <a:pt x="74" y="204"/>
                      </a:lnTo>
                      <a:lnTo>
                        <a:pt x="74" y="210"/>
                      </a:lnTo>
                      <a:lnTo>
                        <a:pt x="69" y="211"/>
                      </a:lnTo>
                      <a:lnTo>
                        <a:pt x="68" y="211"/>
                      </a:lnTo>
                      <a:lnTo>
                        <a:pt x="66" y="213"/>
                      </a:lnTo>
                      <a:lnTo>
                        <a:pt x="64" y="216"/>
                      </a:lnTo>
                      <a:lnTo>
                        <a:pt x="62" y="220"/>
                      </a:lnTo>
                      <a:lnTo>
                        <a:pt x="61" y="227"/>
                      </a:lnTo>
                      <a:lnTo>
                        <a:pt x="59" y="238"/>
                      </a:lnTo>
                      <a:lnTo>
                        <a:pt x="55" y="235"/>
                      </a:lnTo>
                      <a:lnTo>
                        <a:pt x="51" y="233"/>
                      </a:lnTo>
                      <a:lnTo>
                        <a:pt x="49" y="230"/>
                      </a:lnTo>
                      <a:lnTo>
                        <a:pt x="43" y="229"/>
                      </a:lnTo>
                      <a:lnTo>
                        <a:pt x="40" y="229"/>
                      </a:lnTo>
                      <a:lnTo>
                        <a:pt x="36" y="232"/>
                      </a:lnTo>
                      <a:lnTo>
                        <a:pt x="32" y="234"/>
                      </a:lnTo>
                      <a:lnTo>
                        <a:pt x="28" y="236"/>
                      </a:lnTo>
                      <a:lnTo>
                        <a:pt x="24" y="240"/>
                      </a:lnTo>
                      <a:lnTo>
                        <a:pt x="19" y="242"/>
                      </a:lnTo>
                      <a:lnTo>
                        <a:pt x="19" y="239"/>
                      </a:lnTo>
                      <a:lnTo>
                        <a:pt x="21" y="235"/>
                      </a:lnTo>
                      <a:lnTo>
                        <a:pt x="23" y="229"/>
                      </a:lnTo>
                      <a:lnTo>
                        <a:pt x="24" y="224"/>
                      </a:lnTo>
                      <a:lnTo>
                        <a:pt x="24" y="221"/>
                      </a:lnTo>
                      <a:lnTo>
                        <a:pt x="22" y="213"/>
                      </a:lnTo>
                      <a:lnTo>
                        <a:pt x="17" y="204"/>
                      </a:lnTo>
                      <a:lnTo>
                        <a:pt x="10" y="198"/>
                      </a:lnTo>
                      <a:lnTo>
                        <a:pt x="10" y="196"/>
                      </a:lnTo>
                      <a:lnTo>
                        <a:pt x="10" y="194"/>
                      </a:lnTo>
                      <a:lnTo>
                        <a:pt x="10" y="191"/>
                      </a:lnTo>
                      <a:lnTo>
                        <a:pt x="10" y="189"/>
                      </a:lnTo>
                      <a:lnTo>
                        <a:pt x="7" y="184"/>
                      </a:lnTo>
                      <a:lnTo>
                        <a:pt x="3" y="178"/>
                      </a:lnTo>
                      <a:lnTo>
                        <a:pt x="0" y="173"/>
                      </a:lnTo>
                      <a:lnTo>
                        <a:pt x="0" y="170"/>
                      </a:lnTo>
                      <a:lnTo>
                        <a:pt x="0" y="166"/>
                      </a:lnTo>
                      <a:lnTo>
                        <a:pt x="4" y="168"/>
                      </a:lnTo>
                      <a:lnTo>
                        <a:pt x="8" y="166"/>
                      </a:lnTo>
                      <a:lnTo>
                        <a:pt x="16" y="164"/>
                      </a:lnTo>
                      <a:lnTo>
                        <a:pt x="37" y="160"/>
                      </a:lnTo>
                      <a:lnTo>
                        <a:pt x="46" y="157"/>
                      </a:lnTo>
                      <a:lnTo>
                        <a:pt x="51" y="156"/>
                      </a:lnTo>
                      <a:lnTo>
                        <a:pt x="55" y="152"/>
                      </a:lnTo>
                      <a:lnTo>
                        <a:pt x="61" y="146"/>
                      </a:lnTo>
                      <a:lnTo>
                        <a:pt x="66" y="139"/>
                      </a:lnTo>
                      <a:lnTo>
                        <a:pt x="69" y="132"/>
                      </a:lnTo>
                      <a:lnTo>
                        <a:pt x="70" y="124"/>
                      </a:lnTo>
                      <a:lnTo>
                        <a:pt x="70" y="106"/>
                      </a:lnTo>
                      <a:lnTo>
                        <a:pt x="69" y="89"/>
                      </a:lnTo>
                      <a:lnTo>
                        <a:pt x="74" y="88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85" y="86"/>
                      </a:lnTo>
                      <a:lnTo>
                        <a:pt x="90" y="86"/>
                      </a:lnTo>
                      <a:lnTo>
                        <a:pt x="93" y="85"/>
                      </a:lnTo>
                      <a:lnTo>
                        <a:pt x="99" y="82"/>
                      </a:lnTo>
                      <a:lnTo>
                        <a:pt x="111" y="70"/>
                      </a:lnTo>
                      <a:lnTo>
                        <a:pt x="126" y="57"/>
                      </a:lnTo>
                      <a:lnTo>
                        <a:pt x="142" y="45"/>
                      </a:lnTo>
                      <a:lnTo>
                        <a:pt x="159" y="34"/>
                      </a:lnTo>
                      <a:lnTo>
                        <a:pt x="176" y="21"/>
                      </a:lnTo>
                      <a:lnTo>
                        <a:pt x="188" y="10"/>
                      </a:lnTo>
                      <a:lnTo>
                        <a:pt x="195" y="5"/>
                      </a:lnTo>
                      <a:lnTo>
                        <a:pt x="202" y="0"/>
                      </a:lnTo>
                      <a:lnTo>
                        <a:pt x="203" y="4"/>
                      </a:lnTo>
                      <a:lnTo>
                        <a:pt x="206" y="6"/>
                      </a:lnTo>
                      <a:lnTo>
                        <a:pt x="210" y="8"/>
                      </a:lnTo>
                      <a:lnTo>
                        <a:pt x="214" y="8"/>
                      </a:lnTo>
                      <a:lnTo>
                        <a:pt x="220" y="8"/>
                      </a:lnTo>
                      <a:lnTo>
                        <a:pt x="226" y="10"/>
                      </a:lnTo>
                      <a:lnTo>
                        <a:pt x="229" y="11"/>
                      </a:lnTo>
                      <a:lnTo>
                        <a:pt x="230" y="13"/>
                      </a:lnTo>
                      <a:lnTo>
                        <a:pt x="233" y="17"/>
                      </a:lnTo>
                      <a:lnTo>
                        <a:pt x="233" y="22"/>
                      </a:lnTo>
                      <a:lnTo>
                        <a:pt x="234" y="23"/>
                      </a:lnTo>
                      <a:lnTo>
                        <a:pt x="236" y="24"/>
                      </a:lnTo>
                      <a:lnTo>
                        <a:pt x="240" y="24"/>
                      </a:lnTo>
                      <a:lnTo>
                        <a:pt x="258" y="13"/>
                      </a:lnTo>
                      <a:lnTo>
                        <a:pt x="261" y="17"/>
                      </a:lnTo>
                      <a:lnTo>
                        <a:pt x="262" y="19"/>
                      </a:lnTo>
                      <a:lnTo>
                        <a:pt x="262" y="22"/>
                      </a:lnTo>
                      <a:lnTo>
                        <a:pt x="259" y="30"/>
                      </a:lnTo>
                      <a:lnTo>
                        <a:pt x="258" y="34"/>
                      </a:lnTo>
                      <a:lnTo>
                        <a:pt x="259" y="37"/>
                      </a:lnTo>
                      <a:lnTo>
                        <a:pt x="262" y="43"/>
                      </a:lnTo>
                      <a:lnTo>
                        <a:pt x="266" y="48"/>
                      </a:lnTo>
                      <a:lnTo>
                        <a:pt x="269" y="54"/>
                      </a:lnTo>
                      <a:lnTo>
                        <a:pt x="272" y="60"/>
                      </a:lnTo>
                      <a:lnTo>
                        <a:pt x="273" y="62"/>
                      </a:lnTo>
                      <a:lnTo>
                        <a:pt x="275" y="64"/>
                      </a:lnTo>
                      <a:lnTo>
                        <a:pt x="276" y="64"/>
                      </a:lnTo>
                      <a:lnTo>
                        <a:pt x="269" y="77"/>
                      </a:lnTo>
                      <a:lnTo>
                        <a:pt x="264" y="92"/>
                      </a:lnTo>
                      <a:lnTo>
                        <a:pt x="263" y="99"/>
                      </a:lnTo>
                      <a:lnTo>
                        <a:pt x="263" y="106"/>
                      </a:lnTo>
                      <a:lnTo>
                        <a:pt x="264" y="113"/>
                      </a:lnTo>
                      <a:lnTo>
                        <a:pt x="266" y="120"/>
                      </a:lnTo>
                      <a:lnTo>
                        <a:pt x="267" y="128"/>
                      </a:lnTo>
                      <a:lnTo>
                        <a:pt x="267" y="137"/>
                      </a:lnTo>
                      <a:lnTo>
                        <a:pt x="266" y="145"/>
                      </a:lnTo>
                      <a:lnTo>
                        <a:pt x="263" y="152"/>
                      </a:lnTo>
                      <a:lnTo>
                        <a:pt x="258" y="158"/>
                      </a:lnTo>
                      <a:lnTo>
                        <a:pt x="253" y="164"/>
                      </a:lnTo>
                      <a:lnTo>
                        <a:pt x="247" y="170"/>
                      </a:lnTo>
                      <a:lnTo>
                        <a:pt x="239" y="175"/>
                      </a:lnTo>
                      <a:lnTo>
                        <a:pt x="238" y="177"/>
                      </a:lnTo>
                      <a:lnTo>
                        <a:pt x="236" y="181"/>
                      </a:lnTo>
                      <a:lnTo>
                        <a:pt x="236" y="183"/>
                      </a:lnTo>
                      <a:lnTo>
                        <a:pt x="234" y="185"/>
                      </a:lnTo>
                      <a:lnTo>
                        <a:pt x="228" y="189"/>
                      </a:lnTo>
                      <a:lnTo>
                        <a:pt x="225" y="191"/>
                      </a:lnTo>
                      <a:lnTo>
                        <a:pt x="224" y="194"/>
                      </a:lnTo>
                      <a:lnTo>
                        <a:pt x="225" y="197"/>
                      </a:lnTo>
                      <a:lnTo>
                        <a:pt x="229" y="20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8" name="Freeform 707">
                  <a:extLst>
                    <a:ext uri="{FF2B5EF4-FFF2-40B4-BE49-F238E27FC236}">
                      <a16:creationId xmlns:a16="http://schemas.microsoft.com/office/drawing/2014/main" id="{A519F007-4ACE-B443-9425-DA1170BA82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8615" y="3937624"/>
                  <a:ext cx="276736" cy="486877"/>
                </a:xfrm>
                <a:custGeom>
                  <a:avLst/>
                  <a:gdLst>
                    <a:gd name="T0" fmla="*/ 2147483647 w 203"/>
                    <a:gd name="T1" fmla="*/ 2147483647 h 329"/>
                    <a:gd name="T2" fmla="*/ 2147483647 w 203"/>
                    <a:gd name="T3" fmla="*/ 2147483647 h 329"/>
                    <a:gd name="T4" fmla="*/ 2147483647 w 203"/>
                    <a:gd name="T5" fmla="*/ 2147483647 h 329"/>
                    <a:gd name="T6" fmla="*/ 2147483647 w 203"/>
                    <a:gd name="T7" fmla="*/ 2147483647 h 329"/>
                    <a:gd name="T8" fmla="*/ 2147483647 w 203"/>
                    <a:gd name="T9" fmla="*/ 2147483647 h 329"/>
                    <a:gd name="T10" fmla="*/ 2147483647 w 203"/>
                    <a:gd name="T11" fmla="*/ 2147483647 h 329"/>
                    <a:gd name="T12" fmla="*/ 2147483647 w 203"/>
                    <a:gd name="T13" fmla="*/ 2147483647 h 329"/>
                    <a:gd name="T14" fmla="*/ 2147483647 w 203"/>
                    <a:gd name="T15" fmla="*/ 2147483647 h 329"/>
                    <a:gd name="T16" fmla="*/ 2147483647 w 203"/>
                    <a:gd name="T17" fmla="*/ 2147483647 h 329"/>
                    <a:gd name="T18" fmla="*/ 2147483647 w 203"/>
                    <a:gd name="T19" fmla="*/ 2147483647 h 329"/>
                    <a:gd name="T20" fmla="*/ 2147483647 w 203"/>
                    <a:gd name="T21" fmla="*/ 2147483647 h 329"/>
                    <a:gd name="T22" fmla="*/ 2147483647 w 203"/>
                    <a:gd name="T23" fmla="*/ 2147483647 h 329"/>
                    <a:gd name="T24" fmla="*/ 2147483647 w 203"/>
                    <a:gd name="T25" fmla="*/ 2147483647 h 329"/>
                    <a:gd name="T26" fmla="*/ 2147483647 w 203"/>
                    <a:gd name="T27" fmla="*/ 2147483647 h 329"/>
                    <a:gd name="T28" fmla="*/ 2147483647 w 203"/>
                    <a:gd name="T29" fmla="*/ 2147483647 h 329"/>
                    <a:gd name="T30" fmla="*/ 2147483647 w 203"/>
                    <a:gd name="T31" fmla="*/ 2147483647 h 329"/>
                    <a:gd name="T32" fmla="*/ 2147483647 w 203"/>
                    <a:gd name="T33" fmla="*/ 2147483647 h 329"/>
                    <a:gd name="T34" fmla="*/ 2147483647 w 203"/>
                    <a:gd name="T35" fmla="*/ 2147483647 h 329"/>
                    <a:gd name="T36" fmla="*/ 2147483647 w 203"/>
                    <a:gd name="T37" fmla="*/ 2147483647 h 329"/>
                    <a:gd name="T38" fmla="*/ 2147483647 w 203"/>
                    <a:gd name="T39" fmla="*/ 2147483647 h 329"/>
                    <a:gd name="T40" fmla="*/ 2147483647 w 203"/>
                    <a:gd name="T41" fmla="*/ 2147483647 h 329"/>
                    <a:gd name="T42" fmla="*/ 2147483647 w 203"/>
                    <a:gd name="T43" fmla="*/ 2147483647 h 329"/>
                    <a:gd name="T44" fmla="*/ 2147483647 w 203"/>
                    <a:gd name="T45" fmla="*/ 2147483647 h 329"/>
                    <a:gd name="T46" fmla="*/ 2147483647 w 203"/>
                    <a:gd name="T47" fmla="*/ 2147483647 h 329"/>
                    <a:gd name="T48" fmla="*/ 2147483647 w 203"/>
                    <a:gd name="T49" fmla="*/ 2147483647 h 329"/>
                    <a:gd name="T50" fmla="*/ 2147483647 w 203"/>
                    <a:gd name="T51" fmla="*/ 2147483647 h 329"/>
                    <a:gd name="T52" fmla="*/ 2147483647 w 203"/>
                    <a:gd name="T53" fmla="*/ 2147483647 h 329"/>
                    <a:gd name="T54" fmla="*/ 2147483647 w 203"/>
                    <a:gd name="T55" fmla="*/ 2147483647 h 329"/>
                    <a:gd name="T56" fmla="*/ 2147483647 w 203"/>
                    <a:gd name="T57" fmla="*/ 2147483647 h 329"/>
                    <a:gd name="T58" fmla="*/ 2147483647 w 203"/>
                    <a:gd name="T59" fmla="*/ 2147483647 h 329"/>
                    <a:gd name="T60" fmla="*/ 2147483647 w 203"/>
                    <a:gd name="T61" fmla="*/ 2147483647 h 329"/>
                    <a:gd name="T62" fmla="*/ 2147483647 w 203"/>
                    <a:gd name="T63" fmla="*/ 2147483647 h 329"/>
                    <a:gd name="T64" fmla="*/ 2147483647 w 203"/>
                    <a:gd name="T65" fmla="*/ 2147483647 h 329"/>
                    <a:gd name="T66" fmla="*/ 2147483647 w 203"/>
                    <a:gd name="T67" fmla="*/ 2147483647 h 329"/>
                    <a:gd name="T68" fmla="*/ 2147483647 w 203"/>
                    <a:gd name="T69" fmla="*/ 2147483647 h 329"/>
                    <a:gd name="T70" fmla="*/ 2147483647 w 203"/>
                    <a:gd name="T71" fmla="*/ 2147483647 h 329"/>
                    <a:gd name="T72" fmla="*/ 2147483647 w 203"/>
                    <a:gd name="T73" fmla="*/ 2147483647 h 329"/>
                    <a:gd name="T74" fmla="*/ 2147483647 w 203"/>
                    <a:gd name="T75" fmla="*/ 2147483647 h 329"/>
                    <a:gd name="T76" fmla="*/ 2147483647 w 203"/>
                    <a:gd name="T77" fmla="*/ 2147483647 h 329"/>
                    <a:gd name="T78" fmla="*/ 2147483647 w 203"/>
                    <a:gd name="T79" fmla="*/ 2147483647 h 329"/>
                    <a:gd name="T80" fmla="*/ 2147483647 w 203"/>
                    <a:gd name="T81" fmla="*/ 2147483647 h 329"/>
                    <a:gd name="T82" fmla="*/ 2147483647 w 203"/>
                    <a:gd name="T83" fmla="*/ 2147483647 h 329"/>
                    <a:gd name="T84" fmla="*/ 2147483647 w 203"/>
                    <a:gd name="T85" fmla="*/ 2147483647 h 329"/>
                    <a:gd name="T86" fmla="*/ 2147483647 w 203"/>
                    <a:gd name="T87" fmla="*/ 2147483647 h 329"/>
                    <a:gd name="T88" fmla="*/ 2147483647 w 203"/>
                    <a:gd name="T89" fmla="*/ 2147483647 h 329"/>
                    <a:gd name="T90" fmla="*/ 2147483647 w 203"/>
                    <a:gd name="T91" fmla="*/ 2147483647 h 329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03"/>
                    <a:gd name="T139" fmla="*/ 0 h 329"/>
                    <a:gd name="T140" fmla="*/ 203 w 203"/>
                    <a:gd name="T141" fmla="*/ 329 h 329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03" h="329">
                      <a:moveTo>
                        <a:pt x="38" y="329"/>
                      </a:moveTo>
                      <a:lnTo>
                        <a:pt x="38" y="316"/>
                      </a:lnTo>
                      <a:lnTo>
                        <a:pt x="38" y="309"/>
                      </a:lnTo>
                      <a:lnTo>
                        <a:pt x="37" y="303"/>
                      </a:lnTo>
                      <a:lnTo>
                        <a:pt x="37" y="301"/>
                      </a:lnTo>
                      <a:lnTo>
                        <a:pt x="34" y="298"/>
                      </a:lnTo>
                      <a:lnTo>
                        <a:pt x="31" y="294"/>
                      </a:lnTo>
                      <a:lnTo>
                        <a:pt x="27" y="290"/>
                      </a:lnTo>
                      <a:lnTo>
                        <a:pt x="24" y="288"/>
                      </a:lnTo>
                      <a:lnTo>
                        <a:pt x="24" y="285"/>
                      </a:lnTo>
                      <a:lnTo>
                        <a:pt x="24" y="282"/>
                      </a:lnTo>
                      <a:lnTo>
                        <a:pt x="25" y="279"/>
                      </a:lnTo>
                      <a:lnTo>
                        <a:pt x="28" y="279"/>
                      </a:lnTo>
                      <a:lnTo>
                        <a:pt x="32" y="278"/>
                      </a:lnTo>
                      <a:lnTo>
                        <a:pt x="39" y="279"/>
                      </a:lnTo>
                      <a:lnTo>
                        <a:pt x="43" y="278"/>
                      </a:lnTo>
                      <a:lnTo>
                        <a:pt x="47" y="277"/>
                      </a:lnTo>
                      <a:lnTo>
                        <a:pt x="48" y="276"/>
                      </a:lnTo>
                      <a:lnTo>
                        <a:pt x="48" y="275"/>
                      </a:lnTo>
                      <a:lnTo>
                        <a:pt x="47" y="272"/>
                      </a:lnTo>
                      <a:lnTo>
                        <a:pt x="43" y="266"/>
                      </a:lnTo>
                      <a:lnTo>
                        <a:pt x="42" y="263"/>
                      </a:lnTo>
                      <a:lnTo>
                        <a:pt x="42" y="260"/>
                      </a:lnTo>
                      <a:lnTo>
                        <a:pt x="42" y="246"/>
                      </a:lnTo>
                      <a:lnTo>
                        <a:pt x="41" y="240"/>
                      </a:lnTo>
                      <a:lnTo>
                        <a:pt x="38" y="234"/>
                      </a:lnTo>
                      <a:lnTo>
                        <a:pt x="36" y="228"/>
                      </a:lnTo>
                      <a:lnTo>
                        <a:pt x="32" y="224"/>
                      </a:lnTo>
                      <a:lnTo>
                        <a:pt x="27" y="219"/>
                      </a:lnTo>
                      <a:lnTo>
                        <a:pt x="20" y="215"/>
                      </a:lnTo>
                      <a:lnTo>
                        <a:pt x="17" y="214"/>
                      </a:lnTo>
                      <a:lnTo>
                        <a:pt x="17" y="213"/>
                      </a:lnTo>
                      <a:lnTo>
                        <a:pt x="17" y="212"/>
                      </a:lnTo>
                      <a:lnTo>
                        <a:pt x="18" y="208"/>
                      </a:lnTo>
                      <a:lnTo>
                        <a:pt x="18" y="205"/>
                      </a:lnTo>
                      <a:lnTo>
                        <a:pt x="15" y="202"/>
                      </a:lnTo>
                      <a:lnTo>
                        <a:pt x="13" y="200"/>
                      </a:lnTo>
                      <a:lnTo>
                        <a:pt x="9" y="200"/>
                      </a:lnTo>
                      <a:lnTo>
                        <a:pt x="5" y="200"/>
                      </a:lnTo>
                      <a:lnTo>
                        <a:pt x="1" y="196"/>
                      </a:lnTo>
                      <a:lnTo>
                        <a:pt x="0" y="193"/>
                      </a:lnTo>
                      <a:lnTo>
                        <a:pt x="1" y="190"/>
                      </a:lnTo>
                      <a:lnTo>
                        <a:pt x="4" y="188"/>
                      </a:lnTo>
                      <a:lnTo>
                        <a:pt x="10" y="185"/>
                      </a:lnTo>
                      <a:lnTo>
                        <a:pt x="13" y="182"/>
                      </a:lnTo>
                      <a:lnTo>
                        <a:pt x="13" y="180"/>
                      </a:lnTo>
                      <a:lnTo>
                        <a:pt x="14" y="176"/>
                      </a:lnTo>
                      <a:lnTo>
                        <a:pt x="15" y="174"/>
                      </a:lnTo>
                      <a:lnTo>
                        <a:pt x="23" y="169"/>
                      </a:lnTo>
                      <a:lnTo>
                        <a:pt x="29" y="163"/>
                      </a:lnTo>
                      <a:lnTo>
                        <a:pt x="34" y="157"/>
                      </a:lnTo>
                      <a:lnTo>
                        <a:pt x="39" y="151"/>
                      </a:lnTo>
                      <a:lnTo>
                        <a:pt x="42" y="144"/>
                      </a:lnTo>
                      <a:lnTo>
                        <a:pt x="43" y="136"/>
                      </a:lnTo>
                      <a:lnTo>
                        <a:pt x="43" y="128"/>
                      </a:lnTo>
                      <a:lnTo>
                        <a:pt x="42" y="119"/>
                      </a:lnTo>
                      <a:lnTo>
                        <a:pt x="41" y="112"/>
                      </a:lnTo>
                      <a:lnTo>
                        <a:pt x="39" y="105"/>
                      </a:lnTo>
                      <a:lnTo>
                        <a:pt x="39" y="98"/>
                      </a:lnTo>
                      <a:lnTo>
                        <a:pt x="41" y="91"/>
                      </a:lnTo>
                      <a:lnTo>
                        <a:pt x="46" y="77"/>
                      </a:lnTo>
                      <a:lnTo>
                        <a:pt x="52" y="64"/>
                      </a:lnTo>
                      <a:lnTo>
                        <a:pt x="51" y="64"/>
                      </a:lnTo>
                      <a:lnTo>
                        <a:pt x="50" y="61"/>
                      </a:lnTo>
                      <a:lnTo>
                        <a:pt x="48" y="59"/>
                      </a:lnTo>
                      <a:lnTo>
                        <a:pt x="46" y="53"/>
                      </a:lnTo>
                      <a:lnTo>
                        <a:pt x="42" y="47"/>
                      </a:lnTo>
                      <a:lnTo>
                        <a:pt x="38" y="42"/>
                      </a:lnTo>
                      <a:lnTo>
                        <a:pt x="36" y="36"/>
                      </a:lnTo>
                      <a:lnTo>
                        <a:pt x="34" y="33"/>
                      </a:lnTo>
                      <a:lnTo>
                        <a:pt x="36" y="29"/>
                      </a:lnTo>
                      <a:lnTo>
                        <a:pt x="38" y="21"/>
                      </a:lnTo>
                      <a:lnTo>
                        <a:pt x="38" y="19"/>
                      </a:lnTo>
                      <a:lnTo>
                        <a:pt x="37" y="16"/>
                      </a:lnTo>
                      <a:lnTo>
                        <a:pt x="34" y="13"/>
                      </a:lnTo>
                      <a:lnTo>
                        <a:pt x="42" y="7"/>
                      </a:lnTo>
                      <a:lnTo>
                        <a:pt x="48" y="0"/>
                      </a:lnTo>
                      <a:lnTo>
                        <a:pt x="203" y="83"/>
                      </a:lnTo>
                      <a:lnTo>
                        <a:pt x="202" y="145"/>
                      </a:lnTo>
                      <a:lnTo>
                        <a:pt x="199" y="154"/>
                      </a:lnTo>
                      <a:lnTo>
                        <a:pt x="197" y="156"/>
                      </a:lnTo>
                      <a:lnTo>
                        <a:pt x="196" y="157"/>
                      </a:lnTo>
                      <a:lnTo>
                        <a:pt x="194" y="157"/>
                      </a:lnTo>
                      <a:lnTo>
                        <a:pt x="189" y="155"/>
                      </a:lnTo>
                      <a:lnTo>
                        <a:pt x="184" y="155"/>
                      </a:lnTo>
                      <a:lnTo>
                        <a:pt x="179" y="155"/>
                      </a:lnTo>
                      <a:lnTo>
                        <a:pt x="178" y="157"/>
                      </a:lnTo>
                      <a:lnTo>
                        <a:pt x="177" y="160"/>
                      </a:lnTo>
                      <a:lnTo>
                        <a:pt x="177" y="166"/>
                      </a:lnTo>
                      <a:lnTo>
                        <a:pt x="175" y="168"/>
                      </a:lnTo>
                      <a:lnTo>
                        <a:pt x="175" y="170"/>
                      </a:lnTo>
                      <a:lnTo>
                        <a:pt x="171" y="177"/>
                      </a:lnTo>
                      <a:lnTo>
                        <a:pt x="169" y="186"/>
                      </a:lnTo>
                      <a:lnTo>
                        <a:pt x="166" y="193"/>
                      </a:lnTo>
                      <a:lnTo>
                        <a:pt x="163" y="200"/>
                      </a:lnTo>
                      <a:lnTo>
                        <a:pt x="161" y="203"/>
                      </a:lnTo>
                      <a:lnTo>
                        <a:pt x="159" y="206"/>
                      </a:lnTo>
                      <a:lnTo>
                        <a:pt x="155" y="209"/>
                      </a:lnTo>
                      <a:lnTo>
                        <a:pt x="152" y="213"/>
                      </a:lnTo>
                      <a:lnTo>
                        <a:pt x="150" y="217"/>
                      </a:lnTo>
                      <a:lnTo>
                        <a:pt x="151" y="220"/>
                      </a:lnTo>
                      <a:lnTo>
                        <a:pt x="151" y="222"/>
                      </a:lnTo>
                      <a:lnTo>
                        <a:pt x="152" y="224"/>
                      </a:lnTo>
                      <a:lnTo>
                        <a:pt x="156" y="224"/>
                      </a:lnTo>
                      <a:lnTo>
                        <a:pt x="160" y="224"/>
                      </a:lnTo>
                      <a:lnTo>
                        <a:pt x="164" y="224"/>
                      </a:lnTo>
                      <a:lnTo>
                        <a:pt x="165" y="224"/>
                      </a:lnTo>
                      <a:lnTo>
                        <a:pt x="166" y="225"/>
                      </a:lnTo>
                      <a:lnTo>
                        <a:pt x="166" y="232"/>
                      </a:lnTo>
                      <a:lnTo>
                        <a:pt x="168" y="240"/>
                      </a:lnTo>
                      <a:lnTo>
                        <a:pt x="170" y="247"/>
                      </a:lnTo>
                      <a:lnTo>
                        <a:pt x="171" y="251"/>
                      </a:lnTo>
                      <a:lnTo>
                        <a:pt x="171" y="256"/>
                      </a:lnTo>
                      <a:lnTo>
                        <a:pt x="170" y="258"/>
                      </a:lnTo>
                      <a:lnTo>
                        <a:pt x="168" y="259"/>
                      </a:lnTo>
                      <a:lnTo>
                        <a:pt x="165" y="262"/>
                      </a:lnTo>
                      <a:lnTo>
                        <a:pt x="161" y="264"/>
                      </a:lnTo>
                      <a:lnTo>
                        <a:pt x="157" y="268"/>
                      </a:lnTo>
                      <a:lnTo>
                        <a:pt x="154" y="271"/>
                      </a:lnTo>
                      <a:lnTo>
                        <a:pt x="145" y="278"/>
                      </a:lnTo>
                      <a:lnTo>
                        <a:pt x="142" y="281"/>
                      </a:lnTo>
                      <a:lnTo>
                        <a:pt x="140" y="282"/>
                      </a:lnTo>
                      <a:lnTo>
                        <a:pt x="133" y="284"/>
                      </a:lnTo>
                      <a:lnTo>
                        <a:pt x="127" y="286"/>
                      </a:lnTo>
                      <a:lnTo>
                        <a:pt x="124" y="288"/>
                      </a:lnTo>
                      <a:lnTo>
                        <a:pt x="123" y="290"/>
                      </a:lnTo>
                      <a:lnTo>
                        <a:pt x="118" y="298"/>
                      </a:lnTo>
                      <a:lnTo>
                        <a:pt x="112" y="304"/>
                      </a:lnTo>
                      <a:lnTo>
                        <a:pt x="104" y="309"/>
                      </a:lnTo>
                      <a:lnTo>
                        <a:pt x="94" y="313"/>
                      </a:lnTo>
                      <a:lnTo>
                        <a:pt x="91" y="314"/>
                      </a:lnTo>
                      <a:lnTo>
                        <a:pt x="88" y="316"/>
                      </a:lnTo>
                      <a:lnTo>
                        <a:pt x="85" y="317"/>
                      </a:lnTo>
                      <a:lnTo>
                        <a:pt x="81" y="317"/>
                      </a:lnTo>
                      <a:lnTo>
                        <a:pt x="70" y="317"/>
                      </a:lnTo>
                      <a:lnTo>
                        <a:pt x="65" y="317"/>
                      </a:lnTo>
                      <a:lnTo>
                        <a:pt x="58" y="318"/>
                      </a:lnTo>
                      <a:lnTo>
                        <a:pt x="51" y="323"/>
                      </a:lnTo>
                      <a:lnTo>
                        <a:pt x="42" y="328"/>
                      </a:lnTo>
                      <a:lnTo>
                        <a:pt x="38" y="32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9" name="Freeform 708">
                  <a:extLst>
                    <a:ext uri="{FF2B5EF4-FFF2-40B4-BE49-F238E27FC236}">
                      <a16:creationId xmlns:a16="http://schemas.microsoft.com/office/drawing/2014/main" id="{E446A6E1-5293-2642-8745-1CFD52FFB0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1662" y="4554727"/>
                  <a:ext cx="45876" cy="36997"/>
                </a:xfrm>
                <a:custGeom>
                  <a:avLst/>
                  <a:gdLst>
                    <a:gd name="T0" fmla="*/ 2147483647 w 33"/>
                    <a:gd name="T1" fmla="*/ 0 h 25"/>
                    <a:gd name="T2" fmla="*/ 2147483647 w 33"/>
                    <a:gd name="T3" fmla="*/ 2147483647 h 25"/>
                    <a:gd name="T4" fmla="*/ 2147483647 w 33"/>
                    <a:gd name="T5" fmla="*/ 2147483647 h 25"/>
                    <a:gd name="T6" fmla="*/ 2147483647 w 33"/>
                    <a:gd name="T7" fmla="*/ 2147483647 h 25"/>
                    <a:gd name="T8" fmla="*/ 2147483647 w 33"/>
                    <a:gd name="T9" fmla="*/ 2147483647 h 25"/>
                    <a:gd name="T10" fmla="*/ 0 w 33"/>
                    <a:gd name="T11" fmla="*/ 2147483647 h 25"/>
                    <a:gd name="T12" fmla="*/ 0 w 33"/>
                    <a:gd name="T13" fmla="*/ 2147483647 h 25"/>
                    <a:gd name="T14" fmla="*/ 0 w 33"/>
                    <a:gd name="T15" fmla="*/ 2147483647 h 25"/>
                    <a:gd name="T16" fmla="*/ 2147483647 w 33"/>
                    <a:gd name="T17" fmla="*/ 0 h 2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"/>
                    <a:gd name="T28" fmla="*/ 0 h 25"/>
                    <a:gd name="T29" fmla="*/ 33 w 33"/>
                    <a:gd name="T30" fmla="*/ 25 h 2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" h="25">
                      <a:moveTo>
                        <a:pt x="3" y="0"/>
                      </a:moveTo>
                      <a:lnTo>
                        <a:pt x="33" y="2"/>
                      </a:lnTo>
                      <a:lnTo>
                        <a:pt x="32" y="14"/>
                      </a:lnTo>
                      <a:lnTo>
                        <a:pt x="31" y="25"/>
                      </a:lnTo>
                      <a:lnTo>
                        <a:pt x="1" y="24"/>
                      </a:lnTo>
                      <a:lnTo>
                        <a:pt x="0" y="22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0" name="Freeform 709">
                  <a:extLst>
                    <a:ext uri="{FF2B5EF4-FFF2-40B4-BE49-F238E27FC236}">
                      <a16:creationId xmlns:a16="http://schemas.microsoft.com/office/drawing/2014/main" id="{A7A412AB-3FD1-F445-A826-4711DCAF9A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7135" y="3934662"/>
                  <a:ext cx="276737" cy="488358"/>
                </a:xfrm>
                <a:custGeom>
                  <a:avLst/>
                  <a:gdLst>
                    <a:gd name="T0" fmla="*/ 2147483647 w 203"/>
                    <a:gd name="T1" fmla="*/ 2147483647 h 330"/>
                    <a:gd name="T2" fmla="*/ 2147483647 w 203"/>
                    <a:gd name="T3" fmla="*/ 2147483647 h 330"/>
                    <a:gd name="T4" fmla="*/ 2147483647 w 203"/>
                    <a:gd name="T5" fmla="*/ 2147483647 h 330"/>
                    <a:gd name="T6" fmla="*/ 2147483647 w 203"/>
                    <a:gd name="T7" fmla="*/ 2147483647 h 330"/>
                    <a:gd name="T8" fmla="*/ 2147483647 w 203"/>
                    <a:gd name="T9" fmla="*/ 2147483647 h 330"/>
                    <a:gd name="T10" fmla="*/ 2147483647 w 203"/>
                    <a:gd name="T11" fmla="*/ 2147483647 h 330"/>
                    <a:gd name="T12" fmla="*/ 2147483647 w 203"/>
                    <a:gd name="T13" fmla="*/ 2147483647 h 330"/>
                    <a:gd name="T14" fmla="*/ 2147483647 w 203"/>
                    <a:gd name="T15" fmla="*/ 2147483647 h 330"/>
                    <a:gd name="T16" fmla="*/ 2147483647 w 203"/>
                    <a:gd name="T17" fmla="*/ 2147483647 h 330"/>
                    <a:gd name="T18" fmla="*/ 2147483647 w 203"/>
                    <a:gd name="T19" fmla="*/ 2147483647 h 330"/>
                    <a:gd name="T20" fmla="*/ 2147483647 w 203"/>
                    <a:gd name="T21" fmla="*/ 2147483647 h 330"/>
                    <a:gd name="T22" fmla="*/ 2147483647 w 203"/>
                    <a:gd name="T23" fmla="*/ 2147483647 h 330"/>
                    <a:gd name="T24" fmla="*/ 2147483647 w 203"/>
                    <a:gd name="T25" fmla="*/ 2147483647 h 330"/>
                    <a:gd name="T26" fmla="*/ 2147483647 w 203"/>
                    <a:gd name="T27" fmla="*/ 2147483647 h 330"/>
                    <a:gd name="T28" fmla="*/ 2147483647 w 203"/>
                    <a:gd name="T29" fmla="*/ 2147483647 h 330"/>
                    <a:gd name="T30" fmla="*/ 2147483647 w 203"/>
                    <a:gd name="T31" fmla="*/ 2147483647 h 330"/>
                    <a:gd name="T32" fmla="*/ 0 w 203"/>
                    <a:gd name="T33" fmla="*/ 2147483647 h 330"/>
                    <a:gd name="T34" fmla="*/ 2147483647 w 203"/>
                    <a:gd name="T35" fmla="*/ 2147483647 h 330"/>
                    <a:gd name="T36" fmla="*/ 2147483647 w 203"/>
                    <a:gd name="T37" fmla="*/ 2147483647 h 330"/>
                    <a:gd name="T38" fmla="*/ 2147483647 w 203"/>
                    <a:gd name="T39" fmla="*/ 2147483647 h 330"/>
                    <a:gd name="T40" fmla="*/ 2147483647 w 203"/>
                    <a:gd name="T41" fmla="*/ 2147483647 h 330"/>
                    <a:gd name="T42" fmla="*/ 2147483647 w 203"/>
                    <a:gd name="T43" fmla="*/ 2147483647 h 330"/>
                    <a:gd name="T44" fmla="*/ 2147483647 w 203"/>
                    <a:gd name="T45" fmla="*/ 2147483647 h 330"/>
                    <a:gd name="T46" fmla="*/ 2147483647 w 203"/>
                    <a:gd name="T47" fmla="*/ 2147483647 h 330"/>
                    <a:gd name="T48" fmla="*/ 2147483647 w 203"/>
                    <a:gd name="T49" fmla="*/ 2147483647 h 330"/>
                    <a:gd name="T50" fmla="*/ 2147483647 w 203"/>
                    <a:gd name="T51" fmla="*/ 2147483647 h 330"/>
                    <a:gd name="T52" fmla="*/ 2147483647 w 203"/>
                    <a:gd name="T53" fmla="*/ 2147483647 h 330"/>
                    <a:gd name="T54" fmla="*/ 2147483647 w 203"/>
                    <a:gd name="T55" fmla="*/ 2147483647 h 330"/>
                    <a:gd name="T56" fmla="*/ 2147483647 w 203"/>
                    <a:gd name="T57" fmla="*/ 2147483647 h 330"/>
                    <a:gd name="T58" fmla="*/ 2147483647 w 203"/>
                    <a:gd name="T59" fmla="*/ 2147483647 h 330"/>
                    <a:gd name="T60" fmla="*/ 2147483647 w 203"/>
                    <a:gd name="T61" fmla="*/ 2147483647 h 330"/>
                    <a:gd name="T62" fmla="*/ 2147483647 w 203"/>
                    <a:gd name="T63" fmla="*/ 0 h 330"/>
                    <a:gd name="T64" fmla="*/ 2147483647 w 203"/>
                    <a:gd name="T65" fmla="*/ 2147483647 h 330"/>
                    <a:gd name="T66" fmla="*/ 2147483647 w 203"/>
                    <a:gd name="T67" fmla="*/ 2147483647 h 330"/>
                    <a:gd name="T68" fmla="*/ 2147483647 w 203"/>
                    <a:gd name="T69" fmla="*/ 2147483647 h 330"/>
                    <a:gd name="T70" fmla="*/ 2147483647 w 203"/>
                    <a:gd name="T71" fmla="*/ 2147483647 h 330"/>
                    <a:gd name="T72" fmla="*/ 2147483647 w 203"/>
                    <a:gd name="T73" fmla="*/ 2147483647 h 330"/>
                    <a:gd name="T74" fmla="*/ 2147483647 w 203"/>
                    <a:gd name="T75" fmla="*/ 2147483647 h 330"/>
                    <a:gd name="T76" fmla="*/ 2147483647 w 203"/>
                    <a:gd name="T77" fmla="*/ 2147483647 h 330"/>
                    <a:gd name="T78" fmla="*/ 2147483647 w 203"/>
                    <a:gd name="T79" fmla="*/ 2147483647 h 330"/>
                    <a:gd name="T80" fmla="*/ 2147483647 w 203"/>
                    <a:gd name="T81" fmla="*/ 2147483647 h 330"/>
                    <a:gd name="T82" fmla="*/ 2147483647 w 203"/>
                    <a:gd name="T83" fmla="*/ 2147483647 h 330"/>
                    <a:gd name="T84" fmla="*/ 2147483647 w 203"/>
                    <a:gd name="T85" fmla="*/ 2147483647 h 330"/>
                    <a:gd name="T86" fmla="*/ 2147483647 w 203"/>
                    <a:gd name="T87" fmla="*/ 2147483647 h 330"/>
                    <a:gd name="T88" fmla="*/ 2147483647 w 203"/>
                    <a:gd name="T89" fmla="*/ 2147483647 h 330"/>
                    <a:gd name="T90" fmla="*/ 2147483647 w 203"/>
                    <a:gd name="T91" fmla="*/ 2147483647 h 330"/>
                    <a:gd name="T92" fmla="*/ 2147483647 w 203"/>
                    <a:gd name="T93" fmla="*/ 2147483647 h 330"/>
                    <a:gd name="T94" fmla="*/ 2147483647 w 203"/>
                    <a:gd name="T95" fmla="*/ 2147483647 h 330"/>
                    <a:gd name="T96" fmla="*/ 2147483647 w 203"/>
                    <a:gd name="T97" fmla="*/ 2147483647 h 330"/>
                    <a:gd name="T98" fmla="*/ 2147483647 w 203"/>
                    <a:gd name="T99" fmla="*/ 2147483647 h 330"/>
                    <a:gd name="T100" fmla="*/ 2147483647 w 203"/>
                    <a:gd name="T101" fmla="*/ 2147483647 h 330"/>
                    <a:gd name="T102" fmla="*/ 2147483647 w 203"/>
                    <a:gd name="T103" fmla="*/ 2147483647 h 330"/>
                    <a:gd name="T104" fmla="*/ 2147483647 w 203"/>
                    <a:gd name="T105" fmla="*/ 2147483647 h 330"/>
                    <a:gd name="T106" fmla="*/ 2147483647 w 203"/>
                    <a:gd name="T107" fmla="*/ 2147483647 h 330"/>
                    <a:gd name="T108" fmla="*/ 2147483647 w 203"/>
                    <a:gd name="T109" fmla="*/ 2147483647 h 330"/>
                    <a:gd name="T110" fmla="*/ 2147483647 w 203"/>
                    <a:gd name="T111" fmla="*/ 2147483647 h 330"/>
                    <a:gd name="T112" fmla="*/ 2147483647 w 203"/>
                    <a:gd name="T113" fmla="*/ 2147483647 h 330"/>
                    <a:gd name="T114" fmla="*/ 2147483647 w 203"/>
                    <a:gd name="T115" fmla="*/ 2147483647 h 330"/>
                    <a:gd name="T116" fmla="*/ 2147483647 w 203"/>
                    <a:gd name="T117" fmla="*/ 2147483647 h 33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3"/>
                    <a:gd name="T178" fmla="*/ 0 h 330"/>
                    <a:gd name="T179" fmla="*/ 203 w 203"/>
                    <a:gd name="T180" fmla="*/ 330 h 33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3" h="330">
                      <a:moveTo>
                        <a:pt x="38" y="330"/>
                      </a:moveTo>
                      <a:lnTo>
                        <a:pt x="38" y="330"/>
                      </a:lnTo>
                      <a:lnTo>
                        <a:pt x="38" y="317"/>
                      </a:lnTo>
                      <a:lnTo>
                        <a:pt x="38" y="310"/>
                      </a:lnTo>
                      <a:lnTo>
                        <a:pt x="37" y="304"/>
                      </a:lnTo>
                      <a:lnTo>
                        <a:pt x="37" y="302"/>
                      </a:lnTo>
                      <a:lnTo>
                        <a:pt x="34" y="299"/>
                      </a:lnTo>
                      <a:lnTo>
                        <a:pt x="30" y="294"/>
                      </a:lnTo>
                      <a:lnTo>
                        <a:pt x="26" y="291"/>
                      </a:lnTo>
                      <a:lnTo>
                        <a:pt x="24" y="288"/>
                      </a:lnTo>
                      <a:lnTo>
                        <a:pt x="24" y="286"/>
                      </a:lnTo>
                      <a:lnTo>
                        <a:pt x="24" y="283"/>
                      </a:lnTo>
                      <a:lnTo>
                        <a:pt x="25" y="280"/>
                      </a:lnTo>
                      <a:lnTo>
                        <a:pt x="28" y="280"/>
                      </a:lnTo>
                      <a:lnTo>
                        <a:pt x="32" y="279"/>
                      </a:lnTo>
                      <a:lnTo>
                        <a:pt x="39" y="280"/>
                      </a:lnTo>
                      <a:lnTo>
                        <a:pt x="43" y="279"/>
                      </a:lnTo>
                      <a:lnTo>
                        <a:pt x="47" y="278"/>
                      </a:lnTo>
                      <a:lnTo>
                        <a:pt x="48" y="277"/>
                      </a:lnTo>
                      <a:lnTo>
                        <a:pt x="48" y="275"/>
                      </a:lnTo>
                      <a:lnTo>
                        <a:pt x="47" y="273"/>
                      </a:lnTo>
                      <a:lnTo>
                        <a:pt x="43" y="267"/>
                      </a:lnTo>
                      <a:lnTo>
                        <a:pt x="42" y="264"/>
                      </a:lnTo>
                      <a:lnTo>
                        <a:pt x="42" y="261"/>
                      </a:lnTo>
                      <a:lnTo>
                        <a:pt x="42" y="247"/>
                      </a:lnTo>
                      <a:lnTo>
                        <a:pt x="40" y="241"/>
                      </a:lnTo>
                      <a:lnTo>
                        <a:pt x="38" y="235"/>
                      </a:lnTo>
                      <a:lnTo>
                        <a:pt x="35" y="229"/>
                      </a:lnTo>
                      <a:lnTo>
                        <a:pt x="32" y="224"/>
                      </a:lnTo>
                      <a:lnTo>
                        <a:pt x="26" y="220"/>
                      </a:lnTo>
                      <a:lnTo>
                        <a:pt x="20" y="216"/>
                      </a:lnTo>
                      <a:lnTo>
                        <a:pt x="16" y="215"/>
                      </a:lnTo>
                      <a:lnTo>
                        <a:pt x="16" y="214"/>
                      </a:lnTo>
                      <a:lnTo>
                        <a:pt x="16" y="213"/>
                      </a:lnTo>
                      <a:lnTo>
                        <a:pt x="18" y="209"/>
                      </a:lnTo>
                      <a:lnTo>
                        <a:pt x="18" y="205"/>
                      </a:lnTo>
                      <a:lnTo>
                        <a:pt x="15" y="203"/>
                      </a:lnTo>
                      <a:lnTo>
                        <a:pt x="12" y="201"/>
                      </a:lnTo>
                      <a:lnTo>
                        <a:pt x="9" y="201"/>
                      </a:lnTo>
                      <a:lnTo>
                        <a:pt x="5" y="201"/>
                      </a:lnTo>
                      <a:lnTo>
                        <a:pt x="1" y="197"/>
                      </a:lnTo>
                      <a:lnTo>
                        <a:pt x="0" y="194"/>
                      </a:lnTo>
                      <a:lnTo>
                        <a:pt x="1" y="191"/>
                      </a:lnTo>
                      <a:lnTo>
                        <a:pt x="4" y="189"/>
                      </a:lnTo>
                      <a:lnTo>
                        <a:pt x="10" y="185"/>
                      </a:lnTo>
                      <a:lnTo>
                        <a:pt x="12" y="183"/>
                      </a:lnTo>
                      <a:lnTo>
                        <a:pt x="12" y="181"/>
                      </a:lnTo>
                      <a:lnTo>
                        <a:pt x="14" y="177"/>
                      </a:lnTo>
                      <a:lnTo>
                        <a:pt x="15" y="175"/>
                      </a:lnTo>
                      <a:lnTo>
                        <a:pt x="23" y="170"/>
                      </a:lnTo>
                      <a:lnTo>
                        <a:pt x="29" y="164"/>
                      </a:lnTo>
                      <a:lnTo>
                        <a:pt x="34" y="158"/>
                      </a:lnTo>
                      <a:lnTo>
                        <a:pt x="39" y="152"/>
                      </a:lnTo>
                      <a:lnTo>
                        <a:pt x="42" y="145"/>
                      </a:lnTo>
                      <a:lnTo>
                        <a:pt x="43" y="137"/>
                      </a:lnTo>
                      <a:lnTo>
                        <a:pt x="43" y="128"/>
                      </a:lnTo>
                      <a:lnTo>
                        <a:pt x="42" y="120"/>
                      </a:lnTo>
                      <a:lnTo>
                        <a:pt x="40" y="113"/>
                      </a:lnTo>
                      <a:lnTo>
                        <a:pt x="39" y="106"/>
                      </a:lnTo>
                      <a:lnTo>
                        <a:pt x="39" y="99"/>
                      </a:lnTo>
                      <a:lnTo>
                        <a:pt x="40" y="92"/>
                      </a:lnTo>
                      <a:lnTo>
                        <a:pt x="45" y="77"/>
                      </a:lnTo>
                      <a:lnTo>
                        <a:pt x="52" y="64"/>
                      </a:lnTo>
                      <a:lnTo>
                        <a:pt x="51" y="64"/>
                      </a:lnTo>
                      <a:lnTo>
                        <a:pt x="49" y="62"/>
                      </a:lnTo>
                      <a:lnTo>
                        <a:pt x="48" y="60"/>
                      </a:lnTo>
                      <a:lnTo>
                        <a:pt x="45" y="54"/>
                      </a:lnTo>
                      <a:lnTo>
                        <a:pt x="42" y="48"/>
                      </a:lnTo>
                      <a:lnTo>
                        <a:pt x="38" y="43"/>
                      </a:lnTo>
                      <a:lnTo>
                        <a:pt x="35" y="37"/>
                      </a:lnTo>
                      <a:lnTo>
                        <a:pt x="34" y="34"/>
                      </a:lnTo>
                      <a:lnTo>
                        <a:pt x="35" y="30"/>
                      </a:lnTo>
                      <a:lnTo>
                        <a:pt x="38" y="22"/>
                      </a:lnTo>
                      <a:lnTo>
                        <a:pt x="38" y="19"/>
                      </a:lnTo>
                      <a:lnTo>
                        <a:pt x="37" y="17"/>
                      </a:lnTo>
                      <a:lnTo>
                        <a:pt x="34" y="13"/>
                      </a:lnTo>
                      <a:lnTo>
                        <a:pt x="42" y="8"/>
                      </a:lnTo>
                      <a:lnTo>
                        <a:pt x="48" y="0"/>
                      </a:lnTo>
                      <a:lnTo>
                        <a:pt x="203" y="83"/>
                      </a:lnTo>
                      <a:lnTo>
                        <a:pt x="202" y="146"/>
                      </a:lnTo>
                      <a:lnTo>
                        <a:pt x="199" y="155"/>
                      </a:lnTo>
                      <a:lnTo>
                        <a:pt x="197" y="157"/>
                      </a:lnTo>
                      <a:lnTo>
                        <a:pt x="195" y="158"/>
                      </a:lnTo>
                      <a:lnTo>
                        <a:pt x="194" y="158"/>
                      </a:lnTo>
                      <a:lnTo>
                        <a:pt x="189" y="156"/>
                      </a:lnTo>
                      <a:lnTo>
                        <a:pt x="184" y="156"/>
                      </a:lnTo>
                      <a:lnTo>
                        <a:pt x="179" y="156"/>
                      </a:lnTo>
                      <a:lnTo>
                        <a:pt x="178" y="158"/>
                      </a:lnTo>
                      <a:lnTo>
                        <a:pt x="176" y="160"/>
                      </a:lnTo>
                      <a:lnTo>
                        <a:pt x="176" y="166"/>
                      </a:lnTo>
                      <a:lnTo>
                        <a:pt x="175" y="169"/>
                      </a:lnTo>
                      <a:lnTo>
                        <a:pt x="175" y="171"/>
                      </a:lnTo>
                      <a:lnTo>
                        <a:pt x="171" y="178"/>
                      </a:lnTo>
                      <a:lnTo>
                        <a:pt x="169" y="187"/>
                      </a:lnTo>
                      <a:lnTo>
                        <a:pt x="166" y="194"/>
                      </a:lnTo>
                      <a:lnTo>
                        <a:pt x="162" y="201"/>
                      </a:lnTo>
                      <a:lnTo>
                        <a:pt x="161" y="204"/>
                      </a:lnTo>
                      <a:lnTo>
                        <a:pt x="158" y="207"/>
                      </a:lnTo>
                      <a:lnTo>
                        <a:pt x="155" y="210"/>
                      </a:lnTo>
                      <a:lnTo>
                        <a:pt x="152" y="214"/>
                      </a:lnTo>
                      <a:lnTo>
                        <a:pt x="150" y="217"/>
                      </a:lnTo>
                      <a:lnTo>
                        <a:pt x="151" y="221"/>
                      </a:lnTo>
                      <a:lnTo>
                        <a:pt x="151" y="223"/>
                      </a:lnTo>
                      <a:lnTo>
                        <a:pt x="152" y="224"/>
                      </a:lnTo>
                      <a:lnTo>
                        <a:pt x="156" y="224"/>
                      </a:lnTo>
                      <a:lnTo>
                        <a:pt x="160" y="224"/>
                      </a:lnTo>
                      <a:lnTo>
                        <a:pt x="164" y="224"/>
                      </a:lnTo>
                      <a:lnTo>
                        <a:pt x="165" y="224"/>
                      </a:lnTo>
                      <a:lnTo>
                        <a:pt x="166" y="226"/>
                      </a:lnTo>
                      <a:lnTo>
                        <a:pt x="166" y="233"/>
                      </a:lnTo>
                      <a:lnTo>
                        <a:pt x="167" y="241"/>
                      </a:lnTo>
                      <a:lnTo>
                        <a:pt x="170" y="248"/>
                      </a:lnTo>
                      <a:lnTo>
                        <a:pt x="171" y="252"/>
                      </a:lnTo>
                      <a:lnTo>
                        <a:pt x="171" y="256"/>
                      </a:lnTo>
                      <a:lnTo>
                        <a:pt x="170" y="259"/>
                      </a:lnTo>
                      <a:lnTo>
                        <a:pt x="167" y="260"/>
                      </a:lnTo>
                      <a:lnTo>
                        <a:pt x="165" y="262"/>
                      </a:lnTo>
                      <a:lnTo>
                        <a:pt x="161" y="265"/>
                      </a:lnTo>
                      <a:lnTo>
                        <a:pt x="157" y="268"/>
                      </a:lnTo>
                      <a:lnTo>
                        <a:pt x="153" y="272"/>
                      </a:lnTo>
                      <a:lnTo>
                        <a:pt x="145" y="279"/>
                      </a:lnTo>
                      <a:lnTo>
                        <a:pt x="142" y="281"/>
                      </a:lnTo>
                      <a:lnTo>
                        <a:pt x="139" y="283"/>
                      </a:lnTo>
                      <a:lnTo>
                        <a:pt x="133" y="285"/>
                      </a:lnTo>
                      <a:lnTo>
                        <a:pt x="127" y="287"/>
                      </a:lnTo>
                      <a:lnTo>
                        <a:pt x="124" y="288"/>
                      </a:lnTo>
                      <a:lnTo>
                        <a:pt x="123" y="291"/>
                      </a:lnTo>
                      <a:lnTo>
                        <a:pt x="118" y="299"/>
                      </a:lnTo>
                      <a:lnTo>
                        <a:pt x="112" y="305"/>
                      </a:lnTo>
                      <a:lnTo>
                        <a:pt x="104" y="310"/>
                      </a:lnTo>
                      <a:lnTo>
                        <a:pt x="94" y="313"/>
                      </a:lnTo>
                      <a:lnTo>
                        <a:pt x="91" y="315"/>
                      </a:lnTo>
                      <a:lnTo>
                        <a:pt x="87" y="317"/>
                      </a:lnTo>
                      <a:lnTo>
                        <a:pt x="85" y="318"/>
                      </a:lnTo>
                      <a:lnTo>
                        <a:pt x="81" y="318"/>
                      </a:lnTo>
                      <a:lnTo>
                        <a:pt x="70" y="318"/>
                      </a:lnTo>
                      <a:lnTo>
                        <a:pt x="65" y="318"/>
                      </a:lnTo>
                      <a:lnTo>
                        <a:pt x="58" y="319"/>
                      </a:lnTo>
                      <a:lnTo>
                        <a:pt x="51" y="324"/>
                      </a:lnTo>
                      <a:lnTo>
                        <a:pt x="42" y="329"/>
                      </a:lnTo>
                      <a:lnTo>
                        <a:pt x="38" y="33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1" name="Freeform 710">
                  <a:extLst>
                    <a:ext uri="{FF2B5EF4-FFF2-40B4-BE49-F238E27FC236}">
                      <a16:creationId xmlns:a16="http://schemas.microsoft.com/office/drawing/2014/main" id="{C0F1C5CE-2CCA-914D-827D-371576CE06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0182" y="4553251"/>
                  <a:ext cx="45877" cy="36996"/>
                </a:xfrm>
                <a:custGeom>
                  <a:avLst/>
                  <a:gdLst>
                    <a:gd name="T0" fmla="*/ 2147483647 w 33"/>
                    <a:gd name="T1" fmla="*/ 0 h 25"/>
                    <a:gd name="T2" fmla="*/ 2147483647 w 33"/>
                    <a:gd name="T3" fmla="*/ 0 h 25"/>
                    <a:gd name="T4" fmla="*/ 2147483647 w 33"/>
                    <a:gd name="T5" fmla="*/ 2147483647 h 25"/>
                    <a:gd name="T6" fmla="*/ 2147483647 w 33"/>
                    <a:gd name="T7" fmla="*/ 2147483647 h 25"/>
                    <a:gd name="T8" fmla="*/ 2147483647 w 33"/>
                    <a:gd name="T9" fmla="*/ 2147483647 h 25"/>
                    <a:gd name="T10" fmla="*/ 2147483647 w 33"/>
                    <a:gd name="T11" fmla="*/ 2147483647 h 25"/>
                    <a:gd name="T12" fmla="*/ 2147483647 w 33"/>
                    <a:gd name="T13" fmla="*/ 2147483647 h 25"/>
                    <a:gd name="T14" fmla="*/ 2147483647 w 33"/>
                    <a:gd name="T15" fmla="*/ 2147483647 h 25"/>
                    <a:gd name="T16" fmla="*/ 2147483647 w 33"/>
                    <a:gd name="T17" fmla="*/ 2147483647 h 25"/>
                    <a:gd name="T18" fmla="*/ 0 w 33"/>
                    <a:gd name="T19" fmla="*/ 2147483647 h 25"/>
                    <a:gd name="T20" fmla="*/ 0 w 33"/>
                    <a:gd name="T21" fmla="*/ 2147483647 h 25"/>
                    <a:gd name="T22" fmla="*/ 0 w 33"/>
                    <a:gd name="T23" fmla="*/ 2147483647 h 25"/>
                    <a:gd name="T24" fmla="*/ 0 w 33"/>
                    <a:gd name="T25" fmla="*/ 2147483647 h 25"/>
                    <a:gd name="T26" fmla="*/ 2147483647 w 33"/>
                    <a:gd name="T27" fmla="*/ 0 h 25"/>
                    <a:gd name="T28" fmla="*/ 2147483647 w 33"/>
                    <a:gd name="T29" fmla="*/ 0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3"/>
                    <a:gd name="T46" fmla="*/ 0 h 25"/>
                    <a:gd name="T47" fmla="*/ 33 w 33"/>
                    <a:gd name="T48" fmla="*/ 25 h 2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3" h="25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33" y="2"/>
                      </a:lnTo>
                      <a:lnTo>
                        <a:pt x="32" y="14"/>
                      </a:lnTo>
                      <a:lnTo>
                        <a:pt x="30" y="25"/>
                      </a:lnTo>
                      <a:lnTo>
                        <a:pt x="1" y="23"/>
                      </a:lnTo>
                      <a:lnTo>
                        <a:pt x="0" y="22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2" name="Freeform 711">
                  <a:extLst>
                    <a:ext uri="{FF2B5EF4-FFF2-40B4-BE49-F238E27FC236}">
                      <a16:creationId xmlns:a16="http://schemas.microsoft.com/office/drawing/2014/main" id="{5413EC6B-F49D-964C-B85E-D76B7A067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3903" y="4557689"/>
                  <a:ext cx="143547" cy="177585"/>
                </a:xfrm>
                <a:custGeom>
                  <a:avLst/>
                  <a:gdLst>
                    <a:gd name="T0" fmla="*/ 2147483647 w 105"/>
                    <a:gd name="T1" fmla="*/ 2147483647 h 120"/>
                    <a:gd name="T2" fmla="*/ 2147483647 w 105"/>
                    <a:gd name="T3" fmla="*/ 0 h 120"/>
                    <a:gd name="T4" fmla="*/ 2147483647 w 105"/>
                    <a:gd name="T5" fmla="*/ 0 h 120"/>
                    <a:gd name="T6" fmla="*/ 2147483647 w 105"/>
                    <a:gd name="T7" fmla="*/ 2147483647 h 120"/>
                    <a:gd name="T8" fmla="*/ 2147483647 w 105"/>
                    <a:gd name="T9" fmla="*/ 2147483647 h 120"/>
                    <a:gd name="T10" fmla="*/ 2147483647 w 105"/>
                    <a:gd name="T11" fmla="*/ 2147483647 h 120"/>
                    <a:gd name="T12" fmla="*/ 2147483647 w 105"/>
                    <a:gd name="T13" fmla="*/ 2147483647 h 120"/>
                    <a:gd name="T14" fmla="*/ 2147483647 w 105"/>
                    <a:gd name="T15" fmla="*/ 2147483647 h 120"/>
                    <a:gd name="T16" fmla="*/ 2147483647 w 105"/>
                    <a:gd name="T17" fmla="*/ 2147483647 h 120"/>
                    <a:gd name="T18" fmla="*/ 2147483647 w 105"/>
                    <a:gd name="T19" fmla="*/ 2147483647 h 120"/>
                    <a:gd name="T20" fmla="*/ 2147483647 w 105"/>
                    <a:gd name="T21" fmla="*/ 2147483647 h 120"/>
                    <a:gd name="T22" fmla="*/ 2147483647 w 105"/>
                    <a:gd name="T23" fmla="*/ 2147483647 h 120"/>
                    <a:gd name="T24" fmla="*/ 2147483647 w 105"/>
                    <a:gd name="T25" fmla="*/ 2147483647 h 120"/>
                    <a:gd name="T26" fmla="*/ 2147483647 w 105"/>
                    <a:gd name="T27" fmla="*/ 2147483647 h 120"/>
                    <a:gd name="T28" fmla="*/ 2147483647 w 105"/>
                    <a:gd name="T29" fmla="*/ 2147483647 h 120"/>
                    <a:gd name="T30" fmla="*/ 2147483647 w 105"/>
                    <a:gd name="T31" fmla="*/ 2147483647 h 120"/>
                    <a:gd name="T32" fmla="*/ 2147483647 w 105"/>
                    <a:gd name="T33" fmla="*/ 2147483647 h 120"/>
                    <a:gd name="T34" fmla="*/ 2147483647 w 105"/>
                    <a:gd name="T35" fmla="*/ 2147483647 h 120"/>
                    <a:gd name="T36" fmla="*/ 2147483647 w 105"/>
                    <a:gd name="T37" fmla="*/ 2147483647 h 120"/>
                    <a:gd name="T38" fmla="*/ 2147483647 w 105"/>
                    <a:gd name="T39" fmla="*/ 2147483647 h 120"/>
                    <a:gd name="T40" fmla="*/ 2147483647 w 105"/>
                    <a:gd name="T41" fmla="*/ 2147483647 h 120"/>
                    <a:gd name="T42" fmla="*/ 2147483647 w 105"/>
                    <a:gd name="T43" fmla="*/ 2147483647 h 120"/>
                    <a:gd name="T44" fmla="*/ 2147483647 w 105"/>
                    <a:gd name="T45" fmla="*/ 2147483647 h 120"/>
                    <a:gd name="T46" fmla="*/ 2147483647 w 105"/>
                    <a:gd name="T47" fmla="*/ 2147483647 h 120"/>
                    <a:gd name="T48" fmla="*/ 2147483647 w 105"/>
                    <a:gd name="T49" fmla="*/ 2147483647 h 120"/>
                    <a:gd name="T50" fmla="*/ 2147483647 w 105"/>
                    <a:gd name="T51" fmla="*/ 2147483647 h 120"/>
                    <a:gd name="T52" fmla="*/ 2147483647 w 105"/>
                    <a:gd name="T53" fmla="*/ 2147483647 h 120"/>
                    <a:gd name="T54" fmla="*/ 2147483647 w 105"/>
                    <a:gd name="T55" fmla="*/ 2147483647 h 120"/>
                    <a:gd name="T56" fmla="*/ 2147483647 w 105"/>
                    <a:gd name="T57" fmla="*/ 2147483647 h 120"/>
                    <a:gd name="T58" fmla="*/ 2147483647 w 105"/>
                    <a:gd name="T59" fmla="*/ 2147483647 h 120"/>
                    <a:gd name="T60" fmla="*/ 2147483647 w 105"/>
                    <a:gd name="T61" fmla="*/ 2147483647 h 120"/>
                    <a:gd name="T62" fmla="*/ 2147483647 w 105"/>
                    <a:gd name="T63" fmla="*/ 2147483647 h 120"/>
                    <a:gd name="T64" fmla="*/ 2147483647 w 105"/>
                    <a:gd name="T65" fmla="*/ 2147483647 h 120"/>
                    <a:gd name="T66" fmla="*/ 2147483647 w 105"/>
                    <a:gd name="T67" fmla="*/ 2147483647 h 120"/>
                    <a:gd name="T68" fmla="*/ 2147483647 w 105"/>
                    <a:gd name="T69" fmla="*/ 2147483647 h 120"/>
                    <a:gd name="T70" fmla="*/ 0 w 105"/>
                    <a:gd name="T71" fmla="*/ 2147483647 h 120"/>
                    <a:gd name="T72" fmla="*/ 2147483647 w 105"/>
                    <a:gd name="T73" fmla="*/ 2147483647 h 120"/>
                    <a:gd name="T74" fmla="*/ 2147483647 w 105"/>
                    <a:gd name="T75" fmla="*/ 2147483647 h 120"/>
                    <a:gd name="T76" fmla="*/ 2147483647 w 105"/>
                    <a:gd name="T77" fmla="*/ 2147483647 h 120"/>
                    <a:gd name="T78" fmla="*/ 2147483647 w 105"/>
                    <a:gd name="T79" fmla="*/ 2147483647 h 120"/>
                    <a:gd name="T80" fmla="*/ 2147483647 w 105"/>
                    <a:gd name="T81" fmla="*/ 2147483647 h 120"/>
                    <a:gd name="T82" fmla="*/ 2147483647 w 105"/>
                    <a:gd name="T83" fmla="*/ 2147483647 h 120"/>
                    <a:gd name="T84" fmla="*/ 2147483647 w 105"/>
                    <a:gd name="T85" fmla="*/ 2147483647 h 120"/>
                    <a:gd name="T86" fmla="*/ 2147483647 w 105"/>
                    <a:gd name="T87" fmla="*/ 2147483647 h 12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05"/>
                    <a:gd name="T133" fmla="*/ 0 h 120"/>
                    <a:gd name="T134" fmla="*/ 105 w 105"/>
                    <a:gd name="T135" fmla="*/ 120 h 12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05" h="120">
                      <a:moveTo>
                        <a:pt x="14" y="22"/>
                      </a:moveTo>
                      <a:lnTo>
                        <a:pt x="44" y="23"/>
                      </a:lnTo>
                      <a:lnTo>
                        <a:pt x="45" y="12"/>
                      </a:lnTo>
                      <a:lnTo>
                        <a:pt x="46" y="0"/>
                      </a:lnTo>
                      <a:lnTo>
                        <a:pt x="65" y="0"/>
                      </a:lnTo>
                      <a:lnTo>
                        <a:pt x="84" y="0"/>
                      </a:lnTo>
                      <a:lnTo>
                        <a:pt x="82" y="1"/>
                      </a:lnTo>
                      <a:lnTo>
                        <a:pt x="79" y="4"/>
                      </a:lnTo>
                      <a:lnTo>
                        <a:pt x="79" y="9"/>
                      </a:lnTo>
                      <a:lnTo>
                        <a:pt x="79" y="12"/>
                      </a:lnTo>
                      <a:lnTo>
                        <a:pt x="80" y="14"/>
                      </a:lnTo>
                      <a:lnTo>
                        <a:pt x="82" y="17"/>
                      </a:lnTo>
                      <a:lnTo>
                        <a:pt x="84" y="17"/>
                      </a:lnTo>
                      <a:lnTo>
                        <a:pt x="87" y="18"/>
                      </a:lnTo>
                      <a:lnTo>
                        <a:pt x="94" y="17"/>
                      </a:lnTo>
                      <a:lnTo>
                        <a:pt x="101" y="18"/>
                      </a:lnTo>
                      <a:lnTo>
                        <a:pt x="103" y="18"/>
                      </a:lnTo>
                      <a:lnTo>
                        <a:pt x="105" y="20"/>
                      </a:lnTo>
                      <a:lnTo>
                        <a:pt x="105" y="22"/>
                      </a:lnTo>
                      <a:lnTo>
                        <a:pt x="103" y="24"/>
                      </a:lnTo>
                      <a:lnTo>
                        <a:pt x="100" y="28"/>
                      </a:lnTo>
                      <a:lnTo>
                        <a:pt x="87" y="33"/>
                      </a:lnTo>
                      <a:lnTo>
                        <a:pt x="84" y="37"/>
                      </a:lnTo>
                      <a:lnTo>
                        <a:pt x="83" y="41"/>
                      </a:lnTo>
                      <a:lnTo>
                        <a:pt x="84" y="44"/>
                      </a:lnTo>
                      <a:lnTo>
                        <a:pt x="86" y="48"/>
                      </a:lnTo>
                      <a:lnTo>
                        <a:pt x="89" y="55"/>
                      </a:lnTo>
                      <a:lnTo>
                        <a:pt x="91" y="60"/>
                      </a:lnTo>
                      <a:lnTo>
                        <a:pt x="92" y="62"/>
                      </a:lnTo>
                      <a:lnTo>
                        <a:pt x="94" y="64"/>
                      </a:lnTo>
                      <a:lnTo>
                        <a:pt x="94" y="70"/>
                      </a:lnTo>
                      <a:lnTo>
                        <a:pt x="94" y="76"/>
                      </a:lnTo>
                      <a:lnTo>
                        <a:pt x="96" y="79"/>
                      </a:lnTo>
                      <a:lnTo>
                        <a:pt x="97" y="81"/>
                      </a:lnTo>
                      <a:lnTo>
                        <a:pt x="97" y="86"/>
                      </a:lnTo>
                      <a:lnTo>
                        <a:pt x="96" y="89"/>
                      </a:lnTo>
                      <a:lnTo>
                        <a:pt x="94" y="99"/>
                      </a:lnTo>
                      <a:lnTo>
                        <a:pt x="93" y="100"/>
                      </a:lnTo>
                      <a:lnTo>
                        <a:pt x="89" y="101"/>
                      </a:lnTo>
                      <a:lnTo>
                        <a:pt x="84" y="101"/>
                      </a:lnTo>
                      <a:lnTo>
                        <a:pt x="82" y="100"/>
                      </a:lnTo>
                      <a:lnTo>
                        <a:pt x="80" y="97"/>
                      </a:lnTo>
                      <a:lnTo>
                        <a:pt x="80" y="95"/>
                      </a:lnTo>
                      <a:lnTo>
                        <a:pt x="77" y="88"/>
                      </a:lnTo>
                      <a:lnTo>
                        <a:pt x="75" y="86"/>
                      </a:lnTo>
                      <a:lnTo>
                        <a:pt x="73" y="86"/>
                      </a:lnTo>
                      <a:lnTo>
                        <a:pt x="72" y="86"/>
                      </a:lnTo>
                      <a:lnTo>
                        <a:pt x="69" y="89"/>
                      </a:lnTo>
                      <a:lnTo>
                        <a:pt x="66" y="90"/>
                      </a:lnTo>
                      <a:lnTo>
                        <a:pt x="61" y="93"/>
                      </a:lnTo>
                      <a:lnTo>
                        <a:pt x="59" y="96"/>
                      </a:lnTo>
                      <a:lnTo>
                        <a:pt x="58" y="99"/>
                      </a:lnTo>
                      <a:lnTo>
                        <a:pt x="63" y="102"/>
                      </a:lnTo>
                      <a:lnTo>
                        <a:pt x="64" y="103"/>
                      </a:lnTo>
                      <a:lnTo>
                        <a:pt x="63" y="107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6" y="113"/>
                      </a:lnTo>
                      <a:lnTo>
                        <a:pt x="55" y="116"/>
                      </a:lnTo>
                      <a:lnTo>
                        <a:pt x="54" y="118"/>
                      </a:lnTo>
                      <a:lnTo>
                        <a:pt x="51" y="118"/>
                      </a:lnTo>
                      <a:lnTo>
                        <a:pt x="47" y="119"/>
                      </a:lnTo>
                      <a:lnTo>
                        <a:pt x="41" y="119"/>
                      </a:lnTo>
                      <a:lnTo>
                        <a:pt x="36" y="120"/>
                      </a:lnTo>
                      <a:lnTo>
                        <a:pt x="32" y="114"/>
                      </a:lnTo>
                      <a:lnTo>
                        <a:pt x="27" y="109"/>
                      </a:lnTo>
                      <a:lnTo>
                        <a:pt x="17" y="100"/>
                      </a:lnTo>
                      <a:lnTo>
                        <a:pt x="14" y="97"/>
                      </a:lnTo>
                      <a:lnTo>
                        <a:pt x="12" y="94"/>
                      </a:lnTo>
                      <a:lnTo>
                        <a:pt x="7" y="86"/>
                      </a:lnTo>
                      <a:lnTo>
                        <a:pt x="0" y="68"/>
                      </a:lnTo>
                      <a:lnTo>
                        <a:pt x="0" y="64"/>
                      </a:lnTo>
                      <a:lnTo>
                        <a:pt x="2" y="61"/>
                      </a:lnTo>
                      <a:lnTo>
                        <a:pt x="4" y="57"/>
                      </a:lnTo>
                      <a:lnTo>
                        <a:pt x="7" y="54"/>
                      </a:lnTo>
                      <a:lnTo>
                        <a:pt x="7" y="49"/>
                      </a:lnTo>
                      <a:lnTo>
                        <a:pt x="6" y="48"/>
                      </a:lnTo>
                      <a:lnTo>
                        <a:pt x="7" y="45"/>
                      </a:lnTo>
                      <a:lnTo>
                        <a:pt x="8" y="44"/>
                      </a:lnTo>
                      <a:lnTo>
                        <a:pt x="11" y="44"/>
                      </a:lnTo>
                      <a:lnTo>
                        <a:pt x="14" y="44"/>
                      </a:lnTo>
                      <a:lnTo>
                        <a:pt x="17" y="44"/>
                      </a:lnTo>
                      <a:lnTo>
                        <a:pt x="18" y="43"/>
                      </a:lnTo>
                      <a:lnTo>
                        <a:pt x="18" y="41"/>
                      </a:lnTo>
                      <a:lnTo>
                        <a:pt x="17" y="36"/>
                      </a:lnTo>
                      <a:lnTo>
                        <a:pt x="14" y="33"/>
                      </a:lnTo>
                      <a:lnTo>
                        <a:pt x="13" y="30"/>
                      </a:lnTo>
                      <a:lnTo>
                        <a:pt x="14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3" name="Freeform 712">
                  <a:extLst>
                    <a:ext uri="{FF2B5EF4-FFF2-40B4-BE49-F238E27FC236}">
                      <a16:creationId xmlns:a16="http://schemas.microsoft.com/office/drawing/2014/main" id="{80364CC4-4E01-8341-ABC4-787F3D5764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2738" y="4519212"/>
                  <a:ext cx="179065" cy="244177"/>
                </a:xfrm>
                <a:custGeom>
                  <a:avLst/>
                  <a:gdLst>
                    <a:gd name="T0" fmla="*/ 2147483647 w 131"/>
                    <a:gd name="T1" fmla="*/ 2147483647 h 165"/>
                    <a:gd name="T2" fmla="*/ 2147483647 w 131"/>
                    <a:gd name="T3" fmla="*/ 2147483647 h 165"/>
                    <a:gd name="T4" fmla="*/ 2147483647 w 131"/>
                    <a:gd name="T5" fmla="*/ 2147483647 h 165"/>
                    <a:gd name="T6" fmla="*/ 2147483647 w 131"/>
                    <a:gd name="T7" fmla="*/ 2147483647 h 165"/>
                    <a:gd name="T8" fmla="*/ 2147483647 w 131"/>
                    <a:gd name="T9" fmla="*/ 2147483647 h 165"/>
                    <a:gd name="T10" fmla="*/ 2147483647 w 131"/>
                    <a:gd name="T11" fmla="*/ 2147483647 h 165"/>
                    <a:gd name="T12" fmla="*/ 2147483647 w 131"/>
                    <a:gd name="T13" fmla="*/ 2147483647 h 165"/>
                    <a:gd name="T14" fmla="*/ 2147483647 w 131"/>
                    <a:gd name="T15" fmla="*/ 2147483647 h 165"/>
                    <a:gd name="T16" fmla="*/ 2147483647 w 131"/>
                    <a:gd name="T17" fmla="*/ 2147483647 h 165"/>
                    <a:gd name="T18" fmla="*/ 2147483647 w 131"/>
                    <a:gd name="T19" fmla="*/ 2147483647 h 165"/>
                    <a:gd name="T20" fmla="*/ 2147483647 w 131"/>
                    <a:gd name="T21" fmla="*/ 2147483647 h 165"/>
                    <a:gd name="T22" fmla="*/ 2147483647 w 131"/>
                    <a:gd name="T23" fmla="*/ 2147483647 h 165"/>
                    <a:gd name="T24" fmla="*/ 2147483647 w 131"/>
                    <a:gd name="T25" fmla="*/ 2147483647 h 165"/>
                    <a:gd name="T26" fmla="*/ 2147483647 w 131"/>
                    <a:gd name="T27" fmla="*/ 2147483647 h 165"/>
                    <a:gd name="T28" fmla="*/ 2147483647 w 131"/>
                    <a:gd name="T29" fmla="*/ 2147483647 h 165"/>
                    <a:gd name="T30" fmla="*/ 2147483647 w 131"/>
                    <a:gd name="T31" fmla="*/ 2147483647 h 165"/>
                    <a:gd name="T32" fmla="*/ 2147483647 w 131"/>
                    <a:gd name="T33" fmla="*/ 2147483647 h 165"/>
                    <a:gd name="T34" fmla="*/ 2147483647 w 131"/>
                    <a:gd name="T35" fmla="*/ 2147483647 h 165"/>
                    <a:gd name="T36" fmla="*/ 2147483647 w 131"/>
                    <a:gd name="T37" fmla="*/ 2147483647 h 165"/>
                    <a:gd name="T38" fmla="*/ 2147483647 w 131"/>
                    <a:gd name="T39" fmla="*/ 2147483647 h 165"/>
                    <a:gd name="T40" fmla="*/ 2147483647 w 131"/>
                    <a:gd name="T41" fmla="*/ 2147483647 h 165"/>
                    <a:gd name="T42" fmla="*/ 2147483647 w 131"/>
                    <a:gd name="T43" fmla="*/ 2147483647 h 165"/>
                    <a:gd name="T44" fmla="*/ 2147483647 w 131"/>
                    <a:gd name="T45" fmla="*/ 2147483647 h 165"/>
                    <a:gd name="T46" fmla="*/ 2147483647 w 131"/>
                    <a:gd name="T47" fmla="*/ 2147483647 h 165"/>
                    <a:gd name="T48" fmla="*/ 2147483647 w 131"/>
                    <a:gd name="T49" fmla="*/ 2147483647 h 165"/>
                    <a:gd name="T50" fmla="*/ 2147483647 w 131"/>
                    <a:gd name="T51" fmla="*/ 2147483647 h 165"/>
                    <a:gd name="T52" fmla="*/ 2147483647 w 131"/>
                    <a:gd name="T53" fmla="*/ 2147483647 h 165"/>
                    <a:gd name="T54" fmla="*/ 2147483647 w 131"/>
                    <a:gd name="T55" fmla="*/ 2147483647 h 165"/>
                    <a:gd name="T56" fmla="*/ 2147483647 w 131"/>
                    <a:gd name="T57" fmla="*/ 2147483647 h 165"/>
                    <a:gd name="T58" fmla="*/ 2147483647 w 131"/>
                    <a:gd name="T59" fmla="*/ 2147483647 h 165"/>
                    <a:gd name="T60" fmla="*/ 2147483647 w 131"/>
                    <a:gd name="T61" fmla="*/ 2147483647 h 165"/>
                    <a:gd name="T62" fmla="*/ 2147483647 w 131"/>
                    <a:gd name="T63" fmla="*/ 2147483647 h 165"/>
                    <a:gd name="T64" fmla="*/ 2147483647 w 131"/>
                    <a:gd name="T65" fmla="*/ 2147483647 h 165"/>
                    <a:gd name="T66" fmla="*/ 2147483647 w 131"/>
                    <a:gd name="T67" fmla="*/ 2147483647 h 165"/>
                    <a:gd name="T68" fmla="*/ 2147483647 w 131"/>
                    <a:gd name="T69" fmla="*/ 2147483647 h 165"/>
                    <a:gd name="T70" fmla="*/ 2147483647 w 131"/>
                    <a:gd name="T71" fmla="*/ 2147483647 h 165"/>
                    <a:gd name="T72" fmla="*/ 2147483647 w 131"/>
                    <a:gd name="T73" fmla="*/ 2147483647 h 165"/>
                    <a:gd name="T74" fmla="*/ 2147483647 w 131"/>
                    <a:gd name="T75" fmla="*/ 2147483647 h 165"/>
                    <a:gd name="T76" fmla="*/ 2147483647 w 131"/>
                    <a:gd name="T77" fmla="*/ 2147483647 h 165"/>
                    <a:gd name="T78" fmla="*/ 2147483647 w 131"/>
                    <a:gd name="T79" fmla="*/ 2147483647 h 165"/>
                    <a:gd name="T80" fmla="*/ 2147483647 w 131"/>
                    <a:gd name="T81" fmla="*/ 2147483647 h 165"/>
                    <a:gd name="T82" fmla="*/ 2147483647 w 131"/>
                    <a:gd name="T83" fmla="*/ 2147483647 h 165"/>
                    <a:gd name="T84" fmla="*/ 2147483647 w 131"/>
                    <a:gd name="T85" fmla="*/ 2147483647 h 165"/>
                    <a:gd name="T86" fmla="*/ 2147483647 w 131"/>
                    <a:gd name="T87" fmla="*/ 2147483647 h 16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31"/>
                    <a:gd name="T133" fmla="*/ 0 h 165"/>
                    <a:gd name="T134" fmla="*/ 131 w 131"/>
                    <a:gd name="T135" fmla="*/ 165 h 165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31" h="165">
                      <a:moveTo>
                        <a:pt x="0" y="146"/>
                      </a:moveTo>
                      <a:lnTo>
                        <a:pt x="5" y="145"/>
                      </a:lnTo>
                      <a:lnTo>
                        <a:pt x="11" y="145"/>
                      </a:lnTo>
                      <a:lnTo>
                        <a:pt x="15" y="144"/>
                      </a:lnTo>
                      <a:lnTo>
                        <a:pt x="18" y="144"/>
                      </a:lnTo>
                      <a:lnTo>
                        <a:pt x="19" y="142"/>
                      </a:lnTo>
                      <a:lnTo>
                        <a:pt x="20" y="139"/>
                      </a:lnTo>
                      <a:lnTo>
                        <a:pt x="22" y="135"/>
                      </a:lnTo>
                      <a:lnTo>
                        <a:pt x="24" y="134"/>
                      </a:lnTo>
                      <a:lnTo>
                        <a:pt x="27" y="133"/>
                      </a:lnTo>
                      <a:lnTo>
                        <a:pt x="28" y="129"/>
                      </a:lnTo>
                      <a:lnTo>
                        <a:pt x="27" y="128"/>
                      </a:lnTo>
                      <a:lnTo>
                        <a:pt x="22" y="125"/>
                      </a:lnTo>
                      <a:lnTo>
                        <a:pt x="23" y="122"/>
                      </a:lnTo>
                      <a:lnTo>
                        <a:pt x="25" y="119"/>
                      </a:lnTo>
                      <a:lnTo>
                        <a:pt x="30" y="116"/>
                      </a:lnTo>
                      <a:lnTo>
                        <a:pt x="33" y="115"/>
                      </a:lnTo>
                      <a:lnTo>
                        <a:pt x="36" y="112"/>
                      </a:lnTo>
                      <a:lnTo>
                        <a:pt x="37" y="112"/>
                      </a:lnTo>
                      <a:lnTo>
                        <a:pt x="39" y="112"/>
                      </a:lnTo>
                      <a:lnTo>
                        <a:pt x="41" y="114"/>
                      </a:lnTo>
                      <a:lnTo>
                        <a:pt x="44" y="121"/>
                      </a:lnTo>
                      <a:lnTo>
                        <a:pt x="44" y="123"/>
                      </a:lnTo>
                      <a:lnTo>
                        <a:pt x="46" y="126"/>
                      </a:lnTo>
                      <a:lnTo>
                        <a:pt x="48" y="127"/>
                      </a:lnTo>
                      <a:lnTo>
                        <a:pt x="53" y="127"/>
                      </a:lnTo>
                      <a:lnTo>
                        <a:pt x="57" y="126"/>
                      </a:lnTo>
                      <a:lnTo>
                        <a:pt x="58" y="125"/>
                      </a:lnTo>
                      <a:lnTo>
                        <a:pt x="60" y="115"/>
                      </a:lnTo>
                      <a:lnTo>
                        <a:pt x="61" y="112"/>
                      </a:lnTo>
                      <a:lnTo>
                        <a:pt x="61" y="107"/>
                      </a:lnTo>
                      <a:lnTo>
                        <a:pt x="60" y="105"/>
                      </a:lnTo>
                      <a:lnTo>
                        <a:pt x="58" y="102"/>
                      </a:lnTo>
                      <a:lnTo>
                        <a:pt x="58" y="96"/>
                      </a:lnTo>
                      <a:lnTo>
                        <a:pt x="58" y="90"/>
                      </a:lnTo>
                      <a:lnTo>
                        <a:pt x="56" y="88"/>
                      </a:lnTo>
                      <a:lnTo>
                        <a:pt x="55" y="86"/>
                      </a:lnTo>
                      <a:lnTo>
                        <a:pt x="53" y="81"/>
                      </a:lnTo>
                      <a:lnTo>
                        <a:pt x="50" y="74"/>
                      </a:lnTo>
                      <a:lnTo>
                        <a:pt x="48" y="70"/>
                      </a:lnTo>
                      <a:lnTo>
                        <a:pt x="47" y="67"/>
                      </a:lnTo>
                      <a:lnTo>
                        <a:pt x="48" y="63"/>
                      </a:lnTo>
                      <a:lnTo>
                        <a:pt x="51" y="59"/>
                      </a:lnTo>
                      <a:lnTo>
                        <a:pt x="64" y="54"/>
                      </a:lnTo>
                      <a:lnTo>
                        <a:pt x="67" y="50"/>
                      </a:lnTo>
                      <a:lnTo>
                        <a:pt x="69" y="48"/>
                      </a:lnTo>
                      <a:lnTo>
                        <a:pt x="69" y="46"/>
                      </a:lnTo>
                      <a:lnTo>
                        <a:pt x="67" y="44"/>
                      </a:lnTo>
                      <a:lnTo>
                        <a:pt x="65" y="44"/>
                      </a:lnTo>
                      <a:lnTo>
                        <a:pt x="58" y="43"/>
                      </a:lnTo>
                      <a:lnTo>
                        <a:pt x="51" y="44"/>
                      </a:lnTo>
                      <a:lnTo>
                        <a:pt x="48" y="43"/>
                      </a:lnTo>
                      <a:lnTo>
                        <a:pt x="46" y="43"/>
                      </a:lnTo>
                      <a:lnTo>
                        <a:pt x="44" y="40"/>
                      </a:lnTo>
                      <a:lnTo>
                        <a:pt x="43" y="38"/>
                      </a:lnTo>
                      <a:lnTo>
                        <a:pt x="43" y="35"/>
                      </a:lnTo>
                      <a:lnTo>
                        <a:pt x="43" y="30"/>
                      </a:lnTo>
                      <a:lnTo>
                        <a:pt x="46" y="27"/>
                      </a:lnTo>
                      <a:lnTo>
                        <a:pt x="48" y="26"/>
                      </a:lnTo>
                      <a:lnTo>
                        <a:pt x="52" y="24"/>
                      </a:lnTo>
                      <a:lnTo>
                        <a:pt x="56" y="23"/>
                      </a:lnTo>
                      <a:lnTo>
                        <a:pt x="60" y="23"/>
                      </a:lnTo>
                      <a:lnTo>
                        <a:pt x="64" y="24"/>
                      </a:lnTo>
                      <a:lnTo>
                        <a:pt x="67" y="26"/>
                      </a:lnTo>
                      <a:lnTo>
                        <a:pt x="80" y="35"/>
                      </a:lnTo>
                      <a:lnTo>
                        <a:pt x="81" y="29"/>
                      </a:lnTo>
                      <a:lnTo>
                        <a:pt x="89" y="29"/>
                      </a:lnTo>
                      <a:lnTo>
                        <a:pt x="95" y="27"/>
                      </a:lnTo>
                      <a:lnTo>
                        <a:pt x="97" y="27"/>
                      </a:lnTo>
                      <a:lnTo>
                        <a:pt x="98" y="25"/>
                      </a:lnTo>
                      <a:lnTo>
                        <a:pt x="102" y="19"/>
                      </a:lnTo>
                      <a:lnTo>
                        <a:pt x="105" y="12"/>
                      </a:lnTo>
                      <a:lnTo>
                        <a:pt x="108" y="8"/>
                      </a:lnTo>
                      <a:lnTo>
                        <a:pt x="110" y="6"/>
                      </a:lnTo>
                      <a:lnTo>
                        <a:pt x="119" y="3"/>
                      </a:lnTo>
                      <a:lnTo>
                        <a:pt x="131" y="0"/>
                      </a:lnTo>
                      <a:lnTo>
                        <a:pt x="130" y="10"/>
                      </a:lnTo>
                      <a:lnTo>
                        <a:pt x="127" y="17"/>
                      </a:lnTo>
                      <a:lnTo>
                        <a:pt x="122" y="31"/>
                      </a:lnTo>
                      <a:lnTo>
                        <a:pt x="121" y="36"/>
                      </a:lnTo>
                      <a:lnTo>
                        <a:pt x="121" y="38"/>
                      </a:lnTo>
                      <a:lnTo>
                        <a:pt x="119" y="40"/>
                      </a:lnTo>
                      <a:lnTo>
                        <a:pt x="118" y="45"/>
                      </a:lnTo>
                      <a:lnTo>
                        <a:pt x="117" y="51"/>
                      </a:lnTo>
                      <a:lnTo>
                        <a:pt x="118" y="58"/>
                      </a:lnTo>
                      <a:lnTo>
                        <a:pt x="121" y="67"/>
                      </a:lnTo>
                      <a:lnTo>
                        <a:pt x="122" y="70"/>
                      </a:lnTo>
                      <a:lnTo>
                        <a:pt x="122" y="74"/>
                      </a:lnTo>
                      <a:lnTo>
                        <a:pt x="118" y="82"/>
                      </a:lnTo>
                      <a:lnTo>
                        <a:pt x="117" y="87"/>
                      </a:lnTo>
                      <a:lnTo>
                        <a:pt x="116" y="90"/>
                      </a:lnTo>
                      <a:lnTo>
                        <a:pt x="112" y="95"/>
                      </a:lnTo>
                      <a:lnTo>
                        <a:pt x="108" y="99"/>
                      </a:lnTo>
                      <a:lnTo>
                        <a:pt x="104" y="101"/>
                      </a:lnTo>
                      <a:lnTo>
                        <a:pt x="103" y="102"/>
                      </a:lnTo>
                      <a:lnTo>
                        <a:pt x="102" y="103"/>
                      </a:lnTo>
                      <a:lnTo>
                        <a:pt x="100" y="107"/>
                      </a:lnTo>
                      <a:lnTo>
                        <a:pt x="99" y="110"/>
                      </a:lnTo>
                      <a:lnTo>
                        <a:pt x="94" y="118"/>
                      </a:lnTo>
                      <a:lnTo>
                        <a:pt x="93" y="119"/>
                      </a:lnTo>
                      <a:lnTo>
                        <a:pt x="93" y="120"/>
                      </a:lnTo>
                      <a:lnTo>
                        <a:pt x="94" y="123"/>
                      </a:lnTo>
                      <a:lnTo>
                        <a:pt x="95" y="128"/>
                      </a:lnTo>
                      <a:lnTo>
                        <a:pt x="97" y="132"/>
                      </a:lnTo>
                      <a:lnTo>
                        <a:pt x="98" y="135"/>
                      </a:lnTo>
                      <a:lnTo>
                        <a:pt x="97" y="139"/>
                      </a:lnTo>
                      <a:lnTo>
                        <a:pt x="93" y="145"/>
                      </a:lnTo>
                      <a:lnTo>
                        <a:pt x="90" y="146"/>
                      </a:lnTo>
                      <a:lnTo>
                        <a:pt x="86" y="147"/>
                      </a:lnTo>
                      <a:lnTo>
                        <a:pt x="81" y="148"/>
                      </a:lnTo>
                      <a:lnTo>
                        <a:pt x="77" y="151"/>
                      </a:lnTo>
                      <a:lnTo>
                        <a:pt x="71" y="155"/>
                      </a:lnTo>
                      <a:lnTo>
                        <a:pt x="70" y="157"/>
                      </a:lnTo>
                      <a:lnTo>
                        <a:pt x="67" y="157"/>
                      </a:lnTo>
                      <a:lnTo>
                        <a:pt x="65" y="154"/>
                      </a:lnTo>
                      <a:lnTo>
                        <a:pt x="62" y="151"/>
                      </a:lnTo>
                      <a:lnTo>
                        <a:pt x="60" y="150"/>
                      </a:lnTo>
                      <a:lnTo>
                        <a:pt x="57" y="150"/>
                      </a:lnTo>
                      <a:lnTo>
                        <a:pt x="53" y="151"/>
                      </a:lnTo>
                      <a:lnTo>
                        <a:pt x="52" y="153"/>
                      </a:lnTo>
                      <a:lnTo>
                        <a:pt x="51" y="155"/>
                      </a:lnTo>
                      <a:lnTo>
                        <a:pt x="50" y="160"/>
                      </a:lnTo>
                      <a:lnTo>
                        <a:pt x="48" y="161"/>
                      </a:lnTo>
                      <a:lnTo>
                        <a:pt x="47" y="163"/>
                      </a:lnTo>
                      <a:lnTo>
                        <a:pt x="43" y="163"/>
                      </a:lnTo>
                      <a:lnTo>
                        <a:pt x="41" y="160"/>
                      </a:lnTo>
                      <a:lnTo>
                        <a:pt x="36" y="154"/>
                      </a:lnTo>
                      <a:lnTo>
                        <a:pt x="32" y="152"/>
                      </a:lnTo>
                      <a:lnTo>
                        <a:pt x="24" y="157"/>
                      </a:lnTo>
                      <a:lnTo>
                        <a:pt x="14" y="165"/>
                      </a:lnTo>
                      <a:lnTo>
                        <a:pt x="6" y="159"/>
                      </a:lnTo>
                      <a:lnTo>
                        <a:pt x="4" y="155"/>
                      </a:lnTo>
                      <a:lnTo>
                        <a:pt x="1" y="151"/>
                      </a:lnTo>
                      <a:lnTo>
                        <a:pt x="0" y="1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4" name="Freeform 713">
                  <a:extLst>
                    <a:ext uri="{FF2B5EF4-FFF2-40B4-BE49-F238E27FC236}">
                      <a16:creationId xmlns:a16="http://schemas.microsoft.com/office/drawing/2014/main" id="{71108F14-0FC8-4344-A7AB-DAF77AF3D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2423" y="4556207"/>
                  <a:ext cx="142068" cy="177585"/>
                </a:xfrm>
                <a:custGeom>
                  <a:avLst/>
                  <a:gdLst>
                    <a:gd name="T0" fmla="*/ 2147483647 w 104"/>
                    <a:gd name="T1" fmla="*/ 2147483647 h 120"/>
                    <a:gd name="T2" fmla="*/ 2147483647 w 104"/>
                    <a:gd name="T3" fmla="*/ 2147483647 h 120"/>
                    <a:gd name="T4" fmla="*/ 2147483647 w 104"/>
                    <a:gd name="T5" fmla="*/ 0 h 120"/>
                    <a:gd name="T6" fmla="*/ 2147483647 w 104"/>
                    <a:gd name="T7" fmla="*/ 0 h 120"/>
                    <a:gd name="T8" fmla="*/ 2147483647 w 104"/>
                    <a:gd name="T9" fmla="*/ 0 h 120"/>
                    <a:gd name="T10" fmla="*/ 2147483647 w 104"/>
                    <a:gd name="T11" fmla="*/ 2147483647 h 120"/>
                    <a:gd name="T12" fmla="*/ 2147483647 w 104"/>
                    <a:gd name="T13" fmla="*/ 2147483647 h 120"/>
                    <a:gd name="T14" fmla="*/ 2147483647 w 104"/>
                    <a:gd name="T15" fmla="*/ 2147483647 h 120"/>
                    <a:gd name="T16" fmla="*/ 2147483647 w 104"/>
                    <a:gd name="T17" fmla="*/ 2147483647 h 120"/>
                    <a:gd name="T18" fmla="*/ 2147483647 w 104"/>
                    <a:gd name="T19" fmla="*/ 2147483647 h 120"/>
                    <a:gd name="T20" fmla="*/ 2147483647 w 104"/>
                    <a:gd name="T21" fmla="*/ 2147483647 h 120"/>
                    <a:gd name="T22" fmla="*/ 2147483647 w 104"/>
                    <a:gd name="T23" fmla="*/ 2147483647 h 120"/>
                    <a:gd name="T24" fmla="*/ 2147483647 w 104"/>
                    <a:gd name="T25" fmla="*/ 2147483647 h 120"/>
                    <a:gd name="T26" fmla="*/ 2147483647 w 104"/>
                    <a:gd name="T27" fmla="*/ 2147483647 h 120"/>
                    <a:gd name="T28" fmla="*/ 2147483647 w 104"/>
                    <a:gd name="T29" fmla="*/ 2147483647 h 120"/>
                    <a:gd name="T30" fmla="*/ 2147483647 w 104"/>
                    <a:gd name="T31" fmla="*/ 2147483647 h 120"/>
                    <a:gd name="T32" fmla="*/ 2147483647 w 104"/>
                    <a:gd name="T33" fmla="*/ 2147483647 h 120"/>
                    <a:gd name="T34" fmla="*/ 2147483647 w 104"/>
                    <a:gd name="T35" fmla="*/ 2147483647 h 120"/>
                    <a:gd name="T36" fmla="*/ 2147483647 w 104"/>
                    <a:gd name="T37" fmla="*/ 2147483647 h 120"/>
                    <a:gd name="T38" fmla="*/ 2147483647 w 104"/>
                    <a:gd name="T39" fmla="*/ 2147483647 h 120"/>
                    <a:gd name="T40" fmla="*/ 2147483647 w 104"/>
                    <a:gd name="T41" fmla="*/ 2147483647 h 120"/>
                    <a:gd name="T42" fmla="*/ 2147483647 w 104"/>
                    <a:gd name="T43" fmla="*/ 2147483647 h 120"/>
                    <a:gd name="T44" fmla="*/ 2147483647 w 104"/>
                    <a:gd name="T45" fmla="*/ 2147483647 h 120"/>
                    <a:gd name="T46" fmla="*/ 2147483647 w 104"/>
                    <a:gd name="T47" fmla="*/ 2147483647 h 120"/>
                    <a:gd name="T48" fmla="*/ 2147483647 w 104"/>
                    <a:gd name="T49" fmla="*/ 2147483647 h 120"/>
                    <a:gd name="T50" fmla="*/ 2147483647 w 104"/>
                    <a:gd name="T51" fmla="*/ 2147483647 h 120"/>
                    <a:gd name="T52" fmla="*/ 2147483647 w 104"/>
                    <a:gd name="T53" fmla="*/ 2147483647 h 120"/>
                    <a:gd name="T54" fmla="*/ 2147483647 w 104"/>
                    <a:gd name="T55" fmla="*/ 2147483647 h 120"/>
                    <a:gd name="T56" fmla="*/ 2147483647 w 104"/>
                    <a:gd name="T57" fmla="*/ 2147483647 h 120"/>
                    <a:gd name="T58" fmla="*/ 2147483647 w 104"/>
                    <a:gd name="T59" fmla="*/ 2147483647 h 120"/>
                    <a:gd name="T60" fmla="*/ 2147483647 w 104"/>
                    <a:gd name="T61" fmla="*/ 2147483647 h 120"/>
                    <a:gd name="T62" fmla="*/ 2147483647 w 104"/>
                    <a:gd name="T63" fmla="*/ 2147483647 h 120"/>
                    <a:gd name="T64" fmla="*/ 2147483647 w 104"/>
                    <a:gd name="T65" fmla="*/ 2147483647 h 120"/>
                    <a:gd name="T66" fmla="*/ 2147483647 w 104"/>
                    <a:gd name="T67" fmla="*/ 2147483647 h 120"/>
                    <a:gd name="T68" fmla="*/ 2147483647 w 104"/>
                    <a:gd name="T69" fmla="*/ 2147483647 h 120"/>
                    <a:gd name="T70" fmla="*/ 2147483647 w 104"/>
                    <a:gd name="T71" fmla="*/ 2147483647 h 120"/>
                    <a:gd name="T72" fmla="*/ 2147483647 w 104"/>
                    <a:gd name="T73" fmla="*/ 2147483647 h 120"/>
                    <a:gd name="T74" fmla="*/ 2147483647 w 104"/>
                    <a:gd name="T75" fmla="*/ 2147483647 h 120"/>
                    <a:gd name="T76" fmla="*/ 2147483647 w 104"/>
                    <a:gd name="T77" fmla="*/ 2147483647 h 120"/>
                    <a:gd name="T78" fmla="*/ 2147483647 w 104"/>
                    <a:gd name="T79" fmla="*/ 2147483647 h 120"/>
                    <a:gd name="T80" fmla="*/ 2147483647 w 104"/>
                    <a:gd name="T81" fmla="*/ 2147483647 h 120"/>
                    <a:gd name="T82" fmla="*/ 2147483647 w 104"/>
                    <a:gd name="T83" fmla="*/ 2147483647 h 120"/>
                    <a:gd name="T84" fmla="*/ 2147483647 w 104"/>
                    <a:gd name="T85" fmla="*/ 2147483647 h 120"/>
                    <a:gd name="T86" fmla="*/ 2147483647 w 104"/>
                    <a:gd name="T87" fmla="*/ 2147483647 h 120"/>
                    <a:gd name="T88" fmla="*/ 2147483647 w 104"/>
                    <a:gd name="T89" fmla="*/ 2147483647 h 120"/>
                    <a:gd name="T90" fmla="*/ 2147483647 w 104"/>
                    <a:gd name="T91" fmla="*/ 2147483647 h 120"/>
                    <a:gd name="T92" fmla="*/ 2147483647 w 104"/>
                    <a:gd name="T93" fmla="*/ 2147483647 h 120"/>
                    <a:gd name="T94" fmla="*/ 2147483647 w 104"/>
                    <a:gd name="T95" fmla="*/ 2147483647 h 120"/>
                    <a:gd name="T96" fmla="*/ 0 w 104"/>
                    <a:gd name="T97" fmla="*/ 2147483647 h 120"/>
                    <a:gd name="T98" fmla="*/ 0 w 104"/>
                    <a:gd name="T99" fmla="*/ 2147483647 h 120"/>
                    <a:gd name="T100" fmla="*/ 2147483647 w 104"/>
                    <a:gd name="T101" fmla="*/ 2147483647 h 120"/>
                    <a:gd name="T102" fmla="*/ 2147483647 w 104"/>
                    <a:gd name="T103" fmla="*/ 2147483647 h 120"/>
                    <a:gd name="T104" fmla="*/ 2147483647 w 104"/>
                    <a:gd name="T105" fmla="*/ 2147483647 h 120"/>
                    <a:gd name="T106" fmla="*/ 2147483647 w 104"/>
                    <a:gd name="T107" fmla="*/ 2147483647 h 120"/>
                    <a:gd name="T108" fmla="*/ 2147483647 w 104"/>
                    <a:gd name="T109" fmla="*/ 2147483647 h 120"/>
                    <a:gd name="T110" fmla="*/ 2147483647 w 104"/>
                    <a:gd name="T111" fmla="*/ 2147483647 h 120"/>
                    <a:gd name="T112" fmla="*/ 2147483647 w 104"/>
                    <a:gd name="T113" fmla="*/ 2147483647 h 120"/>
                    <a:gd name="T114" fmla="*/ 2147483647 w 104"/>
                    <a:gd name="T115" fmla="*/ 2147483647 h 120"/>
                    <a:gd name="T116" fmla="*/ 2147483647 w 104"/>
                    <a:gd name="T117" fmla="*/ 2147483647 h 120"/>
                    <a:gd name="T118" fmla="*/ 2147483647 w 104"/>
                    <a:gd name="T119" fmla="*/ 2147483647 h 120"/>
                    <a:gd name="T120" fmla="*/ 2147483647 w 104"/>
                    <a:gd name="T121" fmla="*/ 2147483647 h 12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04"/>
                    <a:gd name="T184" fmla="*/ 0 h 120"/>
                    <a:gd name="T185" fmla="*/ 104 w 104"/>
                    <a:gd name="T186" fmla="*/ 120 h 12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04" h="120">
                      <a:moveTo>
                        <a:pt x="14" y="21"/>
                      </a:moveTo>
                      <a:lnTo>
                        <a:pt x="14" y="21"/>
                      </a:lnTo>
                      <a:lnTo>
                        <a:pt x="43" y="23"/>
                      </a:lnTo>
                      <a:lnTo>
                        <a:pt x="45" y="12"/>
                      </a:lnTo>
                      <a:lnTo>
                        <a:pt x="46" y="0"/>
                      </a:lnTo>
                      <a:lnTo>
                        <a:pt x="65" y="0"/>
                      </a:lnTo>
                      <a:lnTo>
                        <a:pt x="84" y="0"/>
                      </a:lnTo>
                      <a:lnTo>
                        <a:pt x="81" y="1"/>
                      </a:lnTo>
                      <a:lnTo>
                        <a:pt x="79" y="4"/>
                      </a:lnTo>
                      <a:lnTo>
                        <a:pt x="79" y="8"/>
                      </a:lnTo>
                      <a:lnTo>
                        <a:pt x="79" y="12"/>
                      </a:lnTo>
                      <a:lnTo>
                        <a:pt x="80" y="14"/>
                      </a:lnTo>
                      <a:lnTo>
                        <a:pt x="81" y="17"/>
                      </a:lnTo>
                      <a:lnTo>
                        <a:pt x="84" y="17"/>
                      </a:lnTo>
                      <a:lnTo>
                        <a:pt x="87" y="18"/>
                      </a:lnTo>
                      <a:lnTo>
                        <a:pt x="94" y="17"/>
                      </a:lnTo>
                      <a:lnTo>
                        <a:pt x="101" y="18"/>
                      </a:lnTo>
                      <a:lnTo>
                        <a:pt x="103" y="18"/>
                      </a:lnTo>
                      <a:lnTo>
                        <a:pt x="104" y="20"/>
                      </a:lnTo>
                      <a:lnTo>
                        <a:pt x="104" y="21"/>
                      </a:lnTo>
                      <a:lnTo>
                        <a:pt x="103" y="24"/>
                      </a:lnTo>
                      <a:lnTo>
                        <a:pt x="99" y="27"/>
                      </a:lnTo>
                      <a:lnTo>
                        <a:pt x="87" y="33"/>
                      </a:lnTo>
                      <a:lnTo>
                        <a:pt x="84" y="37"/>
                      </a:lnTo>
                      <a:lnTo>
                        <a:pt x="83" y="40"/>
                      </a:lnTo>
                      <a:lnTo>
                        <a:pt x="84" y="44"/>
                      </a:lnTo>
                      <a:lnTo>
                        <a:pt x="85" y="48"/>
                      </a:lnTo>
                      <a:lnTo>
                        <a:pt x="89" y="55"/>
                      </a:lnTo>
                      <a:lnTo>
                        <a:pt x="90" y="59"/>
                      </a:lnTo>
                      <a:lnTo>
                        <a:pt x="92" y="62"/>
                      </a:lnTo>
                      <a:lnTo>
                        <a:pt x="94" y="64"/>
                      </a:lnTo>
                      <a:lnTo>
                        <a:pt x="94" y="70"/>
                      </a:lnTo>
                      <a:lnTo>
                        <a:pt x="94" y="76"/>
                      </a:lnTo>
                      <a:lnTo>
                        <a:pt x="95" y="78"/>
                      </a:lnTo>
                      <a:lnTo>
                        <a:pt x="97" y="81"/>
                      </a:lnTo>
                      <a:lnTo>
                        <a:pt x="97" y="85"/>
                      </a:lnTo>
                      <a:lnTo>
                        <a:pt x="95" y="89"/>
                      </a:lnTo>
                      <a:lnTo>
                        <a:pt x="94" y="98"/>
                      </a:lnTo>
                      <a:lnTo>
                        <a:pt x="93" y="100"/>
                      </a:lnTo>
                      <a:lnTo>
                        <a:pt x="89" y="101"/>
                      </a:lnTo>
                      <a:lnTo>
                        <a:pt x="84" y="101"/>
                      </a:lnTo>
                      <a:lnTo>
                        <a:pt x="81" y="100"/>
                      </a:lnTo>
                      <a:lnTo>
                        <a:pt x="80" y="97"/>
                      </a:lnTo>
                      <a:lnTo>
                        <a:pt x="80" y="95"/>
                      </a:lnTo>
                      <a:lnTo>
                        <a:pt x="76" y="88"/>
                      </a:lnTo>
                      <a:lnTo>
                        <a:pt x="75" y="85"/>
                      </a:lnTo>
                      <a:lnTo>
                        <a:pt x="73" y="85"/>
                      </a:lnTo>
                      <a:lnTo>
                        <a:pt x="71" y="85"/>
                      </a:lnTo>
                      <a:lnTo>
                        <a:pt x="69" y="89"/>
                      </a:lnTo>
                      <a:lnTo>
                        <a:pt x="66" y="90"/>
                      </a:lnTo>
                      <a:lnTo>
                        <a:pt x="61" y="93"/>
                      </a:lnTo>
                      <a:lnTo>
                        <a:pt x="59" y="96"/>
                      </a:lnTo>
                      <a:lnTo>
                        <a:pt x="57" y="98"/>
                      </a:lnTo>
                      <a:lnTo>
                        <a:pt x="62" y="102"/>
                      </a:lnTo>
                      <a:lnTo>
                        <a:pt x="64" y="103"/>
                      </a:lnTo>
                      <a:lnTo>
                        <a:pt x="62" y="107"/>
                      </a:lnTo>
                      <a:lnTo>
                        <a:pt x="60" y="108"/>
                      </a:lnTo>
                      <a:lnTo>
                        <a:pt x="57" y="109"/>
                      </a:lnTo>
                      <a:lnTo>
                        <a:pt x="56" y="113"/>
                      </a:lnTo>
                      <a:lnTo>
                        <a:pt x="55" y="116"/>
                      </a:lnTo>
                      <a:lnTo>
                        <a:pt x="54" y="117"/>
                      </a:lnTo>
                      <a:lnTo>
                        <a:pt x="51" y="117"/>
                      </a:lnTo>
                      <a:lnTo>
                        <a:pt x="47" y="119"/>
                      </a:lnTo>
                      <a:lnTo>
                        <a:pt x="41" y="119"/>
                      </a:lnTo>
                      <a:lnTo>
                        <a:pt x="36" y="120"/>
                      </a:lnTo>
                      <a:lnTo>
                        <a:pt x="32" y="114"/>
                      </a:lnTo>
                      <a:lnTo>
                        <a:pt x="27" y="109"/>
                      </a:lnTo>
                      <a:lnTo>
                        <a:pt x="17" y="100"/>
                      </a:lnTo>
                      <a:lnTo>
                        <a:pt x="14" y="97"/>
                      </a:lnTo>
                      <a:lnTo>
                        <a:pt x="12" y="94"/>
                      </a:lnTo>
                      <a:lnTo>
                        <a:pt x="7" y="85"/>
                      </a:lnTo>
                      <a:lnTo>
                        <a:pt x="0" y="68"/>
                      </a:lnTo>
                      <a:lnTo>
                        <a:pt x="0" y="64"/>
                      </a:lnTo>
                      <a:lnTo>
                        <a:pt x="1" y="61"/>
                      </a:lnTo>
                      <a:lnTo>
                        <a:pt x="4" y="57"/>
                      </a:lnTo>
                      <a:lnTo>
                        <a:pt x="7" y="53"/>
                      </a:lnTo>
                      <a:lnTo>
                        <a:pt x="7" y="49"/>
                      </a:lnTo>
                      <a:lnTo>
                        <a:pt x="5" y="48"/>
                      </a:lnTo>
                      <a:lnTo>
                        <a:pt x="7" y="45"/>
                      </a:lnTo>
                      <a:lnTo>
                        <a:pt x="8" y="44"/>
                      </a:lnTo>
                      <a:lnTo>
                        <a:pt x="10" y="44"/>
                      </a:lnTo>
                      <a:lnTo>
                        <a:pt x="14" y="44"/>
                      </a:lnTo>
                      <a:lnTo>
                        <a:pt x="17" y="44"/>
                      </a:lnTo>
                      <a:lnTo>
                        <a:pt x="18" y="43"/>
                      </a:lnTo>
                      <a:lnTo>
                        <a:pt x="18" y="40"/>
                      </a:lnTo>
                      <a:lnTo>
                        <a:pt x="17" y="36"/>
                      </a:lnTo>
                      <a:lnTo>
                        <a:pt x="14" y="33"/>
                      </a:lnTo>
                      <a:lnTo>
                        <a:pt x="13" y="30"/>
                      </a:lnTo>
                      <a:lnTo>
                        <a:pt x="14" y="2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5" name="Freeform 714">
                  <a:extLst>
                    <a:ext uri="{FF2B5EF4-FFF2-40B4-BE49-F238E27FC236}">
                      <a16:creationId xmlns:a16="http://schemas.microsoft.com/office/drawing/2014/main" id="{9A1781B4-815A-E841-8122-192DC3D427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2740" y="4517735"/>
                  <a:ext cx="177585" cy="244177"/>
                </a:xfrm>
                <a:custGeom>
                  <a:avLst/>
                  <a:gdLst>
                    <a:gd name="T0" fmla="*/ 2147483647 w 131"/>
                    <a:gd name="T1" fmla="*/ 2147483647 h 165"/>
                    <a:gd name="T2" fmla="*/ 2147483647 w 131"/>
                    <a:gd name="T3" fmla="*/ 2147483647 h 165"/>
                    <a:gd name="T4" fmla="*/ 2147483647 w 131"/>
                    <a:gd name="T5" fmla="*/ 2147483647 h 165"/>
                    <a:gd name="T6" fmla="*/ 2147483647 w 131"/>
                    <a:gd name="T7" fmla="*/ 2147483647 h 165"/>
                    <a:gd name="T8" fmla="*/ 2147483647 w 131"/>
                    <a:gd name="T9" fmla="*/ 2147483647 h 165"/>
                    <a:gd name="T10" fmla="*/ 2147483647 w 131"/>
                    <a:gd name="T11" fmla="*/ 2147483647 h 165"/>
                    <a:gd name="T12" fmla="*/ 2147483647 w 131"/>
                    <a:gd name="T13" fmla="*/ 2147483647 h 165"/>
                    <a:gd name="T14" fmla="*/ 2147483647 w 131"/>
                    <a:gd name="T15" fmla="*/ 2147483647 h 165"/>
                    <a:gd name="T16" fmla="*/ 2147483647 w 131"/>
                    <a:gd name="T17" fmla="*/ 2147483647 h 165"/>
                    <a:gd name="T18" fmla="*/ 2147483647 w 131"/>
                    <a:gd name="T19" fmla="*/ 2147483647 h 165"/>
                    <a:gd name="T20" fmla="*/ 2147483647 w 131"/>
                    <a:gd name="T21" fmla="*/ 2147483647 h 165"/>
                    <a:gd name="T22" fmla="*/ 2147483647 w 131"/>
                    <a:gd name="T23" fmla="*/ 2147483647 h 165"/>
                    <a:gd name="T24" fmla="*/ 2147483647 w 131"/>
                    <a:gd name="T25" fmla="*/ 2147483647 h 165"/>
                    <a:gd name="T26" fmla="*/ 2147483647 w 131"/>
                    <a:gd name="T27" fmla="*/ 2147483647 h 165"/>
                    <a:gd name="T28" fmla="*/ 2147483647 w 131"/>
                    <a:gd name="T29" fmla="*/ 2147483647 h 165"/>
                    <a:gd name="T30" fmla="*/ 2147483647 w 131"/>
                    <a:gd name="T31" fmla="*/ 2147483647 h 165"/>
                    <a:gd name="T32" fmla="*/ 2147483647 w 131"/>
                    <a:gd name="T33" fmla="*/ 2147483647 h 165"/>
                    <a:gd name="T34" fmla="*/ 2147483647 w 131"/>
                    <a:gd name="T35" fmla="*/ 2147483647 h 165"/>
                    <a:gd name="T36" fmla="*/ 2147483647 w 131"/>
                    <a:gd name="T37" fmla="*/ 2147483647 h 165"/>
                    <a:gd name="T38" fmla="*/ 2147483647 w 131"/>
                    <a:gd name="T39" fmla="*/ 2147483647 h 165"/>
                    <a:gd name="T40" fmla="*/ 2147483647 w 131"/>
                    <a:gd name="T41" fmla="*/ 2147483647 h 165"/>
                    <a:gd name="T42" fmla="*/ 2147483647 w 131"/>
                    <a:gd name="T43" fmla="*/ 2147483647 h 165"/>
                    <a:gd name="T44" fmla="*/ 2147483647 w 131"/>
                    <a:gd name="T45" fmla="*/ 2147483647 h 165"/>
                    <a:gd name="T46" fmla="*/ 2147483647 w 131"/>
                    <a:gd name="T47" fmla="*/ 2147483647 h 165"/>
                    <a:gd name="T48" fmla="*/ 2147483647 w 131"/>
                    <a:gd name="T49" fmla="*/ 2147483647 h 165"/>
                    <a:gd name="T50" fmla="*/ 2147483647 w 131"/>
                    <a:gd name="T51" fmla="*/ 2147483647 h 165"/>
                    <a:gd name="T52" fmla="*/ 2147483647 w 131"/>
                    <a:gd name="T53" fmla="*/ 2147483647 h 165"/>
                    <a:gd name="T54" fmla="*/ 2147483647 w 131"/>
                    <a:gd name="T55" fmla="*/ 2147483647 h 165"/>
                    <a:gd name="T56" fmla="*/ 2147483647 w 131"/>
                    <a:gd name="T57" fmla="*/ 2147483647 h 165"/>
                    <a:gd name="T58" fmla="*/ 2147483647 w 131"/>
                    <a:gd name="T59" fmla="*/ 2147483647 h 165"/>
                    <a:gd name="T60" fmla="*/ 2147483647 w 131"/>
                    <a:gd name="T61" fmla="*/ 2147483647 h 165"/>
                    <a:gd name="T62" fmla="*/ 2147483647 w 131"/>
                    <a:gd name="T63" fmla="*/ 2147483647 h 165"/>
                    <a:gd name="T64" fmla="*/ 2147483647 w 131"/>
                    <a:gd name="T65" fmla="*/ 2147483647 h 165"/>
                    <a:gd name="T66" fmla="*/ 2147483647 w 131"/>
                    <a:gd name="T67" fmla="*/ 2147483647 h 165"/>
                    <a:gd name="T68" fmla="*/ 2147483647 w 131"/>
                    <a:gd name="T69" fmla="*/ 0 h 165"/>
                    <a:gd name="T70" fmla="*/ 2147483647 w 131"/>
                    <a:gd name="T71" fmla="*/ 2147483647 h 165"/>
                    <a:gd name="T72" fmla="*/ 2147483647 w 131"/>
                    <a:gd name="T73" fmla="*/ 2147483647 h 165"/>
                    <a:gd name="T74" fmla="*/ 2147483647 w 131"/>
                    <a:gd name="T75" fmla="*/ 2147483647 h 165"/>
                    <a:gd name="T76" fmla="*/ 2147483647 w 131"/>
                    <a:gd name="T77" fmla="*/ 2147483647 h 165"/>
                    <a:gd name="T78" fmla="*/ 2147483647 w 131"/>
                    <a:gd name="T79" fmla="*/ 2147483647 h 165"/>
                    <a:gd name="T80" fmla="*/ 2147483647 w 131"/>
                    <a:gd name="T81" fmla="*/ 2147483647 h 165"/>
                    <a:gd name="T82" fmla="*/ 2147483647 w 131"/>
                    <a:gd name="T83" fmla="*/ 2147483647 h 165"/>
                    <a:gd name="T84" fmla="*/ 2147483647 w 131"/>
                    <a:gd name="T85" fmla="*/ 2147483647 h 165"/>
                    <a:gd name="T86" fmla="*/ 2147483647 w 131"/>
                    <a:gd name="T87" fmla="*/ 2147483647 h 165"/>
                    <a:gd name="T88" fmla="*/ 2147483647 w 131"/>
                    <a:gd name="T89" fmla="*/ 2147483647 h 165"/>
                    <a:gd name="T90" fmla="*/ 2147483647 w 131"/>
                    <a:gd name="T91" fmla="*/ 2147483647 h 165"/>
                    <a:gd name="T92" fmla="*/ 2147483647 w 131"/>
                    <a:gd name="T93" fmla="*/ 2147483647 h 165"/>
                    <a:gd name="T94" fmla="*/ 2147483647 w 131"/>
                    <a:gd name="T95" fmla="*/ 2147483647 h 165"/>
                    <a:gd name="T96" fmla="*/ 2147483647 w 131"/>
                    <a:gd name="T97" fmla="*/ 2147483647 h 165"/>
                    <a:gd name="T98" fmla="*/ 2147483647 w 131"/>
                    <a:gd name="T99" fmla="*/ 2147483647 h 165"/>
                    <a:gd name="T100" fmla="*/ 2147483647 w 131"/>
                    <a:gd name="T101" fmla="*/ 2147483647 h 165"/>
                    <a:gd name="T102" fmla="*/ 2147483647 w 131"/>
                    <a:gd name="T103" fmla="*/ 2147483647 h 165"/>
                    <a:gd name="T104" fmla="*/ 2147483647 w 131"/>
                    <a:gd name="T105" fmla="*/ 2147483647 h 165"/>
                    <a:gd name="T106" fmla="*/ 2147483647 w 131"/>
                    <a:gd name="T107" fmla="*/ 2147483647 h 165"/>
                    <a:gd name="T108" fmla="*/ 2147483647 w 131"/>
                    <a:gd name="T109" fmla="*/ 2147483647 h 165"/>
                    <a:gd name="T110" fmla="*/ 2147483647 w 131"/>
                    <a:gd name="T111" fmla="*/ 2147483647 h 165"/>
                    <a:gd name="T112" fmla="*/ 2147483647 w 131"/>
                    <a:gd name="T113" fmla="*/ 2147483647 h 165"/>
                    <a:gd name="T114" fmla="*/ 2147483647 w 131"/>
                    <a:gd name="T115" fmla="*/ 2147483647 h 165"/>
                    <a:gd name="T116" fmla="*/ 2147483647 w 131"/>
                    <a:gd name="T117" fmla="*/ 2147483647 h 165"/>
                    <a:gd name="T118" fmla="*/ 2147483647 w 131"/>
                    <a:gd name="T119" fmla="*/ 2147483647 h 165"/>
                    <a:gd name="T120" fmla="*/ 0 w 131"/>
                    <a:gd name="T121" fmla="*/ 2147483647 h 16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1"/>
                    <a:gd name="T184" fmla="*/ 0 h 165"/>
                    <a:gd name="T185" fmla="*/ 131 w 131"/>
                    <a:gd name="T186" fmla="*/ 165 h 16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1" h="165">
                      <a:moveTo>
                        <a:pt x="0" y="146"/>
                      </a:moveTo>
                      <a:lnTo>
                        <a:pt x="0" y="146"/>
                      </a:lnTo>
                      <a:lnTo>
                        <a:pt x="5" y="145"/>
                      </a:lnTo>
                      <a:lnTo>
                        <a:pt x="11" y="145"/>
                      </a:lnTo>
                      <a:lnTo>
                        <a:pt x="15" y="143"/>
                      </a:lnTo>
                      <a:lnTo>
                        <a:pt x="18" y="143"/>
                      </a:lnTo>
                      <a:lnTo>
                        <a:pt x="19" y="142"/>
                      </a:lnTo>
                      <a:lnTo>
                        <a:pt x="20" y="139"/>
                      </a:lnTo>
                      <a:lnTo>
                        <a:pt x="21" y="135"/>
                      </a:lnTo>
                      <a:lnTo>
                        <a:pt x="24" y="134"/>
                      </a:lnTo>
                      <a:lnTo>
                        <a:pt x="26" y="133"/>
                      </a:lnTo>
                      <a:lnTo>
                        <a:pt x="28" y="129"/>
                      </a:lnTo>
                      <a:lnTo>
                        <a:pt x="26" y="128"/>
                      </a:lnTo>
                      <a:lnTo>
                        <a:pt x="21" y="124"/>
                      </a:lnTo>
                      <a:lnTo>
                        <a:pt x="23" y="122"/>
                      </a:lnTo>
                      <a:lnTo>
                        <a:pt x="25" y="119"/>
                      </a:lnTo>
                      <a:lnTo>
                        <a:pt x="30" y="116"/>
                      </a:lnTo>
                      <a:lnTo>
                        <a:pt x="33" y="115"/>
                      </a:lnTo>
                      <a:lnTo>
                        <a:pt x="35" y="111"/>
                      </a:lnTo>
                      <a:lnTo>
                        <a:pt x="37" y="111"/>
                      </a:lnTo>
                      <a:lnTo>
                        <a:pt x="39" y="111"/>
                      </a:lnTo>
                      <a:lnTo>
                        <a:pt x="40" y="114"/>
                      </a:lnTo>
                      <a:lnTo>
                        <a:pt x="44" y="121"/>
                      </a:lnTo>
                      <a:lnTo>
                        <a:pt x="44" y="123"/>
                      </a:lnTo>
                      <a:lnTo>
                        <a:pt x="45" y="126"/>
                      </a:lnTo>
                      <a:lnTo>
                        <a:pt x="48" y="127"/>
                      </a:lnTo>
                      <a:lnTo>
                        <a:pt x="53" y="127"/>
                      </a:lnTo>
                      <a:lnTo>
                        <a:pt x="57" y="126"/>
                      </a:lnTo>
                      <a:lnTo>
                        <a:pt x="58" y="124"/>
                      </a:lnTo>
                      <a:lnTo>
                        <a:pt x="59" y="115"/>
                      </a:lnTo>
                      <a:lnTo>
                        <a:pt x="61" y="111"/>
                      </a:lnTo>
                      <a:lnTo>
                        <a:pt x="61" y="107"/>
                      </a:lnTo>
                      <a:lnTo>
                        <a:pt x="59" y="104"/>
                      </a:lnTo>
                      <a:lnTo>
                        <a:pt x="58" y="102"/>
                      </a:lnTo>
                      <a:lnTo>
                        <a:pt x="58" y="96"/>
                      </a:lnTo>
                      <a:lnTo>
                        <a:pt x="58" y="90"/>
                      </a:lnTo>
                      <a:lnTo>
                        <a:pt x="56" y="88"/>
                      </a:lnTo>
                      <a:lnTo>
                        <a:pt x="54" y="85"/>
                      </a:lnTo>
                      <a:lnTo>
                        <a:pt x="53" y="81"/>
                      </a:lnTo>
                      <a:lnTo>
                        <a:pt x="49" y="74"/>
                      </a:lnTo>
                      <a:lnTo>
                        <a:pt x="48" y="70"/>
                      </a:lnTo>
                      <a:lnTo>
                        <a:pt x="47" y="66"/>
                      </a:lnTo>
                      <a:lnTo>
                        <a:pt x="48" y="63"/>
                      </a:lnTo>
                      <a:lnTo>
                        <a:pt x="51" y="59"/>
                      </a:lnTo>
                      <a:lnTo>
                        <a:pt x="63" y="53"/>
                      </a:lnTo>
                      <a:lnTo>
                        <a:pt x="67" y="50"/>
                      </a:lnTo>
                      <a:lnTo>
                        <a:pt x="68" y="47"/>
                      </a:lnTo>
                      <a:lnTo>
                        <a:pt x="68" y="46"/>
                      </a:lnTo>
                      <a:lnTo>
                        <a:pt x="67" y="44"/>
                      </a:lnTo>
                      <a:lnTo>
                        <a:pt x="65" y="44"/>
                      </a:lnTo>
                      <a:lnTo>
                        <a:pt x="58" y="43"/>
                      </a:lnTo>
                      <a:lnTo>
                        <a:pt x="51" y="44"/>
                      </a:lnTo>
                      <a:lnTo>
                        <a:pt x="48" y="43"/>
                      </a:lnTo>
                      <a:lnTo>
                        <a:pt x="45" y="43"/>
                      </a:lnTo>
                      <a:lnTo>
                        <a:pt x="44" y="40"/>
                      </a:lnTo>
                      <a:lnTo>
                        <a:pt x="43" y="38"/>
                      </a:lnTo>
                      <a:lnTo>
                        <a:pt x="43" y="34"/>
                      </a:lnTo>
                      <a:lnTo>
                        <a:pt x="43" y="30"/>
                      </a:lnTo>
                      <a:lnTo>
                        <a:pt x="45" y="27"/>
                      </a:lnTo>
                      <a:lnTo>
                        <a:pt x="48" y="26"/>
                      </a:lnTo>
                      <a:lnTo>
                        <a:pt x="52" y="24"/>
                      </a:lnTo>
                      <a:lnTo>
                        <a:pt x="56" y="23"/>
                      </a:lnTo>
                      <a:lnTo>
                        <a:pt x="59" y="23"/>
                      </a:lnTo>
                      <a:lnTo>
                        <a:pt x="63" y="24"/>
                      </a:lnTo>
                      <a:lnTo>
                        <a:pt x="67" y="26"/>
                      </a:lnTo>
                      <a:lnTo>
                        <a:pt x="80" y="34"/>
                      </a:lnTo>
                      <a:lnTo>
                        <a:pt x="81" y="28"/>
                      </a:lnTo>
                      <a:lnTo>
                        <a:pt x="89" y="28"/>
                      </a:lnTo>
                      <a:lnTo>
                        <a:pt x="95" y="27"/>
                      </a:lnTo>
                      <a:lnTo>
                        <a:pt x="96" y="27"/>
                      </a:lnTo>
                      <a:lnTo>
                        <a:pt x="98" y="25"/>
                      </a:lnTo>
                      <a:lnTo>
                        <a:pt x="101" y="19"/>
                      </a:lnTo>
                      <a:lnTo>
                        <a:pt x="105" y="12"/>
                      </a:lnTo>
                      <a:lnTo>
                        <a:pt x="108" y="8"/>
                      </a:lnTo>
                      <a:lnTo>
                        <a:pt x="110" y="6"/>
                      </a:lnTo>
                      <a:lnTo>
                        <a:pt x="119" y="2"/>
                      </a:lnTo>
                      <a:lnTo>
                        <a:pt x="131" y="0"/>
                      </a:lnTo>
                      <a:lnTo>
                        <a:pt x="129" y="9"/>
                      </a:lnTo>
                      <a:lnTo>
                        <a:pt x="127" y="17"/>
                      </a:lnTo>
                      <a:lnTo>
                        <a:pt x="122" y="31"/>
                      </a:lnTo>
                      <a:lnTo>
                        <a:pt x="120" y="36"/>
                      </a:lnTo>
                      <a:lnTo>
                        <a:pt x="120" y="38"/>
                      </a:lnTo>
                      <a:lnTo>
                        <a:pt x="119" y="40"/>
                      </a:lnTo>
                      <a:lnTo>
                        <a:pt x="118" y="45"/>
                      </a:lnTo>
                      <a:lnTo>
                        <a:pt x="117" y="51"/>
                      </a:lnTo>
                      <a:lnTo>
                        <a:pt x="118" y="58"/>
                      </a:lnTo>
                      <a:lnTo>
                        <a:pt x="120" y="66"/>
                      </a:lnTo>
                      <a:lnTo>
                        <a:pt x="122" y="70"/>
                      </a:lnTo>
                      <a:lnTo>
                        <a:pt x="122" y="74"/>
                      </a:lnTo>
                      <a:lnTo>
                        <a:pt x="118" y="82"/>
                      </a:lnTo>
                      <a:lnTo>
                        <a:pt x="117" y="87"/>
                      </a:lnTo>
                      <a:lnTo>
                        <a:pt x="115" y="90"/>
                      </a:lnTo>
                      <a:lnTo>
                        <a:pt x="111" y="95"/>
                      </a:lnTo>
                      <a:lnTo>
                        <a:pt x="108" y="98"/>
                      </a:lnTo>
                      <a:lnTo>
                        <a:pt x="104" y="101"/>
                      </a:lnTo>
                      <a:lnTo>
                        <a:pt x="103" y="102"/>
                      </a:lnTo>
                      <a:lnTo>
                        <a:pt x="101" y="103"/>
                      </a:lnTo>
                      <a:lnTo>
                        <a:pt x="100" y="107"/>
                      </a:lnTo>
                      <a:lnTo>
                        <a:pt x="99" y="110"/>
                      </a:lnTo>
                      <a:lnTo>
                        <a:pt x="94" y="117"/>
                      </a:lnTo>
                      <a:lnTo>
                        <a:pt x="92" y="119"/>
                      </a:lnTo>
                      <a:lnTo>
                        <a:pt x="92" y="120"/>
                      </a:lnTo>
                      <a:lnTo>
                        <a:pt x="94" y="123"/>
                      </a:lnTo>
                      <a:lnTo>
                        <a:pt x="95" y="128"/>
                      </a:lnTo>
                      <a:lnTo>
                        <a:pt x="96" y="132"/>
                      </a:lnTo>
                      <a:lnTo>
                        <a:pt x="98" y="135"/>
                      </a:lnTo>
                      <a:lnTo>
                        <a:pt x="96" y="139"/>
                      </a:lnTo>
                      <a:lnTo>
                        <a:pt x="92" y="145"/>
                      </a:lnTo>
                      <a:lnTo>
                        <a:pt x="90" y="146"/>
                      </a:lnTo>
                      <a:lnTo>
                        <a:pt x="86" y="147"/>
                      </a:lnTo>
                      <a:lnTo>
                        <a:pt x="81" y="148"/>
                      </a:lnTo>
                      <a:lnTo>
                        <a:pt x="77" y="151"/>
                      </a:lnTo>
                      <a:lnTo>
                        <a:pt x="71" y="155"/>
                      </a:lnTo>
                      <a:lnTo>
                        <a:pt x="70" y="156"/>
                      </a:lnTo>
                      <a:lnTo>
                        <a:pt x="67" y="156"/>
                      </a:lnTo>
                      <a:lnTo>
                        <a:pt x="65" y="154"/>
                      </a:lnTo>
                      <a:lnTo>
                        <a:pt x="62" y="151"/>
                      </a:lnTo>
                      <a:lnTo>
                        <a:pt x="59" y="149"/>
                      </a:lnTo>
                      <a:lnTo>
                        <a:pt x="57" y="149"/>
                      </a:lnTo>
                      <a:lnTo>
                        <a:pt x="53" y="151"/>
                      </a:lnTo>
                      <a:lnTo>
                        <a:pt x="52" y="153"/>
                      </a:lnTo>
                      <a:lnTo>
                        <a:pt x="51" y="155"/>
                      </a:lnTo>
                      <a:lnTo>
                        <a:pt x="49" y="160"/>
                      </a:lnTo>
                      <a:lnTo>
                        <a:pt x="48" y="161"/>
                      </a:lnTo>
                      <a:lnTo>
                        <a:pt x="47" y="162"/>
                      </a:lnTo>
                      <a:lnTo>
                        <a:pt x="43" y="162"/>
                      </a:lnTo>
                      <a:lnTo>
                        <a:pt x="40" y="160"/>
                      </a:lnTo>
                      <a:lnTo>
                        <a:pt x="35" y="154"/>
                      </a:lnTo>
                      <a:lnTo>
                        <a:pt x="31" y="152"/>
                      </a:lnTo>
                      <a:lnTo>
                        <a:pt x="24" y="156"/>
                      </a:lnTo>
                      <a:lnTo>
                        <a:pt x="14" y="165"/>
                      </a:lnTo>
                      <a:lnTo>
                        <a:pt x="6" y="159"/>
                      </a:lnTo>
                      <a:lnTo>
                        <a:pt x="4" y="155"/>
                      </a:lnTo>
                      <a:lnTo>
                        <a:pt x="1" y="151"/>
                      </a:lnTo>
                      <a:lnTo>
                        <a:pt x="0" y="14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6" name="Freeform 715">
                  <a:extLst>
                    <a:ext uri="{FF2B5EF4-FFF2-40B4-BE49-F238E27FC236}">
                      <a16:creationId xmlns:a16="http://schemas.microsoft.com/office/drawing/2014/main" id="{88E7EE30-696F-964B-9E93-990108B87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1979" y="4744154"/>
                  <a:ext cx="36996" cy="38477"/>
                </a:xfrm>
                <a:custGeom>
                  <a:avLst/>
                  <a:gdLst>
                    <a:gd name="T0" fmla="*/ 0 w 27"/>
                    <a:gd name="T1" fmla="*/ 2147483647 h 26"/>
                    <a:gd name="T2" fmla="*/ 2147483647 w 27"/>
                    <a:gd name="T3" fmla="*/ 2147483647 h 26"/>
                    <a:gd name="T4" fmla="*/ 2147483647 w 27"/>
                    <a:gd name="T5" fmla="*/ 0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2147483647 h 26"/>
                    <a:gd name="T12" fmla="*/ 2147483647 w 27"/>
                    <a:gd name="T13" fmla="*/ 2147483647 h 26"/>
                    <a:gd name="T14" fmla="*/ 2147483647 w 27"/>
                    <a:gd name="T15" fmla="*/ 2147483647 h 26"/>
                    <a:gd name="T16" fmla="*/ 2147483647 w 27"/>
                    <a:gd name="T17" fmla="*/ 2147483647 h 26"/>
                    <a:gd name="T18" fmla="*/ 2147483647 w 27"/>
                    <a:gd name="T19" fmla="*/ 2147483647 h 26"/>
                    <a:gd name="T20" fmla="*/ 2147483647 w 27"/>
                    <a:gd name="T21" fmla="*/ 2147483647 h 26"/>
                    <a:gd name="T22" fmla="*/ 2147483647 w 27"/>
                    <a:gd name="T23" fmla="*/ 2147483647 h 26"/>
                    <a:gd name="T24" fmla="*/ 2147483647 w 27"/>
                    <a:gd name="T25" fmla="*/ 2147483647 h 26"/>
                    <a:gd name="T26" fmla="*/ 2147483647 w 27"/>
                    <a:gd name="T27" fmla="*/ 2147483647 h 26"/>
                    <a:gd name="T28" fmla="*/ 0 w 27"/>
                    <a:gd name="T29" fmla="*/ 2147483647 h 2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7"/>
                    <a:gd name="T46" fmla="*/ 0 h 26"/>
                    <a:gd name="T47" fmla="*/ 27 w 27"/>
                    <a:gd name="T48" fmla="*/ 26 h 2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7" h="26">
                      <a:moveTo>
                        <a:pt x="0" y="13"/>
                      </a:moveTo>
                      <a:lnTo>
                        <a:pt x="10" y="5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7" y="8"/>
                      </a:lnTo>
                      <a:lnTo>
                        <a:pt x="23" y="13"/>
                      </a:lnTo>
                      <a:lnTo>
                        <a:pt x="19" y="17"/>
                      </a:lnTo>
                      <a:lnTo>
                        <a:pt x="18" y="20"/>
                      </a:lnTo>
                      <a:lnTo>
                        <a:pt x="18" y="24"/>
                      </a:lnTo>
                      <a:lnTo>
                        <a:pt x="16" y="24"/>
                      </a:lnTo>
                      <a:lnTo>
                        <a:pt x="15" y="25"/>
                      </a:lnTo>
                      <a:lnTo>
                        <a:pt x="9" y="26"/>
                      </a:lnTo>
                      <a:lnTo>
                        <a:pt x="9" y="22"/>
                      </a:lnTo>
                      <a:lnTo>
                        <a:pt x="6" y="20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7" name="Freeform 716">
                  <a:extLst>
                    <a:ext uri="{FF2B5EF4-FFF2-40B4-BE49-F238E27FC236}">
                      <a16:creationId xmlns:a16="http://schemas.microsoft.com/office/drawing/2014/main" id="{8FADA8D2-EB03-8942-BA07-E3671CAAE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48216" y="4316471"/>
                  <a:ext cx="309293" cy="245659"/>
                </a:xfrm>
                <a:custGeom>
                  <a:avLst/>
                  <a:gdLst>
                    <a:gd name="T0" fmla="*/ 2147483647 w 226"/>
                    <a:gd name="T1" fmla="*/ 2147483647 h 166"/>
                    <a:gd name="T2" fmla="*/ 2147483647 w 226"/>
                    <a:gd name="T3" fmla="*/ 2147483647 h 166"/>
                    <a:gd name="T4" fmla="*/ 2147483647 w 226"/>
                    <a:gd name="T5" fmla="*/ 2147483647 h 166"/>
                    <a:gd name="T6" fmla="*/ 2147483647 w 226"/>
                    <a:gd name="T7" fmla="*/ 2147483647 h 166"/>
                    <a:gd name="T8" fmla="*/ 2147483647 w 226"/>
                    <a:gd name="T9" fmla="*/ 2147483647 h 166"/>
                    <a:gd name="T10" fmla="*/ 2147483647 w 226"/>
                    <a:gd name="T11" fmla="*/ 2147483647 h 166"/>
                    <a:gd name="T12" fmla="*/ 2147483647 w 226"/>
                    <a:gd name="T13" fmla="*/ 2147483647 h 166"/>
                    <a:gd name="T14" fmla="*/ 2147483647 w 226"/>
                    <a:gd name="T15" fmla="*/ 2147483647 h 166"/>
                    <a:gd name="T16" fmla="*/ 2147483647 w 226"/>
                    <a:gd name="T17" fmla="*/ 2147483647 h 166"/>
                    <a:gd name="T18" fmla="*/ 2147483647 w 226"/>
                    <a:gd name="T19" fmla="*/ 2147483647 h 166"/>
                    <a:gd name="T20" fmla="*/ 0 w 226"/>
                    <a:gd name="T21" fmla="*/ 2147483647 h 166"/>
                    <a:gd name="T22" fmla="*/ 2147483647 w 226"/>
                    <a:gd name="T23" fmla="*/ 2147483647 h 166"/>
                    <a:gd name="T24" fmla="*/ 2147483647 w 226"/>
                    <a:gd name="T25" fmla="*/ 2147483647 h 166"/>
                    <a:gd name="T26" fmla="*/ 2147483647 w 226"/>
                    <a:gd name="T27" fmla="*/ 2147483647 h 166"/>
                    <a:gd name="T28" fmla="*/ 2147483647 w 226"/>
                    <a:gd name="T29" fmla="*/ 2147483647 h 166"/>
                    <a:gd name="T30" fmla="*/ 2147483647 w 226"/>
                    <a:gd name="T31" fmla="*/ 2147483647 h 166"/>
                    <a:gd name="T32" fmla="*/ 2147483647 w 226"/>
                    <a:gd name="T33" fmla="*/ 2147483647 h 166"/>
                    <a:gd name="T34" fmla="*/ 2147483647 w 226"/>
                    <a:gd name="T35" fmla="*/ 2147483647 h 166"/>
                    <a:gd name="T36" fmla="*/ 2147483647 w 226"/>
                    <a:gd name="T37" fmla="*/ 2147483647 h 166"/>
                    <a:gd name="T38" fmla="*/ 2147483647 w 226"/>
                    <a:gd name="T39" fmla="*/ 2147483647 h 166"/>
                    <a:gd name="T40" fmla="*/ 2147483647 w 226"/>
                    <a:gd name="T41" fmla="*/ 2147483647 h 166"/>
                    <a:gd name="T42" fmla="*/ 2147483647 w 226"/>
                    <a:gd name="T43" fmla="*/ 2147483647 h 166"/>
                    <a:gd name="T44" fmla="*/ 2147483647 w 226"/>
                    <a:gd name="T45" fmla="*/ 2147483647 h 166"/>
                    <a:gd name="T46" fmla="*/ 2147483647 w 226"/>
                    <a:gd name="T47" fmla="*/ 2147483647 h 166"/>
                    <a:gd name="T48" fmla="*/ 2147483647 w 226"/>
                    <a:gd name="T49" fmla="*/ 2147483647 h 166"/>
                    <a:gd name="T50" fmla="*/ 2147483647 w 226"/>
                    <a:gd name="T51" fmla="*/ 2147483647 h 166"/>
                    <a:gd name="T52" fmla="*/ 2147483647 w 226"/>
                    <a:gd name="T53" fmla="*/ 2147483647 h 166"/>
                    <a:gd name="T54" fmla="*/ 2147483647 w 226"/>
                    <a:gd name="T55" fmla="*/ 2147483647 h 166"/>
                    <a:gd name="T56" fmla="*/ 2147483647 w 226"/>
                    <a:gd name="T57" fmla="*/ 2147483647 h 166"/>
                    <a:gd name="T58" fmla="*/ 2147483647 w 226"/>
                    <a:gd name="T59" fmla="*/ 2147483647 h 166"/>
                    <a:gd name="T60" fmla="*/ 2147483647 w 226"/>
                    <a:gd name="T61" fmla="*/ 2147483647 h 166"/>
                    <a:gd name="T62" fmla="*/ 2147483647 w 226"/>
                    <a:gd name="T63" fmla="*/ 2147483647 h 166"/>
                    <a:gd name="T64" fmla="*/ 2147483647 w 226"/>
                    <a:gd name="T65" fmla="*/ 2147483647 h 166"/>
                    <a:gd name="T66" fmla="*/ 2147483647 w 226"/>
                    <a:gd name="T67" fmla="*/ 2147483647 h 166"/>
                    <a:gd name="T68" fmla="*/ 2147483647 w 226"/>
                    <a:gd name="T69" fmla="*/ 2147483647 h 166"/>
                    <a:gd name="T70" fmla="*/ 2147483647 w 226"/>
                    <a:gd name="T71" fmla="*/ 2147483647 h 166"/>
                    <a:gd name="T72" fmla="*/ 2147483647 w 226"/>
                    <a:gd name="T73" fmla="*/ 2147483647 h 166"/>
                    <a:gd name="T74" fmla="*/ 2147483647 w 226"/>
                    <a:gd name="T75" fmla="*/ 2147483647 h 166"/>
                    <a:gd name="T76" fmla="*/ 2147483647 w 226"/>
                    <a:gd name="T77" fmla="*/ 2147483647 h 166"/>
                    <a:gd name="T78" fmla="*/ 2147483647 w 226"/>
                    <a:gd name="T79" fmla="*/ 2147483647 h 166"/>
                    <a:gd name="T80" fmla="*/ 2147483647 w 226"/>
                    <a:gd name="T81" fmla="*/ 2147483647 h 166"/>
                    <a:gd name="T82" fmla="*/ 2147483647 w 226"/>
                    <a:gd name="T83" fmla="*/ 2147483647 h 166"/>
                    <a:gd name="T84" fmla="*/ 2147483647 w 226"/>
                    <a:gd name="T85" fmla="*/ 2147483647 h 166"/>
                    <a:gd name="T86" fmla="*/ 2147483647 w 226"/>
                    <a:gd name="T87" fmla="*/ 2147483647 h 166"/>
                    <a:gd name="T88" fmla="*/ 2147483647 w 226"/>
                    <a:gd name="T89" fmla="*/ 2147483647 h 166"/>
                    <a:gd name="T90" fmla="*/ 2147483647 w 226"/>
                    <a:gd name="T91" fmla="*/ 2147483647 h 166"/>
                    <a:gd name="T92" fmla="*/ 2147483647 w 226"/>
                    <a:gd name="T93" fmla="*/ 2147483647 h 166"/>
                    <a:gd name="T94" fmla="*/ 2147483647 w 226"/>
                    <a:gd name="T95" fmla="*/ 2147483647 h 166"/>
                    <a:gd name="T96" fmla="*/ 2147483647 w 226"/>
                    <a:gd name="T97" fmla="*/ 2147483647 h 166"/>
                    <a:gd name="T98" fmla="*/ 2147483647 w 226"/>
                    <a:gd name="T99" fmla="*/ 2147483647 h 166"/>
                    <a:gd name="T100" fmla="*/ 2147483647 w 226"/>
                    <a:gd name="T101" fmla="*/ 2147483647 h 166"/>
                    <a:gd name="T102" fmla="*/ 2147483647 w 226"/>
                    <a:gd name="T103" fmla="*/ 2147483647 h 166"/>
                    <a:gd name="T104" fmla="*/ 2147483647 w 226"/>
                    <a:gd name="T105" fmla="*/ 2147483647 h 166"/>
                    <a:gd name="T106" fmla="*/ 2147483647 w 226"/>
                    <a:gd name="T107" fmla="*/ 2147483647 h 166"/>
                    <a:gd name="T108" fmla="*/ 2147483647 w 226"/>
                    <a:gd name="T109" fmla="*/ 2147483647 h 166"/>
                    <a:gd name="T110" fmla="*/ 2147483647 w 226"/>
                    <a:gd name="T111" fmla="*/ 2147483647 h 166"/>
                    <a:gd name="T112" fmla="*/ 2147483647 w 226"/>
                    <a:gd name="T113" fmla="*/ 2147483647 h 166"/>
                    <a:gd name="T114" fmla="*/ 2147483647 w 226"/>
                    <a:gd name="T115" fmla="*/ 2147483647 h 166"/>
                    <a:gd name="T116" fmla="*/ 2147483647 w 226"/>
                    <a:gd name="T117" fmla="*/ 2147483647 h 16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26"/>
                    <a:gd name="T178" fmla="*/ 0 h 166"/>
                    <a:gd name="T179" fmla="*/ 226 w 226"/>
                    <a:gd name="T180" fmla="*/ 166 h 16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26" h="166">
                      <a:moveTo>
                        <a:pt x="76" y="137"/>
                      </a:moveTo>
                      <a:lnTo>
                        <a:pt x="64" y="140"/>
                      </a:lnTo>
                      <a:lnTo>
                        <a:pt x="55" y="143"/>
                      </a:lnTo>
                      <a:lnTo>
                        <a:pt x="53" y="145"/>
                      </a:lnTo>
                      <a:lnTo>
                        <a:pt x="50" y="149"/>
                      </a:lnTo>
                      <a:lnTo>
                        <a:pt x="47" y="156"/>
                      </a:lnTo>
                      <a:lnTo>
                        <a:pt x="43" y="162"/>
                      </a:lnTo>
                      <a:lnTo>
                        <a:pt x="42" y="164"/>
                      </a:lnTo>
                      <a:lnTo>
                        <a:pt x="40" y="164"/>
                      </a:lnTo>
                      <a:lnTo>
                        <a:pt x="34" y="166"/>
                      </a:lnTo>
                      <a:lnTo>
                        <a:pt x="26" y="166"/>
                      </a:lnTo>
                      <a:lnTo>
                        <a:pt x="25" y="157"/>
                      </a:lnTo>
                      <a:lnTo>
                        <a:pt x="26" y="147"/>
                      </a:lnTo>
                      <a:lnTo>
                        <a:pt x="26" y="141"/>
                      </a:lnTo>
                      <a:lnTo>
                        <a:pt x="25" y="136"/>
                      </a:lnTo>
                      <a:lnTo>
                        <a:pt x="19" y="130"/>
                      </a:lnTo>
                      <a:lnTo>
                        <a:pt x="12" y="125"/>
                      </a:lnTo>
                      <a:lnTo>
                        <a:pt x="6" y="119"/>
                      </a:lnTo>
                      <a:lnTo>
                        <a:pt x="3" y="116"/>
                      </a:lnTo>
                      <a:lnTo>
                        <a:pt x="2" y="111"/>
                      </a:lnTo>
                      <a:lnTo>
                        <a:pt x="0" y="102"/>
                      </a:lnTo>
                      <a:lnTo>
                        <a:pt x="0" y="92"/>
                      </a:lnTo>
                      <a:lnTo>
                        <a:pt x="1" y="87"/>
                      </a:lnTo>
                      <a:lnTo>
                        <a:pt x="2" y="83"/>
                      </a:lnTo>
                      <a:lnTo>
                        <a:pt x="6" y="79"/>
                      </a:lnTo>
                      <a:lnTo>
                        <a:pt x="10" y="76"/>
                      </a:lnTo>
                      <a:lnTo>
                        <a:pt x="14" y="74"/>
                      </a:lnTo>
                      <a:lnTo>
                        <a:pt x="16" y="73"/>
                      </a:lnTo>
                      <a:lnTo>
                        <a:pt x="20" y="72"/>
                      </a:lnTo>
                      <a:lnTo>
                        <a:pt x="29" y="67"/>
                      </a:lnTo>
                      <a:lnTo>
                        <a:pt x="36" y="62"/>
                      </a:lnTo>
                      <a:lnTo>
                        <a:pt x="43" y="61"/>
                      </a:lnTo>
                      <a:lnTo>
                        <a:pt x="48" y="61"/>
                      </a:lnTo>
                      <a:lnTo>
                        <a:pt x="59" y="61"/>
                      </a:lnTo>
                      <a:lnTo>
                        <a:pt x="63" y="61"/>
                      </a:lnTo>
                      <a:lnTo>
                        <a:pt x="66" y="60"/>
                      </a:lnTo>
                      <a:lnTo>
                        <a:pt x="69" y="58"/>
                      </a:lnTo>
                      <a:lnTo>
                        <a:pt x="72" y="57"/>
                      </a:lnTo>
                      <a:lnTo>
                        <a:pt x="82" y="53"/>
                      </a:lnTo>
                      <a:lnTo>
                        <a:pt x="90" y="48"/>
                      </a:lnTo>
                      <a:lnTo>
                        <a:pt x="96" y="42"/>
                      </a:lnTo>
                      <a:lnTo>
                        <a:pt x="101" y="34"/>
                      </a:lnTo>
                      <a:lnTo>
                        <a:pt x="102" y="32"/>
                      </a:lnTo>
                      <a:lnTo>
                        <a:pt x="105" y="30"/>
                      </a:lnTo>
                      <a:lnTo>
                        <a:pt x="111" y="28"/>
                      </a:lnTo>
                      <a:lnTo>
                        <a:pt x="118" y="26"/>
                      </a:lnTo>
                      <a:lnTo>
                        <a:pt x="120" y="25"/>
                      </a:lnTo>
                      <a:lnTo>
                        <a:pt x="123" y="22"/>
                      </a:lnTo>
                      <a:lnTo>
                        <a:pt x="132" y="15"/>
                      </a:lnTo>
                      <a:lnTo>
                        <a:pt x="135" y="12"/>
                      </a:lnTo>
                      <a:lnTo>
                        <a:pt x="139" y="8"/>
                      </a:lnTo>
                      <a:lnTo>
                        <a:pt x="143" y="6"/>
                      </a:lnTo>
                      <a:lnTo>
                        <a:pt x="146" y="3"/>
                      </a:lnTo>
                      <a:lnTo>
                        <a:pt x="148" y="2"/>
                      </a:lnTo>
                      <a:lnTo>
                        <a:pt x="149" y="0"/>
                      </a:lnTo>
                      <a:lnTo>
                        <a:pt x="153" y="1"/>
                      </a:lnTo>
                      <a:lnTo>
                        <a:pt x="156" y="2"/>
                      </a:lnTo>
                      <a:lnTo>
                        <a:pt x="157" y="3"/>
                      </a:lnTo>
                      <a:lnTo>
                        <a:pt x="157" y="9"/>
                      </a:lnTo>
                      <a:lnTo>
                        <a:pt x="157" y="15"/>
                      </a:lnTo>
                      <a:lnTo>
                        <a:pt x="157" y="21"/>
                      </a:lnTo>
                      <a:lnTo>
                        <a:pt x="160" y="27"/>
                      </a:lnTo>
                      <a:lnTo>
                        <a:pt x="161" y="32"/>
                      </a:lnTo>
                      <a:lnTo>
                        <a:pt x="162" y="36"/>
                      </a:lnTo>
                      <a:lnTo>
                        <a:pt x="162" y="41"/>
                      </a:lnTo>
                      <a:lnTo>
                        <a:pt x="162" y="46"/>
                      </a:lnTo>
                      <a:lnTo>
                        <a:pt x="165" y="48"/>
                      </a:lnTo>
                      <a:lnTo>
                        <a:pt x="167" y="51"/>
                      </a:lnTo>
                      <a:lnTo>
                        <a:pt x="174" y="54"/>
                      </a:lnTo>
                      <a:lnTo>
                        <a:pt x="180" y="57"/>
                      </a:lnTo>
                      <a:lnTo>
                        <a:pt x="188" y="59"/>
                      </a:lnTo>
                      <a:lnTo>
                        <a:pt x="189" y="61"/>
                      </a:lnTo>
                      <a:lnTo>
                        <a:pt x="191" y="64"/>
                      </a:lnTo>
                      <a:lnTo>
                        <a:pt x="208" y="76"/>
                      </a:lnTo>
                      <a:lnTo>
                        <a:pt x="215" y="81"/>
                      </a:lnTo>
                      <a:lnTo>
                        <a:pt x="218" y="86"/>
                      </a:lnTo>
                      <a:lnTo>
                        <a:pt x="221" y="90"/>
                      </a:lnTo>
                      <a:lnTo>
                        <a:pt x="223" y="98"/>
                      </a:lnTo>
                      <a:lnTo>
                        <a:pt x="224" y="103"/>
                      </a:lnTo>
                      <a:lnTo>
                        <a:pt x="226" y="106"/>
                      </a:lnTo>
                      <a:lnTo>
                        <a:pt x="222" y="105"/>
                      </a:lnTo>
                      <a:lnTo>
                        <a:pt x="218" y="104"/>
                      </a:lnTo>
                      <a:lnTo>
                        <a:pt x="212" y="103"/>
                      </a:lnTo>
                      <a:lnTo>
                        <a:pt x="208" y="102"/>
                      </a:lnTo>
                      <a:lnTo>
                        <a:pt x="205" y="102"/>
                      </a:lnTo>
                      <a:lnTo>
                        <a:pt x="200" y="103"/>
                      </a:lnTo>
                      <a:lnTo>
                        <a:pt x="195" y="106"/>
                      </a:lnTo>
                      <a:lnTo>
                        <a:pt x="190" y="110"/>
                      </a:lnTo>
                      <a:lnTo>
                        <a:pt x="188" y="111"/>
                      </a:lnTo>
                      <a:lnTo>
                        <a:pt x="184" y="112"/>
                      </a:lnTo>
                      <a:lnTo>
                        <a:pt x="176" y="113"/>
                      </a:lnTo>
                      <a:lnTo>
                        <a:pt x="169" y="112"/>
                      </a:lnTo>
                      <a:lnTo>
                        <a:pt x="161" y="110"/>
                      </a:lnTo>
                      <a:lnTo>
                        <a:pt x="158" y="109"/>
                      </a:lnTo>
                      <a:lnTo>
                        <a:pt x="157" y="110"/>
                      </a:lnTo>
                      <a:lnTo>
                        <a:pt x="153" y="115"/>
                      </a:lnTo>
                      <a:lnTo>
                        <a:pt x="149" y="117"/>
                      </a:lnTo>
                      <a:lnTo>
                        <a:pt x="146" y="118"/>
                      </a:lnTo>
                      <a:lnTo>
                        <a:pt x="137" y="119"/>
                      </a:lnTo>
                      <a:lnTo>
                        <a:pt x="128" y="119"/>
                      </a:lnTo>
                      <a:lnTo>
                        <a:pt x="122" y="118"/>
                      </a:lnTo>
                      <a:lnTo>
                        <a:pt x="119" y="117"/>
                      </a:lnTo>
                      <a:lnTo>
                        <a:pt x="116" y="116"/>
                      </a:lnTo>
                      <a:lnTo>
                        <a:pt x="114" y="112"/>
                      </a:lnTo>
                      <a:lnTo>
                        <a:pt x="110" y="108"/>
                      </a:lnTo>
                      <a:lnTo>
                        <a:pt x="108" y="108"/>
                      </a:lnTo>
                      <a:lnTo>
                        <a:pt x="104" y="106"/>
                      </a:lnTo>
                      <a:lnTo>
                        <a:pt x="97" y="105"/>
                      </a:lnTo>
                      <a:lnTo>
                        <a:pt x="95" y="104"/>
                      </a:lnTo>
                      <a:lnTo>
                        <a:pt x="94" y="105"/>
                      </a:lnTo>
                      <a:lnTo>
                        <a:pt x="90" y="113"/>
                      </a:lnTo>
                      <a:lnTo>
                        <a:pt x="87" y="117"/>
                      </a:lnTo>
                      <a:lnTo>
                        <a:pt x="82" y="119"/>
                      </a:lnTo>
                      <a:lnTo>
                        <a:pt x="81" y="128"/>
                      </a:lnTo>
                      <a:lnTo>
                        <a:pt x="80" y="129"/>
                      </a:lnTo>
                      <a:lnTo>
                        <a:pt x="78" y="130"/>
                      </a:lnTo>
                      <a:lnTo>
                        <a:pt x="76" y="131"/>
                      </a:lnTo>
                      <a:lnTo>
                        <a:pt x="76" y="132"/>
                      </a:lnTo>
                      <a:lnTo>
                        <a:pt x="76" y="13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8" name="Freeform 717">
                  <a:extLst>
                    <a:ext uri="{FF2B5EF4-FFF2-40B4-BE49-F238E27FC236}">
                      <a16:creationId xmlns:a16="http://schemas.microsoft.com/office/drawing/2014/main" id="{5882BA1D-D5DE-6640-8A67-B0FBECEA33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0498" y="4742674"/>
                  <a:ext cx="35517" cy="38477"/>
                </a:xfrm>
                <a:custGeom>
                  <a:avLst/>
                  <a:gdLst>
                    <a:gd name="T0" fmla="*/ 0 w 26"/>
                    <a:gd name="T1" fmla="*/ 2147483647 h 26"/>
                    <a:gd name="T2" fmla="*/ 0 w 26"/>
                    <a:gd name="T3" fmla="*/ 2147483647 h 26"/>
                    <a:gd name="T4" fmla="*/ 2147483647 w 26"/>
                    <a:gd name="T5" fmla="*/ 2147483647 h 26"/>
                    <a:gd name="T6" fmla="*/ 2147483647 w 26"/>
                    <a:gd name="T7" fmla="*/ 0 h 26"/>
                    <a:gd name="T8" fmla="*/ 2147483647 w 26"/>
                    <a:gd name="T9" fmla="*/ 0 h 26"/>
                    <a:gd name="T10" fmla="*/ 2147483647 w 26"/>
                    <a:gd name="T11" fmla="*/ 2147483647 h 26"/>
                    <a:gd name="T12" fmla="*/ 2147483647 w 26"/>
                    <a:gd name="T13" fmla="*/ 2147483647 h 26"/>
                    <a:gd name="T14" fmla="*/ 2147483647 w 26"/>
                    <a:gd name="T15" fmla="*/ 2147483647 h 26"/>
                    <a:gd name="T16" fmla="*/ 2147483647 w 26"/>
                    <a:gd name="T17" fmla="*/ 2147483647 h 26"/>
                    <a:gd name="T18" fmla="*/ 2147483647 w 26"/>
                    <a:gd name="T19" fmla="*/ 2147483647 h 26"/>
                    <a:gd name="T20" fmla="*/ 2147483647 w 26"/>
                    <a:gd name="T21" fmla="*/ 2147483647 h 26"/>
                    <a:gd name="T22" fmla="*/ 2147483647 w 26"/>
                    <a:gd name="T23" fmla="*/ 2147483647 h 26"/>
                    <a:gd name="T24" fmla="*/ 2147483647 w 26"/>
                    <a:gd name="T25" fmla="*/ 2147483647 h 26"/>
                    <a:gd name="T26" fmla="*/ 2147483647 w 26"/>
                    <a:gd name="T27" fmla="*/ 2147483647 h 26"/>
                    <a:gd name="T28" fmla="*/ 2147483647 w 26"/>
                    <a:gd name="T29" fmla="*/ 2147483647 h 26"/>
                    <a:gd name="T30" fmla="*/ 2147483647 w 26"/>
                    <a:gd name="T31" fmla="*/ 2147483647 h 26"/>
                    <a:gd name="T32" fmla="*/ 2147483647 w 26"/>
                    <a:gd name="T33" fmla="*/ 2147483647 h 26"/>
                    <a:gd name="T34" fmla="*/ 2147483647 w 26"/>
                    <a:gd name="T35" fmla="*/ 2147483647 h 26"/>
                    <a:gd name="T36" fmla="*/ 2147483647 w 26"/>
                    <a:gd name="T37" fmla="*/ 2147483647 h 26"/>
                    <a:gd name="T38" fmla="*/ 2147483647 w 26"/>
                    <a:gd name="T39" fmla="*/ 2147483647 h 26"/>
                    <a:gd name="T40" fmla="*/ 2147483647 w 26"/>
                    <a:gd name="T41" fmla="*/ 2147483647 h 26"/>
                    <a:gd name="T42" fmla="*/ 0 w 26"/>
                    <a:gd name="T43" fmla="*/ 2147483647 h 26"/>
                    <a:gd name="T44" fmla="*/ 0 w 26"/>
                    <a:gd name="T45" fmla="*/ 2147483647 h 2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"/>
                    <a:gd name="T70" fmla="*/ 0 h 26"/>
                    <a:gd name="T71" fmla="*/ 26 w 26"/>
                    <a:gd name="T72" fmla="*/ 26 h 2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" h="26"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10" y="4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26" y="8"/>
                      </a:lnTo>
                      <a:lnTo>
                        <a:pt x="23" y="13"/>
                      </a:lnTo>
                      <a:lnTo>
                        <a:pt x="19" y="16"/>
                      </a:lnTo>
                      <a:lnTo>
                        <a:pt x="17" y="20"/>
                      </a:lnTo>
                      <a:lnTo>
                        <a:pt x="17" y="23"/>
                      </a:lnTo>
                      <a:lnTo>
                        <a:pt x="16" y="23"/>
                      </a:lnTo>
                      <a:lnTo>
                        <a:pt x="15" y="25"/>
                      </a:lnTo>
                      <a:lnTo>
                        <a:pt x="9" y="26"/>
                      </a:lnTo>
                      <a:lnTo>
                        <a:pt x="9" y="22"/>
                      </a:lnTo>
                      <a:lnTo>
                        <a:pt x="6" y="20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9" name="Freeform 718">
                  <a:extLst>
                    <a:ext uri="{FF2B5EF4-FFF2-40B4-BE49-F238E27FC236}">
                      <a16:creationId xmlns:a16="http://schemas.microsoft.com/office/drawing/2014/main" id="{2D6181BF-C605-4349-8A7F-E84DA86AE8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45256" y="4313512"/>
                  <a:ext cx="309293" cy="245659"/>
                </a:xfrm>
                <a:custGeom>
                  <a:avLst/>
                  <a:gdLst>
                    <a:gd name="T0" fmla="*/ 2147483647 w 226"/>
                    <a:gd name="T1" fmla="*/ 2147483647 h 166"/>
                    <a:gd name="T2" fmla="*/ 2147483647 w 226"/>
                    <a:gd name="T3" fmla="*/ 2147483647 h 166"/>
                    <a:gd name="T4" fmla="*/ 2147483647 w 226"/>
                    <a:gd name="T5" fmla="*/ 2147483647 h 166"/>
                    <a:gd name="T6" fmla="*/ 2147483647 w 226"/>
                    <a:gd name="T7" fmla="*/ 2147483647 h 166"/>
                    <a:gd name="T8" fmla="*/ 2147483647 w 226"/>
                    <a:gd name="T9" fmla="*/ 2147483647 h 166"/>
                    <a:gd name="T10" fmla="*/ 2147483647 w 226"/>
                    <a:gd name="T11" fmla="*/ 2147483647 h 166"/>
                    <a:gd name="T12" fmla="*/ 2147483647 w 226"/>
                    <a:gd name="T13" fmla="*/ 2147483647 h 166"/>
                    <a:gd name="T14" fmla="*/ 2147483647 w 226"/>
                    <a:gd name="T15" fmla="*/ 2147483647 h 166"/>
                    <a:gd name="T16" fmla="*/ 2147483647 w 226"/>
                    <a:gd name="T17" fmla="*/ 2147483647 h 166"/>
                    <a:gd name="T18" fmla="*/ 2147483647 w 226"/>
                    <a:gd name="T19" fmla="*/ 2147483647 h 166"/>
                    <a:gd name="T20" fmla="*/ 2147483647 w 226"/>
                    <a:gd name="T21" fmla="*/ 2147483647 h 166"/>
                    <a:gd name="T22" fmla="*/ 2147483647 w 226"/>
                    <a:gd name="T23" fmla="*/ 2147483647 h 166"/>
                    <a:gd name="T24" fmla="*/ 2147483647 w 226"/>
                    <a:gd name="T25" fmla="*/ 2147483647 h 166"/>
                    <a:gd name="T26" fmla="*/ 2147483647 w 226"/>
                    <a:gd name="T27" fmla="*/ 2147483647 h 166"/>
                    <a:gd name="T28" fmla="*/ 2147483647 w 226"/>
                    <a:gd name="T29" fmla="*/ 2147483647 h 166"/>
                    <a:gd name="T30" fmla="*/ 2147483647 w 226"/>
                    <a:gd name="T31" fmla="*/ 2147483647 h 166"/>
                    <a:gd name="T32" fmla="*/ 2147483647 w 226"/>
                    <a:gd name="T33" fmla="*/ 2147483647 h 166"/>
                    <a:gd name="T34" fmla="*/ 2147483647 w 226"/>
                    <a:gd name="T35" fmla="*/ 2147483647 h 166"/>
                    <a:gd name="T36" fmla="*/ 2147483647 w 226"/>
                    <a:gd name="T37" fmla="*/ 2147483647 h 166"/>
                    <a:gd name="T38" fmla="*/ 2147483647 w 226"/>
                    <a:gd name="T39" fmla="*/ 2147483647 h 166"/>
                    <a:gd name="T40" fmla="*/ 2147483647 w 226"/>
                    <a:gd name="T41" fmla="*/ 2147483647 h 166"/>
                    <a:gd name="T42" fmla="*/ 2147483647 w 226"/>
                    <a:gd name="T43" fmla="*/ 2147483647 h 166"/>
                    <a:gd name="T44" fmla="*/ 2147483647 w 226"/>
                    <a:gd name="T45" fmla="*/ 2147483647 h 166"/>
                    <a:gd name="T46" fmla="*/ 2147483647 w 226"/>
                    <a:gd name="T47" fmla="*/ 0 h 166"/>
                    <a:gd name="T48" fmla="*/ 2147483647 w 226"/>
                    <a:gd name="T49" fmla="*/ 2147483647 h 166"/>
                    <a:gd name="T50" fmla="*/ 2147483647 w 226"/>
                    <a:gd name="T51" fmla="*/ 2147483647 h 166"/>
                    <a:gd name="T52" fmla="*/ 2147483647 w 226"/>
                    <a:gd name="T53" fmla="*/ 2147483647 h 166"/>
                    <a:gd name="T54" fmla="*/ 2147483647 w 226"/>
                    <a:gd name="T55" fmla="*/ 2147483647 h 166"/>
                    <a:gd name="T56" fmla="*/ 2147483647 w 226"/>
                    <a:gd name="T57" fmla="*/ 2147483647 h 166"/>
                    <a:gd name="T58" fmla="*/ 2147483647 w 226"/>
                    <a:gd name="T59" fmla="*/ 2147483647 h 166"/>
                    <a:gd name="T60" fmla="*/ 2147483647 w 226"/>
                    <a:gd name="T61" fmla="*/ 2147483647 h 166"/>
                    <a:gd name="T62" fmla="*/ 2147483647 w 226"/>
                    <a:gd name="T63" fmla="*/ 2147483647 h 166"/>
                    <a:gd name="T64" fmla="*/ 2147483647 w 226"/>
                    <a:gd name="T65" fmla="*/ 2147483647 h 166"/>
                    <a:gd name="T66" fmla="*/ 2147483647 w 226"/>
                    <a:gd name="T67" fmla="*/ 2147483647 h 166"/>
                    <a:gd name="T68" fmla="*/ 2147483647 w 226"/>
                    <a:gd name="T69" fmla="*/ 2147483647 h 166"/>
                    <a:gd name="T70" fmla="*/ 2147483647 w 226"/>
                    <a:gd name="T71" fmla="*/ 2147483647 h 166"/>
                    <a:gd name="T72" fmla="*/ 2147483647 w 226"/>
                    <a:gd name="T73" fmla="*/ 2147483647 h 166"/>
                    <a:gd name="T74" fmla="*/ 2147483647 w 226"/>
                    <a:gd name="T75" fmla="*/ 2147483647 h 166"/>
                    <a:gd name="T76" fmla="*/ 2147483647 w 226"/>
                    <a:gd name="T77" fmla="*/ 2147483647 h 166"/>
                    <a:gd name="T78" fmla="*/ 2147483647 w 226"/>
                    <a:gd name="T79" fmla="*/ 2147483647 h 166"/>
                    <a:gd name="T80" fmla="*/ 2147483647 w 226"/>
                    <a:gd name="T81" fmla="*/ 2147483647 h 166"/>
                    <a:gd name="T82" fmla="*/ 2147483647 w 226"/>
                    <a:gd name="T83" fmla="*/ 2147483647 h 166"/>
                    <a:gd name="T84" fmla="*/ 2147483647 w 226"/>
                    <a:gd name="T85" fmla="*/ 2147483647 h 166"/>
                    <a:gd name="T86" fmla="*/ 2147483647 w 226"/>
                    <a:gd name="T87" fmla="*/ 2147483647 h 166"/>
                    <a:gd name="T88" fmla="*/ 2147483647 w 226"/>
                    <a:gd name="T89" fmla="*/ 2147483647 h 166"/>
                    <a:gd name="T90" fmla="*/ 2147483647 w 226"/>
                    <a:gd name="T91" fmla="*/ 2147483647 h 166"/>
                    <a:gd name="T92" fmla="*/ 2147483647 w 226"/>
                    <a:gd name="T93" fmla="*/ 2147483647 h 166"/>
                    <a:gd name="T94" fmla="*/ 2147483647 w 226"/>
                    <a:gd name="T95" fmla="*/ 2147483647 h 166"/>
                    <a:gd name="T96" fmla="*/ 2147483647 w 226"/>
                    <a:gd name="T97" fmla="*/ 2147483647 h 166"/>
                    <a:gd name="T98" fmla="*/ 2147483647 w 226"/>
                    <a:gd name="T99" fmla="*/ 2147483647 h 166"/>
                    <a:gd name="T100" fmla="*/ 2147483647 w 226"/>
                    <a:gd name="T101" fmla="*/ 2147483647 h 16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26"/>
                    <a:gd name="T154" fmla="*/ 0 h 166"/>
                    <a:gd name="T155" fmla="*/ 226 w 226"/>
                    <a:gd name="T156" fmla="*/ 166 h 16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26" h="166">
                      <a:moveTo>
                        <a:pt x="77" y="138"/>
                      </a:moveTo>
                      <a:lnTo>
                        <a:pt x="77" y="138"/>
                      </a:lnTo>
                      <a:lnTo>
                        <a:pt x="65" y="140"/>
                      </a:lnTo>
                      <a:lnTo>
                        <a:pt x="56" y="144"/>
                      </a:lnTo>
                      <a:lnTo>
                        <a:pt x="54" y="146"/>
                      </a:lnTo>
                      <a:lnTo>
                        <a:pt x="51" y="150"/>
                      </a:lnTo>
                      <a:lnTo>
                        <a:pt x="47" y="157"/>
                      </a:lnTo>
                      <a:lnTo>
                        <a:pt x="44" y="163"/>
                      </a:lnTo>
                      <a:lnTo>
                        <a:pt x="42" y="165"/>
                      </a:lnTo>
                      <a:lnTo>
                        <a:pt x="41" y="165"/>
                      </a:lnTo>
                      <a:lnTo>
                        <a:pt x="35" y="166"/>
                      </a:lnTo>
                      <a:lnTo>
                        <a:pt x="27" y="166"/>
                      </a:lnTo>
                      <a:lnTo>
                        <a:pt x="26" y="158"/>
                      </a:lnTo>
                      <a:lnTo>
                        <a:pt x="27" y="147"/>
                      </a:lnTo>
                      <a:lnTo>
                        <a:pt x="27" y="142"/>
                      </a:lnTo>
                      <a:lnTo>
                        <a:pt x="26" y="137"/>
                      </a:lnTo>
                      <a:lnTo>
                        <a:pt x="19" y="131"/>
                      </a:lnTo>
                      <a:lnTo>
                        <a:pt x="13" y="126"/>
                      </a:lnTo>
                      <a:lnTo>
                        <a:pt x="7" y="120"/>
                      </a:lnTo>
                      <a:lnTo>
                        <a:pt x="4" y="117"/>
                      </a:lnTo>
                      <a:lnTo>
                        <a:pt x="3" y="112"/>
                      </a:lnTo>
                      <a:lnTo>
                        <a:pt x="0" y="102"/>
                      </a:lnTo>
                      <a:lnTo>
                        <a:pt x="0" y="93"/>
                      </a:lnTo>
                      <a:lnTo>
                        <a:pt x="2" y="88"/>
                      </a:lnTo>
                      <a:lnTo>
                        <a:pt x="3" y="83"/>
                      </a:lnTo>
                      <a:lnTo>
                        <a:pt x="7" y="80"/>
                      </a:lnTo>
                      <a:lnTo>
                        <a:pt x="11" y="76"/>
                      </a:lnTo>
                      <a:lnTo>
                        <a:pt x="14" y="75"/>
                      </a:lnTo>
                      <a:lnTo>
                        <a:pt x="17" y="74"/>
                      </a:lnTo>
                      <a:lnTo>
                        <a:pt x="21" y="73"/>
                      </a:lnTo>
                      <a:lnTo>
                        <a:pt x="30" y="68"/>
                      </a:lnTo>
                      <a:lnTo>
                        <a:pt x="37" y="63"/>
                      </a:lnTo>
                      <a:lnTo>
                        <a:pt x="44" y="62"/>
                      </a:lnTo>
                      <a:lnTo>
                        <a:pt x="49" y="62"/>
                      </a:lnTo>
                      <a:lnTo>
                        <a:pt x="60" y="62"/>
                      </a:lnTo>
                      <a:lnTo>
                        <a:pt x="64" y="62"/>
                      </a:lnTo>
                      <a:lnTo>
                        <a:pt x="66" y="61"/>
                      </a:lnTo>
                      <a:lnTo>
                        <a:pt x="70" y="59"/>
                      </a:lnTo>
                      <a:lnTo>
                        <a:pt x="73" y="57"/>
                      </a:lnTo>
                      <a:lnTo>
                        <a:pt x="83" y="54"/>
                      </a:lnTo>
                      <a:lnTo>
                        <a:pt x="91" y="49"/>
                      </a:lnTo>
                      <a:lnTo>
                        <a:pt x="97" y="43"/>
                      </a:lnTo>
                      <a:lnTo>
                        <a:pt x="102" y="35"/>
                      </a:lnTo>
                      <a:lnTo>
                        <a:pt x="103" y="32"/>
                      </a:lnTo>
                      <a:lnTo>
                        <a:pt x="106" y="31"/>
                      </a:lnTo>
                      <a:lnTo>
                        <a:pt x="112" y="29"/>
                      </a:lnTo>
                      <a:lnTo>
                        <a:pt x="118" y="27"/>
                      </a:lnTo>
                      <a:lnTo>
                        <a:pt x="121" y="25"/>
                      </a:lnTo>
                      <a:lnTo>
                        <a:pt x="124" y="23"/>
                      </a:lnTo>
                      <a:lnTo>
                        <a:pt x="132" y="16"/>
                      </a:lnTo>
                      <a:lnTo>
                        <a:pt x="136" y="12"/>
                      </a:lnTo>
                      <a:lnTo>
                        <a:pt x="140" y="9"/>
                      </a:lnTo>
                      <a:lnTo>
                        <a:pt x="144" y="6"/>
                      </a:lnTo>
                      <a:lnTo>
                        <a:pt x="146" y="4"/>
                      </a:lnTo>
                      <a:lnTo>
                        <a:pt x="149" y="3"/>
                      </a:lnTo>
                      <a:lnTo>
                        <a:pt x="150" y="0"/>
                      </a:lnTo>
                      <a:lnTo>
                        <a:pt x="154" y="2"/>
                      </a:lnTo>
                      <a:lnTo>
                        <a:pt x="157" y="3"/>
                      </a:lnTo>
                      <a:lnTo>
                        <a:pt x="158" y="4"/>
                      </a:lnTo>
                      <a:lnTo>
                        <a:pt x="158" y="10"/>
                      </a:lnTo>
                      <a:lnTo>
                        <a:pt x="158" y="16"/>
                      </a:lnTo>
                      <a:lnTo>
                        <a:pt x="158" y="22"/>
                      </a:lnTo>
                      <a:lnTo>
                        <a:pt x="160" y="28"/>
                      </a:lnTo>
                      <a:lnTo>
                        <a:pt x="162" y="32"/>
                      </a:lnTo>
                      <a:lnTo>
                        <a:pt x="163" y="37"/>
                      </a:lnTo>
                      <a:lnTo>
                        <a:pt x="163" y="42"/>
                      </a:lnTo>
                      <a:lnTo>
                        <a:pt x="163" y="47"/>
                      </a:lnTo>
                      <a:lnTo>
                        <a:pt x="165" y="49"/>
                      </a:lnTo>
                      <a:lnTo>
                        <a:pt x="168" y="51"/>
                      </a:lnTo>
                      <a:lnTo>
                        <a:pt x="174" y="55"/>
                      </a:lnTo>
                      <a:lnTo>
                        <a:pt x="181" y="57"/>
                      </a:lnTo>
                      <a:lnTo>
                        <a:pt x="188" y="60"/>
                      </a:lnTo>
                      <a:lnTo>
                        <a:pt x="190" y="62"/>
                      </a:lnTo>
                      <a:lnTo>
                        <a:pt x="192" y="64"/>
                      </a:lnTo>
                      <a:lnTo>
                        <a:pt x="209" y="76"/>
                      </a:lnTo>
                      <a:lnTo>
                        <a:pt x="216" y="82"/>
                      </a:lnTo>
                      <a:lnTo>
                        <a:pt x="219" y="87"/>
                      </a:lnTo>
                      <a:lnTo>
                        <a:pt x="221" y="91"/>
                      </a:lnTo>
                      <a:lnTo>
                        <a:pt x="224" y="99"/>
                      </a:lnTo>
                      <a:lnTo>
                        <a:pt x="225" y="104"/>
                      </a:lnTo>
                      <a:lnTo>
                        <a:pt x="226" y="107"/>
                      </a:lnTo>
                      <a:lnTo>
                        <a:pt x="223" y="106"/>
                      </a:lnTo>
                      <a:lnTo>
                        <a:pt x="219" y="105"/>
                      </a:lnTo>
                      <a:lnTo>
                        <a:pt x="212" y="104"/>
                      </a:lnTo>
                      <a:lnTo>
                        <a:pt x="209" y="102"/>
                      </a:lnTo>
                      <a:lnTo>
                        <a:pt x="206" y="102"/>
                      </a:lnTo>
                      <a:lnTo>
                        <a:pt x="201" y="104"/>
                      </a:lnTo>
                      <a:lnTo>
                        <a:pt x="196" y="107"/>
                      </a:lnTo>
                      <a:lnTo>
                        <a:pt x="191" y="111"/>
                      </a:lnTo>
                      <a:lnTo>
                        <a:pt x="188" y="112"/>
                      </a:lnTo>
                      <a:lnTo>
                        <a:pt x="184" y="113"/>
                      </a:lnTo>
                      <a:lnTo>
                        <a:pt x="177" y="114"/>
                      </a:lnTo>
                      <a:lnTo>
                        <a:pt x="169" y="113"/>
                      </a:lnTo>
                      <a:lnTo>
                        <a:pt x="162" y="111"/>
                      </a:lnTo>
                      <a:lnTo>
                        <a:pt x="159" y="110"/>
                      </a:lnTo>
                      <a:lnTo>
                        <a:pt x="158" y="111"/>
                      </a:lnTo>
                      <a:lnTo>
                        <a:pt x="154" y="115"/>
                      </a:lnTo>
                      <a:lnTo>
                        <a:pt x="150" y="118"/>
                      </a:lnTo>
                      <a:lnTo>
                        <a:pt x="146" y="119"/>
                      </a:lnTo>
                      <a:lnTo>
                        <a:pt x="137" y="120"/>
                      </a:lnTo>
                      <a:lnTo>
                        <a:pt x="129" y="120"/>
                      </a:lnTo>
                      <a:lnTo>
                        <a:pt x="122" y="119"/>
                      </a:lnTo>
                      <a:lnTo>
                        <a:pt x="120" y="118"/>
                      </a:lnTo>
                      <a:lnTo>
                        <a:pt x="117" y="117"/>
                      </a:lnTo>
                      <a:lnTo>
                        <a:pt x="115" y="113"/>
                      </a:lnTo>
                      <a:lnTo>
                        <a:pt x="111" y="108"/>
                      </a:lnTo>
                      <a:lnTo>
                        <a:pt x="108" y="108"/>
                      </a:lnTo>
                      <a:lnTo>
                        <a:pt x="104" y="107"/>
                      </a:lnTo>
                      <a:lnTo>
                        <a:pt x="98" y="106"/>
                      </a:lnTo>
                      <a:lnTo>
                        <a:pt x="96" y="105"/>
                      </a:lnTo>
                      <a:lnTo>
                        <a:pt x="94" y="106"/>
                      </a:lnTo>
                      <a:lnTo>
                        <a:pt x="91" y="114"/>
                      </a:lnTo>
                      <a:lnTo>
                        <a:pt x="88" y="118"/>
                      </a:lnTo>
                      <a:lnTo>
                        <a:pt x="83" y="120"/>
                      </a:lnTo>
                      <a:lnTo>
                        <a:pt x="82" y="129"/>
                      </a:lnTo>
                      <a:lnTo>
                        <a:pt x="80" y="130"/>
                      </a:lnTo>
                      <a:lnTo>
                        <a:pt x="79" y="131"/>
                      </a:lnTo>
                      <a:lnTo>
                        <a:pt x="77" y="132"/>
                      </a:lnTo>
                      <a:lnTo>
                        <a:pt x="77" y="133"/>
                      </a:lnTo>
                      <a:lnTo>
                        <a:pt x="77" y="13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0" name="Freeform 719">
                  <a:extLst>
                    <a:ext uri="{FF2B5EF4-FFF2-40B4-BE49-F238E27FC236}">
                      <a16:creationId xmlns:a16="http://schemas.microsoft.com/office/drawing/2014/main" id="{182604C9-7C6B-2E40-A82A-A356CEBB9C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2840" y="3947979"/>
                  <a:ext cx="409924" cy="575671"/>
                </a:xfrm>
                <a:custGeom>
                  <a:avLst/>
                  <a:gdLst>
                    <a:gd name="T0" fmla="*/ 2147483647 w 300"/>
                    <a:gd name="T1" fmla="*/ 2147483647 h 389"/>
                    <a:gd name="T2" fmla="*/ 2147483647 w 300"/>
                    <a:gd name="T3" fmla="*/ 2147483647 h 389"/>
                    <a:gd name="T4" fmla="*/ 2147483647 w 300"/>
                    <a:gd name="T5" fmla="*/ 2147483647 h 389"/>
                    <a:gd name="T6" fmla="*/ 2147483647 w 300"/>
                    <a:gd name="T7" fmla="*/ 2147483647 h 389"/>
                    <a:gd name="T8" fmla="*/ 2147483647 w 300"/>
                    <a:gd name="T9" fmla="*/ 2147483647 h 389"/>
                    <a:gd name="T10" fmla="*/ 2147483647 w 300"/>
                    <a:gd name="T11" fmla="*/ 2147483647 h 389"/>
                    <a:gd name="T12" fmla="*/ 2147483647 w 300"/>
                    <a:gd name="T13" fmla="*/ 2147483647 h 389"/>
                    <a:gd name="T14" fmla="*/ 2147483647 w 300"/>
                    <a:gd name="T15" fmla="*/ 2147483647 h 389"/>
                    <a:gd name="T16" fmla="*/ 2147483647 w 300"/>
                    <a:gd name="T17" fmla="*/ 2147483647 h 389"/>
                    <a:gd name="T18" fmla="*/ 2147483647 w 300"/>
                    <a:gd name="T19" fmla="*/ 2147483647 h 389"/>
                    <a:gd name="T20" fmla="*/ 2147483647 w 300"/>
                    <a:gd name="T21" fmla="*/ 2147483647 h 389"/>
                    <a:gd name="T22" fmla="*/ 2147483647 w 300"/>
                    <a:gd name="T23" fmla="*/ 2147483647 h 389"/>
                    <a:gd name="T24" fmla="*/ 2147483647 w 300"/>
                    <a:gd name="T25" fmla="*/ 2147483647 h 389"/>
                    <a:gd name="T26" fmla="*/ 2147483647 w 300"/>
                    <a:gd name="T27" fmla="*/ 2147483647 h 389"/>
                    <a:gd name="T28" fmla="*/ 2147483647 w 300"/>
                    <a:gd name="T29" fmla="*/ 2147483647 h 389"/>
                    <a:gd name="T30" fmla="*/ 2147483647 w 300"/>
                    <a:gd name="T31" fmla="*/ 2147483647 h 389"/>
                    <a:gd name="T32" fmla="*/ 2147483647 w 300"/>
                    <a:gd name="T33" fmla="*/ 2147483647 h 389"/>
                    <a:gd name="T34" fmla="*/ 2147483647 w 300"/>
                    <a:gd name="T35" fmla="*/ 2147483647 h 389"/>
                    <a:gd name="T36" fmla="*/ 2147483647 w 300"/>
                    <a:gd name="T37" fmla="*/ 2147483647 h 389"/>
                    <a:gd name="T38" fmla="*/ 2147483647 w 300"/>
                    <a:gd name="T39" fmla="*/ 0 h 389"/>
                    <a:gd name="T40" fmla="*/ 2147483647 w 300"/>
                    <a:gd name="T41" fmla="*/ 2147483647 h 389"/>
                    <a:gd name="T42" fmla="*/ 2147483647 w 300"/>
                    <a:gd name="T43" fmla="*/ 2147483647 h 389"/>
                    <a:gd name="T44" fmla="*/ 2147483647 w 300"/>
                    <a:gd name="T45" fmla="*/ 2147483647 h 389"/>
                    <a:gd name="T46" fmla="*/ 2147483647 w 300"/>
                    <a:gd name="T47" fmla="*/ 2147483647 h 389"/>
                    <a:gd name="T48" fmla="*/ 2147483647 w 300"/>
                    <a:gd name="T49" fmla="*/ 2147483647 h 389"/>
                    <a:gd name="T50" fmla="*/ 2147483647 w 300"/>
                    <a:gd name="T51" fmla="*/ 2147483647 h 389"/>
                    <a:gd name="T52" fmla="*/ 2147483647 w 300"/>
                    <a:gd name="T53" fmla="*/ 2147483647 h 389"/>
                    <a:gd name="T54" fmla="*/ 2147483647 w 300"/>
                    <a:gd name="T55" fmla="*/ 2147483647 h 389"/>
                    <a:gd name="T56" fmla="*/ 2147483647 w 300"/>
                    <a:gd name="T57" fmla="*/ 2147483647 h 389"/>
                    <a:gd name="T58" fmla="*/ 2147483647 w 300"/>
                    <a:gd name="T59" fmla="*/ 2147483647 h 389"/>
                    <a:gd name="T60" fmla="*/ 2147483647 w 300"/>
                    <a:gd name="T61" fmla="*/ 2147483647 h 389"/>
                    <a:gd name="T62" fmla="*/ 2147483647 w 300"/>
                    <a:gd name="T63" fmla="*/ 2147483647 h 389"/>
                    <a:gd name="T64" fmla="*/ 2147483647 w 300"/>
                    <a:gd name="T65" fmla="*/ 2147483647 h 389"/>
                    <a:gd name="T66" fmla="*/ 2147483647 w 300"/>
                    <a:gd name="T67" fmla="*/ 2147483647 h 389"/>
                    <a:gd name="T68" fmla="*/ 2147483647 w 300"/>
                    <a:gd name="T69" fmla="*/ 2147483647 h 389"/>
                    <a:gd name="T70" fmla="*/ 2147483647 w 300"/>
                    <a:gd name="T71" fmla="*/ 2147483647 h 389"/>
                    <a:gd name="T72" fmla="*/ 2147483647 w 300"/>
                    <a:gd name="T73" fmla="*/ 2147483647 h 389"/>
                    <a:gd name="T74" fmla="*/ 2147483647 w 300"/>
                    <a:gd name="T75" fmla="*/ 2147483647 h 389"/>
                    <a:gd name="T76" fmla="*/ 2147483647 w 300"/>
                    <a:gd name="T77" fmla="*/ 2147483647 h 389"/>
                    <a:gd name="T78" fmla="*/ 2147483647 w 300"/>
                    <a:gd name="T79" fmla="*/ 2147483647 h 389"/>
                    <a:gd name="T80" fmla="*/ 2147483647 w 300"/>
                    <a:gd name="T81" fmla="*/ 2147483647 h 389"/>
                    <a:gd name="T82" fmla="*/ 2147483647 w 300"/>
                    <a:gd name="T83" fmla="*/ 2147483647 h 389"/>
                    <a:gd name="T84" fmla="*/ 2147483647 w 300"/>
                    <a:gd name="T85" fmla="*/ 2147483647 h 389"/>
                    <a:gd name="T86" fmla="*/ 2147483647 w 300"/>
                    <a:gd name="T87" fmla="*/ 2147483647 h 389"/>
                    <a:gd name="T88" fmla="*/ 2147483647 w 300"/>
                    <a:gd name="T89" fmla="*/ 2147483647 h 389"/>
                    <a:gd name="T90" fmla="*/ 2147483647 w 300"/>
                    <a:gd name="T91" fmla="*/ 2147483647 h 389"/>
                    <a:gd name="T92" fmla="*/ 2147483647 w 300"/>
                    <a:gd name="T93" fmla="*/ 2147483647 h 389"/>
                    <a:gd name="T94" fmla="*/ 2147483647 w 300"/>
                    <a:gd name="T95" fmla="*/ 2147483647 h 38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00"/>
                    <a:gd name="T145" fmla="*/ 0 h 389"/>
                    <a:gd name="T146" fmla="*/ 300 w 300"/>
                    <a:gd name="T147" fmla="*/ 389 h 38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00" h="389">
                      <a:moveTo>
                        <a:pt x="251" y="358"/>
                      </a:moveTo>
                      <a:lnTo>
                        <a:pt x="251" y="353"/>
                      </a:lnTo>
                      <a:lnTo>
                        <a:pt x="249" y="351"/>
                      </a:lnTo>
                      <a:lnTo>
                        <a:pt x="245" y="348"/>
                      </a:lnTo>
                      <a:lnTo>
                        <a:pt x="239" y="347"/>
                      </a:lnTo>
                      <a:lnTo>
                        <a:pt x="239" y="345"/>
                      </a:lnTo>
                      <a:lnTo>
                        <a:pt x="237" y="342"/>
                      </a:lnTo>
                      <a:lnTo>
                        <a:pt x="237" y="338"/>
                      </a:lnTo>
                      <a:lnTo>
                        <a:pt x="236" y="332"/>
                      </a:lnTo>
                      <a:lnTo>
                        <a:pt x="232" y="325"/>
                      </a:lnTo>
                      <a:lnTo>
                        <a:pt x="227" y="317"/>
                      </a:lnTo>
                      <a:lnTo>
                        <a:pt x="218" y="311"/>
                      </a:lnTo>
                      <a:lnTo>
                        <a:pt x="204" y="304"/>
                      </a:lnTo>
                      <a:lnTo>
                        <a:pt x="203" y="303"/>
                      </a:lnTo>
                      <a:lnTo>
                        <a:pt x="201" y="302"/>
                      </a:lnTo>
                      <a:lnTo>
                        <a:pt x="201" y="297"/>
                      </a:lnTo>
                      <a:lnTo>
                        <a:pt x="201" y="293"/>
                      </a:lnTo>
                      <a:lnTo>
                        <a:pt x="204" y="289"/>
                      </a:lnTo>
                      <a:lnTo>
                        <a:pt x="206" y="289"/>
                      </a:lnTo>
                      <a:lnTo>
                        <a:pt x="209" y="289"/>
                      </a:lnTo>
                      <a:lnTo>
                        <a:pt x="212" y="289"/>
                      </a:lnTo>
                      <a:lnTo>
                        <a:pt x="214" y="288"/>
                      </a:lnTo>
                      <a:lnTo>
                        <a:pt x="217" y="287"/>
                      </a:lnTo>
                      <a:lnTo>
                        <a:pt x="220" y="284"/>
                      </a:lnTo>
                      <a:lnTo>
                        <a:pt x="221" y="278"/>
                      </a:lnTo>
                      <a:lnTo>
                        <a:pt x="222" y="265"/>
                      </a:lnTo>
                      <a:lnTo>
                        <a:pt x="222" y="258"/>
                      </a:lnTo>
                      <a:lnTo>
                        <a:pt x="222" y="251"/>
                      </a:lnTo>
                      <a:lnTo>
                        <a:pt x="222" y="249"/>
                      </a:lnTo>
                      <a:lnTo>
                        <a:pt x="223" y="246"/>
                      </a:lnTo>
                      <a:lnTo>
                        <a:pt x="227" y="245"/>
                      </a:lnTo>
                      <a:lnTo>
                        <a:pt x="231" y="244"/>
                      </a:lnTo>
                      <a:lnTo>
                        <a:pt x="234" y="244"/>
                      </a:lnTo>
                      <a:lnTo>
                        <a:pt x="234" y="243"/>
                      </a:lnTo>
                      <a:lnTo>
                        <a:pt x="236" y="232"/>
                      </a:lnTo>
                      <a:lnTo>
                        <a:pt x="237" y="225"/>
                      </a:lnTo>
                      <a:lnTo>
                        <a:pt x="239" y="215"/>
                      </a:lnTo>
                      <a:lnTo>
                        <a:pt x="241" y="212"/>
                      </a:lnTo>
                      <a:lnTo>
                        <a:pt x="245" y="208"/>
                      </a:lnTo>
                      <a:lnTo>
                        <a:pt x="259" y="196"/>
                      </a:lnTo>
                      <a:lnTo>
                        <a:pt x="263" y="193"/>
                      </a:lnTo>
                      <a:lnTo>
                        <a:pt x="264" y="191"/>
                      </a:lnTo>
                      <a:lnTo>
                        <a:pt x="264" y="189"/>
                      </a:lnTo>
                      <a:lnTo>
                        <a:pt x="261" y="182"/>
                      </a:lnTo>
                      <a:lnTo>
                        <a:pt x="260" y="174"/>
                      </a:lnTo>
                      <a:lnTo>
                        <a:pt x="260" y="166"/>
                      </a:lnTo>
                      <a:lnTo>
                        <a:pt x="260" y="157"/>
                      </a:lnTo>
                      <a:lnTo>
                        <a:pt x="261" y="148"/>
                      </a:lnTo>
                      <a:lnTo>
                        <a:pt x="264" y="140"/>
                      </a:lnTo>
                      <a:lnTo>
                        <a:pt x="268" y="131"/>
                      </a:lnTo>
                      <a:lnTo>
                        <a:pt x="273" y="125"/>
                      </a:lnTo>
                      <a:lnTo>
                        <a:pt x="275" y="123"/>
                      </a:lnTo>
                      <a:lnTo>
                        <a:pt x="278" y="122"/>
                      </a:lnTo>
                      <a:lnTo>
                        <a:pt x="286" y="118"/>
                      </a:lnTo>
                      <a:lnTo>
                        <a:pt x="289" y="117"/>
                      </a:lnTo>
                      <a:lnTo>
                        <a:pt x="292" y="115"/>
                      </a:lnTo>
                      <a:lnTo>
                        <a:pt x="296" y="111"/>
                      </a:lnTo>
                      <a:lnTo>
                        <a:pt x="300" y="105"/>
                      </a:lnTo>
                      <a:lnTo>
                        <a:pt x="293" y="99"/>
                      </a:lnTo>
                      <a:lnTo>
                        <a:pt x="287" y="93"/>
                      </a:lnTo>
                      <a:lnTo>
                        <a:pt x="281" y="87"/>
                      </a:lnTo>
                      <a:lnTo>
                        <a:pt x="278" y="85"/>
                      </a:lnTo>
                      <a:lnTo>
                        <a:pt x="277" y="81"/>
                      </a:lnTo>
                      <a:lnTo>
                        <a:pt x="277" y="76"/>
                      </a:lnTo>
                      <a:lnTo>
                        <a:pt x="277" y="70"/>
                      </a:lnTo>
                      <a:lnTo>
                        <a:pt x="277" y="64"/>
                      </a:lnTo>
                      <a:lnTo>
                        <a:pt x="277" y="58"/>
                      </a:lnTo>
                      <a:lnTo>
                        <a:pt x="275" y="55"/>
                      </a:lnTo>
                      <a:lnTo>
                        <a:pt x="273" y="52"/>
                      </a:lnTo>
                      <a:lnTo>
                        <a:pt x="272" y="49"/>
                      </a:lnTo>
                      <a:lnTo>
                        <a:pt x="270" y="47"/>
                      </a:lnTo>
                      <a:lnTo>
                        <a:pt x="272" y="39"/>
                      </a:lnTo>
                      <a:lnTo>
                        <a:pt x="270" y="32"/>
                      </a:lnTo>
                      <a:lnTo>
                        <a:pt x="268" y="25"/>
                      </a:lnTo>
                      <a:lnTo>
                        <a:pt x="267" y="21"/>
                      </a:lnTo>
                      <a:lnTo>
                        <a:pt x="263" y="20"/>
                      </a:lnTo>
                      <a:lnTo>
                        <a:pt x="254" y="13"/>
                      </a:lnTo>
                      <a:lnTo>
                        <a:pt x="247" y="8"/>
                      </a:lnTo>
                      <a:lnTo>
                        <a:pt x="246" y="4"/>
                      </a:lnTo>
                      <a:lnTo>
                        <a:pt x="246" y="0"/>
                      </a:lnTo>
                      <a:lnTo>
                        <a:pt x="235" y="0"/>
                      </a:lnTo>
                      <a:lnTo>
                        <a:pt x="228" y="1"/>
                      </a:lnTo>
                      <a:lnTo>
                        <a:pt x="227" y="1"/>
                      </a:lnTo>
                      <a:lnTo>
                        <a:pt x="226" y="2"/>
                      </a:lnTo>
                      <a:lnTo>
                        <a:pt x="222" y="12"/>
                      </a:lnTo>
                      <a:lnTo>
                        <a:pt x="220" y="15"/>
                      </a:lnTo>
                      <a:lnTo>
                        <a:pt x="218" y="17"/>
                      </a:lnTo>
                      <a:lnTo>
                        <a:pt x="216" y="19"/>
                      </a:lnTo>
                      <a:lnTo>
                        <a:pt x="214" y="19"/>
                      </a:lnTo>
                      <a:lnTo>
                        <a:pt x="214" y="21"/>
                      </a:lnTo>
                      <a:lnTo>
                        <a:pt x="214" y="25"/>
                      </a:lnTo>
                      <a:lnTo>
                        <a:pt x="212" y="26"/>
                      </a:lnTo>
                      <a:lnTo>
                        <a:pt x="208" y="27"/>
                      </a:lnTo>
                      <a:lnTo>
                        <a:pt x="204" y="26"/>
                      </a:lnTo>
                      <a:lnTo>
                        <a:pt x="202" y="23"/>
                      </a:lnTo>
                      <a:lnTo>
                        <a:pt x="199" y="20"/>
                      </a:lnTo>
                      <a:lnTo>
                        <a:pt x="65" y="22"/>
                      </a:lnTo>
                      <a:lnTo>
                        <a:pt x="63" y="59"/>
                      </a:lnTo>
                      <a:lnTo>
                        <a:pt x="54" y="61"/>
                      </a:lnTo>
                      <a:lnTo>
                        <a:pt x="53" y="76"/>
                      </a:lnTo>
                      <a:lnTo>
                        <a:pt x="52" y="138"/>
                      </a:lnTo>
                      <a:lnTo>
                        <a:pt x="49" y="147"/>
                      </a:lnTo>
                      <a:lnTo>
                        <a:pt x="47" y="149"/>
                      </a:lnTo>
                      <a:lnTo>
                        <a:pt x="46" y="150"/>
                      </a:lnTo>
                      <a:lnTo>
                        <a:pt x="44" y="150"/>
                      </a:lnTo>
                      <a:lnTo>
                        <a:pt x="39" y="148"/>
                      </a:lnTo>
                      <a:lnTo>
                        <a:pt x="34" y="148"/>
                      </a:lnTo>
                      <a:lnTo>
                        <a:pt x="29" y="148"/>
                      </a:lnTo>
                      <a:lnTo>
                        <a:pt x="28" y="150"/>
                      </a:lnTo>
                      <a:lnTo>
                        <a:pt x="27" y="153"/>
                      </a:lnTo>
                      <a:lnTo>
                        <a:pt x="27" y="159"/>
                      </a:lnTo>
                      <a:lnTo>
                        <a:pt x="25" y="161"/>
                      </a:lnTo>
                      <a:lnTo>
                        <a:pt x="25" y="163"/>
                      </a:lnTo>
                      <a:lnTo>
                        <a:pt x="21" y="170"/>
                      </a:lnTo>
                      <a:lnTo>
                        <a:pt x="19" y="179"/>
                      </a:lnTo>
                      <a:lnTo>
                        <a:pt x="16" y="186"/>
                      </a:lnTo>
                      <a:lnTo>
                        <a:pt x="13" y="193"/>
                      </a:lnTo>
                      <a:lnTo>
                        <a:pt x="11" y="196"/>
                      </a:lnTo>
                      <a:lnTo>
                        <a:pt x="9" y="199"/>
                      </a:lnTo>
                      <a:lnTo>
                        <a:pt x="5" y="202"/>
                      </a:lnTo>
                      <a:lnTo>
                        <a:pt x="2" y="206"/>
                      </a:lnTo>
                      <a:lnTo>
                        <a:pt x="0" y="210"/>
                      </a:lnTo>
                      <a:lnTo>
                        <a:pt x="1" y="213"/>
                      </a:lnTo>
                      <a:lnTo>
                        <a:pt x="1" y="215"/>
                      </a:lnTo>
                      <a:lnTo>
                        <a:pt x="2" y="217"/>
                      </a:lnTo>
                      <a:lnTo>
                        <a:pt x="6" y="217"/>
                      </a:lnTo>
                      <a:lnTo>
                        <a:pt x="10" y="217"/>
                      </a:lnTo>
                      <a:lnTo>
                        <a:pt x="14" y="217"/>
                      </a:lnTo>
                      <a:lnTo>
                        <a:pt x="15" y="217"/>
                      </a:lnTo>
                      <a:lnTo>
                        <a:pt x="16" y="218"/>
                      </a:lnTo>
                      <a:lnTo>
                        <a:pt x="16" y="225"/>
                      </a:lnTo>
                      <a:lnTo>
                        <a:pt x="18" y="233"/>
                      </a:lnTo>
                      <a:lnTo>
                        <a:pt x="20" y="240"/>
                      </a:lnTo>
                      <a:lnTo>
                        <a:pt x="21" y="244"/>
                      </a:lnTo>
                      <a:lnTo>
                        <a:pt x="21" y="249"/>
                      </a:lnTo>
                      <a:lnTo>
                        <a:pt x="25" y="250"/>
                      </a:lnTo>
                      <a:lnTo>
                        <a:pt x="28" y="251"/>
                      </a:lnTo>
                      <a:lnTo>
                        <a:pt x="29" y="252"/>
                      </a:lnTo>
                      <a:lnTo>
                        <a:pt x="29" y="258"/>
                      </a:lnTo>
                      <a:lnTo>
                        <a:pt x="29" y="264"/>
                      </a:lnTo>
                      <a:lnTo>
                        <a:pt x="29" y="270"/>
                      </a:lnTo>
                      <a:lnTo>
                        <a:pt x="32" y="276"/>
                      </a:lnTo>
                      <a:lnTo>
                        <a:pt x="33" y="281"/>
                      </a:lnTo>
                      <a:lnTo>
                        <a:pt x="34" y="285"/>
                      </a:lnTo>
                      <a:lnTo>
                        <a:pt x="34" y="290"/>
                      </a:lnTo>
                      <a:lnTo>
                        <a:pt x="34" y="295"/>
                      </a:lnTo>
                      <a:lnTo>
                        <a:pt x="37" y="297"/>
                      </a:lnTo>
                      <a:lnTo>
                        <a:pt x="39" y="300"/>
                      </a:lnTo>
                      <a:lnTo>
                        <a:pt x="46" y="303"/>
                      </a:lnTo>
                      <a:lnTo>
                        <a:pt x="52" y="306"/>
                      </a:lnTo>
                      <a:lnTo>
                        <a:pt x="60" y="308"/>
                      </a:lnTo>
                      <a:lnTo>
                        <a:pt x="61" y="310"/>
                      </a:lnTo>
                      <a:lnTo>
                        <a:pt x="63" y="313"/>
                      </a:lnTo>
                      <a:lnTo>
                        <a:pt x="80" y="325"/>
                      </a:lnTo>
                      <a:lnTo>
                        <a:pt x="87" y="330"/>
                      </a:lnTo>
                      <a:lnTo>
                        <a:pt x="90" y="335"/>
                      </a:lnTo>
                      <a:lnTo>
                        <a:pt x="93" y="339"/>
                      </a:lnTo>
                      <a:lnTo>
                        <a:pt x="95" y="347"/>
                      </a:lnTo>
                      <a:lnTo>
                        <a:pt x="96" y="352"/>
                      </a:lnTo>
                      <a:lnTo>
                        <a:pt x="98" y="355"/>
                      </a:lnTo>
                      <a:lnTo>
                        <a:pt x="103" y="359"/>
                      </a:lnTo>
                      <a:lnTo>
                        <a:pt x="105" y="362"/>
                      </a:lnTo>
                      <a:lnTo>
                        <a:pt x="108" y="366"/>
                      </a:lnTo>
                      <a:lnTo>
                        <a:pt x="112" y="367"/>
                      </a:lnTo>
                      <a:lnTo>
                        <a:pt x="117" y="368"/>
                      </a:lnTo>
                      <a:lnTo>
                        <a:pt x="121" y="368"/>
                      </a:lnTo>
                      <a:lnTo>
                        <a:pt x="126" y="367"/>
                      </a:lnTo>
                      <a:lnTo>
                        <a:pt x="136" y="364"/>
                      </a:lnTo>
                      <a:lnTo>
                        <a:pt x="138" y="364"/>
                      </a:lnTo>
                      <a:lnTo>
                        <a:pt x="140" y="365"/>
                      </a:lnTo>
                      <a:lnTo>
                        <a:pt x="143" y="370"/>
                      </a:lnTo>
                      <a:lnTo>
                        <a:pt x="147" y="376"/>
                      </a:lnTo>
                      <a:lnTo>
                        <a:pt x="151" y="381"/>
                      </a:lnTo>
                      <a:lnTo>
                        <a:pt x="155" y="385"/>
                      </a:lnTo>
                      <a:lnTo>
                        <a:pt x="160" y="389"/>
                      </a:lnTo>
                      <a:lnTo>
                        <a:pt x="165" y="386"/>
                      </a:lnTo>
                      <a:lnTo>
                        <a:pt x="171" y="386"/>
                      </a:lnTo>
                      <a:lnTo>
                        <a:pt x="178" y="386"/>
                      </a:lnTo>
                      <a:lnTo>
                        <a:pt x="184" y="385"/>
                      </a:lnTo>
                      <a:lnTo>
                        <a:pt x="188" y="383"/>
                      </a:lnTo>
                      <a:lnTo>
                        <a:pt x="192" y="380"/>
                      </a:lnTo>
                      <a:lnTo>
                        <a:pt x="199" y="374"/>
                      </a:lnTo>
                      <a:lnTo>
                        <a:pt x="203" y="373"/>
                      </a:lnTo>
                      <a:lnTo>
                        <a:pt x="206" y="373"/>
                      </a:lnTo>
                      <a:lnTo>
                        <a:pt x="213" y="374"/>
                      </a:lnTo>
                      <a:lnTo>
                        <a:pt x="217" y="373"/>
                      </a:lnTo>
                      <a:lnTo>
                        <a:pt x="221" y="372"/>
                      </a:lnTo>
                      <a:lnTo>
                        <a:pt x="227" y="364"/>
                      </a:lnTo>
                      <a:lnTo>
                        <a:pt x="231" y="359"/>
                      </a:lnTo>
                      <a:lnTo>
                        <a:pt x="236" y="355"/>
                      </a:lnTo>
                      <a:lnTo>
                        <a:pt x="239" y="354"/>
                      </a:lnTo>
                      <a:lnTo>
                        <a:pt x="241" y="355"/>
                      </a:lnTo>
                      <a:lnTo>
                        <a:pt x="246" y="359"/>
                      </a:lnTo>
                      <a:lnTo>
                        <a:pt x="249" y="359"/>
                      </a:lnTo>
                      <a:lnTo>
                        <a:pt x="251" y="35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1" name="Freeform 720">
                  <a:extLst>
                    <a:ext uri="{FF2B5EF4-FFF2-40B4-BE49-F238E27FC236}">
                      <a16:creationId xmlns:a16="http://schemas.microsoft.com/office/drawing/2014/main" id="{D511B411-0BA3-DC4A-BAD5-67493ABDF3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5296" y="4467417"/>
                  <a:ext cx="448402" cy="547553"/>
                </a:xfrm>
                <a:custGeom>
                  <a:avLst/>
                  <a:gdLst>
                    <a:gd name="T0" fmla="*/ 2147483647 w 329"/>
                    <a:gd name="T1" fmla="*/ 2147483647 h 370"/>
                    <a:gd name="T2" fmla="*/ 2147483647 w 329"/>
                    <a:gd name="T3" fmla="*/ 2147483647 h 370"/>
                    <a:gd name="T4" fmla="*/ 2147483647 w 329"/>
                    <a:gd name="T5" fmla="*/ 2147483647 h 370"/>
                    <a:gd name="T6" fmla="*/ 2147483647 w 329"/>
                    <a:gd name="T7" fmla="*/ 2147483647 h 370"/>
                    <a:gd name="T8" fmla="*/ 2147483647 w 329"/>
                    <a:gd name="T9" fmla="*/ 2147483647 h 370"/>
                    <a:gd name="T10" fmla="*/ 2147483647 w 329"/>
                    <a:gd name="T11" fmla="*/ 2147483647 h 370"/>
                    <a:gd name="T12" fmla="*/ 2147483647 w 329"/>
                    <a:gd name="T13" fmla="*/ 2147483647 h 370"/>
                    <a:gd name="T14" fmla="*/ 2147483647 w 329"/>
                    <a:gd name="T15" fmla="*/ 2147483647 h 370"/>
                    <a:gd name="T16" fmla="*/ 2147483647 w 329"/>
                    <a:gd name="T17" fmla="*/ 2147483647 h 370"/>
                    <a:gd name="T18" fmla="*/ 2147483647 w 329"/>
                    <a:gd name="T19" fmla="*/ 2147483647 h 370"/>
                    <a:gd name="T20" fmla="*/ 2147483647 w 329"/>
                    <a:gd name="T21" fmla="*/ 2147483647 h 370"/>
                    <a:gd name="T22" fmla="*/ 2147483647 w 329"/>
                    <a:gd name="T23" fmla="*/ 2147483647 h 370"/>
                    <a:gd name="T24" fmla="*/ 2147483647 w 329"/>
                    <a:gd name="T25" fmla="*/ 2147483647 h 370"/>
                    <a:gd name="T26" fmla="*/ 2147483647 w 329"/>
                    <a:gd name="T27" fmla="*/ 2147483647 h 370"/>
                    <a:gd name="T28" fmla="*/ 2147483647 w 329"/>
                    <a:gd name="T29" fmla="*/ 2147483647 h 370"/>
                    <a:gd name="T30" fmla="*/ 2147483647 w 329"/>
                    <a:gd name="T31" fmla="*/ 2147483647 h 370"/>
                    <a:gd name="T32" fmla="*/ 2147483647 w 329"/>
                    <a:gd name="T33" fmla="*/ 2147483647 h 370"/>
                    <a:gd name="T34" fmla="*/ 2147483647 w 329"/>
                    <a:gd name="T35" fmla="*/ 2147483647 h 370"/>
                    <a:gd name="T36" fmla="*/ 2147483647 w 329"/>
                    <a:gd name="T37" fmla="*/ 2147483647 h 370"/>
                    <a:gd name="T38" fmla="*/ 2147483647 w 329"/>
                    <a:gd name="T39" fmla="*/ 2147483647 h 370"/>
                    <a:gd name="T40" fmla="*/ 2147483647 w 329"/>
                    <a:gd name="T41" fmla="*/ 2147483647 h 370"/>
                    <a:gd name="T42" fmla="*/ 2147483647 w 329"/>
                    <a:gd name="T43" fmla="*/ 2147483647 h 370"/>
                    <a:gd name="T44" fmla="*/ 2147483647 w 329"/>
                    <a:gd name="T45" fmla="*/ 2147483647 h 370"/>
                    <a:gd name="T46" fmla="*/ 2147483647 w 329"/>
                    <a:gd name="T47" fmla="*/ 2147483647 h 370"/>
                    <a:gd name="T48" fmla="*/ 2147483647 w 329"/>
                    <a:gd name="T49" fmla="*/ 2147483647 h 370"/>
                    <a:gd name="T50" fmla="*/ 2147483647 w 329"/>
                    <a:gd name="T51" fmla="*/ 2147483647 h 370"/>
                    <a:gd name="T52" fmla="*/ 2147483647 w 329"/>
                    <a:gd name="T53" fmla="*/ 2147483647 h 370"/>
                    <a:gd name="T54" fmla="*/ 2147483647 w 329"/>
                    <a:gd name="T55" fmla="*/ 2147483647 h 370"/>
                    <a:gd name="T56" fmla="*/ 2147483647 w 329"/>
                    <a:gd name="T57" fmla="*/ 2147483647 h 370"/>
                    <a:gd name="T58" fmla="*/ 2147483647 w 329"/>
                    <a:gd name="T59" fmla="*/ 2147483647 h 370"/>
                    <a:gd name="T60" fmla="*/ 2147483647 w 329"/>
                    <a:gd name="T61" fmla="*/ 2147483647 h 370"/>
                    <a:gd name="T62" fmla="*/ 2147483647 w 329"/>
                    <a:gd name="T63" fmla="*/ 2147483647 h 370"/>
                    <a:gd name="T64" fmla="*/ 2147483647 w 329"/>
                    <a:gd name="T65" fmla="*/ 2147483647 h 370"/>
                    <a:gd name="T66" fmla="*/ 2147483647 w 329"/>
                    <a:gd name="T67" fmla="*/ 2147483647 h 370"/>
                    <a:gd name="T68" fmla="*/ 2147483647 w 329"/>
                    <a:gd name="T69" fmla="*/ 2147483647 h 370"/>
                    <a:gd name="T70" fmla="*/ 2147483647 w 329"/>
                    <a:gd name="T71" fmla="*/ 2147483647 h 370"/>
                    <a:gd name="T72" fmla="*/ 2147483647 w 329"/>
                    <a:gd name="T73" fmla="*/ 2147483647 h 370"/>
                    <a:gd name="T74" fmla="*/ 2147483647 w 329"/>
                    <a:gd name="T75" fmla="*/ 2147483647 h 370"/>
                    <a:gd name="T76" fmla="*/ 2147483647 w 329"/>
                    <a:gd name="T77" fmla="*/ 2147483647 h 370"/>
                    <a:gd name="T78" fmla="*/ 2147483647 w 329"/>
                    <a:gd name="T79" fmla="*/ 2147483647 h 370"/>
                    <a:gd name="T80" fmla="*/ 2147483647 w 329"/>
                    <a:gd name="T81" fmla="*/ 2147483647 h 370"/>
                    <a:gd name="T82" fmla="*/ 2147483647 w 329"/>
                    <a:gd name="T83" fmla="*/ 2147483647 h 370"/>
                    <a:gd name="T84" fmla="*/ 2147483647 w 329"/>
                    <a:gd name="T85" fmla="*/ 2147483647 h 370"/>
                    <a:gd name="T86" fmla="*/ 2147483647 w 329"/>
                    <a:gd name="T87" fmla="*/ 2147483647 h 370"/>
                    <a:gd name="T88" fmla="*/ 2147483647 w 329"/>
                    <a:gd name="T89" fmla="*/ 2147483647 h 370"/>
                    <a:gd name="T90" fmla="*/ 2147483647 w 329"/>
                    <a:gd name="T91" fmla="*/ 2147483647 h 370"/>
                    <a:gd name="T92" fmla="*/ 2147483647 w 329"/>
                    <a:gd name="T93" fmla="*/ 2147483647 h 370"/>
                    <a:gd name="T94" fmla="*/ 2147483647 w 329"/>
                    <a:gd name="T95" fmla="*/ 2147483647 h 370"/>
                    <a:gd name="T96" fmla="*/ 2147483647 w 329"/>
                    <a:gd name="T97" fmla="*/ 2147483647 h 370"/>
                    <a:gd name="T98" fmla="*/ 2147483647 w 329"/>
                    <a:gd name="T99" fmla="*/ 2147483647 h 370"/>
                    <a:gd name="T100" fmla="*/ 2147483647 w 329"/>
                    <a:gd name="T101" fmla="*/ 2147483647 h 370"/>
                    <a:gd name="T102" fmla="*/ 2147483647 w 329"/>
                    <a:gd name="T103" fmla="*/ 2147483647 h 370"/>
                    <a:gd name="T104" fmla="*/ 0 w 329"/>
                    <a:gd name="T105" fmla="*/ 2147483647 h 37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29"/>
                    <a:gd name="T160" fmla="*/ 0 h 370"/>
                    <a:gd name="T161" fmla="*/ 329 w 329"/>
                    <a:gd name="T162" fmla="*/ 370 h 37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29" h="370">
                      <a:moveTo>
                        <a:pt x="0" y="213"/>
                      </a:moveTo>
                      <a:lnTo>
                        <a:pt x="6" y="212"/>
                      </a:lnTo>
                      <a:lnTo>
                        <a:pt x="7" y="211"/>
                      </a:lnTo>
                      <a:lnTo>
                        <a:pt x="9" y="211"/>
                      </a:lnTo>
                      <a:lnTo>
                        <a:pt x="9" y="207"/>
                      </a:lnTo>
                      <a:lnTo>
                        <a:pt x="10" y="204"/>
                      </a:lnTo>
                      <a:lnTo>
                        <a:pt x="14" y="200"/>
                      </a:lnTo>
                      <a:lnTo>
                        <a:pt x="18" y="195"/>
                      </a:lnTo>
                      <a:lnTo>
                        <a:pt x="20" y="198"/>
                      </a:lnTo>
                      <a:lnTo>
                        <a:pt x="24" y="198"/>
                      </a:lnTo>
                      <a:lnTo>
                        <a:pt x="25" y="196"/>
                      </a:lnTo>
                      <a:lnTo>
                        <a:pt x="27" y="195"/>
                      </a:lnTo>
                      <a:lnTo>
                        <a:pt x="28" y="190"/>
                      </a:lnTo>
                      <a:lnTo>
                        <a:pt x="29" y="188"/>
                      </a:lnTo>
                      <a:lnTo>
                        <a:pt x="30" y="186"/>
                      </a:lnTo>
                      <a:lnTo>
                        <a:pt x="34" y="185"/>
                      </a:lnTo>
                      <a:lnTo>
                        <a:pt x="37" y="185"/>
                      </a:lnTo>
                      <a:lnTo>
                        <a:pt x="39" y="186"/>
                      </a:lnTo>
                      <a:lnTo>
                        <a:pt x="42" y="189"/>
                      </a:lnTo>
                      <a:lnTo>
                        <a:pt x="44" y="192"/>
                      </a:lnTo>
                      <a:lnTo>
                        <a:pt x="47" y="192"/>
                      </a:lnTo>
                      <a:lnTo>
                        <a:pt x="48" y="190"/>
                      </a:lnTo>
                      <a:lnTo>
                        <a:pt x="54" y="186"/>
                      </a:lnTo>
                      <a:lnTo>
                        <a:pt x="58" y="183"/>
                      </a:lnTo>
                      <a:lnTo>
                        <a:pt x="63" y="182"/>
                      </a:lnTo>
                      <a:lnTo>
                        <a:pt x="67" y="181"/>
                      </a:lnTo>
                      <a:lnTo>
                        <a:pt x="70" y="180"/>
                      </a:lnTo>
                      <a:lnTo>
                        <a:pt x="74" y="174"/>
                      </a:lnTo>
                      <a:lnTo>
                        <a:pt x="75" y="170"/>
                      </a:lnTo>
                      <a:lnTo>
                        <a:pt x="74" y="167"/>
                      </a:lnTo>
                      <a:lnTo>
                        <a:pt x="72" y="163"/>
                      </a:lnTo>
                      <a:lnTo>
                        <a:pt x="71" y="158"/>
                      </a:lnTo>
                      <a:lnTo>
                        <a:pt x="70" y="155"/>
                      </a:lnTo>
                      <a:lnTo>
                        <a:pt x="70" y="154"/>
                      </a:lnTo>
                      <a:lnTo>
                        <a:pt x="71" y="153"/>
                      </a:lnTo>
                      <a:lnTo>
                        <a:pt x="76" y="145"/>
                      </a:lnTo>
                      <a:lnTo>
                        <a:pt x="77" y="142"/>
                      </a:lnTo>
                      <a:lnTo>
                        <a:pt x="79" y="138"/>
                      </a:lnTo>
                      <a:lnTo>
                        <a:pt x="80" y="137"/>
                      </a:lnTo>
                      <a:lnTo>
                        <a:pt x="81" y="136"/>
                      </a:lnTo>
                      <a:lnTo>
                        <a:pt x="85" y="134"/>
                      </a:lnTo>
                      <a:lnTo>
                        <a:pt x="89" y="130"/>
                      </a:lnTo>
                      <a:lnTo>
                        <a:pt x="93" y="125"/>
                      </a:lnTo>
                      <a:lnTo>
                        <a:pt x="94" y="122"/>
                      </a:lnTo>
                      <a:lnTo>
                        <a:pt x="95" y="117"/>
                      </a:lnTo>
                      <a:lnTo>
                        <a:pt x="99" y="109"/>
                      </a:lnTo>
                      <a:lnTo>
                        <a:pt x="99" y="105"/>
                      </a:lnTo>
                      <a:lnTo>
                        <a:pt x="98" y="102"/>
                      </a:lnTo>
                      <a:lnTo>
                        <a:pt x="95" y="93"/>
                      </a:lnTo>
                      <a:lnTo>
                        <a:pt x="94" y="86"/>
                      </a:lnTo>
                      <a:lnTo>
                        <a:pt x="95" y="80"/>
                      </a:lnTo>
                      <a:lnTo>
                        <a:pt x="96" y="75"/>
                      </a:lnTo>
                      <a:lnTo>
                        <a:pt x="98" y="73"/>
                      </a:lnTo>
                      <a:lnTo>
                        <a:pt x="98" y="71"/>
                      </a:lnTo>
                      <a:lnTo>
                        <a:pt x="99" y="66"/>
                      </a:lnTo>
                      <a:lnTo>
                        <a:pt x="104" y="52"/>
                      </a:lnTo>
                      <a:lnTo>
                        <a:pt x="107" y="45"/>
                      </a:lnTo>
                      <a:lnTo>
                        <a:pt x="108" y="35"/>
                      </a:lnTo>
                      <a:lnTo>
                        <a:pt x="108" y="30"/>
                      </a:lnTo>
                      <a:lnTo>
                        <a:pt x="108" y="29"/>
                      </a:lnTo>
                      <a:lnTo>
                        <a:pt x="110" y="28"/>
                      </a:lnTo>
                      <a:lnTo>
                        <a:pt x="112" y="27"/>
                      </a:lnTo>
                      <a:lnTo>
                        <a:pt x="113" y="26"/>
                      </a:lnTo>
                      <a:lnTo>
                        <a:pt x="114" y="17"/>
                      </a:lnTo>
                      <a:lnTo>
                        <a:pt x="119" y="15"/>
                      </a:lnTo>
                      <a:lnTo>
                        <a:pt x="122" y="11"/>
                      </a:lnTo>
                      <a:lnTo>
                        <a:pt x="126" y="3"/>
                      </a:lnTo>
                      <a:lnTo>
                        <a:pt x="127" y="2"/>
                      </a:lnTo>
                      <a:lnTo>
                        <a:pt x="129" y="3"/>
                      </a:lnTo>
                      <a:lnTo>
                        <a:pt x="136" y="4"/>
                      </a:lnTo>
                      <a:lnTo>
                        <a:pt x="140" y="6"/>
                      </a:lnTo>
                      <a:lnTo>
                        <a:pt x="142" y="6"/>
                      </a:lnTo>
                      <a:lnTo>
                        <a:pt x="146" y="10"/>
                      </a:lnTo>
                      <a:lnTo>
                        <a:pt x="148" y="14"/>
                      </a:lnTo>
                      <a:lnTo>
                        <a:pt x="151" y="15"/>
                      </a:lnTo>
                      <a:lnTo>
                        <a:pt x="154" y="16"/>
                      </a:lnTo>
                      <a:lnTo>
                        <a:pt x="160" y="17"/>
                      </a:lnTo>
                      <a:lnTo>
                        <a:pt x="169" y="17"/>
                      </a:lnTo>
                      <a:lnTo>
                        <a:pt x="178" y="16"/>
                      </a:lnTo>
                      <a:lnTo>
                        <a:pt x="181" y="15"/>
                      </a:lnTo>
                      <a:lnTo>
                        <a:pt x="185" y="13"/>
                      </a:lnTo>
                      <a:lnTo>
                        <a:pt x="189" y="8"/>
                      </a:lnTo>
                      <a:lnTo>
                        <a:pt x="190" y="7"/>
                      </a:lnTo>
                      <a:lnTo>
                        <a:pt x="193" y="8"/>
                      </a:lnTo>
                      <a:lnTo>
                        <a:pt x="201" y="10"/>
                      </a:lnTo>
                      <a:lnTo>
                        <a:pt x="208" y="11"/>
                      </a:lnTo>
                      <a:lnTo>
                        <a:pt x="216" y="10"/>
                      </a:lnTo>
                      <a:lnTo>
                        <a:pt x="220" y="9"/>
                      </a:lnTo>
                      <a:lnTo>
                        <a:pt x="222" y="8"/>
                      </a:lnTo>
                      <a:lnTo>
                        <a:pt x="227" y="4"/>
                      </a:lnTo>
                      <a:lnTo>
                        <a:pt x="232" y="1"/>
                      </a:lnTo>
                      <a:lnTo>
                        <a:pt x="237" y="0"/>
                      </a:lnTo>
                      <a:lnTo>
                        <a:pt x="240" y="0"/>
                      </a:lnTo>
                      <a:lnTo>
                        <a:pt x="244" y="1"/>
                      </a:lnTo>
                      <a:lnTo>
                        <a:pt x="250" y="2"/>
                      </a:lnTo>
                      <a:lnTo>
                        <a:pt x="254" y="3"/>
                      </a:lnTo>
                      <a:lnTo>
                        <a:pt x="258" y="4"/>
                      </a:lnTo>
                      <a:lnTo>
                        <a:pt x="263" y="8"/>
                      </a:lnTo>
                      <a:lnTo>
                        <a:pt x="265" y="11"/>
                      </a:lnTo>
                      <a:lnTo>
                        <a:pt x="268" y="15"/>
                      </a:lnTo>
                      <a:lnTo>
                        <a:pt x="272" y="16"/>
                      </a:lnTo>
                      <a:lnTo>
                        <a:pt x="277" y="17"/>
                      </a:lnTo>
                      <a:lnTo>
                        <a:pt x="281" y="17"/>
                      </a:lnTo>
                      <a:lnTo>
                        <a:pt x="286" y="16"/>
                      </a:lnTo>
                      <a:lnTo>
                        <a:pt x="296" y="13"/>
                      </a:lnTo>
                      <a:lnTo>
                        <a:pt x="298" y="13"/>
                      </a:lnTo>
                      <a:lnTo>
                        <a:pt x="300" y="14"/>
                      </a:lnTo>
                      <a:lnTo>
                        <a:pt x="303" y="19"/>
                      </a:lnTo>
                      <a:lnTo>
                        <a:pt x="307" y="25"/>
                      </a:lnTo>
                      <a:lnTo>
                        <a:pt x="311" y="30"/>
                      </a:lnTo>
                      <a:lnTo>
                        <a:pt x="315" y="34"/>
                      </a:lnTo>
                      <a:lnTo>
                        <a:pt x="320" y="38"/>
                      </a:lnTo>
                      <a:lnTo>
                        <a:pt x="322" y="39"/>
                      </a:lnTo>
                      <a:lnTo>
                        <a:pt x="325" y="41"/>
                      </a:lnTo>
                      <a:lnTo>
                        <a:pt x="325" y="45"/>
                      </a:lnTo>
                      <a:lnTo>
                        <a:pt x="325" y="47"/>
                      </a:lnTo>
                      <a:lnTo>
                        <a:pt x="326" y="54"/>
                      </a:lnTo>
                      <a:lnTo>
                        <a:pt x="329" y="61"/>
                      </a:lnTo>
                      <a:lnTo>
                        <a:pt x="329" y="64"/>
                      </a:lnTo>
                      <a:lnTo>
                        <a:pt x="329" y="66"/>
                      </a:lnTo>
                      <a:lnTo>
                        <a:pt x="321" y="74"/>
                      </a:lnTo>
                      <a:lnTo>
                        <a:pt x="317" y="81"/>
                      </a:lnTo>
                      <a:lnTo>
                        <a:pt x="314" y="90"/>
                      </a:lnTo>
                      <a:lnTo>
                        <a:pt x="314" y="94"/>
                      </a:lnTo>
                      <a:lnTo>
                        <a:pt x="314" y="99"/>
                      </a:lnTo>
                      <a:lnTo>
                        <a:pt x="312" y="103"/>
                      </a:lnTo>
                      <a:lnTo>
                        <a:pt x="310" y="105"/>
                      </a:lnTo>
                      <a:lnTo>
                        <a:pt x="306" y="108"/>
                      </a:lnTo>
                      <a:lnTo>
                        <a:pt x="305" y="110"/>
                      </a:lnTo>
                      <a:lnTo>
                        <a:pt x="305" y="113"/>
                      </a:lnTo>
                      <a:lnTo>
                        <a:pt x="305" y="118"/>
                      </a:lnTo>
                      <a:lnTo>
                        <a:pt x="306" y="122"/>
                      </a:lnTo>
                      <a:lnTo>
                        <a:pt x="306" y="124"/>
                      </a:lnTo>
                      <a:lnTo>
                        <a:pt x="300" y="131"/>
                      </a:lnTo>
                      <a:lnTo>
                        <a:pt x="293" y="138"/>
                      </a:lnTo>
                      <a:lnTo>
                        <a:pt x="291" y="143"/>
                      </a:lnTo>
                      <a:lnTo>
                        <a:pt x="289" y="148"/>
                      </a:lnTo>
                      <a:lnTo>
                        <a:pt x="288" y="154"/>
                      </a:lnTo>
                      <a:lnTo>
                        <a:pt x="289" y="156"/>
                      </a:lnTo>
                      <a:lnTo>
                        <a:pt x="291" y="156"/>
                      </a:lnTo>
                      <a:lnTo>
                        <a:pt x="293" y="163"/>
                      </a:lnTo>
                      <a:lnTo>
                        <a:pt x="297" y="170"/>
                      </a:lnTo>
                      <a:lnTo>
                        <a:pt x="301" y="176"/>
                      </a:lnTo>
                      <a:lnTo>
                        <a:pt x="302" y="182"/>
                      </a:lnTo>
                      <a:lnTo>
                        <a:pt x="301" y="194"/>
                      </a:lnTo>
                      <a:lnTo>
                        <a:pt x="302" y="207"/>
                      </a:lnTo>
                      <a:lnTo>
                        <a:pt x="305" y="220"/>
                      </a:lnTo>
                      <a:lnTo>
                        <a:pt x="307" y="232"/>
                      </a:lnTo>
                      <a:lnTo>
                        <a:pt x="312" y="243"/>
                      </a:lnTo>
                      <a:lnTo>
                        <a:pt x="319" y="252"/>
                      </a:lnTo>
                      <a:lnTo>
                        <a:pt x="324" y="262"/>
                      </a:lnTo>
                      <a:lnTo>
                        <a:pt x="326" y="268"/>
                      </a:lnTo>
                      <a:lnTo>
                        <a:pt x="327" y="272"/>
                      </a:lnTo>
                      <a:lnTo>
                        <a:pt x="324" y="271"/>
                      </a:lnTo>
                      <a:lnTo>
                        <a:pt x="316" y="268"/>
                      </a:lnTo>
                      <a:lnTo>
                        <a:pt x="308" y="268"/>
                      </a:lnTo>
                      <a:lnTo>
                        <a:pt x="292" y="268"/>
                      </a:lnTo>
                      <a:lnTo>
                        <a:pt x="292" y="269"/>
                      </a:lnTo>
                      <a:lnTo>
                        <a:pt x="291" y="271"/>
                      </a:lnTo>
                      <a:lnTo>
                        <a:pt x="291" y="273"/>
                      </a:lnTo>
                      <a:lnTo>
                        <a:pt x="291" y="276"/>
                      </a:lnTo>
                      <a:lnTo>
                        <a:pt x="286" y="283"/>
                      </a:lnTo>
                      <a:lnTo>
                        <a:pt x="283" y="291"/>
                      </a:lnTo>
                      <a:lnTo>
                        <a:pt x="282" y="304"/>
                      </a:lnTo>
                      <a:lnTo>
                        <a:pt x="281" y="322"/>
                      </a:lnTo>
                      <a:lnTo>
                        <a:pt x="281" y="327"/>
                      </a:lnTo>
                      <a:lnTo>
                        <a:pt x="282" y="332"/>
                      </a:lnTo>
                      <a:lnTo>
                        <a:pt x="284" y="336"/>
                      </a:lnTo>
                      <a:lnTo>
                        <a:pt x="288" y="341"/>
                      </a:lnTo>
                      <a:lnTo>
                        <a:pt x="291" y="345"/>
                      </a:lnTo>
                      <a:lnTo>
                        <a:pt x="296" y="347"/>
                      </a:lnTo>
                      <a:lnTo>
                        <a:pt x="300" y="349"/>
                      </a:lnTo>
                      <a:lnTo>
                        <a:pt x="303" y="349"/>
                      </a:lnTo>
                      <a:lnTo>
                        <a:pt x="305" y="349"/>
                      </a:lnTo>
                      <a:lnTo>
                        <a:pt x="305" y="352"/>
                      </a:lnTo>
                      <a:lnTo>
                        <a:pt x="305" y="356"/>
                      </a:lnTo>
                      <a:lnTo>
                        <a:pt x="305" y="368"/>
                      </a:lnTo>
                      <a:lnTo>
                        <a:pt x="303" y="370"/>
                      </a:lnTo>
                      <a:lnTo>
                        <a:pt x="300" y="370"/>
                      </a:lnTo>
                      <a:lnTo>
                        <a:pt x="294" y="368"/>
                      </a:lnTo>
                      <a:lnTo>
                        <a:pt x="292" y="367"/>
                      </a:lnTo>
                      <a:lnTo>
                        <a:pt x="289" y="364"/>
                      </a:lnTo>
                      <a:lnTo>
                        <a:pt x="288" y="361"/>
                      </a:lnTo>
                      <a:lnTo>
                        <a:pt x="287" y="358"/>
                      </a:lnTo>
                      <a:lnTo>
                        <a:pt x="284" y="355"/>
                      </a:lnTo>
                      <a:lnTo>
                        <a:pt x="279" y="353"/>
                      </a:lnTo>
                      <a:lnTo>
                        <a:pt x="275" y="348"/>
                      </a:lnTo>
                      <a:lnTo>
                        <a:pt x="268" y="339"/>
                      </a:lnTo>
                      <a:lnTo>
                        <a:pt x="265" y="334"/>
                      </a:lnTo>
                      <a:lnTo>
                        <a:pt x="263" y="332"/>
                      </a:lnTo>
                      <a:lnTo>
                        <a:pt x="261" y="332"/>
                      </a:lnTo>
                      <a:lnTo>
                        <a:pt x="260" y="332"/>
                      </a:lnTo>
                      <a:lnTo>
                        <a:pt x="249" y="339"/>
                      </a:lnTo>
                      <a:lnTo>
                        <a:pt x="244" y="340"/>
                      </a:lnTo>
                      <a:lnTo>
                        <a:pt x="237" y="340"/>
                      </a:lnTo>
                      <a:lnTo>
                        <a:pt x="232" y="339"/>
                      </a:lnTo>
                      <a:lnTo>
                        <a:pt x="230" y="338"/>
                      </a:lnTo>
                      <a:lnTo>
                        <a:pt x="230" y="335"/>
                      </a:lnTo>
                      <a:lnTo>
                        <a:pt x="230" y="332"/>
                      </a:lnTo>
                      <a:lnTo>
                        <a:pt x="231" y="327"/>
                      </a:lnTo>
                      <a:lnTo>
                        <a:pt x="223" y="329"/>
                      </a:lnTo>
                      <a:lnTo>
                        <a:pt x="220" y="330"/>
                      </a:lnTo>
                      <a:lnTo>
                        <a:pt x="217" y="329"/>
                      </a:lnTo>
                      <a:lnTo>
                        <a:pt x="212" y="324"/>
                      </a:lnTo>
                      <a:lnTo>
                        <a:pt x="206" y="322"/>
                      </a:lnTo>
                      <a:lnTo>
                        <a:pt x="201" y="323"/>
                      </a:lnTo>
                      <a:lnTo>
                        <a:pt x="194" y="324"/>
                      </a:lnTo>
                      <a:lnTo>
                        <a:pt x="183" y="327"/>
                      </a:lnTo>
                      <a:lnTo>
                        <a:pt x="180" y="326"/>
                      </a:lnTo>
                      <a:lnTo>
                        <a:pt x="178" y="324"/>
                      </a:lnTo>
                      <a:lnTo>
                        <a:pt x="178" y="323"/>
                      </a:lnTo>
                      <a:lnTo>
                        <a:pt x="178" y="311"/>
                      </a:lnTo>
                      <a:lnTo>
                        <a:pt x="176" y="300"/>
                      </a:lnTo>
                      <a:lnTo>
                        <a:pt x="173" y="288"/>
                      </a:lnTo>
                      <a:lnTo>
                        <a:pt x="167" y="276"/>
                      </a:lnTo>
                      <a:lnTo>
                        <a:pt x="167" y="273"/>
                      </a:lnTo>
                      <a:lnTo>
                        <a:pt x="169" y="270"/>
                      </a:lnTo>
                      <a:lnTo>
                        <a:pt x="169" y="266"/>
                      </a:lnTo>
                      <a:lnTo>
                        <a:pt x="167" y="263"/>
                      </a:lnTo>
                      <a:lnTo>
                        <a:pt x="166" y="262"/>
                      </a:lnTo>
                      <a:lnTo>
                        <a:pt x="165" y="256"/>
                      </a:lnTo>
                      <a:lnTo>
                        <a:pt x="165" y="253"/>
                      </a:lnTo>
                      <a:lnTo>
                        <a:pt x="162" y="252"/>
                      </a:lnTo>
                      <a:lnTo>
                        <a:pt x="159" y="251"/>
                      </a:lnTo>
                      <a:lnTo>
                        <a:pt x="156" y="252"/>
                      </a:lnTo>
                      <a:lnTo>
                        <a:pt x="154" y="251"/>
                      </a:lnTo>
                      <a:lnTo>
                        <a:pt x="151" y="251"/>
                      </a:lnTo>
                      <a:lnTo>
                        <a:pt x="146" y="251"/>
                      </a:lnTo>
                      <a:lnTo>
                        <a:pt x="143" y="250"/>
                      </a:lnTo>
                      <a:lnTo>
                        <a:pt x="142" y="249"/>
                      </a:lnTo>
                      <a:lnTo>
                        <a:pt x="141" y="246"/>
                      </a:lnTo>
                      <a:lnTo>
                        <a:pt x="138" y="244"/>
                      </a:lnTo>
                      <a:lnTo>
                        <a:pt x="134" y="243"/>
                      </a:lnTo>
                      <a:lnTo>
                        <a:pt x="129" y="244"/>
                      </a:lnTo>
                      <a:lnTo>
                        <a:pt x="127" y="246"/>
                      </a:lnTo>
                      <a:lnTo>
                        <a:pt x="124" y="250"/>
                      </a:lnTo>
                      <a:lnTo>
                        <a:pt x="124" y="255"/>
                      </a:lnTo>
                      <a:lnTo>
                        <a:pt x="124" y="260"/>
                      </a:lnTo>
                      <a:lnTo>
                        <a:pt x="124" y="262"/>
                      </a:lnTo>
                      <a:lnTo>
                        <a:pt x="123" y="264"/>
                      </a:lnTo>
                      <a:lnTo>
                        <a:pt x="117" y="266"/>
                      </a:lnTo>
                      <a:lnTo>
                        <a:pt x="110" y="268"/>
                      </a:lnTo>
                      <a:lnTo>
                        <a:pt x="104" y="266"/>
                      </a:lnTo>
                      <a:lnTo>
                        <a:pt x="103" y="265"/>
                      </a:lnTo>
                      <a:lnTo>
                        <a:pt x="100" y="264"/>
                      </a:lnTo>
                      <a:lnTo>
                        <a:pt x="98" y="256"/>
                      </a:lnTo>
                      <a:lnTo>
                        <a:pt x="96" y="245"/>
                      </a:lnTo>
                      <a:lnTo>
                        <a:pt x="94" y="236"/>
                      </a:lnTo>
                      <a:lnTo>
                        <a:pt x="91" y="232"/>
                      </a:lnTo>
                      <a:lnTo>
                        <a:pt x="87" y="228"/>
                      </a:lnTo>
                      <a:lnTo>
                        <a:pt x="79" y="225"/>
                      </a:lnTo>
                      <a:lnTo>
                        <a:pt x="70" y="224"/>
                      </a:lnTo>
                      <a:lnTo>
                        <a:pt x="60" y="224"/>
                      </a:lnTo>
                      <a:lnTo>
                        <a:pt x="51" y="224"/>
                      </a:lnTo>
                      <a:lnTo>
                        <a:pt x="42" y="223"/>
                      </a:lnTo>
                      <a:lnTo>
                        <a:pt x="33" y="220"/>
                      </a:lnTo>
                      <a:lnTo>
                        <a:pt x="27" y="220"/>
                      </a:lnTo>
                      <a:lnTo>
                        <a:pt x="23" y="223"/>
                      </a:lnTo>
                      <a:lnTo>
                        <a:pt x="19" y="226"/>
                      </a:lnTo>
                      <a:lnTo>
                        <a:pt x="16" y="227"/>
                      </a:lnTo>
                      <a:lnTo>
                        <a:pt x="11" y="228"/>
                      </a:lnTo>
                      <a:lnTo>
                        <a:pt x="6" y="228"/>
                      </a:lnTo>
                      <a:lnTo>
                        <a:pt x="4" y="228"/>
                      </a:lnTo>
                      <a:lnTo>
                        <a:pt x="2" y="227"/>
                      </a:lnTo>
                      <a:lnTo>
                        <a:pt x="0" y="225"/>
                      </a:lnTo>
                      <a:lnTo>
                        <a:pt x="0" y="221"/>
                      </a:lnTo>
                      <a:lnTo>
                        <a:pt x="0" y="217"/>
                      </a:lnTo>
                      <a:lnTo>
                        <a:pt x="0" y="2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2" name="Freeform 721">
                  <a:extLst>
                    <a:ext uri="{FF2B5EF4-FFF2-40B4-BE49-F238E27FC236}">
                      <a16:creationId xmlns:a16="http://schemas.microsoft.com/office/drawing/2014/main" id="{D679962B-8330-B340-B0A6-2314CDBDFD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1356" y="3946502"/>
                  <a:ext cx="408445" cy="574190"/>
                </a:xfrm>
                <a:custGeom>
                  <a:avLst/>
                  <a:gdLst>
                    <a:gd name="T0" fmla="*/ 2147483647 w 299"/>
                    <a:gd name="T1" fmla="*/ 2147483647 h 388"/>
                    <a:gd name="T2" fmla="*/ 2147483647 w 299"/>
                    <a:gd name="T3" fmla="*/ 2147483647 h 388"/>
                    <a:gd name="T4" fmla="*/ 2147483647 w 299"/>
                    <a:gd name="T5" fmla="*/ 2147483647 h 388"/>
                    <a:gd name="T6" fmla="*/ 2147483647 w 299"/>
                    <a:gd name="T7" fmla="*/ 2147483647 h 388"/>
                    <a:gd name="T8" fmla="*/ 2147483647 w 299"/>
                    <a:gd name="T9" fmla="*/ 2147483647 h 388"/>
                    <a:gd name="T10" fmla="*/ 2147483647 w 299"/>
                    <a:gd name="T11" fmla="*/ 2147483647 h 388"/>
                    <a:gd name="T12" fmla="*/ 2147483647 w 299"/>
                    <a:gd name="T13" fmla="*/ 2147483647 h 388"/>
                    <a:gd name="T14" fmla="*/ 2147483647 w 299"/>
                    <a:gd name="T15" fmla="*/ 2147483647 h 388"/>
                    <a:gd name="T16" fmla="*/ 2147483647 w 299"/>
                    <a:gd name="T17" fmla="*/ 2147483647 h 388"/>
                    <a:gd name="T18" fmla="*/ 2147483647 w 299"/>
                    <a:gd name="T19" fmla="*/ 2147483647 h 388"/>
                    <a:gd name="T20" fmla="*/ 2147483647 w 299"/>
                    <a:gd name="T21" fmla="*/ 2147483647 h 388"/>
                    <a:gd name="T22" fmla="*/ 2147483647 w 299"/>
                    <a:gd name="T23" fmla="*/ 2147483647 h 388"/>
                    <a:gd name="T24" fmla="*/ 2147483647 w 299"/>
                    <a:gd name="T25" fmla="*/ 2147483647 h 388"/>
                    <a:gd name="T26" fmla="*/ 2147483647 w 299"/>
                    <a:gd name="T27" fmla="*/ 2147483647 h 388"/>
                    <a:gd name="T28" fmla="*/ 2147483647 w 299"/>
                    <a:gd name="T29" fmla="*/ 2147483647 h 388"/>
                    <a:gd name="T30" fmla="*/ 2147483647 w 299"/>
                    <a:gd name="T31" fmla="*/ 2147483647 h 388"/>
                    <a:gd name="T32" fmla="*/ 2147483647 w 299"/>
                    <a:gd name="T33" fmla="*/ 2147483647 h 388"/>
                    <a:gd name="T34" fmla="*/ 2147483647 w 299"/>
                    <a:gd name="T35" fmla="*/ 2147483647 h 388"/>
                    <a:gd name="T36" fmla="*/ 2147483647 w 299"/>
                    <a:gd name="T37" fmla="*/ 2147483647 h 388"/>
                    <a:gd name="T38" fmla="*/ 2147483647 w 299"/>
                    <a:gd name="T39" fmla="*/ 2147483647 h 388"/>
                    <a:gd name="T40" fmla="*/ 2147483647 w 299"/>
                    <a:gd name="T41" fmla="*/ 2147483647 h 388"/>
                    <a:gd name="T42" fmla="*/ 2147483647 w 299"/>
                    <a:gd name="T43" fmla="*/ 2147483647 h 388"/>
                    <a:gd name="T44" fmla="*/ 2147483647 w 299"/>
                    <a:gd name="T45" fmla="*/ 2147483647 h 388"/>
                    <a:gd name="T46" fmla="*/ 2147483647 w 299"/>
                    <a:gd name="T47" fmla="*/ 0 h 388"/>
                    <a:gd name="T48" fmla="*/ 2147483647 w 299"/>
                    <a:gd name="T49" fmla="*/ 2147483647 h 388"/>
                    <a:gd name="T50" fmla="*/ 2147483647 w 299"/>
                    <a:gd name="T51" fmla="*/ 2147483647 h 388"/>
                    <a:gd name="T52" fmla="*/ 2147483647 w 299"/>
                    <a:gd name="T53" fmla="*/ 2147483647 h 388"/>
                    <a:gd name="T54" fmla="*/ 2147483647 w 299"/>
                    <a:gd name="T55" fmla="*/ 2147483647 h 388"/>
                    <a:gd name="T56" fmla="*/ 2147483647 w 299"/>
                    <a:gd name="T57" fmla="*/ 2147483647 h 388"/>
                    <a:gd name="T58" fmla="*/ 2147483647 w 299"/>
                    <a:gd name="T59" fmla="*/ 2147483647 h 388"/>
                    <a:gd name="T60" fmla="*/ 2147483647 w 299"/>
                    <a:gd name="T61" fmla="*/ 2147483647 h 388"/>
                    <a:gd name="T62" fmla="*/ 2147483647 w 299"/>
                    <a:gd name="T63" fmla="*/ 2147483647 h 388"/>
                    <a:gd name="T64" fmla="*/ 2147483647 w 299"/>
                    <a:gd name="T65" fmla="*/ 2147483647 h 388"/>
                    <a:gd name="T66" fmla="*/ 2147483647 w 299"/>
                    <a:gd name="T67" fmla="*/ 2147483647 h 388"/>
                    <a:gd name="T68" fmla="*/ 2147483647 w 299"/>
                    <a:gd name="T69" fmla="*/ 2147483647 h 388"/>
                    <a:gd name="T70" fmla="*/ 2147483647 w 299"/>
                    <a:gd name="T71" fmla="*/ 2147483647 h 388"/>
                    <a:gd name="T72" fmla="*/ 2147483647 w 299"/>
                    <a:gd name="T73" fmla="*/ 2147483647 h 388"/>
                    <a:gd name="T74" fmla="*/ 2147483647 w 299"/>
                    <a:gd name="T75" fmla="*/ 2147483647 h 388"/>
                    <a:gd name="T76" fmla="*/ 2147483647 w 299"/>
                    <a:gd name="T77" fmla="*/ 2147483647 h 388"/>
                    <a:gd name="T78" fmla="*/ 2147483647 w 299"/>
                    <a:gd name="T79" fmla="*/ 2147483647 h 388"/>
                    <a:gd name="T80" fmla="*/ 2147483647 w 299"/>
                    <a:gd name="T81" fmla="*/ 2147483647 h 388"/>
                    <a:gd name="T82" fmla="*/ 2147483647 w 299"/>
                    <a:gd name="T83" fmla="*/ 2147483647 h 388"/>
                    <a:gd name="T84" fmla="*/ 2147483647 w 299"/>
                    <a:gd name="T85" fmla="*/ 2147483647 h 388"/>
                    <a:gd name="T86" fmla="*/ 2147483647 w 299"/>
                    <a:gd name="T87" fmla="*/ 2147483647 h 388"/>
                    <a:gd name="T88" fmla="*/ 2147483647 w 299"/>
                    <a:gd name="T89" fmla="*/ 2147483647 h 388"/>
                    <a:gd name="T90" fmla="*/ 2147483647 w 299"/>
                    <a:gd name="T91" fmla="*/ 2147483647 h 388"/>
                    <a:gd name="T92" fmla="*/ 2147483647 w 299"/>
                    <a:gd name="T93" fmla="*/ 2147483647 h 388"/>
                    <a:gd name="T94" fmla="*/ 2147483647 w 299"/>
                    <a:gd name="T95" fmla="*/ 2147483647 h 388"/>
                    <a:gd name="T96" fmla="*/ 2147483647 w 299"/>
                    <a:gd name="T97" fmla="*/ 2147483647 h 388"/>
                    <a:gd name="T98" fmla="*/ 2147483647 w 299"/>
                    <a:gd name="T99" fmla="*/ 2147483647 h 388"/>
                    <a:gd name="T100" fmla="*/ 2147483647 w 299"/>
                    <a:gd name="T101" fmla="*/ 2147483647 h 388"/>
                    <a:gd name="T102" fmla="*/ 2147483647 w 299"/>
                    <a:gd name="T103" fmla="*/ 2147483647 h 388"/>
                    <a:gd name="T104" fmla="*/ 2147483647 w 299"/>
                    <a:gd name="T105" fmla="*/ 2147483647 h 388"/>
                    <a:gd name="T106" fmla="*/ 2147483647 w 299"/>
                    <a:gd name="T107" fmla="*/ 2147483647 h 388"/>
                    <a:gd name="T108" fmla="*/ 2147483647 w 299"/>
                    <a:gd name="T109" fmla="*/ 2147483647 h 388"/>
                    <a:gd name="T110" fmla="*/ 2147483647 w 299"/>
                    <a:gd name="T111" fmla="*/ 2147483647 h 388"/>
                    <a:gd name="T112" fmla="*/ 2147483647 w 299"/>
                    <a:gd name="T113" fmla="*/ 2147483647 h 388"/>
                    <a:gd name="T114" fmla="*/ 2147483647 w 299"/>
                    <a:gd name="T115" fmla="*/ 2147483647 h 388"/>
                    <a:gd name="T116" fmla="*/ 2147483647 w 299"/>
                    <a:gd name="T117" fmla="*/ 2147483647 h 388"/>
                    <a:gd name="T118" fmla="*/ 2147483647 w 299"/>
                    <a:gd name="T119" fmla="*/ 2147483647 h 388"/>
                    <a:gd name="T120" fmla="*/ 2147483647 w 299"/>
                    <a:gd name="T121" fmla="*/ 2147483647 h 388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99"/>
                    <a:gd name="T184" fmla="*/ 0 h 388"/>
                    <a:gd name="T185" fmla="*/ 299 w 299"/>
                    <a:gd name="T186" fmla="*/ 388 h 388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99" h="388">
                      <a:moveTo>
                        <a:pt x="251" y="358"/>
                      </a:moveTo>
                      <a:lnTo>
                        <a:pt x="251" y="358"/>
                      </a:lnTo>
                      <a:lnTo>
                        <a:pt x="251" y="353"/>
                      </a:lnTo>
                      <a:lnTo>
                        <a:pt x="248" y="350"/>
                      </a:lnTo>
                      <a:lnTo>
                        <a:pt x="245" y="348"/>
                      </a:lnTo>
                      <a:lnTo>
                        <a:pt x="238" y="347"/>
                      </a:lnTo>
                      <a:lnTo>
                        <a:pt x="238" y="345"/>
                      </a:lnTo>
                      <a:lnTo>
                        <a:pt x="237" y="342"/>
                      </a:lnTo>
                      <a:lnTo>
                        <a:pt x="237" y="337"/>
                      </a:lnTo>
                      <a:lnTo>
                        <a:pt x="236" y="331"/>
                      </a:lnTo>
                      <a:lnTo>
                        <a:pt x="232" y="324"/>
                      </a:lnTo>
                      <a:lnTo>
                        <a:pt x="227" y="317"/>
                      </a:lnTo>
                      <a:lnTo>
                        <a:pt x="218" y="311"/>
                      </a:lnTo>
                      <a:lnTo>
                        <a:pt x="204" y="304"/>
                      </a:lnTo>
                      <a:lnTo>
                        <a:pt x="203" y="303"/>
                      </a:lnTo>
                      <a:lnTo>
                        <a:pt x="200" y="302"/>
                      </a:lnTo>
                      <a:lnTo>
                        <a:pt x="200" y="297"/>
                      </a:lnTo>
                      <a:lnTo>
                        <a:pt x="200" y="292"/>
                      </a:lnTo>
                      <a:lnTo>
                        <a:pt x="204" y="289"/>
                      </a:lnTo>
                      <a:lnTo>
                        <a:pt x="205" y="289"/>
                      </a:lnTo>
                      <a:lnTo>
                        <a:pt x="209" y="289"/>
                      </a:lnTo>
                      <a:lnTo>
                        <a:pt x="212" y="289"/>
                      </a:lnTo>
                      <a:lnTo>
                        <a:pt x="214" y="288"/>
                      </a:lnTo>
                      <a:lnTo>
                        <a:pt x="217" y="286"/>
                      </a:lnTo>
                      <a:lnTo>
                        <a:pt x="219" y="284"/>
                      </a:lnTo>
                      <a:lnTo>
                        <a:pt x="221" y="278"/>
                      </a:lnTo>
                      <a:lnTo>
                        <a:pt x="222" y="265"/>
                      </a:lnTo>
                      <a:lnTo>
                        <a:pt x="222" y="258"/>
                      </a:lnTo>
                      <a:lnTo>
                        <a:pt x="222" y="251"/>
                      </a:lnTo>
                      <a:lnTo>
                        <a:pt x="222" y="248"/>
                      </a:lnTo>
                      <a:lnTo>
                        <a:pt x="223" y="246"/>
                      </a:lnTo>
                      <a:lnTo>
                        <a:pt x="227" y="245"/>
                      </a:lnTo>
                      <a:lnTo>
                        <a:pt x="231" y="244"/>
                      </a:lnTo>
                      <a:lnTo>
                        <a:pt x="233" y="244"/>
                      </a:lnTo>
                      <a:lnTo>
                        <a:pt x="233" y="243"/>
                      </a:lnTo>
                      <a:lnTo>
                        <a:pt x="236" y="232"/>
                      </a:lnTo>
                      <a:lnTo>
                        <a:pt x="237" y="225"/>
                      </a:lnTo>
                      <a:lnTo>
                        <a:pt x="238" y="215"/>
                      </a:lnTo>
                      <a:lnTo>
                        <a:pt x="241" y="212"/>
                      </a:lnTo>
                      <a:lnTo>
                        <a:pt x="245" y="208"/>
                      </a:lnTo>
                      <a:lnTo>
                        <a:pt x="259" y="196"/>
                      </a:lnTo>
                      <a:lnTo>
                        <a:pt x="262" y="193"/>
                      </a:lnTo>
                      <a:lnTo>
                        <a:pt x="264" y="190"/>
                      </a:lnTo>
                      <a:lnTo>
                        <a:pt x="264" y="189"/>
                      </a:lnTo>
                      <a:lnTo>
                        <a:pt x="261" y="182"/>
                      </a:lnTo>
                      <a:lnTo>
                        <a:pt x="260" y="174"/>
                      </a:lnTo>
                      <a:lnTo>
                        <a:pt x="260" y="165"/>
                      </a:lnTo>
                      <a:lnTo>
                        <a:pt x="260" y="157"/>
                      </a:lnTo>
                      <a:lnTo>
                        <a:pt x="261" y="148"/>
                      </a:lnTo>
                      <a:lnTo>
                        <a:pt x="264" y="139"/>
                      </a:lnTo>
                      <a:lnTo>
                        <a:pt x="268" y="131"/>
                      </a:lnTo>
                      <a:lnTo>
                        <a:pt x="273" y="125"/>
                      </a:lnTo>
                      <a:lnTo>
                        <a:pt x="275" y="123"/>
                      </a:lnTo>
                      <a:lnTo>
                        <a:pt x="278" y="122"/>
                      </a:lnTo>
                      <a:lnTo>
                        <a:pt x="285" y="118"/>
                      </a:lnTo>
                      <a:lnTo>
                        <a:pt x="289" y="117"/>
                      </a:lnTo>
                      <a:lnTo>
                        <a:pt x="292" y="115"/>
                      </a:lnTo>
                      <a:lnTo>
                        <a:pt x="295" y="111"/>
                      </a:lnTo>
                      <a:lnTo>
                        <a:pt x="299" y="105"/>
                      </a:lnTo>
                      <a:lnTo>
                        <a:pt x="293" y="99"/>
                      </a:lnTo>
                      <a:lnTo>
                        <a:pt x="287" y="93"/>
                      </a:lnTo>
                      <a:lnTo>
                        <a:pt x="280" y="87"/>
                      </a:lnTo>
                      <a:lnTo>
                        <a:pt x="278" y="85"/>
                      </a:lnTo>
                      <a:lnTo>
                        <a:pt x="276" y="81"/>
                      </a:lnTo>
                      <a:lnTo>
                        <a:pt x="276" y="75"/>
                      </a:lnTo>
                      <a:lnTo>
                        <a:pt x="276" y="69"/>
                      </a:lnTo>
                      <a:lnTo>
                        <a:pt x="276" y="64"/>
                      </a:lnTo>
                      <a:lnTo>
                        <a:pt x="276" y="58"/>
                      </a:lnTo>
                      <a:lnTo>
                        <a:pt x="275" y="55"/>
                      </a:lnTo>
                      <a:lnTo>
                        <a:pt x="273" y="52"/>
                      </a:lnTo>
                      <a:lnTo>
                        <a:pt x="271" y="49"/>
                      </a:lnTo>
                      <a:lnTo>
                        <a:pt x="270" y="47"/>
                      </a:lnTo>
                      <a:lnTo>
                        <a:pt x="271" y="39"/>
                      </a:lnTo>
                      <a:lnTo>
                        <a:pt x="270" y="32"/>
                      </a:lnTo>
                      <a:lnTo>
                        <a:pt x="268" y="24"/>
                      </a:lnTo>
                      <a:lnTo>
                        <a:pt x="266" y="21"/>
                      </a:lnTo>
                      <a:lnTo>
                        <a:pt x="262" y="20"/>
                      </a:lnTo>
                      <a:lnTo>
                        <a:pt x="254" y="13"/>
                      </a:lnTo>
                      <a:lnTo>
                        <a:pt x="247" y="8"/>
                      </a:lnTo>
                      <a:lnTo>
                        <a:pt x="246" y="4"/>
                      </a:lnTo>
                      <a:lnTo>
                        <a:pt x="246" y="0"/>
                      </a:lnTo>
                      <a:lnTo>
                        <a:pt x="235" y="0"/>
                      </a:lnTo>
                      <a:lnTo>
                        <a:pt x="228" y="1"/>
                      </a:lnTo>
                      <a:lnTo>
                        <a:pt x="227" y="1"/>
                      </a:lnTo>
                      <a:lnTo>
                        <a:pt x="226" y="2"/>
                      </a:lnTo>
                      <a:lnTo>
                        <a:pt x="222" y="11"/>
                      </a:lnTo>
                      <a:lnTo>
                        <a:pt x="219" y="15"/>
                      </a:lnTo>
                      <a:lnTo>
                        <a:pt x="218" y="17"/>
                      </a:lnTo>
                      <a:lnTo>
                        <a:pt x="215" y="18"/>
                      </a:lnTo>
                      <a:lnTo>
                        <a:pt x="214" y="18"/>
                      </a:lnTo>
                      <a:lnTo>
                        <a:pt x="214" y="21"/>
                      </a:lnTo>
                      <a:lnTo>
                        <a:pt x="214" y="24"/>
                      </a:lnTo>
                      <a:lnTo>
                        <a:pt x="212" y="26"/>
                      </a:lnTo>
                      <a:lnTo>
                        <a:pt x="208" y="27"/>
                      </a:lnTo>
                      <a:lnTo>
                        <a:pt x="204" y="26"/>
                      </a:lnTo>
                      <a:lnTo>
                        <a:pt x="202" y="23"/>
                      </a:lnTo>
                      <a:lnTo>
                        <a:pt x="199" y="20"/>
                      </a:lnTo>
                      <a:lnTo>
                        <a:pt x="64" y="22"/>
                      </a:lnTo>
                      <a:lnTo>
                        <a:pt x="63" y="59"/>
                      </a:lnTo>
                      <a:lnTo>
                        <a:pt x="54" y="61"/>
                      </a:lnTo>
                      <a:lnTo>
                        <a:pt x="53" y="75"/>
                      </a:lnTo>
                      <a:lnTo>
                        <a:pt x="52" y="138"/>
                      </a:lnTo>
                      <a:lnTo>
                        <a:pt x="49" y="147"/>
                      </a:lnTo>
                      <a:lnTo>
                        <a:pt x="47" y="149"/>
                      </a:lnTo>
                      <a:lnTo>
                        <a:pt x="45" y="150"/>
                      </a:lnTo>
                      <a:lnTo>
                        <a:pt x="44" y="150"/>
                      </a:lnTo>
                      <a:lnTo>
                        <a:pt x="39" y="148"/>
                      </a:lnTo>
                      <a:lnTo>
                        <a:pt x="34" y="148"/>
                      </a:lnTo>
                      <a:lnTo>
                        <a:pt x="29" y="148"/>
                      </a:lnTo>
                      <a:lnTo>
                        <a:pt x="28" y="150"/>
                      </a:lnTo>
                      <a:lnTo>
                        <a:pt x="26" y="152"/>
                      </a:lnTo>
                      <a:lnTo>
                        <a:pt x="26" y="158"/>
                      </a:lnTo>
                      <a:lnTo>
                        <a:pt x="25" y="161"/>
                      </a:lnTo>
                      <a:lnTo>
                        <a:pt x="25" y="163"/>
                      </a:lnTo>
                      <a:lnTo>
                        <a:pt x="21" y="170"/>
                      </a:lnTo>
                      <a:lnTo>
                        <a:pt x="19" y="179"/>
                      </a:lnTo>
                      <a:lnTo>
                        <a:pt x="16" y="186"/>
                      </a:lnTo>
                      <a:lnTo>
                        <a:pt x="12" y="193"/>
                      </a:lnTo>
                      <a:lnTo>
                        <a:pt x="11" y="196"/>
                      </a:lnTo>
                      <a:lnTo>
                        <a:pt x="8" y="199"/>
                      </a:lnTo>
                      <a:lnTo>
                        <a:pt x="5" y="202"/>
                      </a:lnTo>
                      <a:lnTo>
                        <a:pt x="2" y="206"/>
                      </a:lnTo>
                      <a:lnTo>
                        <a:pt x="0" y="209"/>
                      </a:lnTo>
                      <a:lnTo>
                        <a:pt x="1" y="213"/>
                      </a:lnTo>
                      <a:lnTo>
                        <a:pt x="1" y="215"/>
                      </a:lnTo>
                      <a:lnTo>
                        <a:pt x="2" y="216"/>
                      </a:lnTo>
                      <a:lnTo>
                        <a:pt x="6" y="216"/>
                      </a:lnTo>
                      <a:lnTo>
                        <a:pt x="10" y="216"/>
                      </a:lnTo>
                      <a:lnTo>
                        <a:pt x="14" y="216"/>
                      </a:lnTo>
                      <a:lnTo>
                        <a:pt x="15" y="216"/>
                      </a:lnTo>
                      <a:lnTo>
                        <a:pt x="16" y="218"/>
                      </a:lnTo>
                      <a:lnTo>
                        <a:pt x="16" y="225"/>
                      </a:lnTo>
                      <a:lnTo>
                        <a:pt x="17" y="233"/>
                      </a:lnTo>
                      <a:lnTo>
                        <a:pt x="20" y="240"/>
                      </a:lnTo>
                      <a:lnTo>
                        <a:pt x="21" y="244"/>
                      </a:lnTo>
                      <a:lnTo>
                        <a:pt x="21" y="248"/>
                      </a:lnTo>
                      <a:lnTo>
                        <a:pt x="25" y="250"/>
                      </a:lnTo>
                      <a:lnTo>
                        <a:pt x="28" y="251"/>
                      </a:lnTo>
                      <a:lnTo>
                        <a:pt x="29" y="252"/>
                      </a:lnTo>
                      <a:lnTo>
                        <a:pt x="29" y="258"/>
                      </a:lnTo>
                      <a:lnTo>
                        <a:pt x="29" y="264"/>
                      </a:lnTo>
                      <a:lnTo>
                        <a:pt x="29" y="270"/>
                      </a:lnTo>
                      <a:lnTo>
                        <a:pt x="31" y="276"/>
                      </a:lnTo>
                      <a:lnTo>
                        <a:pt x="33" y="280"/>
                      </a:lnTo>
                      <a:lnTo>
                        <a:pt x="34" y="285"/>
                      </a:lnTo>
                      <a:lnTo>
                        <a:pt x="34" y="290"/>
                      </a:lnTo>
                      <a:lnTo>
                        <a:pt x="34" y="295"/>
                      </a:lnTo>
                      <a:lnTo>
                        <a:pt x="36" y="297"/>
                      </a:lnTo>
                      <a:lnTo>
                        <a:pt x="39" y="299"/>
                      </a:lnTo>
                      <a:lnTo>
                        <a:pt x="45" y="303"/>
                      </a:lnTo>
                      <a:lnTo>
                        <a:pt x="52" y="305"/>
                      </a:lnTo>
                      <a:lnTo>
                        <a:pt x="59" y="308"/>
                      </a:lnTo>
                      <a:lnTo>
                        <a:pt x="61" y="310"/>
                      </a:lnTo>
                      <a:lnTo>
                        <a:pt x="63" y="312"/>
                      </a:lnTo>
                      <a:lnTo>
                        <a:pt x="80" y="324"/>
                      </a:lnTo>
                      <a:lnTo>
                        <a:pt x="87" y="330"/>
                      </a:lnTo>
                      <a:lnTo>
                        <a:pt x="90" y="335"/>
                      </a:lnTo>
                      <a:lnTo>
                        <a:pt x="92" y="339"/>
                      </a:lnTo>
                      <a:lnTo>
                        <a:pt x="95" y="347"/>
                      </a:lnTo>
                      <a:lnTo>
                        <a:pt x="96" y="352"/>
                      </a:lnTo>
                      <a:lnTo>
                        <a:pt x="97" y="355"/>
                      </a:lnTo>
                      <a:lnTo>
                        <a:pt x="102" y="359"/>
                      </a:lnTo>
                      <a:lnTo>
                        <a:pt x="105" y="362"/>
                      </a:lnTo>
                      <a:lnTo>
                        <a:pt x="108" y="366"/>
                      </a:lnTo>
                      <a:lnTo>
                        <a:pt x="111" y="367"/>
                      </a:lnTo>
                      <a:lnTo>
                        <a:pt x="116" y="368"/>
                      </a:lnTo>
                      <a:lnTo>
                        <a:pt x="120" y="368"/>
                      </a:lnTo>
                      <a:lnTo>
                        <a:pt x="125" y="367"/>
                      </a:lnTo>
                      <a:lnTo>
                        <a:pt x="135" y="363"/>
                      </a:lnTo>
                      <a:lnTo>
                        <a:pt x="138" y="363"/>
                      </a:lnTo>
                      <a:lnTo>
                        <a:pt x="139" y="365"/>
                      </a:lnTo>
                      <a:lnTo>
                        <a:pt x="143" y="369"/>
                      </a:lnTo>
                      <a:lnTo>
                        <a:pt x="147" y="375"/>
                      </a:lnTo>
                      <a:lnTo>
                        <a:pt x="151" y="381"/>
                      </a:lnTo>
                      <a:lnTo>
                        <a:pt x="155" y="385"/>
                      </a:lnTo>
                      <a:lnTo>
                        <a:pt x="160" y="388"/>
                      </a:lnTo>
                      <a:lnTo>
                        <a:pt x="165" y="386"/>
                      </a:lnTo>
                      <a:lnTo>
                        <a:pt x="171" y="386"/>
                      </a:lnTo>
                      <a:lnTo>
                        <a:pt x="177" y="386"/>
                      </a:lnTo>
                      <a:lnTo>
                        <a:pt x="184" y="385"/>
                      </a:lnTo>
                      <a:lnTo>
                        <a:pt x="188" y="382"/>
                      </a:lnTo>
                      <a:lnTo>
                        <a:pt x="191" y="380"/>
                      </a:lnTo>
                      <a:lnTo>
                        <a:pt x="199" y="374"/>
                      </a:lnTo>
                      <a:lnTo>
                        <a:pt x="203" y="373"/>
                      </a:lnTo>
                      <a:lnTo>
                        <a:pt x="205" y="373"/>
                      </a:lnTo>
                      <a:lnTo>
                        <a:pt x="213" y="374"/>
                      </a:lnTo>
                      <a:lnTo>
                        <a:pt x="217" y="373"/>
                      </a:lnTo>
                      <a:lnTo>
                        <a:pt x="221" y="372"/>
                      </a:lnTo>
                      <a:lnTo>
                        <a:pt x="227" y="363"/>
                      </a:lnTo>
                      <a:lnTo>
                        <a:pt x="231" y="359"/>
                      </a:lnTo>
                      <a:lnTo>
                        <a:pt x="236" y="355"/>
                      </a:lnTo>
                      <a:lnTo>
                        <a:pt x="238" y="354"/>
                      </a:lnTo>
                      <a:lnTo>
                        <a:pt x="241" y="355"/>
                      </a:lnTo>
                      <a:lnTo>
                        <a:pt x="246" y="359"/>
                      </a:lnTo>
                      <a:lnTo>
                        <a:pt x="248" y="359"/>
                      </a:lnTo>
                      <a:lnTo>
                        <a:pt x="251" y="35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3" name="Freeform 722">
                  <a:extLst>
                    <a:ext uri="{FF2B5EF4-FFF2-40B4-BE49-F238E27FC236}">
                      <a16:creationId xmlns:a16="http://schemas.microsoft.com/office/drawing/2014/main" id="{70C1EEE4-46CE-1146-AFA6-1ABA31CB79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3816" y="4464460"/>
                  <a:ext cx="448401" cy="547553"/>
                </a:xfrm>
                <a:custGeom>
                  <a:avLst/>
                  <a:gdLst>
                    <a:gd name="T0" fmla="*/ 2147483647 w 328"/>
                    <a:gd name="T1" fmla="*/ 2147483647 h 370"/>
                    <a:gd name="T2" fmla="*/ 2147483647 w 328"/>
                    <a:gd name="T3" fmla="*/ 2147483647 h 370"/>
                    <a:gd name="T4" fmla="*/ 2147483647 w 328"/>
                    <a:gd name="T5" fmla="*/ 2147483647 h 370"/>
                    <a:gd name="T6" fmla="*/ 2147483647 w 328"/>
                    <a:gd name="T7" fmla="*/ 2147483647 h 370"/>
                    <a:gd name="T8" fmla="*/ 2147483647 w 328"/>
                    <a:gd name="T9" fmla="*/ 2147483647 h 370"/>
                    <a:gd name="T10" fmla="*/ 2147483647 w 328"/>
                    <a:gd name="T11" fmla="*/ 2147483647 h 370"/>
                    <a:gd name="T12" fmla="*/ 2147483647 w 328"/>
                    <a:gd name="T13" fmla="*/ 2147483647 h 370"/>
                    <a:gd name="T14" fmla="*/ 2147483647 w 328"/>
                    <a:gd name="T15" fmla="*/ 2147483647 h 370"/>
                    <a:gd name="T16" fmla="*/ 2147483647 w 328"/>
                    <a:gd name="T17" fmla="*/ 2147483647 h 370"/>
                    <a:gd name="T18" fmla="*/ 2147483647 w 328"/>
                    <a:gd name="T19" fmla="*/ 2147483647 h 370"/>
                    <a:gd name="T20" fmla="*/ 2147483647 w 328"/>
                    <a:gd name="T21" fmla="*/ 2147483647 h 370"/>
                    <a:gd name="T22" fmla="*/ 2147483647 w 328"/>
                    <a:gd name="T23" fmla="*/ 2147483647 h 370"/>
                    <a:gd name="T24" fmla="*/ 2147483647 w 328"/>
                    <a:gd name="T25" fmla="*/ 2147483647 h 370"/>
                    <a:gd name="T26" fmla="*/ 2147483647 w 328"/>
                    <a:gd name="T27" fmla="*/ 2147483647 h 370"/>
                    <a:gd name="T28" fmla="*/ 2147483647 w 328"/>
                    <a:gd name="T29" fmla="*/ 2147483647 h 370"/>
                    <a:gd name="T30" fmla="*/ 2147483647 w 328"/>
                    <a:gd name="T31" fmla="*/ 2147483647 h 370"/>
                    <a:gd name="T32" fmla="*/ 2147483647 w 328"/>
                    <a:gd name="T33" fmla="*/ 2147483647 h 370"/>
                    <a:gd name="T34" fmla="*/ 2147483647 w 328"/>
                    <a:gd name="T35" fmla="*/ 2147483647 h 370"/>
                    <a:gd name="T36" fmla="*/ 2147483647 w 328"/>
                    <a:gd name="T37" fmla="*/ 2147483647 h 370"/>
                    <a:gd name="T38" fmla="*/ 2147483647 w 328"/>
                    <a:gd name="T39" fmla="*/ 2147483647 h 370"/>
                    <a:gd name="T40" fmla="*/ 2147483647 w 328"/>
                    <a:gd name="T41" fmla="*/ 2147483647 h 370"/>
                    <a:gd name="T42" fmla="*/ 2147483647 w 328"/>
                    <a:gd name="T43" fmla="*/ 2147483647 h 370"/>
                    <a:gd name="T44" fmla="*/ 2147483647 w 328"/>
                    <a:gd name="T45" fmla="*/ 2147483647 h 370"/>
                    <a:gd name="T46" fmla="*/ 2147483647 w 328"/>
                    <a:gd name="T47" fmla="*/ 2147483647 h 370"/>
                    <a:gd name="T48" fmla="*/ 2147483647 w 328"/>
                    <a:gd name="T49" fmla="*/ 2147483647 h 370"/>
                    <a:gd name="T50" fmla="*/ 2147483647 w 328"/>
                    <a:gd name="T51" fmla="*/ 2147483647 h 370"/>
                    <a:gd name="T52" fmla="*/ 2147483647 w 328"/>
                    <a:gd name="T53" fmla="*/ 2147483647 h 370"/>
                    <a:gd name="T54" fmla="*/ 2147483647 w 328"/>
                    <a:gd name="T55" fmla="*/ 2147483647 h 370"/>
                    <a:gd name="T56" fmla="*/ 2147483647 w 328"/>
                    <a:gd name="T57" fmla="*/ 2147483647 h 370"/>
                    <a:gd name="T58" fmla="*/ 2147483647 w 328"/>
                    <a:gd name="T59" fmla="*/ 2147483647 h 370"/>
                    <a:gd name="T60" fmla="*/ 2147483647 w 328"/>
                    <a:gd name="T61" fmla="*/ 2147483647 h 370"/>
                    <a:gd name="T62" fmla="*/ 2147483647 w 328"/>
                    <a:gd name="T63" fmla="*/ 2147483647 h 370"/>
                    <a:gd name="T64" fmla="*/ 2147483647 w 328"/>
                    <a:gd name="T65" fmla="*/ 2147483647 h 370"/>
                    <a:gd name="T66" fmla="*/ 2147483647 w 328"/>
                    <a:gd name="T67" fmla="*/ 2147483647 h 370"/>
                    <a:gd name="T68" fmla="*/ 2147483647 w 328"/>
                    <a:gd name="T69" fmla="*/ 2147483647 h 370"/>
                    <a:gd name="T70" fmla="*/ 2147483647 w 328"/>
                    <a:gd name="T71" fmla="*/ 2147483647 h 370"/>
                    <a:gd name="T72" fmla="*/ 2147483647 w 328"/>
                    <a:gd name="T73" fmla="*/ 2147483647 h 370"/>
                    <a:gd name="T74" fmla="*/ 2147483647 w 328"/>
                    <a:gd name="T75" fmla="*/ 2147483647 h 370"/>
                    <a:gd name="T76" fmla="*/ 2147483647 w 328"/>
                    <a:gd name="T77" fmla="*/ 2147483647 h 370"/>
                    <a:gd name="T78" fmla="*/ 2147483647 w 328"/>
                    <a:gd name="T79" fmla="*/ 2147483647 h 370"/>
                    <a:gd name="T80" fmla="*/ 2147483647 w 328"/>
                    <a:gd name="T81" fmla="*/ 2147483647 h 370"/>
                    <a:gd name="T82" fmla="*/ 2147483647 w 328"/>
                    <a:gd name="T83" fmla="*/ 2147483647 h 370"/>
                    <a:gd name="T84" fmla="*/ 2147483647 w 328"/>
                    <a:gd name="T85" fmla="*/ 2147483647 h 370"/>
                    <a:gd name="T86" fmla="*/ 2147483647 w 328"/>
                    <a:gd name="T87" fmla="*/ 2147483647 h 370"/>
                    <a:gd name="T88" fmla="*/ 2147483647 w 328"/>
                    <a:gd name="T89" fmla="*/ 2147483647 h 370"/>
                    <a:gd name="T90" fmla="*/ 2147483647 w 328"/>
                    <a:gd name="T91" fmla="*/ 2147483647 h 370"/>
                    <a:gd name="T92" fmla="*/ 2147483647 w 328"/>
                    <a:gd name="T93" fmla="*/ 2147483647 h 370"/>
                    <a:gd name="T94" fmla="*/ 2147483647 w 328"/>
                    <a:gd name="T95" fmla="*/ 2147483647 h 370"/>
                    <a:gd name="T96" fmla="*/ 2147483647 w 328"/>
                    <a:gd name="T97" fmla="*/ 2147483647 h 370"/>
                    <a:gd name="T98" fmla="*/ 2147483647 w 328"/>
                    <a:gd name="T99" fmla="*/ 2147483647 h 370"/>
                    <a:gd name="T100" fmla="*/ 2147483647 w 328"/>
                    <a:gd name="T101" fmla="*/ 2147483647 h 370"/>
                    <a:gd name="T102" fmla="*/ 2147483647 w 328"/>
                    <a:gd name="T103" fmla="*/ 2147483647 h 370"/>
                    <a:gd name="T104" fmla="*/ 2147483647 w 328"/>
                    <a:gd name="T105" fmla="*/ 2147483647 h 370"/>
                    <a:gd name="T106" fmla="*/ 2147483647 w 328"/>
                    <a:gd name="T107" fmla="*/ 2147483647 h 370"/>
                    <a:gd name="T108" fmla="*/ 2147483647 w 328"/>
                    <a:gd name="T109" fmla="*/ 2147483647 h 370"/>
                    <a:gd name="T110" fmla="*/ 2147483647 w 328"/>
                    <a:gd name="T111" fmla="*/ 2147483647 h 370"/>
                    <a:gd name="T112" fmla="*/ 2147483647 w 328"/>
                    <a:gd name="T113" fmla="*/ 2147483647 h 370"/>
                    <a:gd name="T114" fmla="*/ 2147483647 w 328"/>
                    <a:gd name="T115" fmla="*/ 2147483647 h 370"/>
                    <a:gd name="T116" fmla="*/ 0 w 328"/>
                    <a:gd name="T117" fmla="*/ 2147483647 h 37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28"/>
                    <a:gd name="T178" fmla="*/ 0 h 370"/>
                    <a:gd name="T179" fmla="*/ 328 w 328"/>
                    <a:gd name="T180" fmla="*/ 370 h 37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28" h="370">
                      <a:moveTo>
                        <a:pt x="0" y="214"/>
                      </a:moveTo>
                      <a:lnTo>
                        <a:pt x="0" y="214"/>
                      </a:lnTo>
                      <a:lnTo>
                        <a:pt x="6" y="213"/>
                      </a:lnTo>
                      <a:lnTo>
                        <a:pt x="7" y="211"/>
                      </a:lnTo>
                      <a:lnTo>
                        <a:pt x="8" y="211"/>
                      </a:lnTo>
                      <a:lnTo>
                        <a:pt x="8" y="208"/>
                      </a:lnTo>
                      <a:lnTo>
                        <a:pt x="10" y="204"/>
                      </a:lnTo>
                      <a:lnTo>
                        <a:pt x="14" y="201"/>
                      </a:lnTo>
                      <a:lnTo>
                        <a:pt x="17" y="196"/>
                      </a:lnTo>
                      <a:lnTo>
                        <a:pt x="20" y="198"/>
                      </a:lnTo>
                      <a:lnTo>
                        <a:pt x="24" y="198"/>
                      </a:lnTo>
                      <a:lnTo>
                        <a:pt x="25" y="197"/>
                      </a:lnTo>
                      <a:lnTo>
                        <a:pt x="26" y="196"/>
                      </a:lnTo>
                      <a:lnTo>
                        <a:pt x="28" y="191"/>
                      </a:lnTo>
                      <a:lnTo>
                        <a:pt x="29" y="189"/>
                      </a:lnTo>
                      <a:lnTo>
                        <a:pt x="30" y="187"/>
                      </a:lnTo>
                      <a:lnTo>
                        <a:pt x="34" y="185"/>
                      </a:lnTo>
                      <a:lnTo>
                        <a:pt x="36" y="185"/>
                      </a:lnTo>
                      <a:lnTo>
                        <a:pt x="39" y="187"/>
                      </a:lnTo>
                      <a:lnTo>
                        <a:pt x="42" y="190"/>
                      </a:lnTo>
                      <a:lnTo>
                        <a:pt x="44" y="192"/>
                      </a:lnTo>
                      <a:lnTo>
                        <a:pt x="47" y="192"/>
                      </a:lnTo>
                      <a:lnTo>
                        <a:pt x="48" y="191"/>
                      </a:lnTo>
                      <a:lnTo>
                        <a:pt x="54" y="187"/>
                      </a:lnTo>
                      <a:lnTo>
                        <a:pt x="58" y="184"/>
                      </a:lnTo>
                      <a:lnTo>
                        <a:pt x="63" y="183"/>
                      </a:lnTo>
                      <a:lnTo>
                        <a:pt x="67" y="182"/>
                      </a:lnTo>
                      <a:lnTo>
                        <a:pt x="69" y="181"/>
                      </a:lnTo>
                      <a:lnTo>
                        <a:pt x="73" y="175"/>
                      </a:lnTo>
                      <a:lnTo>
                        <a:pt x="75" y="171"/>
                      </a:lnTo>
                      <a:lnTo>
                        <a:pt x="73" y="168"/>
                      </a:lnTo>
                      <a:lnTo>
                        <a:pt x="72" y="164"/>
                      </a:lnTo>
                      <a:lnTo>
                        <a:pt x="71" y="159"/>
                      </a:lnTo>
                      <a:lnTo>
                        <a:pt x="69" y="156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6" y="146"/>
                      </a:lnTo>
                      <a:lnTo>
                        <a:pt x="77" y="143"/>
                      </a:lnTo>
                      <a:lnTo>
                        <a:pt x="78" y="139"/>
                      </a:lnTo>
                      <a:lnTo>
                        <a:pt x="80" y="138"/>
                      </a:lnTo>
                      <a:lnTo>
                        <a:pt x="81" y="137"/>
                      </a:lnTo>
                      <a:lnTo>
                        <a:pt x="85" y="134"/>
                      </a:lnTo>
                      <a:lnTo>
                        <a:pt x="88" y="131"/>
                      </a:lnTo>
                      <a:lnTo>
                        <a:pt x="92" y="126"/>
                      </a:lnTo>
                      <a:lnTo>
                        <a:pt x="94" y="123"/>
                      </a:lnTo>
                      <a:lnTo>
                        <a:pt x="95" y="118"/>
                      </a:lnTo>
                      <a:lnTo>
                        <a:pt x="99" y="110"/>
                      </a:lnTo>
                      <a:lnTo>
                        <a:pt x="99" y="106"/>
                      </a:lnTo>
                      <a:lnTo>
                        <a:pt x="97" y="102"/>
                      </a:lnTo>
                      <a:lnTo>
                        <a:pt x="95" y="94"/>
                      </a:lnTo>
                      <a:lnTo>
                        <a:pt x="94" y="87"/>
                      </a:lnTo>
                      <a:lnTo>
                        <a:pt x="95" y="81"/>
                      </a:lnTo>
                      <a:lnTo>
                        <a:pt x="96" y="76"/>
                      </a:lnTo>
                      <a:lnTo>
                        <a:pt x="97" y="74"/>
                      </a:lnTo>
                      <a:lnTo>
                        <a:pt x="97" y="72"/>
                      </a:lnTo>
                      <a:lnTo>
                        <a:pt x="99" y="67"/>
                      </a:lnTo>
                      <a:lnTo>
                        <a:pt x="104" y="53"/>
                      </a:lnTo>
                      <a:lnTo>
                        <a:pt x="106" y="45"/>
                      </a:lnTo>
                      <a:lnTo>
                        <a:pt x="108" y="36"/>
                      </a:lnTo>
                      <a:lnTo>
                        <a:pt x="108" y="31"/>
                      </a:lnTo>
                      <a:lnTo>
                        <a:pt x="108" y="30"/>
                      </a:lnTo>
                      <a:lnTo>
                        <a:pt x="110" y="29"/>
                      </a:lnTo>
                      <a:lnTo>
                        <a:pt x="111" y="28"/>
                      </a:lnTo>
                      <a:lnTo>
                        <a:pt x="113" y="27"/>
                      </a:lnTo>
                      <a:lnTo>
                        <a:pt x="114" y="18"/>
                      </a:lnTo>
                      <a:lnTo>
                        <a:pt x="119" y="16"/>
                      </a:lnTo>
                      <a:lnTo>
                        <a:pt x="122" y="12"/>
                      </a:lnTo>
                      <a:lnTo>
                        <a:pt x="125" y="4"/>
                      </a:lnTo>
                      <a:lnTo>
                        <a:pt x="127" y="3"/>
                      </a:lnTo>
                      <a:lnTo>
                        <a:pt x="129" y="4"/>
                      </a:lnTo>
                      <a:lnTo>
                        <a:pt x="135" y="5"/>
                      </a:lnTo>
                      <a:lnTo>
                        <a:pt x="139" y="6"/>
                      </a:lnTo>
                      <a:lnTo>
                        <a:pt x="142" y="6"/>
                      </a:lnTo>
                      <a:lnTo>
                        <a:pt x="146" y="11"/>
                      </a:lnTo>
                      <a:lnTo>
                        <a:pt x="148" y="15"/>
                      </a:lnTo>
                      <a:lnTo>
                        <a:pt x="151" y="16"/>
                      </a:lnTo>
                      <a:lnTo>
                        <a:pt x="153" y="17"/>
                      </a:lnTo>
                      <a:lnTo>
                        <a:pt x="160" y="18"/>
                      </a:lnTo>
                      <a:lnTo>
                        <a:pt x="168" y="18"/>
                      </a:lnTo>
                      <a:lnTo>
                        <a:pt x="177" y="17"/>
                      </a:lnTo>
                      <a:lnTo>
                        <a:pt x="181" y="16"/>
                      </a:lnTo>
                      <a:lnTo>
                        <a:pt x="185" y="13"/>
                      </a:lnTo>
                      <a:lnTo>
                        <a:pt x="189" y="9"/>
                      </a:lnTo>
                      <a:lnTo>
                        <a:pt x="190" y="8"/>
                      </a:lnTo>
                      <a:lnTo>
                        <a:pt x="193" y="9"/>
                      </a:lnTo>
                      <a:lnTo>
                        <a:pt x="200" y="11"/>
                      </a:lnTo>
                      <a:lnTo>
                        <a:pt x="208" y="12"/>
                      </a:lnTo>
                      <a:lnTo>
                        <a:pt x="215" y="11"/>
                      </a:lnTo>
                      <a:lnTo>
                        <a:pt x="219" y="10"/>
                      </a:lnTo>
                      <a:lnTo>
                        <a:pt x="222" y="9"/>
                      </a:lnTo>
                      <a:lnTo>
                        <a:pt x="227" y="5"/>
                      </a:lnTo>
                      <a:lnTo>
                        <a:pt x="232" y="2"/>
                      </a:lnTo>
                      <a:lnTo>
                        <a:pt x="237" y="0"/>
                      </a:lnTo>
                      <a:lnTo>
                        <a:pt x="240" y="0"/>
                      </a:lnTo>
                      <a:lnTo>
                        <a:pt x="243" y="2"/>
                      </a:lnTo>
                      <a:lnTo>
                        <a:pt x="250" y="3"/>
                      </a:lnTo>
                      <a:lnTo>
                        <a:pt x="254" y="4"/>
                      </a:lnTo>
                      <a:lnTo>
                        <a:pt x="257" y="5"/>
                      </a:lnTo>
                      <a:lnTo>
                        <a:pt x="262" y="9"/>
                      </a:lnTo>
                      <a:lnTo>
                        <a:pt x="265" y="12"/>
                      </a:lnTo>
                      <a:lnTo>
                        <a:pt x="268" y="16"/>
                      </a:lnTo>
                      <a:lnTo>
                        <a:pt x="271" y="17"/>
                      </a:lnTo>
                      <a:lnTo>
                        <a:pt x="276" y="18"/>
                      </a:lnTo>
                      <a:lnTo>
                        <a:pt x="280" y="18"/>
                      </a:lnTo>
                      <a:lnTo>
                        <a:pt x="285" y="17"/>
                      </a:lnTo>
                      <a:lnTo>
                        <a:pt x="295" y="13"/>
                      </a:lnTo>
                      <a:lnTo>
                        <a:pt x="298" y="13"/>
                      </a:lnTo>
                      <a:lnTo>
                        <a:pt x="299" y="15"/>
                      </a:lnTo>
                      <a:lnTo>
                        <a:pt x="303" y="19"/>
                      </a:lnTo>
                      <a:lnTo>
                        <a:pt x="307" y="25"/>
                      </a:lnTo>
                      <a:lnTo>
                        <a:pt x="311" y="31"/>
                      </a:lnTo>
                      <a:lnTo>
                        <a:pt x="315" y="35"/>
                      </a:lnTo>
                      <a:lnTo>
                        <a:pt x="320" y="38"/>
                      </a:lnTo>
                      <a:lnTo>
                        <a:pt x="322" y="40"/>
                      </a:lnTo>
                      <a:lnTo>
                        <a:pt x="325" y="42"/>
                      </a:lnTo>
                      <a:lnTo>
                        <a:pt x="325" y="45"/>
                      </a:lnTo>
                      <a:lnTo>
                        <a:pt x="325" y="48"/>
                      </a:lnTo>
                      <a:lnTo>
                        <a:pt x="326" y="55"/>
                      </a:lnTo>
                      <a:lnTo>
                        <a:pt x="328" y="62"/>
                      </a:lnTo>
                      <a:lnTo>
                        <a:pt x="328" y="64"/>
                      </a:lnTo>
                      <a:lnTo>
                        <a:pt x="328" y="67"/>
                      </a:lnTo>
                      <a:lnTo>
                        <a:pt x="321" y="75"/>
                      </a:lnTo>
                      <a:lnTo>
                        <a:pt x="317" y="82"/>
                      </a:lnTo>
                      <a:lnTo>
                        <a:pt x="313" y="91"/>
                      </a:lnTo>
                      <a:lnTo>
                        <a:pt x="313" y="95"/>
                      </a:lnTo>
                      <a:lnTo>
                        <a:pt x="313" y="100"/>
                      </a:lnTo>
                      <a:lnTo>
                        <a:pt x="312" y="104"/>
                      </a:lnTo>
                      <a:lnTo>
                        <a:pt x="309" y="106"/>
                      </a:lnTo>
                      <a:lnTo>
                        <a:pt x="306" y="108"/>
                      </a:lnTo>
                      <a:lnTo>
                        <a:pt x="304" y="111"/>
                      </a:lnTo>
                      <a:lnTo>
                        <a:pt x="304" y="114"/>
                      </a:lnTo>
                      <a:lnTo>
                        <a:pt x="304" y="119"/>
                      </a:lnTo>
                      <a:lnTo>
                        <a:pt x="306" y="123"/>
                      </a:lnTo>
                      <a:lnTo>
                        <a:pt x="306" y="125"/>
                      </a:lnTo>
                      <a:lnTo>
                        <a:pt x="299" y="132"/>
                      </a:lnTo>
                      <a:lnTo>
                        <a:pt x="293" y="139"/>
                      </a:lnTo>
                      <a:lnTo>
                        <a:pt x="290" y="144"/>
                      </a:lnTo>
                      <a:lnTo>
                        <a:pt x="289" y="149"/>
                      </a:lnTo>
                      <a:lnTo>
                        <a:pt x="288" y="155"/>
                      </a:lnTo>
                      <a:lnTo>
                        <a:pt x="289" y="157"/>
                      </a:lnTo>
                      <a:lnTo>
                        <a:pt x="290" y="157"/>
                      </a:lnTo>
                      <a:lnTo>
                        <a:pt x="293" y="164"/>
                      </a:lnTo>
                      <a:lnTo>
                        <a:pt x="297" y="171"/>
                      </a:lnTo>
                      <a:lnTo>
                        <a:pt x="301" y="177"/>
                      </a:lnTo>
                      <a:lnTo>
                        <a:pt x="302" y="183"/>
                      </a:lnTo>
                      <a:lnTo>
                        <a:pt x="301" y="195"/>
                      </a:lnTo>
                      <a:lnTo>
                        <a:pt x="302" y="208"/>
                      </a:lnTo>
                      <a:lnTo>
                        <a:pt x="304" y="221"/>
                      </a:lnTo>
                      <a:lnTo>
                        <a:pt x="307" y="233"/>
                      </a:lnTo>
                      <a:lnTo>
                        <a:pt x="312" y="243"/>
                      </a:lnTo>
                      <a:lnTo>
                        <a:pt x="318" y="253"/>
                      </a:lnTo>
                      <a:lnTo>
                        <a:pt x="323" y="262"/>
                      </a:lnTo>
                      <a:lnTo>
                        <a:pt x="326" y="268"/>
                      </a:lnTo>
                      <a:lnTo>
                        <a:pt x="327" y="273"/>
                      </a:lnTo>
                      <a:lnTo>
                        <a:pt x="323" y="272"/>
                      </a:lnTo>
                      <a:lnTo>
                        <a:pt x="316" y="268"/>
                      </a:lnTo>
                      <a:lnTo>
                        <a:pt x="308" y="268"/>
                      </a:lnTo>
                      <a:lnTo>
                        <a:pt x="292" y="268"/>
                      </a:lnTo>
                      <a:lnTo>
                        <a:pt x="292" y="270"/>
                      </a:lnTo>
                      <a:lnTo>
                        <a:pt x="290" y="272"/>
                      </a:lnTo>
                      <a:lnTo>
                        <a:pt x="290" y="274"/>
                      </a:lnTo>
                      <a:lnTo>
                        <a:pt x="290" y="277"/>
                      </a:lnTo>
                      <a:lnTo>
                        <a:pt x="285" y="284"/>
                      </a:lnTo>
                      <a:lnTo>
                        <a:pt x="283" y="292"/>
                      </a:lnTo>
                      <a:lnTo>
                        <a:pt x="282" y="305"/>
                      </a:lnTo>
                      <a:lnTo>
                        <a:pt x="280" y="323"/>
                      </a:lnTo>
                      <a:lnTo>
                        <a:pt x="280" y="328"/>
                      </a:lnTo>
                      <a:lnTo>
                        <a:pt x="282" y="332"/>
                      </a:lnTo>
                      <a:lnTo>
                        <a:pt x="284" y="337"/>
                      </a:lnTo>
                      <a:lnTo>
                        <a:pt x="288" y="342"/>
                      </a:lnTo>
                      <a:lnTo>
                        <a:pt x="290" y="345"/>
                      </a:lnTo>
                      <a:lnTo>
                        <a:pt x="295" y="348"/>
                      </a:lnTo>
                      <a:lnTo>
                        <a:pt x="299" y="350"/>
                      </a:lnTo>
                      <a:lnTo>
                        <a:pt x="303" y="350"/>
                      </a:lnTo>
                      <a:lnTo>
                        <a:pt x="304" y="350"/>
                      </a:lnTo>
                      <a:lnTo>
                        <a:pt x="304" y="353"/>
                      </a:lnTo>
                      <a:lnTo>
                        <a:pt x="304" y="357"/>
                      </a:lnTo>
                      <a:lnTo>
                        <a:pt x="304" y="369"/>
                      </a:lnTo>
                      <a:lnTo>
                        <a:pt x="303" y="370"/>
                      </a:lnTo>
                      <a:lnTo>
                        <a:pt x="299" y="370"/>
                      </a:lnTo>
                      <a:lnTo>
                        <a:pt x="294" y="369"/>
                      </a:lnTo>
                      <a:lnTo>
                        <a:pt x="292" y="368"/>
                      </a:lnTo>
                      <a:lnTo>
                        <a:pt x="289" y="364"/>
                      </a:lnTo>
                      <a:lnTo>
                        <a:pt x="288" y="362"/>
                      </a:lnTo>
                      <a:lnTo>
                        <a:pt x="287" y="358"/>
                      </a:lnTo>
                      <a:lnTo>
                        <a:pt x="284" y="356"/>
                      </a:lnTo>
                      <a:lnTo>
                        <a:pt x="279" y="354"/>
                      </a:lnTo>
                      <a:lnTo>
                        <a:pt x="275" y="349"/>
                      </a:lnTo>
                      <a:lnTo>
                        <a:pt x="268" y="340"/>
                      </a:lnTo>
                      <a:lnTo>
                        <a:pt x="265" y="335"/>
                      </a:lnTo>
                      <a:lnTo>
                        <a:pt x="262" y="332"/>
                      </a:lnTo>
                      <a:lnTo>
                        <a:pt x="261" y="332"/>
                      </a:lnTo>
                      <a:lnTo>
                        <a:pt x="260" y="332"/>
                      </a:lnTo>
                      <a:lnTo>
                        <a:pt x="248" y="340"/>
                      </a:lnTo>
                      <a:lnTo>
                        <a:pt x="243" y="341"/>
                      </a:lnTo>
                      <a:lnTo>
                        <a:pt x="237" y="341"/>
                      </a:lnTo>
                      <a:lnTo>
                        <a:pt x="232" y="340"/>
                      </a:lnTo>
                      <a:lnTo>
                        <a:pt x="229" y="338"/>
                      </a:lnTo>
                      <a:lnTo>
                        <a:pt x="229" y="336"/>
                      </a:lnTo>
                      <a:lnTo>
                        <a:pt x="229" y="332"/>
                      </a:lnTo>
                      <a:lnTo>
                        <a:pt x="231" y="328"/>
                      </a:lnTo>
                      <a:lnTo>
                        <a:pt x="223" y="330"/>
                      </a:lnTo>
                      <a:lnTo>
                        <a:pt x="219" y="331"/>
                      </a:lnTo>
                      <a:lnTo>
                        <a:pt x="217" y="330"/>
                      </a:lnTo>
                      <a:lnTo>
                        <a:pt x="212" y="325"/>
                      </a:lnTo>
                      <a:lnTo>
                        <a:pt x="205" y="323"/>
                      </a:lnTo>
                      <a:lnTo>
                        <a:pt x="200" y="324"/>
                      </a:lnTo>
                      <a:lnTo>
                        <a:pt x="194" y="325"/>
                      </a:lnTo>
                      <a:lnTo>
                        <a:pt x="182" y="328"/>
                      </a:lnTo>
                      <a:lnTo>
                        <a:pt x="180" y="326"/>
                      </a:lnTo>
                      <a:lnTo>
                        <a:pt x="177" y="325"/>
                      </a:lnTo>
                      <a:lnTo>
                        <a:pt x="177" y="324"/>
                      </a:lnTo>
                      <a:lnTo>
                        <a:pt x="177" y="312"/>
                      </a:lnTo>
                      <a:lnTo>
                        <a:pt x="176" y="300"/>
                      </a:lnTo>
                      <a:lnTo>
                        <a:pt x="172" y="289"/>
                      </a:lnTo>
                      <a:lnTo>
                        <a:pt x="167" y="277"/>
                      </a:lnTo>
                      <a:lnTo>
                        <a:pt x="167" y="274"/>
                      </a:lnTo>
                      <a:lnTo>
                        <a:pt x="168" y="271"/>
                      </a:lnTo>
                      <a:lnTo>
                        <a:pt x="168" y="267"/>
                      </a:lnTo>
                      <a:lnTo>
                        <a:pt x="167" y="264"/>
                      </a:lnTo>
                      <a:lnTo>
                        <a:pt x="166" y="262"/>
                      </a:lnTo>
                      <a:lnTo>
                        <a:pt x="165" y="257"/>
                      </a:lnTo>
                      <a:lnTo>
                        <a:pt x="165" y="254"/>
                      </a:lnTo>
                      <a:lnTo>
                        <a:pt x="162" y="253"/>
                      </a:lnTo>
                      <a:lnTo>
                        <a:pt x="158" y="252"/>
                      </a:lnTo>
                      <a:lnTo>
                        <a:pt x="156" y="253"/>
                      </a:lnTo>
                      <a:lnTo>
                        <a:pt x="153" y="252"/>
                      </a:lnTo>
                      <a:lnTo>
                        <a:pt x="151" y="252"/>
                      </a:lnTo>
                      <a:lnTo>
                        <a:pt x="146" y="252"/>
                      </a:lnTo>
                      <a:lnTo>
                        <a:pt x="143" y="251"/>
                      </a:lnTo>
                      <a:lnTo>
                        <a:pt x="142" y="249"/>
                      </a:lnTo>
                      <a:lnTo>
                        <a:pt x="141" y="247"/>
                      </a:lnTo>
                      <a:lnTo>
                        <a:pt x="138" y="245"/>
                      </a:lnTo>
                      <a:lnTo>
                        <a:pt x="134" y="243"/>
                      </a:lnTo>
                      <a:lnTo>
                        <a:pt x="129" y="245"/>
                      </a:lnTo>
                      <a:lnTo>
                        <a:pt x="127" y="247"/>
                      </a:lnTo>
                      <a:lnTo>
                        <a:pt x="124" y="251"/>
                      </a:lnTo>
                      <a:lnTo>
                        <a:pt x="124" y="255"/>
                      </a:lnTo>
                      <a:lnTo>
                        <a:pt x="124" y="261"/>
                      </a:lnTo>
                      <a:lnTo>
                        <a:pt x="124" y="262"/>
                      </a:lnTo>
                      <a:lnTo>
                        <a:pt x="123" y="265"/>
                      </a:lnTo>
                      <a:lnTo>
                        <a:pt x="116" y="267"/>
                      </a:lnTo>
                      <a:lnTo>
                        <a:pt x="110" y="268"/>
                      </a:lnTo>
                      <a:lnTo>
                        <a:pt x="104" y="267"/>
                      </a:lnTo>
                      <a:lnTo>
                        <a:pt x="102" y="266"/>
                      </a:lnTo>
                      <a:lnTo>
                        <a:pt x="100" y="265"/>
                      </a:lnTo>
                      <a:lnTo>
                        <a:pt x="97" y="257"/>
                      </a:lnTo>
                      <a:lnTo>
                        <a:pt x="96" y="246"/>
                      </a:lnTo>
                      <a:lnTo>
                        <a:pt x="94" y="236"/>
                      </a:lnTo>
                      <a:lnTo>
                        <a:pt x="91" y="233"/>
                      </a:lnTo>
                      <a:lnTo>
                        <a:pt x="87" y="229"/>
                      </a:lnTo>
                      <a:lnTo>
                        <a:pt x="78" y="226"/>
                      </a:lnTo>
                      <a:lnTo>
                        <a:pt x="69" y="225"/>
                      </a:lnTo>
                      <a:lnTo>
                        <a:pt x="59" y="225"/>
                      </a:lnTo>
                      <a:lnTo>
                        <a:pt x="50" y="225"/>
                      </a:lnTo>
                      <a:lnTo>
                        <a:pt x="42" y="223"/>
                      </a:lnTo>
                      <a:lnTo>
                        <a:pt x="33" y="221"/>
                      </a:lnTo>
                      <a:lnTo>
                        <a:pt x="26" y="221"/>
                      </a:lnTo>
                      <a:lnTo>
                        <a:pt x="22" y="223"/>
                      </a:lnTo>
                      <a:lnTo>
                        <a:pt x="19" y="227"/>
                      </a:lnTo>
                      <a:lnTo>
                        <a:pt x="16" y="228"/>
                      </a:lnTo>
                      <a:lnTo>
                        <a:pt x="11" y="229"/>
                      </a:lnTo>
                      <a:lnTo>
                        <a:pt x="6" y="229"/>
                      </a:lnTo>
                      <a:lnTo>
                        <a:pt x="3" y="229"/>
                      </a:lnTo>
                      <a:lnTo>
                        <a:pt x="2" y="228"/>
                      </a:lnTo>
                      <a:lnTo>
                        <a:pt x="0" y="226"/>
                      </a:lnTo>
                      <a:lnTo>
                        <a:pt x="0" y="222"/>
                      </a:lnTo>
                      <a:lnTo>
                        <a:pt x="0" y="217"/>
                      </a:lnTo>
                      <a:lnTo>
                        <a:pt x="0" y="2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4" name="Freeform 723">
                  <a:extLst>
                    <a:ext uri="{FF2B5EF4-FFF2-40B4-BE49-F238E27FC236}">
                      <a16:creationId xmlns:a16="http://schemas.microsoft.com/office/drawing/2014/main" id="{B1B03277-86FE-604E-84FD-2615366823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1978" y="4792986"/>
                  <a:ext cx="294494" cy="355169"/>
                </a:xfrm>
                <a:custGeom>
                  <a:avLst/>
                  <a:gdLst>
                    <a:gd name="T0" fmla="*/ 2147483647 w 215"/>
                    <a:gd name="T1" fmla="*/ 2147483647 h 240"/>
                    <a:gd name="T2" fmla="*/ 2147483647 w 215"/>
                    <a:gd name="T3" fmla="*/ 0 h 240"/>
                    <a:gd name="T4" fmla="*/ 2147483647 w 215"/>
                    <a:gd name="T5" fmla="*/ 2147483647 h 240"/>
                    <a:gd name="T6" fmla="*/ 2147483647 w 215"/>
                    <a:gd name="T7" fmla="*/ 2147483647 h 240"/>
                    <a:gd name="T8" fmla="*/ 2147483647 w 215"/>
                    <a:gd name="T9" fmla="*/ 2147483647 h 240"/>
                    <a:gd name="T10" fmla="*/ 2147483647 w 215"/>
                    <a:gd name="T11" fmla="*/ 2147483647 h 240"/>
                    <a:gd name="T12" fmla="*/ 2147483647 w 215"/>
                    <a:gd name="T13" fmla="*/ 2147483647 h 240"/>
                    <a:gd name="T14" fmla="*/ 2147483647 w 215"/>
                    <a:gd name="T15" fmla="*/ 2147483647 h 240"/>
                    <a:gd name="T16" fmla="*/ 2147483647 w 215"/>
                    <a:gd name="T17" fmla="*/ 2147483647 h 240"/>
                    <a:gd name="T18" fmla="*/ 2147483647 w 215"/>
                    <a:gd name="T19" fmla="*/ 2147483647 h 240"/>
                    <a:gd name="T20" fmla="*/ 2147483647 w 215"/>
                    <a:gd name="T21" fmla="*/ 2147483647 h 240"/>
                    <a:gd name="T22" fmla="*/ 2147483647 w 215"/>
                    <a:gd name="T23" fmla="*/ 2147483647 h 240"/>
                    <a:gd name="T24" fmla="*/ 2147483647 w 215"/>
                    <a:gd name="T25" fmla="*/ 2147483647 h 240"/>
                    <a:gd name="T26" fmla="*/ 2147483647 w 215"/>
                    <a:gd name="T27" fmla="*/ 2147483647 h 240"/>
                    <a:gd name="T28" fmla="*/ 2147483647 w 215"/>
                    <a:gd name="T29" fmla="*/ 2147483647 h 240"/>
                    <a:gd name="T30" fmla="*/ 2147483647 w 215"/>
                    <a:gd name="T31" fmla="*/ 2147483647 h 240"/>
                    <a:gd name="T32" fmla="*/ 2147483647 w 215"/>
                    <a:gd name="T33" fmla="*/ 2147483647 h 240"/>
                    <a:gd name="T34" fmla="*/ 2147483647 w 215"/>
                    <a:gd name="T35" fmla="*/ 2147483647 h 240"/>
                    <a:gd name="T36" fmla="*/ 2147483647 w 215"/>
                    <a:gd name="T37" fmla="*/ 2147483647 h 240"/>
                    <a:gd name="T38" fmla="*/ 2147483647 w 215"/>
                    <a:gd name="T39" fmla="*/ 2147483647 h 240"/>
                    <a:gd name="T40" fmla="*/ 2147483647 w 215"/>
                    <a:gd name="T41" fmla="*/ 2147483647 h 240"/>
                    <a:gd name="T42" fmla="*/ 2147483647 w 215"/>
                    <a:gd name="T43" fmla="*/ 2147483647 h 240"/>
                    <a:gd name="T44" fmla="*/ 2147483647 w 215"/>
                    <a:gd name="T45" fmla="*/ 2147483647 h 240"/>
                    <a:gd name="T46" fmla="*/ 2147483647 w 215"/>
                    <a:gd name="T47" fmla="*/ 2147483647 h 240"/>
                    <a:gd name="T48" fmla="*/ 2147483647 w 215"/>
                    <a:gd name="T49" fmla="*/ 2147483647 h 240"/>
                    <a:gd name="T50" fmla="*/ 2147483647 w 215"/>
                    <a:gd name="T51" fmla="*/ 2147483647 h 240"/>
                    <a:gd name="T52" fmla="*/ 2147483647 w 215"/>
                    <a:gd name="T53" fmla="*/ 2147483647 h 240"/>
                    <a:gd name="T54" fmla="*/ 2147483647 w 215"/>
                    <a:gd name="T55" fmla="*/ 2147483647 h 240"/>
                    <a:gd name="T56" fmla="*/ 2147483647 w 215"/>
                    <a:gd name="T57" fmla="*/ 2147483647 h 240"/>
                    <a:gd name="T58" fmla="*/ 2147483647 w 215"/>
                    <a:gd name="T59" fmla="*/ 2147483647 h 240"/>
                    <a:gd name="T60" fmla="*/ 2147483647 w 215"/>
                    <a:gd name="T61" fmla="*/ 2147483647 h 240"/>
                    <a:gd name="T62" fmla="*/ 2147483647 w 215"/>
                    <a:gd name="T63" fmla="*/ 2147483647 h 240"/>
                    <a:gd name="T64" fmla="*/ 2147483647 w 215"/>
                    <a:gd name="T65" fmla="*/ 2147483647 h 240"/>
                    <a:gd name="T66" fmla="*/ 2147483647 w 215"/>
                    <a:gd name="T67" fmla="*/ 2147483647 h 240"/>
                    <a:gd name="T68" fmla="*/ 2147483647 w 215"/>
                    <a:gd name="T69" fmla="*/ 2147483647 h 240"/>
                    <a:gd name="T70" fmla="*/ 2147483647 w 215"/>
                    <a:gd name="T71" fmla="*/ 2147483647 h 240"/>
                    <a:gd name="T72" fmla="*/ 2147483647 w 215"/>
                    <a:gd name="T73" fmla="*/ 2147483647 h 240"/>
                    <a:gd name="T74" fmla="*/ 2147483647 w 215"/>
                    <a:gd name="T75" fmla="*/ 2147483647 h 240"/>
                    <a:gd name="T76" fmla="*/ 2147483647 w 215"/>
                    <a:gd name="T77" fmla="*/ 2147483647 h 240"/>
                    <a:gd name="T78" fmla="*/ 2147483647 w 215"/>
                    <a:gd name="T79" fmla="*/ 2147483647 h 240"/>
                    <a:gd name="T80" fmla="*/ 2147483647 w 215"/>
                    <a:gd name="T81" fmla="*/ 2147483647 h 240"/>
                    <a:gd name="T82" fmla="*/ 2147483647 w 215"/>
                    <a:gd name="T83" fmla="*/ 2147483647 h 240"/>
                    <a:gd name="T84" fmla="*/ 2147483647 w 215"/>
                    <a:gd name="T85" fmla="*/ 2147483647 h 240"/>
                    <a:gd name="T86" fmla="*/ 2147483647 w 215"/>
                    <a:gd name="T87" fmla="*/ 2147483647 h 240"/>
                    <a:gd name="T88" fmla="*/ 2147483647 w 215"/>
                    <a:gd name="T89" fmla="*/ 2147483647 h 240"/>
                    <a:gd name="T90" fmla="*/ 2147483647 w 215"/>
                    <a:gd name="T91" fmla="*/ 2147483647 h 240"/>
                    <a:gd name="T92" fmla="*/ 2147483647 w 215"/>
                    <a:gd name="T93" fmla="*/ 2147483647 h 240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15"/>
                    <a:gd name="T142" fmla="*/ 0 h 240"/>
                    <a:gd name="T143" fmla="*/ 215 w 215"/>
                    <a:gd name="T144" fmla="*/ 240 h 240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15" h="240">
                      <a:moveTo>
                        <a:pt x="20" y="8"/>
                      </a:moveTo>
                      <a:lnTo>
                        <a:pt x="25" y="7"/>
                      </a:lnTo>
                      <a:lnTo>
                        <a:pt x="28" y="6"/>
                      </a:lnTo>
                      <a:lnTo>
                        <a:pt x="32" y="3"/>
                      </a:lnTo>
                      <a:lnTo>
                        <a:pt x="36" y="0"/>
                      </a:lnTo>
                      <a:lnTo>
                        <a:pt x="42" y="0"/>
                      </a:lnTo>
                      <a:lnTo>
                        <a:pt x="51" y="3"/>
                      </a:lnTo>
                      <a:lnTo>
                        <a:pt x="60" y="4"/>
                      </a:lnTo>
                      <a:lnTo>
                        <a:pt x="69" y="4"/>
                      </a:lnTo>
                      <a:lnTo>
                        <a:pt x="79" y="4"/>
                      </a:lnTo>
                      <a:lnTo>
                        <a:pt x="88" y="5"/>
                      </a:lnTo>
                      <a:lnTo>
                        <a:pt x="96" y="8"/>
                      </a:lnTo>
                      <a:lnTo>
                        <a:pt x="100" y="12"/>
                      </a:lnTo>
                      <a:lnTo>
                        <a:pt x="103" y="16"/>
                      </a:lnTo>
                      <a:lnTo>
                        <a:pt x="105" y="25"/>
                      </a:lnTo>
                      <a:lnTo>
                        <a:pt x="107" y="36"/>
                      </a:lnTo>
                      <a:lnTo>
                        <a:pt x="109" y="44"/>
                      </a:lnTo>
                      <a:lnTo>
                        <a:pt x="112" y="45"/>
                      </a:lnTo>
                      <a:lnTo>
                        <a:pt x="113" y="46"/>
                      </a:lnTo>
                      <a:lnTo>
                        <a:pt x="119" y="48"/>
                      </a:lnTo>
                      <a:lnTo>
                        <a:pt x="126" y="46"/>
                      </a:lnTo>
                      <a:lnTo>
                        <a:pt x="132" y="44"/>
                      </a:lnTo>
                      <a:lnTo>
                        <a:pt x="133" y="42"/>
                      </a:lnTo>
                      <a:lnTo>
                        <a:pt x="133" y="40"/>
                      </a:lnTo>
                      <a:lnTo>
                        <a:pt x="133" y="35"/>
                      </a:lnTo>
                      <a:lnTo>
                        <a:pt x="133" y="30"/>
                      </a:lnTo>
                      <a:lnTo>
                        <a:pt x="136" y="26"/>
                      </a:lnTo>
                      <a:lnTo>
                        <a:pt x="138" y="24"/>
                      </a:lnTo>
                      <a:lnTo>
                        <a:pt x="143" y="23"/>
                      </a:lnTo>
                      <a:lnTo>
                        <a:pt x="147" y="24"/>
                      </a:lnTo>
                      <a:lnTo>
                        <a:pt x="150" y="26"/>
                      </a:lnTo>
                      <a:lnTo>
                        <a:pt x="151" y="29"/>
                      </a:lnTo>
                      <a:lnTo>
                        <a:pt x="152" y="30"/>
                      </a:lnTo>
                      <a:lnTo>
                        <a:pt x="155" y="31"/>
                      </a:lnTo>
                      <a:lnTo>
                        <a:pt x="160" y="31"/>
                      </a:lnTo>
                      <a:lnTo>
                        <a:pt x="163" y="31"/>
                      </a:lnTo>
                      <a:lnTo>
                        <a:pt x="165" y="32"/>
                      </a:lnTo>
                      <a:lnTo>
                        <a:pt x="168" y="31"/>
                      </a:lnTo>
                      <a:lnTo>
                        <a:pt x="171" y="32"/>
                      </a:lnTo>
                      <a:lnTo>
                        <a:pt x="174" y="33"/>
                      </a:lnTo>
                      <a:lnTo>
                        <a:pt x="174" y="36"/>
                      </a:lnTo>
                      <a:lnTo>
                        <a:pt x="175" y="42"/>
                      </a:lnTo>
                      <a:lnTo>
                        <a:pt x="176" y="43"/>
                      </a:lnTo>
                      <a:lnTo>
                        <a:pt x="178" y="46"/>
                      </a:lnTo>
                      <a:lnTo>
                        <a:pt x="178" y="50"/>
                      </a:lnTo>
                      <a:lnTo>
                        <a:pt x="176" y="53"/>
                      </a:lnTo>
                      <a:lnTo>
                        <a:pt x="176" y="56"/>
                      </a:lnTo>
                      <a:lnTo>
                        <a:pt x="182" y="68"/>
                      </a:lnTo>
                      <a:lnTo>
                        <a:pt x="185" y="80"/>
                      </a:lnTo>
                      <a:lnTo>
                        <a:pt x="187" y="91"/>
                      </a:lnTo>
                      <a:lnTo>
                        <a:pt x="187" y="103"/>
                      </a:lnTo>
                      <a:lnTo>
                        <a:pt x="187" y="104"/>
                      </a:lnTo>
                      <a:lnTo>
                        <a:pt x="189" y="106"/>
                      </a:lnTo>
                      <a:lnTo>
                        <a:pt x="192" y="107"/>
                      </a:lnTo>
                      <a:lnTo>
                        <a:pt x="203" y="104"/>
                      </a:lnTo>
                      <a:lnTo>
                        <a:pt x="210" y="103"/>
                      </a:lnTo>
                      <a:lnTo>
                        <a:pt x="215" y="102"/>
                      </a:lnTo>
                      <a:lnTo>
                        <a:pt x="215" y="138"/>
                      </a:lnTo>
                      <a:lnTo>
                        <a:pt x="199" y="140"/>
                      </a:lnTo>
                      <a:lnTo>
                        <a:pt x="188" y="141"/>
                      </a:lnTo>
                      <a:lnTo>
                        <a:pt x="182" y="141"/>
                      </a:lnTo>
                      <a:lnTo>
                        <a:pt x="179" y="234"/>
                      </a:lnTo>
                      <a:lnTo>
                        <a:pt x="168" y="237"/>
                      </a:lnTo>
                      <a:lnTo>
                        <a:pt x="156" y="238"/>
                      </a:lnTo>
                      <a:lnTo>
                        <a:pt x="143" y="240"/>
                      </a:lnTo>
                      <a:lnTo>
                        <a:pt x="138" y="238"/>
                      </a:lnTo>
                      <a:lnTo>
                        <a:pt x="132" y="237"/>
                      </a:lnTo>
                      <a:lnTo>
                        <a:pt x="128" y="234"/>
                      </a:lnTo>
                      <a:lnTo>
                        <a:pt x="124" y="230"/>
                      </a:lnTo>
                      <a:lnTo>
                        <a:pt x="122" y="225"/>
                      </a:lnTo>
                      <a:lnTo>
                        <a:pt x="119" y="224"/>
                      </a:lnTo>
                      <a:lnTo>
                        <a:pt x="100" y="223"/>
                      </a:lnTo>
                      <a:lnTo>
                        <a:pt x="81" y="223"/>
                      </a:lnTo>
                      <a:lnTo>
                        <a:pt x="62" y="223"/>
                      </a:lnTo>
                      <a:lnTo>
                        <a:pt x="43" y="221"/>
                      </a:lnTo>
                      <a:lnTo>
                        <a:pt x="36" y="218"/>
                      </a:lnTo>
                      <a:lnTo>
                        <a:pt x="32" y="218"/>
                      </a:lnTo>
                      <a:lnTo>
                        <a:pt x="28" y="218"/>
                      </a:lnTo>
                      <a:lnTo>
                        <a:pt x="27" y="219"/>
                      </a:lnTo>
                      <a:lnTo>
                        <a:pt x="25" y="222"/>
                      </a:lnTo>
                      <a:lnTo>
                        <a:pt x="24" y="224"/>
                      </a:lnTo>
                      <a:lnTo>
                        <a:pt x="23" y="225"/>
                      </a:lnTo>
                      <a:lnTo>
                        <a:pt x="22" y="225"/>
                      </a:lnTo>
                      <a:lnTo>
                        <a:pt x="19" y="224"/>
                      </a:lnTo>
                      <a:lnTo>
                        <a:pt x="18" y="222"/>
                      </a:lnTo>
                      <a:lnTo>
                        <a:pt x="15" y="219"/>
                      </a:lnTo>
                      <a:lnTo>
                        <a:pt x="13" y="218"/>
                      </a:lnTo>
                      <a:lnTo>
                        <a:pt x="10" y="219"/>
                      </a:lnTo>
                      <a:lnTo>
                        <a:pt x="5" y="222"/>
                      </a:lnTo>
                      <a:lnTo>
                        <a:pt x="1" y="218"/>
                      </a:lnTo>
                      <a:lnTo>
                        <a:pt x="0" y="216"/>
                      </a:lnTo>
                      <a:lnTo>
                        <a:pt x="1" y="214"/>
                      </a:lnTo>
                      <a:lnTo>
                        <a:pt x="3" y="206"/>
                      </a:lnTo>
                      <a:lnTo>
                        <a:pt x="4" y="199"/>
                      </a:lnTo>
                      <a:lnTo>
                        <a:pt x="5" y="197"/>
                      </a:lnTo>
                      <a:lnTo>
                        <a:pt x="6" y="195"/>
                      </a:lnTo>
                      <a:lnTo>
                        <a:pt x="9" y="192"/>
                      </a:lnTo>
                      <a:lnTo>
                        <a:pt x="9" y="191"/>
                      </a:lnTo>
                      <a:lnTo>
                        <a:pt x="10" y="177"/>
                      </a:lnTo>
                      <a:lnTo>
                        <a:pt x="11" y="170"/>
                      </a:lnTo>
                      <a:lnTo>
                        <a:pt x="15" y="163"/>
                      </a:lnTo>
                      <a:lnTo>
                        <a:pt x="16" y="160"/>
                      </a:lnTo>
                      <a:lnTo>
                        <a:pt x="16" y="157"/>
                      </a:lnTo>
                      <a:lnTo>
                        <a:pt x="16" y="154"/>
                      </a:lnTo>
                      <a:lnTo>
                        <a:pt x="18" y="151"/>
                      </a:lnTo>
                      <a:lnTo>
                        <a:pt x="20" y="148"/>
                      </a:lnTo>
                      <a:lnTo>
                        <a:pt x="22" y="145"/>
                      </a:lnTo>
                      <a:lnTo>
                        <a:pt x="23" y="139"/>
                      </a:lnTo>
                      <a:lnTo>
                        <a:pt x="27" y="134"/>
                      </a:lnTo>
                      <a:lnTo>
                        <a:pt x="30" y="129"/>
                      </a:lnTo>
                      <a:lnTo>
                        <a:pt x="36" y="126"/>
                      </a:lnTo>
                      <a:lnTo>
                        <a:pt x="37" y="122"/>
                      </a:lnTo>
                      <a:lnTo>
                        <a:pt x="38" y="119"/>
                      </a:lnTo>
                      <a:lnTo>
                        <a:pt x="39" y="108"/>
                      </a:lnTo>
                      <a:lnTo>
                        <a:pt x="39" y="109"/>
                      </a:lnTo>
                      <a:lnTo>
                        <a:pt x="37" y="107"/>
                      </a:lnTo>
                      <a:lnTo>
                        <a:pt x="37" y="104"/>
                      </a:lnTo>
                      <a:lnTo>
                        <a:pt x="34" y="100"/>
                      </a:lnTo>
                      <a:lnTo>
                        <a:pt x="30" y="91"/>
                      </a:lnTo>
                      <a:lnTo>
                        <a:pt x="29" y="87"/>
                      </a:lnTo>
                      <a:lnTo>
                        <a:pt x="29" y="82"/>
                      </a:lnTo>
                      <a:lnTo>
                        <a:pt x="28" y="80"/>
                      </a:lnTo>
                      <a:lnTo>
                        <a:pt x="25" y="77"/>
                      </a:lnTo>
                      <a:lnTo>
                        <a:pt x="25" y="75"/>
                      </a:lnTo>
                      <a:lnTo>
                        <a:pt x="28" y="67"/>
                      </a:lnTo>
                      <a:lnTo>
                        <a:pt x="29" y="62"/>
                      </a:lnTo>
                      <a:lnTo>
                        <a:pt x="30" y="56"/>
                      </a:lnTo>
                      <a:lnTo>
                        <a:pt x="29" y="50"/>
                      </a:lnTo>
                      <a:lnTo>
                        <a:pt x="28" y="44"/>
                      </a:lnTo>
                      <a:lnTo>
                        <a:pt x="24" y="39"/>
                      </a:lnTo>
                      <a:lnTo>
                        <a:pt x="19" y="33"/>
                      </a:lnTo>
                      <a:lnTo>
                        <a:pt x="18" y="32"/>
                      </a:lnTo>
                      <a:lnTo>
                        <a:pt x="18" y="31"/>
                      </a:lnTo>
                      <a:lnTo>
                        <a:pt x="16" y="26"/>
                      </a:lnTo>
                      <a:lnTo>
                        <a:pt x="15" y="24"/>
                      </a:lnTo>
                      <a:lnTo>
                        <a:pt x="13" y="23"/>
                      </a:lnTo>
                      <a:lnTo>
                        <a:pt x="10" y="21"/>
                      </a:lnTo>
                      <a:lnTo>
                        <a:pt x="9" y="19"/>
                      </a:lnTo>
                      <a:lnTo>
                        <a:pt x="8" y="16"/>
                      </a:lnTo>
                      <a:lnTo>
                        <a:pt x="9" y="13"/>
                      </a:lnTo>
                      <a:lnTo>
                        <a:pt x="10" y="13"/>
                      </a:lnTo>
                      <a:lnTo>
                        <a:pt x="15" y="12"/>
                      </a:lnTo>
                      <a:lnTo>
                        <a:pt x="20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5" name="Freeform 724">
                  <a:extLst>
                    <a:ext uri="{FF2B5EF4-FFF2-40B4-BE49-F238E27FC236}">
                      <a16:creationId xmlns:a16="http://schemas.microsoft.com/office/drawing/2014/main" id="{58027CFF-BFFC-E146-8941-DD6B678633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0499" y="5115602"/>
                  <a:ext cx="328532" cy="358129"/>
                </a:xfrm>
                <a:custGeom>
                  <a:avLst/>
                  <a:gdLst>
                    <a:gd name="T0" fmla="*/ 2147483647 w 240"/>
                    <a:gd name="T1" fmla="*/ 2147483647 h 242"/>
                    <a:gd name="T2" fmla="*/ 2147483647 w 240"/>
                    <a:gd name="T3" fmla="*/ 2147483647 h 242"/>
                    <a:gd name="T4" fmla="*/ 2147483647 w 240"/>
                    <a:gd name="T5" fmla="*/ 2147483647 h 242"/>
                    <a:gd name="T6" fmla="*/ 2147483647 w 240"/>
                    <a:gd name="T7" fmla="*/ 2147483647 h 242"/>
                    <a:gd name="T8" fmla="*/ 2147483647 w 240"/>
                    <a:gd name="T9" fmla="*/ 2147483647 h 242"/>
                    <a:gd name="T10" fmla="*/ 2147483647 w 240"/>
                    <a:gd name="T11" fmla="*/ 0 h 242"/>
                    <a:gd name="T12" fmla="*/ 2147483647 w 240"/>
                    <a:gd name="T13" fmla="*/ 0 h 242"/>
                    <a:gd name="T14" fmla="*/ 2147483647 w 240"/>
                    <a:gd name="T15" fmla="*/ 2147483647 h 242"/>
                    <a:gd name="T16" fmla="*/ 2147483647 w 240"/>
                    <a:gd name="T17" fmla="*/ 2147483647 h 242"/>
                    <a:gd name="T18" fmla="*/ 2147483647 w 240"/>
                    <a:gd name="T19" fmla="*/ 2147483647 h 242"/>
                    <a:gd name="T20" fmla="*/ 2147483647 w 240"/>
                    <a:gd name="T21" fmla="*/ 2147483647 h 242"/>
                    <a:gd name="T22" fmla="*/ 2147483647 w 240"/>
                    <a:gd name="T23" fmla="*/ 2147483647 h 242"/>
                    <a:gd name="T24" fmla="*/ 2147483647 w 240"/>
                    <a:gd name="T25" fmla="*/ 2147483647 h 242"/>
                    <a:gd name="T26" fmla="*/ 2147483647 w 240"/>
                    <a:gd name="T27" fmla="*/ 2147483647 h 242"/>
                    <a:gd name="T28" fmla="*/ 2147483647 w 240"/>
                    <a:gd name="T29" fmla="*/ 2147483647 h 242"/>
                    <a:gd name="T30" fmla="*/ 2147483647 w 240"/>
                    <a:gd name="T31" fmla="*/ 2147483647 h 242"/>
                    <a:gd name="T32" fmla="*/ 2147483647 w 240"/>
                    <a:gd name="T33" fmla="*/ 2147483647 h 242"/>
                    <a:gd name="T34" fmla="*/ 2147483647 w 240"/>
                    <a:gd name="T35" fmla="*/ 2147483647 h 242"/>
                    <a:gd name="T36" fmla="*/ 2147483647 w 240"/>
                    <a:gd name="T37" fmla="*/ 2147483647 h 242"/>
                    <a:gd name="T38" fmla="*/ 2147483647 w 240"/>
                    <a:gd name="T39" fmla="*/ 2147483647 h 242"/>
                    <a:gd name="T40" fmla="*/ 2147483647 w 240"/>
                    <a:gd name="T41" fmla="*/ 2147483647 h 242"/>
                    <a:gd name="T42" fmla="*/ 2147483647 w 240"/>
                    <a:gd name="T43" fmla="*/ 2147483647 h 242"/>
                    <a:gd name="T44" fmla="*/ 2147483647 w 240"/>
                    <a:gd name="T45" fmla="*/ 2147483647 h 242"/>
                    <a:gd name="T46" fmla="*/ 2147483647 w 240"/>
                    <a:gd name="T47" fmla="*/ 2147483647 h 242"/>
                    <a:gd name="T48" fmla="*/ 2147483647 w 240"/>
                    <a:gd name="T49" fmla="*/ 2147483647 h 242"/>
                    <a:gd name="T50" fmla="*/ 2147483647 w 240"/>
                    <a:gd name="T51" fmla="*/ 2147483647 h 242"/>
                    <a:gd name="T52" fmla="*/ 2147483647 w 240"/>
                    <a:gd name="T53" fmla="*/ 2147483647 h 242"/>
                    <a:gd name="T54" fmla="*/ 2147483647 w 240"/>
                    <a:gd name="T55" fmla="*/ 2147483647 h 242"/>
                    <a:gd name="T56" fmla="*/ 2147483647 w 240"/>
                    <a:gd name="T57" fmla="*/ 2147483647 h 242"/>
                    <a:gd name="T58" fmla="*/ 2147483647 w 240"/>
                    <a:gd name="T59" fmla="*/ 2147483647 h 242"/>
                    <a:gd name="T60" fmla="*/ 2147483647 w 240"/>
                    <a:gd name="T61" fmla="*/ 2147483647 h 242"/>
                    <a:gd name="T62" fmla="*/ 2147483647 w 240"/>
                    <a:gd name="T63" fmla="*/ 2147483647 h 242"/>
                    <a:gd name="T64" fmla="*/ 2147483647 w 240"/>
                    <a:gd name="T65" fmla="*/ 2147483647 h 242"/>
                    <a:gd name="T66" fmla="*/ 2147483647 w 240"/>
                    <a:gd name="T67" fmla="*/ 2147483647 h 242"/>
                    <a:gd name="T68" fmla="*/ 2147483647 w 240"/>
                    <a:gd name="T69" fmla="*/ 2147483647 h 242"/>
                    <a:gd name="T70" fmla="*/ 2147483647 w 240"/>
                    <a:gd name="T71" fmla="*/ 2147483647 h 242"/>
                    <a:gd name="T72" fmla="*/ 2147483647 w 240"/>
                    <a:gd name="T73" fmla="*/ 2147483647 h 242"/>
                    <a:gd name="T74" fmla="*/ 2147483647 w 240"/>
                    <a:gd name="T75" fmla="*/ 2147483647 h 242"/>
                    <a:gd name="T76" fmla="*/ 2147483647 w 240"/>
                    <a:gd name="T77" fmla="*/ 2147483647 h 242"/>
                    <a:gd name="T78" fmla="*/ 2147483647 w 240"/>
                    <a:gd name="T79" fmla="*/ 2147483647 h 242"/>
                    <a:gd name="T80" fmla="*/ 2147483647 w 240"/>
                    <a:gd name="T81" fmla="*/ 2147483647 h 242"/>
                    <a:gd name="T82" fmla="*/ 2147483647 w 240"/>
                    <a:gd name="T83" fmla="*/ 2147483647 h 242"/>
                    <a:gd name="T84" fmla="*/ 2147483647 w 240"/>
                    <a:gd name="T85" fmla="*/ 2147483647 h 242"/>
                    <a:gd name="T86" fmla="*/ 2147483647 w 240"/>
                    <a:gd name="T87" fmla="*/ 2147483647 h 242"/>
                    <a:gd name="T88" fmla="*/ 2147483647 w 240"/>
                    <a:gd name="T89" fmla="*/ 2147483647 h 242"/>
                    <a:gd name="T90" fmla="*/ 2147483647 w 240"/>
                    <a:gd name="T91" fmla="*/ 2147483647 h 242"/>
                    <a:gd name="T92" fmla="*/ 2147483647 w 240"/>
                    <a:gd name="T93" fmla="*/ 2147483647 h 242"/>
                    <a:gd name="T94" fmla="*/ 2147483647 w 240"/>
                    <a:gd name="T95" fmla="*/ 2147483647 h 242"/>
                    <a:gd name="T96" fmla="*/ 2147483647 w 240"/>
                    <a:gd name="T97" fmla="*/ 2147483647 h 242"/>
                    <a:gd name="T98" fmla="*/ 2147483647 w 240"/>
                    <a:gd name="T99" fmla="*/ 2147483647 h 242"/>
                    <a:gd name="T100" fmla="*/ 2147483647 w 240"/>
                    <a:gd name="T101" fmla="*/ 2147483647 h 242"/>
                    <a:gd name="T102" fmla="*/ 2147483647 w 240"/>
                    <a:gd name="T103" fmla="*/ 2147483647 h 242"/>
                    <a:gd name="T104" fmla="*/ 2147483647 w 240"/>
                    <a:gd name="T105" fmla="*/ 2147483647 h 242"/>
                    <a:gd name="T106" fmla="*/ 2147483647 w 240"/>
                    <a:gd name="T107" fmla="*/ 2147483647 h 242"/>
                    <a:gd name="T108" fmla="*/ 2147483647 w 240"/>
                    <a:gd name="T109" fmla="*/ 2147483647 h 242"/>
                    <a:gd name="T110" fmla="*/ 2147483647 w 240"/>
                    <a:gd name="T111" fmla="*/ 2147483647 h 242"/>
                    <a:gd name="T112" fmla="*/ 2147483647 w 240"/>
                    <a:gd name="T113" fmla="*/ 2147483647 h 242"/>
                    <a:gd name="T114" fmla="*/ 2147483647 w 240"/>
                    <a:gd name="T115" fmla="*/ 2147483647 h 242"/>
                    <a:gd name="T116" fmla="*/ 2147483647 w 240"/>
                    <a:gd name="T117" fmla="*/ 2147483647 h 24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40"/>
                    <a:gd name="T178" fmla="*/ 0 h 242"/>
                    <a:gd name="T179" fmla="*/ 240 w 240"/>
                    <a:gd name="T180" fmla="*/ 242 h 24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40" h="242">
                      <a:moveTo>
                        <a:pt x="6" y="4"/>
                      </a:moveTo>
                      <a:lnTo>
                        <a:pt x="11" y="1"/>
                      </a:lnTo>
                      <a:lnTo>
                        <a:pt x="14" y="0"/>
                      </a:lnTo>
                      <a:lnTo>
                        <a:pt x="16" y="1"/>
                      </a:lnTo>
                      <a:lnTo>
                        <a:pt x="19" y="4"/>
                      </a:lnTo>
                      <a:lnTo>
                        <a:pt x="20" y="6"/>
                      </a:lnTo>
                      <a:lnTo>
                        <a:pt x="23" y="7"/>
                      </a:lnTo>
                      <a:lnTo>
                        <a:pt x="24" y="7"/>
                      </a:lnTo>
                      <a:lnTo>
                        <a:pt x="25" y="6"/>
                      </a:lnTo>
                      <a:lnTo>
                        <a:pt x="26" y="4"/>
                      </a:lnTo>
                      <a:lnTo>
                        <a:pt x="28" y="1"/>
                      </a:lnTo>
                      <a:lnTo>
                        <a:pt x="29" y="0"/>
                      </a:lnTo>
                      <a:lnTo>
                        <a:pt x="33" y="0"/>
                      </a:lnTo>
                      <a:lnTo>
                        <a:pt x="37" y="0"/>
                      </a:lnTo>
                      <a:lnTo>
                        <a:pt x="44" y="3"/>
                      </a:lnTo>
                      <a:lnTo>
                        <a:pt x="63" y="5"/>
                      </a:lnTo>
                      <a:lnTo>
                        <a:pt x="82" y="5"/>
                      </a:lnTo>
                      <a:lnTo>
                        <a:pt x="101" y="5"/>
                      </a:lnTo>
                      <a:lnTo>
                        <a:pt x="120" y="6"/>
                      </a:lnTo>
                      <a:lnTo>
                        <a:pt x="123" y="7"/>
                      </a:lnTo>
                      <a:lnTo>
                        <a:pt x="125" y="12"/>
                      </a:lnTo>
                      <a:lnTo>
                        <a:pt x="129" y="16"/>
                      </a:lnTo>
                      <a:lnTo>
                        <a:pt x="133" y="19"/>
                      </a:lnTo>
                      <a:lnTo>
                        <a:pt x="139" y="20"/>
                      </a:lnTo>
                      <a:lnTo>
                        <a:pt x="144" y="22"/>
                      </a:lnTo>
                      <a:lnTo>
                        <a:pt x="157" y="20"/>
                      </a:lnTo>
                      <a:lnTo>
                        <a:pt x="169" y="19"/>
                      </a:lnTo>
                      <a:lnTo>
                        <a:pt x="180" y="16"/>
                      </a:lnTo>
                      <a:lnTo>
                        <a:pt x="202" y="12"/>
                      </a:lnTo>
                      <a:lnTo>
                        <a:pt x="213" y="11"/>
                      </a:lnTo>
                      <a:lnTo>
                        <a:pt x="223" y="11"/>
                      </a:lnTo>
                      <a:lnTo>
                        <a:pt x="228" y="15"/>
                      </a:lnTo>
                      <a:lnTo>
                        <a:pt x="233" y="15"/>
                      </a:lnTo>
                      <a:lnTo>
                        <a:pt x="240" y="15"/>
                      </a:lnTo>
                      <a:lnTo>
                        <a:pt x="240" y="17"/>
                      </a:lnTo>
                      <a:lnTo>
                        <a:pt x="238" y="18"/>
                      </a:lnTo>
                      <a:lnTo>
                        <a:pt x="226" y="22"/>
                      </a:lnTo>
                      <a:lnTo>
                        <a:pt x="219" y="24"/>
                      </a:lnTo>
                      <a:lnTo>
                        <a:pt x="213" y="26"/>
                      </a:lnTo>
                      <a:lnTo>
                        <a:pt x="212" y="26"/>
                      </a:lnTo>
                      <a:lnTo>
                        <a:pt x="209" y="25"/>
                      </a:lnTo>
                      <a:lnTo>
                        <a:pt x="205" y="22"/>
                      </a:lnTo>
                      <a:lnTo>
                        <a:pt x="166" y="29"/>
                      </a:lnTo>
                      <a:lnTo>
                        <a:pt x="165" y="97"/>
                      </a:lnTo>
                      <a:lnTo>
                        <a:pt x="144" y="97"/>
                      </a:lnTo>
                      <a:lnTo>
                        <a:pt x="144" y="163"/>
                      </a:lnTo>
                      <a:lnTo>
                        <a:pt x="144" y="224"/>
                      </a:lnTo>
                      <a:lnTo>
                        <a:pt x="143" y="228"/>
                      </a:lnTo>
                      <a:lnTo>
                        <a:pt x="142" y="230"/>
                      </a:lnTo>
                      <a:lnTo>
                        <a:pt x="138" y="234"/>
                      </a:lnTo>
                      <a:lnTo>
                        <a:pt x="134" y="236"/>
                      </a:lnTo>
                      <a:lnTo>
                        <a:pt x="132" y="236"/>
                      </a:lnTo>
                      <a:lnTo>
                        <a:pt x="127" y="240"/>
                      </a:lnTo>
                      <a:lnTo>
                        <a:pt x="119" y="242"/>
                      </a:lnTo>
                      <a:lnTo>
                        <a:pt x="114" y="242"/>
                      </a:lnTo>
                      <a:lnTo>
                        <a:pt x="110" y="242"/>
                      </a:lnTo>
                      <a:lnTo>
                        <a:pt x="108" y="241"/>
                      </a:lnTo>
                      <a:lnTo>
                        <a:pt x="105" y="239"/>
                      </a:lnTo>
                      <a:lnTo>
                        <a:pt x="103" y="236"/>
                      </a:lnTo>
                      <a:lnTo>
                        <a:pt x="101" y="233"/>
                      </a:lnTo>
                      <a:lnTo>
                        <a:pt x="101" y="230"/>
                      </a:lnTo>
                      <a:lnTo>
                        <a:pt x="101" y="227"/>
                      </a:lnTo>
                      <a:lnTo>
                        <a:pt x="100" y="224"/>
                      </a:lnTo>
                      <a:lnTo>
                        <a:pt x="97" y="224"/>
                      </a:lnTo>
                      <a:lnTo>
                        <a:pt x="96" y="224"/>
                      </a:lnTo>
                      <a:lnTo>
                        <a:pt x="96" y="226"/>
                      </a:lnTo>
                      <a:lnTo>
                        <a:pt x="96" y="229"/>
                      </a:lnTo>
                      <a:lnTo>
                        <a:pt x="95" y="231"/>
                      </a:lnTo>
                      <a:lnTo>
                        <a:pt x="94" y="233"/>
                      </a:lnTo>
                      <a:lnTo>
                        <a:pt x="90" y="233"/>
                      </a:lnTo>
                      <a:lnTo>
                        <a:pt x="89" y="233"/>
                      </a:lnTo>
                      <a:lnTo>
                        <a:pt x="87" y="234"/>
                      </a:lnTo>
                      <a:lnTo>
                        <a:pt x="86" y="235"/>
                      </a:lnTo>
                      <a:lnTo>
                        <a:pt x="85" y="236"/>
                      </a:lnTo>
                      <a:lnTo>
                        <a:pt x="78" y="229"/>
                      </a:lnTo>
                      <a:lnTo>
                        <a:pt x="68" y="220"/>
                      </a:lnTo>
                      <a:lnTo>
                        <a:pt x="63" y="214"/>
                      </a:lnTo>
                      <a:lnTo>
                        <a:pt x="59" y="208"/>
                      </a:lnTo>
                      <a:lnTo>
                        <a:pt x="54" y="196"/>
                      </a:lnTo>
                      <a:lnTo>
                        <a:pt x="52" y="184"/>
                      </a:lnTo>
                      <a:lnTo>
                        <a:pt x="51" y="172"/>
                      </a:lnTo>
                      <a:lnTo>
                        <a:pt x="52" y="160"/>
                      </a:lnTo>
                      <a:lnTo>
                        <a:pt x="53" y="154"/>
                      </a:lnTo>
                      <a:lnTo>
                        <a:pt x="52" y="148"/>
                      </a:lnTo>
                      <a:lnTo>
                        <a:pt x="51" y="143"/>
                      </a:lnTo>
                      <a:lnTo>
                        <a:pt x="47" y="137"/>
                      </a:lnTo>
                      <a:lnTo>
                        <a:pt x="45" y="134"/>
                      </a:lnTo>
                      <a:lnTo>
                        <a:pt x="47" y="132"/>
                      </a:lnTo>
                      <a:lnTo>
                        <a:pt x="52" y="130"/>
                      </a:lnTo>
                      <a:lnTo>
                        <a:pt x="51" y="126"/>
                      </a:lnTo>
                      <a:lnTo>
                        <a:pt x="52" y="122"/>
                      </a:lnTo>
                      <a:lnTo>
                        <a:pt x="54" y="120"/>
                      </a:lnTo>
                      <a:lnTo>
                        <a:pt x="57" y="118"/>
                      </a:lnTo>
                      <a:lnTo>
                        <a:pt x="58" y="115"/>
                      </a:lnTo>
                      <a:lnTo>
                        <a:pt x="58" y="113"/>
                      </a:lnTo>
                      <a:lnTo>
                        <a:pt x="57" y="112"/>
                      </a:lnTo>
                      <a:lnTo>
                        <a:pt x="54" y="111"/>
                      </a:lnTo>
                      <a:lnTo>
                        <a:pt x="49" y="109"/>
                      </a:lnTo>
                      <a:lnTo>
                        <a:pt x="45" y="107"/>
                      </a:lnTo>
                      <a:lnTo>
                        <a:pt x="43" y="105"/>
                      </a:lnTo>
                      <a:lnTo>
                        <a:pt x="42" y="101"/>
                      </a:lnTo>
                      <a:lnTo>
                        <a:pt x="39" y="94"/>
                      </a:lnTo>
                      <a:lnTo>
                        <a:pt x="37" y="87"/>
                      </a:lnTo>
                      <a:lnTo>
                        <a:pt x="29" y="70"/>
                      </a:lnTo>
                      <a:lnTo>
                        <a:pt x="25" y="61"/>
                      </a:lnTo>
                      <a:lnTo>
                        <a:pt x="25" y="56"/>
                      </a:lnTo>
                      <a:lnTo>
                        <a:pt x="26" y="51"/>
                      </a:lnTo>
                      <a:lnTo>
                        <a:pt x="26" y="47"/>
                      </a:lnTo>
                      <a:lnTo>
                        <a:pt x="24" y="45"/>
                      </a:lnTo>
                      <a:lnTo>
                        <a:pt x="17" y="42"/>
                      </a:lnTo>
                      <a:lnTo>
                        <a:pt x="15" y="39"/>
                      </a:lnTo>
                      <a:lnTo>
                        <a:pt x="15" y="37"/>
                      </a:lnTo>
                      <a:lnTo>
                        <a:pt x="6" y="26"/>
                      </a:lnTo>
                      <a:lnTo>
                        <a:pt x="2" y="22"/>
                      </a:lnTo>
                      <a:lnTo>
                        <a:pt x="0" y="15"/>
                      </a:lnTo>
                      <a:lnTo>
                        <a:pt x="5" y="15"/>
                      </a:lnTo>
                      <a:lnTo>
                        <a:pt x="7" y="11"/>
                      </a:lnTo>
                      <a:lnTo>
                        <a:pt x="7" y="7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6" name="Freeform 725">
                  <a:extLst>
                    <a:ext uri="{FF2B5EF4-FFF2-40B4-BE49-F238E27FC236}">
                      <a16:creationId xmlns:a16="http://schemas.microsoft.com/office/drawing/2014/main" id="{2E8ED05C-DF4F-AD49-8CCE-89DE11176D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0500" y="4791508"/>
                  <a:ext cx="293015" cy="353690"/>
                </a:xfrm>
                <a:custGeom>
                  <a:avLst/>
                  <a:gdLst>
                    <a:gd name="T0" fmla="*/ 2147483647 w 214"/>
                    <a:gd name="T1" fmla="*/ 2147483647 h 239"/>
                    <a:gd name="T2" fmla="*/ 2147483647 w 214"/>
                    <a:gd name="T3" fmla="*/ 2147483647 h 239"/>
                    <a:gd name="T4" fmla="*/ 2147483647 w 214"/>
                    <a:gd name="T5" fmla="*/ 2147483647 h 239"/>
                    <a:gd name="T6" fmla="*/ 2147483647 w 214"/>
                    <a:gd name="T7" fmla="*/ 2147483647 h 239"/>
                    <a:gd name="T8" fmla="*/ 2147483647 w 214"/>
                    <a:gd name="T9" fmla="*/ 2147483647 h 239"/>
                    <a:gd name="T10" fmla="*/ 2147483647 w 214"/>
                    <a:gd name="T11" fmla="*/ 2147483647 h 239"/>
                    <a:gd name="T12" fmla="*/ 2147483647 w 214"/>
                    <a:gd name="T13" fmla="*/ 2147483647 h 239"/>
                    <a:gd name="T14" fmla="*/ 2147483647 w 214"/>
                    <a:gd name="T15" fmla="*/ 2147483647 h 239"/>
                    <a:gd name="T16" fmla="*/ 2147483647 w 214"/>
                    <a:gd name="T17" fmla="*/ 2147483647 h 239"/>
                    <a:gd name="T18" fmla="*/ 2147483647 w 214"/>
                    <a:gd name="T19" fmla="*/ 2147483647 h 239"/>
                    <a:gd name="T20" fmla="*/ 2147483647 w 214"/>
                    <a:gd name="T21" fmla="*/ 2147483647 h 239"/>
                    <a:gd name="T22" fmla="*/ 2147483647 w 214"/>
                    <a:gd name="T23" fmla="*/ 2147483647 h 239"/>
                    <a:gd name="T24" fmla="*/ 2147483647 w 214"/>
                    <a:gd name="T25" fmla="*/ 2147483647 h 239"/>
                    <a:gd name="T26" fmla="*/ 2147483647 w 214"/>
                    <a:gd name="T27" fmla="*/ 2147483647 h 239"/>
                    <a:gd name="T28" fmla="*/ 2147483647 w 214"/>
                    <a:gd name="T29" fmla="*/ 2147483647 h 239"/>
                    <a:gd name="T30" fmla="*/ 2147483647 w 214"/>
                    <a:gd name="T31" fmla="*/ 2147483647 h 239"/>
                    <a:gd name="T32" fmla="*/ 2147483647 w 214"/>
                    <a:gd name="T33" fmla="*/ 2147483647 h 239"/>
                    <a:gd name="T34" fmla="*/ 2147483647 w 214"/>
                    <a:gd name="T35" fmla="*/ 2147483647 h 239"/>
                    <a:gd name="T36" fmla="*/ 2147483647 w 214"/>
                    <a:gd name="T37" fmla="*/ 2147483647 h 239"/>
                    <a:gd name="T38" fmla="*/ 2147483647 w 214"/>
                    <a:gd name="T39" fmla="*/ 2147483647 h 239"/>
                    <a:gd name="T40" fmla="*/ 2147483647 w 214"/>
                    <a:gd name="T41" fmla="*/ 2147483647 h 239"/>
                    <a:gd name="T42" fmla="*/ 2147483647 w 214"/>
                    <a:gd name="T43" fmla="*/ 2147483647 h 239"/>
                    <a:gd name="T44" fmla="*/ 2147483647 w 214"/>
                    <a:gd name="T45" fmla="*/ 2147483647 h 239"/>
                    <a:gd name="T46" fmla="*/ 2147483647 w 214"/>
                    <a:gd name="T47" fmla="*/ 2147483647 h 239"/>
                    <a:gd name="T48" fmla="*/ 2147483647 w 214"/>
                    <a:gd name="T49" fmla="*/ 2147483647 h 239"/>
                    <a:gd name="T50" fmla="*/ 2147483647 w 214"/>
                    <a:gd name="T51" fmla="*/ 2147483647 h 239"/>
                    <a:gd name="T52" fmla="*/ 2147483647 w 214"/>
                    <a:gd name="T53" fmla="*/ 2147483647 h 239"/>
                    <a:gd name="T54" fmla="*/ 2147483647 w 214"/>
                    <a:gd name="T55" fmla="*/ 2147483647 h 239"/>
                    <a:gd name="T56" fmla="*/ 2147483647 w 214"/>
                    <a:gd name="T57" fmla="*/ 2147483647 h 239"/>
                    <a:gd name="T58" fmla="*/ 2147483647 w 214"/>
                    <a:gd name="T59" fmla="*/ 2147483647 h 239"/>
                    <a:gd name="T60" fmla="*/ 2147483647 w 214"/>
                    <a:gd name="T61" fmla="*/ 2147483647 h 239"/>
                    <a:gd name="T62" fmla="*/ 2147483647 w 214"/>
                    <a:gd name="T63" fmla="*/ 2147483647 h 239"/>
                    <a:gd name="T64" fmla="*/ 2147483647 w 214"/>
                    <a:gd name="T65" fmla="*/ 2147483647 h 239"/>
                    <a:gd name="T66" fmla="*/ 2147483647 w 214"/>
                    <a:gd name="T67" fmla="*/ 2147483647 h 239"/>
                    <a:gd name="T68" fmla="*/ 2147483647 w 214"/>
                    <a:gd name="T69" fmla="*/ 2147483647 h 239"/>
                    <a:gd name="T70" fmla="*/ 2147483647 w 214"/>
                    <a:gd name="T71" fmla="*/ 2147483647 h 239"/>
                    <a:gd name="T72" fmla="*/ 2147483647 w 214"/>
                    <a:gd name="T73" fmla="*/ 2147483647 h 239"/>
                    <a:gd name="T74" fmla="*/ 2147483647 w 214"/>
                    <a:gd name="T75" fmla="*/ 2147483647 h 239"/>
                    <a:gd name="T76" fmla="*/ 2147483647 w 214"/>
                    <a:gd name="T77" fmla="*/ 2147483647 h 239"/>
                    <a:gd name="T78" fmla="*/ 2147483647 w 214"/>
                    <a:gd name="T79" fmla="*/ 2147483647 h 239"/>
                    <a:gd name="T80" fmla="*/ 2147483647 w 214"/>
                    <a:gd name="T81" fmla="*/ 2147483647 h 239"/>
                    <a:gd name="T82" fmla="*/ 2147483647 w 214"/>
                    <a:gd name="T83" fmla="*/ 2147483647 h 239"/>
                    <a:gd name="T84" fmla="*/ 2147483647 w 214"/>
                    <a:gd name="T85" fmla="*/ 2147483647 h 239"/>
                    <a:gd name="T86" fmla="*/ 2147483647 w 214"/>
                    <a:gd name="T87" fmla="*/ 2147483647 h 239"/>
                    <a:gd name="T88" fmla="*/ 2147483647 w 214"/>
                    <a:gd name="T89" fmla="*/ 2147483647 h 239"/>
                    <a:gd name="T90" fmla="*/ 2147483647 w 214"/>
                    <a:gd name="T91" fmla="*/ 2147483647 h 239"/>
                    <a:gd name="T92" fmla="*/ 2147483647 w 214"/>
                    <a:gd name="T93" fmla="*/ 2147483647 h 239"/>
                    <a:gd name="T94" fmla="*/ 2147483647 w 214"/>
                    <a:gd name="T95" fmla="*/ 2147483647 h 239"/>
                    <a:gd name="T96" fmla="*/ 2147483647 w 214"/>
                    <a:gd name="T97" fmla="*/ 2147483647 h 239"/>
                    <a:gd name="T98" fmla="*/ 2147483647 w 214"/>
                    <a:gd name="T99" fmla="*/ 2147483647 h 239"/>
                    <a:gd name="T100" fmla="*/ 2147483647 w 214"/>
                    <a:gd name="T101" fmla="*/ 2147483647 h 239"/>
                    <a:gd name="T102" fmla="*/ 2147483647 w 214"/>
                    <a:gd name="T103" fmla="*/ 2147483647 h 239"/>
                    <a:gd name="T104" fmla="*/ 2147483647 w 214"/>
                    <a:gd name="T105" fmla="*/ 2147483647 h 239"/>
                    <a:gd name="T106" fmla="*/ 2147483647 w 214"/>
                    <a:gd name="T107" fmla="*/ 2147483647 h 239"/>
                    <a:gd name="T108" fmla="*/ 2147483647 w 214"/>
                    <a:gd name="T109" fmla="*/ 2147483647 h 239"/>
                    <a:gd name="T110" fmla="*/ 2147483647 w 214"/>
                    <a:gd name="T111" fmla="*/ 2147483647 h 239"/>
                    <a:gd name="T112" fmla="*/ 2147483647 w 214"/>
                    <a:gd name="T113" fmla="*/ 2147483647 h 239"/>
                    <a:gd name="T114" fmla="*/ 2147483647 w 214"/>
                    <a:gd name="T115" fmla="*/ 2147483647 h 239"/>
                    <a:gd name="T116" fmla="*/ 2147483647 w 214"/>
                    <a:gd name="T117" fmla="*/ 2147483647 h 239"/>
                    <a:gd name="T118" fmla="*/ 2147483647 w 214"/>
                    <a:gd name="T119" fmla="*/ 2147483647 h 239"/>
                    <a:gd name="T120" fmla="*/ 2147483647 w 214"/>
                    <a:gd name="T121" fmla="*/ 2147483647 h 239"/>
                    <a:gd name="T122" fmla="*/ 2147483647 w 214"/>
                    <a:gd name="T123" fmla="*/ 2147483647 h 23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14"/>
                    <a:gd name="T187" fmla="*/ 0 h 239"/>
                    <a:gd name="T188" fmla="*/ 214 w 214"/>
                    <a:gd name="T189" fmla="*/ 239 h 23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14" h="239">
                      <a:moveTo>
                        <a:pt x="20" y="8"/>
                      </a:moveTo>
                      <a:lnTo>
                        <a:pt x="20" y="8"/>
                      </a:lnTo>
                      <a:lnTo>
                        <a:pt x="25" y="7"/>
                      </a:lnTo>
                      <a:lnTo>
                        <a:pt x="28" y="6"/>
                      </a:lnTo>
                      <a:lnTo>
                        <a:pt x="31" y="2"/>
                      </a:lnTo>
                      <a:lnTo>
                        <a:pt x="35" y="0"/>
                      </a:lnTo>
                      <a:lnTo>
                        <a:pt x="42" y="0"/>
                      </a:lnTo>
                      <a:lnTo>
                        <a:pt x="51" y="2"/>
                      </a:lnTo>
                      <a:lnTo>
                        <a:pt x="59" y="4"/>
                      </a:lnTo>
                      <a:lnTo>
                        <a:pt x="68" y="4"/>
                      </a:lnTo>
                      <a:lnTo>
                        <a:pt x="78" y="4"/>
                      </a:lnTo>
                      <a:lnTo>
                        <a:pt x="87" y="5"/>
                      </a:lnTo>
                      <a:lnTo>
                        <a:pt x="96" y="8"/>
                      </a:lnTo>
                      <a:lnTo>
                        <a:pt x="100" y="12"/>
                      </a:lnTo>
                      <a:lnTo>
                        <a:pt x="103" y="15"/>
                      </a:lnTo>
                      <a:lnTo>
                        <a:pt x="105" y="25"/>
                      </a:lnTo>
                      <a:lnTo>
                        <a:pt x="106" y="36"/>
                      </a:lnTo>
                      <a:lnTo>
                        <a:pt x="109" y="44"/>
                      </a:lnTo>
                      <a:lnTo>
                        <a:pt x="111" y="45"/>
                      </a:lnTo>
                      <a:lnTo>
                        <a:pt x="113" y="46"/>
                      </a:lnTo>
                      <a:lnTo>
                        <a:pt x="119" y="47"/>
                      </a:lnTo>
                      <a:lnTo>
                        <a:pt x="125" y="46"/>
                      </a:lnTo>
                      <a:lnTo>
                        <a:pt x="132" y="44"/>
                      </a:lnTo>
                      <a:lnTo>
                        <a:pt x="133" y="41"/>
                      </a:lnTo>
                      <a:lnTo>
                        <a:pt x="133" y="40"/>
                      </a:lnTo>
                      <a:lnTo>
                        <a:pt x="133" y="34"/>
                      </a:lnTo>
                      <a:lnTo>
                        <a:pt x="133" y="30"/>
                      </a:lnTo>
                      <a:lnTo>
                        <a:pt x="136" y="26"/>
                      </a:lnTo>
                      <a:lnTo>
                        <a:pt x="138" y="24"/>
                      </a:lnTo>
                      <a:lnTo>
                        <a:pt x="143" y="22"/>
                      </a:lnTo>
                      <a:lnTo>
                        <a:pt x="147" y="24"/>
                      </a:lnTo>
                      <a:lnTo>
                        <a:pt x="150" y="26"/>
                      </a:lnTo>
                      <a:lnTo>
                        <a:pt x="151" y="28"/>
                      </a:lnTo>
                      <a:lnTo>
                        <a:pt x="152" y="30"/>
                      </a:lnTo>
                      <a:lnTo>
                        <a:pt x="155" y="31"/>
                      </a:lnTo>
                      <a:lnTo>
                        <a:pt x="160" y="31"/>
                      </a:lnTo>
                      <a:lnTo>
                        <a:pt x="162" y="31"/>
                      </a:lnTo>
                      <a:lnTo>
                        <a:pt x="165" y="32"/>
                      </a:lnTo>
                      <a:lnTo>
                        <a:pt x="167" y="31"/>
                      </a:lnTo>
                      <a:lnTo>
                        <a:pt x="171" y="32"/>
                      </a:lnTo>
                      <a:lnTo>
                        <a:pt x="174" y="33"/>
                      </a:lnTo>
                      <a:lnTo>
                        <a:pt x="174" y="36"/>
                      </a:lnTo>
                      <a:lnTo>
                        <a:pt x="175" y="41"/>
                      </a:lnTo>
                      <a:lnTo>
                        <a:pt x="176" y="43"/>
                      </a:lnTo>
                      <a:lnTo>
                        <a:pt x="177" y="46"/>
                      </a:lnTo>
                      <a:lnTo>
                        <a:pt x="177" y="50"/>
                      </a:lnTo>
                      <a:lnTo>
                        <a:pt x="176" y="53"/>
                      </a:lnTo>
                      <a:lnTo>
                        <a:pt x="176" y="56"/>
                      </a:lnTo>
                      <a:lnTo>
                        <a:pt x="181" y="68"/>
                      </a:lnTo>
                      <a:lnTo>
                        <a:pt x="185" y="79"/>
                      </a:lnTo>
                      <a:lnTo>
                        <a:pt x="186" y="91"/>
                      </a:lnTo>
                      <a:lnTo>
                        <a:pt x="186" y="103"/>
                      </a:lnTo>
                      <a:lnTo>
                        <a:pt x="186" y="104"/>
                      </a:lnTo>
                      <a:lnTo>
                        <a:pt x="189" y="105"/>
                      </a:lnTo>
                      <a:lnTo>
                        <a:pt x="191" y="107"/>
                      </a:lnTo>
                      <a:lnTo>
                        <a:pt x="203" y="104"/>
                      </a:lnTo>
                      <a:lnTo>
                        <a:pt x="209" y="103"/>
                      </a:lnTo>
                      <a:lnTo>
                        <a:pt x="214" y="102"/>
                      </a:lnTo>
                      <a:lnTo>
                        <a:pt x="214" y="137"/>
                      </a:lnTo>
                      <a:lnTo>
                        <a:pt x="199" y="140"/>
                      </a:lnTo>
                      <a:lnTo>
                        <a:pt x="188" y="141"/>
                      </a:lnTo>
                      <a:lnTo>
                        <a:pt x="181" y="141"/>
                      </a:lnTo>
                      <a:lnTo>
                        <a:pt x="179" y="234"/>
                      </a:lnTo>
                      <a:lnTo>
                        <a:pt x="167" y="237"/>
                      </a:lnTo>
                      <a:lnTo>
                        <a:pt x="156" y="238"/>
                      </a:lnTo>
                      <a:lnTo>
                        <a:pt x="143" y="239"/>
                      </a:lnTo>
                      <a:lnTo>
                        <a:pt x="138" y="238"/>
                      </a:lnTo>
                      <a:lnTo>
                        <a:pt x="132" y="237"/>
                      </a:lnTo>
                      <a:lnTo>
                        <a:pt x="128" y="234"/>
                      </a:lnTo>
                      <a:lnTo>
                        <a:pt x="124" y="230"/>
                      </a:lnTo>
                      <a:lnTo>
                        <a:pt x="122" y="225"/>
                      </a:lnTo>
                      <a:lnTo>
                        <a:pt x="119" y="224"/>
                      </a:lnTo>
                      <a:lnTo>
                        <a:pt x="100" y="223"/>
                      </a:lnTo>
                      <a:lnTo>
                        <a:pt x="81" y="223"/>
                      </a:lnTo>
                      <a:lnTo>
                        <a:pt x="62" y="223"/>
                      </a:lnTo>
                      <a:lnTo>
                        <a:pt x="43" y="220"/>
                      </a:lnTo>
                      <a:lnTo>
                        <a:pt x="35" y="218"/>
                      </a:lnTo>
                      <a:lnTo>
                        <a:pt x="31" y="218"/>
                      </a:lnTo>
                      <a:lnTo>
                        <a:pt x="28" y="218"/>
                      </a:lnTo>
                      <a:lnTo>
                        <a:pt x="26" y="219"/>
                      </a:lnTo>
                      <a:lnTo>
                        <a:pt x="25" y="222"/>
                      </a:lnTo>
                      <a:lnTo>
                        <a:pt x="24" y="224"/>
                      </a:lnTo>
                      <a:lnTo>
                        <a:pt x="23" y="225"/>
                      </a:lnTo>
                      <a:lnTo>
                        <a:pt x="21" y="225"/>
                      </a:lnTo>
                      <a:lnTo>
                        <a:pt x="19" y="224"/>
                      </a:lnTo>
                      <a:lnTo>
                        <a:pt x="17" y="222"/>
                      </a:lnTo>
                      <a:lnTo>
                        <a:pt x="15" y="219"/>
                      </a:lnTo>
                      <a:lnTo>
                        <a:pt x="12" y="218"/>
                      </a:lnTo>
                      <a:lnTo>
                        <a:pt x="10" y="219"/>
                      </a:lnTo>
                      <a:lnTo>
                        <a:pt x="5" y="222"/>
                      </a:lnTo>
                      <a:lnTo>
                        <a:pt x="1" y="218"/>
                      </a:lnTo>
                      <a:lnTo>
                        <a:pt x="0" y="216"/>
                      </a:lnTo>
                      <a:lnTo>
                        <a:pt x="1" y="213"/>
                      </a:lnTo>
                      <a:lnTo>
                        <a:pt x="2" y="206"/>
                      </a:lnTo>
                      <a:lnTo>
                        <a:pt x="4" y="199"/>
                      </a:lnTo>
                      <a:lnTo>
                        <a:pt x="5" y="197"/>
                      </a:lnTo>
                      <a:lnTo>
                        <a:pt x="6" y="194"/>
                      </a:lnTo>
                      <a:lnTo>
                        <a:pt x="9" y="192"/>
                      </a:lnTo>
                      <a:lnTo>
                        <a:pt x="9" y="191"/>
                      </a:lnTo>
                      <a:lnTo>
                        <a:pt x="10" y="177"/>
                      </a:lnTo>
                      <a:lnTo>
                        <a:pt x="11" y="169"/>
                      </a:lnTo>
                      <a:lnTo>
                        <a:pt x="15" y="162"/>
                      </a:lnTo>
                      <a:lnTo>
                        <a:pt x="16" y="160"/>
                      </a:lnTo>
                      <a:lnTo>
                        <a:pt x="16" y="156"/>
                      </a:lnTo>
                      <a:lnTo>
                        <a:pt x="16" y="154"/>
                      </a:lnTo>
                      <a:lnTo>
                        <a:pt x="17" y="151"/>
                      </a:lnTo>
                      <a:lnTo>
                        <a:pt x="20" y="148"/>
                      </a:lnTo>
                      <a:lnTo>
                        <a:pt x="21" y="145"/>
                      </a:lnTo>
                      <a:lnTo>
                        <a:pt x="23" y="139"/>
                      </a:lnTo>
                      <a:lnTo>
                        <a:pt x="26" y="134"/>
                      </a:lnTo>
                      <a:lnTo>
                        <a:pt x="30" y="129"/>
                      </a:lnTo>
                      <a:lnTo>
                        <a:pt x="35" y="126"/>
                      </a:lnTo>
                      <a:lnTo>
                        <a:pt x="37" y="122"/>
                      </a:lnTo>
                      <a:lnTo>
                        <a:pt x="38" y="119"/>
                      </a:lnTo>
                      <a:lnTo>
                        <a:pt x="39" y="108"/>
                      </a:lnTo>
                      <a:lnTo>
                        <a:pt x="39" y="109"/>
                      </a:lnTo>
                      <a:lnTo>
                        <a:pt x="37" y="107"/>
                      </a:lnTo>
                      <a:lnTo>
                        <a:pt x="37" y="104"/>
                      </a:lnTo>
                      <a:lnTo>
                        <a:pt x="34" y="100"/>
                      </a:lnTo>
                      <a:lnTo>
                        <a:pt x="30" y="91"/>
                      </a:lnTo>
                      <a:lnTo>
                        <a:pt x="29" y="86"/>
                      </a:lnTo>
                      <a:lnTo>
                        <a:pt x="29" y="82"/>
                      </a:lnTo>
                      <a:lnTo>
                        <a:pt x="28" y="79"/>
                      </a:lnTo>
                      <a:lnTo>
                        <a:pt x="25" y="77"/>
                      </a:lnTo>
                      <a:lnTo>
                        <a:pt x="25" y="75"/>
                      </a:lnTo>
                      <a:lnTo>
                        <a:pt x="28" y="66"/>
                      </a:lnTo>
                      <a:lnTo>
                        <a:pt x="29" y="62"/>
                      </a:lnTo>
                      <a:lnTo>
                        <a:pt x="30" y="56"/>
                      </a:lnTo>
                      <a:lnTo>
                        <a:pt x="29" y="50"/>
                      </a:lnTo>
                      <a:lnTo>
                        <a:pt x="28" y="44"/>
                      </a:lnTo>
                      <a:lnTo>
                        <a:pt x="24" y="39"/>
                      </a:lnTo>
                      <a:lnTo>
                        <a:pt x="19" y="33"/>
                      </a:lnTo>
                      <a:lnTo>
                        <a:pt x="17" y="32"/>
                      </a:lnTo>
                      <a:lnTo>
                        <a:pt x="17" y="31"/>
                      </a:lnTo>
                      <a:lnTo>
                        <a:pt x="16" y="26"/>
                      </a:lnTo>
                      <a:lnTo>
                        <a:pt x="15" y="24"/>
                      </a:lnTo>
                      <a:lnTo>
                        <a:pt x="12" y="22"/>
                      </a:lnTo>
                      <a:lnTo>
                        <a:pt x="10" y="21"/>
                      </a:lnTo>
                      <a:lnTo>
                        <a:pt x="9" y="19"/>
                      </a:lnTo>
                      <a:lnTo>
                        <a:pt x="7" y="15"/>
                      </a:lnTo>
                      <a:lnTo>
                        <a:pt x="9" y="13"/>
                      </a:lnTo>
                      <a:lnTo>
                        <a:pt x="10" y="13"/>
                      </a:lnTo>
                      <a:lnTo>
                        <a:pt x="15" y="12"/>
                      </a:lnTo>
                      <a:lnTo>
                        <a:pt x="20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7" name="Freeform 727">
                  <a:extLst>
                    <a:ext uri="{FF2B5EF4-FFF2-40B4-BE49-F238E27FC236}">
                      <a16:creationId xmlns:a16="http://schemas.microsoft.com/office/drawing/2014/main" id="{C24AD145-1AF9-924D-9B21-8D38E6EB92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7409" y="5265069"/>
                  <a:ext cx="398085" cy="399565"/>
                </a:xfrm>
                <a:custGeom>
                  <a:avLst/>
                  <a:gdLst>
                    <a:gd name="T0" fmla="*/ 2147483647 w 291"/>
                    <a:gd name="T1" fmla="*/ 2147483647 h 270"/>
                    <a:gd name="T2" fmla="*/ 2147483647 w 291"/>
                    <a:gd name="T3" fmla="*/ 2147483647 h 270"/>
                    <a:gd name="T4" fmla="*/ 2147483647 w 291"/>
                    <a:gd name="T5" fmla="*/ 2147483647 h 270"/>
                    <a:gd name="T6" fmla="*/ 2147483647 w 291"/>
                    <a:gd name="T7" fmla="*/ 2147483647 h 270"/>
                    <a:gd name="T8" fmla="*/ 2147483647 w 291"/>
                    <a:gd name="T9" fmla="*/ 2147483647 h 270"/>
                    <a:gd name="T10" fmla="*/ 2147483647 w 291"/>
                    <a:gd name="T11" fmla="*/ 2147483647 h 270"/>
                    <a:gd name="T12" fmla="*/ 2147483647 w 291"/>
                    <a:gd name="T13" fmla="*/ 2147483647 h 270"/>
                    <a:gd name="T14" fmla="*/ 2147483647 w 291"/>
                    <a:gd name="T15" fmla="*/ 2147483647 h 270"/>
                    <a:gd name="T16" fmla="*/ 2147483647 w 291"/>
                    <a:gd name="T17" fmla="*/ 2147483647 h 270"/>
                    <a:gd name="T18" fmla="*/ 2147483647 w 291"/>
                    <a:gd name="T19" fmla="*/ 2147483647 h 270"/>
                    <a:gd name="T20" fmla="*/ 2147483647 w 291"/>
                    <a:gd name="T21" fmla="*/ 2147483647 h 270"/>
                    <a:gd name="T22" fmla="*/ 2147483647 w 291"/>
                    <a:gd name="T23" fmla="*/ 2147483647 h 270"/>
                    <a:gd name="T24" fmla="*/ 2147483647 w 291"/>
                    <a:gd name="T25" fmla="*/ 2147483647 h 270"/>
                    <a:gd name="T26" fmla="*/ 2147483647 w 291"/>
                    <a:gd name="T27" fmla="*/ 2147483647 h 270"/>
                    <a:gd name="T28" fmla="*/ 2147483647 w 291"/>
                    <a:gd name="T29" fmla="*/ 2147483647 h 270"/>
                    <a:gd name="T30" fmla="*/ 2147483647 w 291"/>
                    <a:gd name="T31" fmla="*/ 2147483647 h 270"/>
                    <a:gd name="T32" fmla="*/ 2147483647 w 291"/>
                    <a:gd name="T33" fmla="*/ 2147483647 h 270"/>
                    <a:gd name="T34" fmla="*/ 2147483647 w 291"/>
                    <a:gd name="T35" fmla="*/ 2147483647 h 270"/>
                    <a:gd name="T36" fmla="*/ 2147483647 w 291"/>
                    <a:gd name="T37" fmla="*/ 2147483647 h 270"/>
                    <a:gd name="T38" fmla="*/ 2147483647 w 291"/>
                    <a:gd name="T39" fmla="*/ 2147483647 h 270"/>
                    <a:gd name="T40" fmla="*/ 2147483647 w 291"/>
                    <a:gd name="T41" fmla="*/ 2147483647 h 270"/>
                    <a:gd name="T42" fmla="*/ 2147483647 w 291"/>
                    <a:gd name="T43" fmla="*/ 2147483647 h 270"/>
                    <a:gd name="T44" fmla="*/ 2147483647 w 291"/>
                    <a:gd name="T45" fmla="*/ 2147483647 h 270"/>
                    <a:gd name="T46" fmla="*/ 2147483647 w 291"/>
                    <a:gd name="T47" fmla="*/ 2147483647 h 270"/>
                    <a:gd name="T48" fmla="*/ 2147483647 w 291"/>
                    <a:gd name="T49" fmla="*/ 2147483647 h 270"/>
                    <a:gd name="T50" fmla="*/ 2147483647 w 291"/>
                    <a:gd name="T51" fmla="*/ 2147483647 h 270"/>
                    <a:gd name="T52" fmla="*/ 2147483647 w 291"/>
                    <a:gd name="T53" fmla="*/ 2147483647 h 270"/>
                    <a:gd name="T54" fmla="*/ 2147483647 w 291"/>
                    <a:gd name="T55" fmla="*/ 2147483647 h 270"/>
                    <a:gd name="T56" fmla="*/ 2147483647 w 291"/>
                    <a:gd name="T57" fmla="*/ 2147483647 h 270"/>
                    <a:gd name="T58" fmla="*/ 2147483647 w 291"/>
                    <a:gd name="T59" fmla="*/ 2147483647 h 270"/>
                    <a:gd name="T60" fmla="*/ 2147483647 w 291"/>
                    <a:gd name="T61" fmla="*/ 2147483647 h 270"/>
                    <a:gd name="T62" fmla="*/ 2147483647 w 291"/>
                    <a:gd name="T63" fmla="*/ 2147483647 h 270"/>
                    <a:gd name="T64" fmla="*/ 2147483647 w 291"/>
                    <a:gd name="T65" fmla="*/ 2147483647 h 270"/>
                    <a:gd name="T66" fmla="*/ 2147483647 w 291"/>
                    <a:gd name="T67" fmla="*/ 2147483647 h 270"/>
                    <a:gd name="T68" fmla="*/ 2147483647 w 291"/>
                    <a:gd name="T69" fmla="*/ 2147483647 h 270"/>
                    <a:gd name="T70" fmla="*/ 2147483647 w 291"/>
                    <a:gd name="T71" fmla="*/ 2147483647 h 270"/>
                    <a:gd name="T72" fmla="*/ 2147483647 w 291"/>
                    <a:gd name="T73" fmla="*/ 2147483647 h 270"/>
                    <a:gd name="T74" fmla="*/ 2147483647 w 291"/>
                    <a:gd name="T75" fmla="*/ 2147483647 h 270"/>
                    <a:gd name="T76" fmla="*/ 2147483647 w 291"/>
                    <a:gd name="T77" fmla="*/ 2147483647 h 270"/>
                    <a:gd name="T78" fmla="*/ 2147483647 w 291"/>
                    <a:gd name="T79" fmla="*/ 2147483647 h 270"/>
                    <a:gd name="T80" fmla="*/ 2147483647 w 291"/>
                    <a:gd name="T81" fmla="*/ 2147483647 h 270"/>
                    <a:gd name="T82" fmla="*/ 2147483647 w 291"/>
                    <a:gd name="T83" fmla="*/ 2147483647 h 270"/>
                    <a:gd name="T84" fmla="*/ 2147483647 w 291"/>
                    <a:gd name="T85" fmla="*/ 2147483647 h 270"/>
                    <a:gd name="T86" fmla="*/ 2147483647 w 291"/>
                    <a:gd name="T87" fmla="*/ 2147483647 h 270"/>
                    <a:gd name="T88" fmla="*/ 2147483647 w 291"/>
                    <a:gd name="T89" fmla="*/ 2147483647 h 270"/>
                    <a:gd name="T90" fmla="*/ 2147483647 w 291"/>
                    <a:gd name="T91" fmla="*/ 2147483647 h 270"/>
                    <a:gd name="T92" fmla="*/ 2147483647 w 291"/>
                    <a:gd name="T93" fmla="*/ 2147483647 h 270"/>
                    <a:gd name="T94" fmla="*/ 2147483647 w 291"/>
                    <a:gd name="T95" fmla="*/ 2147483647 h 270"/>
                    <a:gd name="T96" fmla="*/ 2147483647 w 291"/>
                    <a:gd name="T97" fmla="*/ 2147483647 h 270"/>
                    <a:gd name="T98" fmla="*/ 2147483647 w 291"/>
                    <a:gd name="T99" fmla="*/ 2147483647 h 270"/>
                    <a:gd name="T100" fmla="*/ 2147483647 w 291"/>
                    <a:gd name="T101" fmla="*/ 2147483647 h 270"/>
                    <a:gd name="T102" fmla="*/ 2147483647 w 291"/>
                    <a:gd name="T103" fmla="*/ 2147483647 h 27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91"/>
                    <a:gd name="T157" fmla="*/ 0 h 270"/>
                    <a:gd name="T158" fmla="*/ 291 w 291"/>
                    <a:gd name="T159" fmla="*/ 270 h 27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91" h="270">
                      <a:moveTo>
                        <a:pt x="0" y="135"/>
                      </a:moveTo>
                      <a:lnTo>
                        <a:pt x="1" y="134"/>
                      </a:lnTo>
                      <a:lnTo>
                        <a:pt x="2" y="133"/>
                      </a:lnTo>
                      <a:lnTo>
                        <a:pt x="4" y="132"/>
                      </a:lnTo>
                      <a:lnTo>
                        <a:pt x="5" y="132"/>
                      </a:lnTo>
                      <a:lnTo>
                        <a:pt x="9" y="132"/>
                      </a:lnTo>
                      <a:lnTo>
                        <a:pt x="10" y="130"/>
                      </a:lnTo>
                      <a:lnTo>
                        <a:pt x="11" y="128"/>
                      </a:lnTo>
                      <a:lnTo>
                        <a:pt x="11" y="125"/>
                      </a:lnTo>
                      <a:lnTo>
                        <a:pt x="11" y="123"/>
                      </a:lnTo>
                      <a:lnTo>
                        <a:pt x="12" y="123"/>
                      </a:lnTo>
                      <a:lnTo>
                        <a:pt x="15" y="123"/>
                      </a:lnTo>
                      <a:lnTo>
                        <a:pt x="16" y="126"/>
                      </a:lnTo>
                      <a:lnTo>
                        <a:pt x="16" y="129"/>
                      </a:lnTo>
                      <a:lnTo>
                        <a:pt x="16" y="132"/>
                      </a:lnTo>
                      <a:lnTo>
                        <a:pt x="18" y="135"/>
                      </a:lnTo>
                      <a:lnTo>
                        <a:pt x="20" y="138"/>
                      </a:lnTo>
                      <a:lnTo>
                        <a:pt x="23" y="140"/>
                      </a:lnTo>
                      <a:lnTo>
                        <a:pt x="25" y="141"/>
                      </a:lnTo>
                      <a:lnTo>
                        <a:pt x="29" y="141"/>
                      </a:lnTo>
                      <a:lnTo>
                        <a:pt x="34" y="141"/>
                      </a:lnTo>
                      <a:lnTo>
                        <a:pt x="42" y="139"/>
                      </a:lnTo>
                      <a:lnTo>
                        <a:pt x="47" y="135"/>
                      </a:lnTo>
                      <a:lnTo>
                        <a:pt x="49" y="135"/>
                      </a:lnTo>
                      <a:lnTo>
                        <a:pt x="53" y="133"/>
                      </a:lnTo>
                      <a:lnTo>
                        <a:pt x="57" y="129"/>
                      </a:lnTo>
                      <a:lnTo>
                        <a:pt x="58" y="127"/>
                      </a:lnTo>
                      <a:lnTo>
                        <a:pt x="59" y="123"/>
                      </a:lnTo>
                      <a:lnTo>
                        <a:pt x="59" y="62"/>
                      </a:lnTo>
                      <a:lnTo>
                        <a:pt x="65" y="64"/>
                      </a:lnTo>
                      <a:lnTo>
                        <a:pt x="68" y="68"/>
                      </a:lnTo>
                      <a:lnTo>
                        <a:pt x="71" y="71"/>
                      </a:lnTo>
                      <a:lnTo>
                        <a:pt x="73" y="75"/>
                      </a:lnTo>
                      <a:lnTo>
                        <a:pt x="77" y="84"/>
                      </a:lnTo>
                      <a:lnTo>
                        <a:pt x="79" y="95"/>
                      </a:lnTo>
                      <a:lnTo>
                        <a:pt x="80" y="96"/>
                      </a:lnTo>
                      <a:lnTo>
                        <a:pt x="82" y="96"/>
                      </a:lnTo>
                      <a:lnTo>
                        <a:pt x="87" y="95"/>
                      </a:lnTo>
                      <a:lnTo>
                        <a:pt x="94" y="93"/>
                      </a:lnTo>
                      <a:lnTo>
                        <a:pt x="99" y="91"/>
                      </a:lnTo>
                      <a:lnTo>
                        <a:pt x="101" y="90"/>
                      </a:lnTo>
                      <a:lnTo>
                        <a:pt x="103" y="88"/>
                      </a:lnTo>
                      <a:lnTo>
                        <a:pt x="104" y="85"/>
                      </a:lnTo>
                      <a:lnTo>
                        <a:pt x="106" y="84"/>
                      </a:lnTo>
                      <a:lnTo>
                        <a:pt x="109" y="83"/>
                      </a:lnTo>
                      <a:lnTo>
                        <a:pt x="112" y="78"/>
                      </a:lnTo>
                      <a:lnTo>
                        <a:pt x="114" y="72"/>
                      </a:lnTo>
                      <a:lnTo>
                        <a:pt x="117" y="68"/>
                      </a:lnTo>
                      <a:lnTo>
                        <a:pt x="119" y="66"/>
                      </a:lnTo>
                      <a:lnTo>
                        <a:pt x="122" y="66"/>
                      </a:lnTo>
                      <a:lnTo>
                        <a:pt x="127" y="69"/>
                      </a:lnTo>
                      <a:lnTo>
                        <a:pt x="131" y="71"/>
                      </a:lnTo>
                      <a:lnTo>
                        <a:pt x="134" y="74"/>
                      </a:lnTo>
                      <a:lnTo>
                        <a:pt x="138" y="75"/>
                      </a:lnTo>
                      <a:lnTo>
                        <a:pt x="139" y="74"/>
                      </a:lnTo>
                      <a:lnTo>
                        <a:pt x="145" y="72"/>
                      </a:lnTo>
                      <a:lnTo>
                        <a:pt x="150" y="71"/>
                      </a:lnTo>
                      <a:lnTo>
                        <a:pt x="155" y="69"/>
                      </a:lnTo>
                      <a:lnTo>
                        <a:pt x="159" y="65"/>
                      </a:lnTo>
                      <a:lnTo>
                        <a:pt x="161" y="62"/>
                      </a:lnTo>
                      <a:lnTo>
                        <a:pt x="164" y="57"/>
                      </a:lnTo>
                      <a:lnTo>
                        <a:pt x="165" y="52"/>
                      </a:lnTo>
                      <a:lnTo>
                        <a:pt x="166" y="47"/>
                      </a:lnTo>
                      <a:lnTo>
                        <a:pt x="167" y="46"/>
                      </a:lnTo>
                      <a:lnTo>
                        <a:pt x="170" y="45"/>
                      </a:lnTo>
                      <a:lnTo>
                        <a:pt x="172" y="44"/>
                      </a:lnTo>
                      <a:lnTo>
                        <a:pt x="174" y="43"/>
                      </a:lnTo>
                      <a:lnTo>
                        <a:pt x="176" y="38"/>
                      </a:lnTo>
                      <a:lnTo>
                        <a:pt x="178" y="32"/>
                      </a:lnTo>
                      <a:lnTo>
                        <a:pt x="179" y="29"/>
                      </a:lnTo>
                      <a:lnTo>
                        <a:pt x="181" y="27"/>
                      </a:lnTo>
                      <a:lnTo>
                        <a:pt x="183" y="26"/>
                      </a:lnTo>
                      <a:lnTo>
                        <a:pt x="190" y="24"/>
                      </a:lnTo>
                      <a:lnTo>
                        <a:pt x="197" y="20"/>
                      </a:lnTo>
                      <a:lnTo>
                        <a:pt x="202" y="17"/>
                      </a:lnTo>
                      <a:lnTo>
                        <a:pt x="208" y="14"/>
                      </a:lnTo>
                      <a:lnTo>
                        <a:pt x="214" y="13"/>
                      </a:lnTo>
                      <a:lnTo>
                        <a:pt x="219" y="11"/>
                      </a:lnTo>
                      <a:lnTo>
                        <a:pt x="221" y="8"/>
                      </a:lnTo>
                      <a:lnTo>
                        <a:pt x="222" y="7"/>
                      </a:lnTo>
                      <a:lnTo>
                        <a:pt x="223" y="4"/>
                      </a:lnTo>
                      <a:lnTo>
                        <a:pt x="226" y="2"/>
                      </a:lnTo>
                      <a:lnTo>
                        <a:pt x="230" y="2"/>
                      </a:lnTo>
                      <a:lnTo>
                        <a:pt x="235" y="1"/>
                      </a:lnTo>
                      <a:lnTo>
                        <a:pt x="240" y="0"/>
                      </a:lnTo>
                      <a:lnTo>
                        <a:pt x="246" y="1"/>
                      </a:lnTo>
                      <a:lnTo>
                        <a:pt x="251" y="4"/>
                      </a:lnTo>
                      <a:lnTo>
                        <a:pt x="256" y="7"/>
                      </a:lnTo>
                      <a:lnTo>
                        <a:pt x="255" y="13"/>
                      </a:lnTo>
                      <a:lnTo>
                        <a:pt x="255" y="18"/>
                      </a:lnTo>
                      <a:lnTo>
                        <a:pt x="259" y="23"/>
                      </a:lnTo>
                      <a:lnTo>
                        <a:pt x="261" y="34"/>
                      </a:lnTo>
                      <a:lnTo>
                        <a:pt x="265" y="46"/>
                      </a:lnTo>
                      <a:lnTo>
                        <a:pt x="269" y="57"/>
                      </a:lnTo>
                      <a:lnTo>
                        <a:pt x="272" y="63"/>
                      </a:lnTo>
                      <a:lnTo>
                        <a:pt x="274" y="68"/>
                      </a:lnTo>
                      <a:lnTo>
                        <a:pt x="275" y="71"/>
                      </a:lnTo>
                      <a:lnTo>
                        <a:pt x="274" y="74"/>
                      </a:lnTo>
                      <a:lnTo>
                        <a:pt x="272" y="76"/>
                      </a:lnTo>
                      <a:lnTo>
                        <a:pt x="270" y="75"/>
                      </a:lnTo>
                      <a:lnTo>
                        <a:pt x="266" y="71"/>
                      </a:lnTo>
                      <a:lnTo>
                        <a:pt x="263" y="70"/>
                      </a:lnTo>
                      <a:lnTo>
                        <a:pt x="259" y="71"/>
                      </a:lnTo>
                      <a:lnTo>
                        <a:pt x="256" y="76"/>
                      </a:lnTo>
                      <a:lnTo>
                        <a:pt x="252" y="83"/>
                      </a:lnTo>
                      <a:lnTo>
                        <a:pt x="252" y="89"/>
                      </a:lnTo>
                      <a:lnTo>
                        <a:pt x="252" y="93"/>
                      </a:lnTo>
                      <a:lnTo>
                        <a:pt x="255" y="95"/>
                      </a:lnTo>
                      <a:lnTo>
                        <a:pt x="256" y="97"/>
                      </a:lnTo>
                      <a:lnTo>
                        <a:pt x="259" y="98"/>
                      </a:lnTo>
                      <a:lnTo>
                        <a:pt x="261" y="98"/>
                      </a:lnTo>
                      <a:lnTo>
                        <a:pt x="264" y="98"/>
                      </a:lnTo>
                      <a:lnTo>
                        <a:pt x="268" y="95"/>
                      </a:lnTo>
                      <a:lnTo>
                        <a:pt x="273" y="91"/>
                      </a:lnTo>
                      <a:lnTo>
                        <a:pt x="274" y="90"/>
                      </a:lnTo>
                      <a:lnTo>
                        <a:pt x="277" y="90"/>
                      </a:lnTo>
                      <a:lnTo>
                        <a:pt x="278" y="91"/>
                      </a:lnTo>
                      <a:lnTo>
                        <a:pt x="279" y="91"/>
                      </a:lnTo>
                      <a:lnTo>
                        <a:pt x="284" y="90"/>
                      </a:lnTo>
                      <a:lnTo>
                        <a:pt x="288" y="91"/>
                      </a:lnTo>
                      <a:lnTo>
                        <a:pt x="291" y="93"/>
                      </a:lnTo>
                      <a:lnTo>
                        <a:pt x="291" y="94"/>
                      </a:lnTo>
                      <a:lnTo>
                        <a:pt x="291" y="101"/>
                      </a:lnTo>
                      <a:lnTo>
                        <a:pt x="288" y="107"/>
                      </a:lnTo>
                      <a:lnTo>
                        <a:pt x="286" y="110"/>
                      </a:lnTo>
                      <a:lnTo>
                        <a:pt x="282" y="121"/>
                      </a:lnTo>
                      <a:lnTo>
                        <a:pt x="279" y="130"/>
                      </a:lnTo>
                      <a:lnTo>
                        <a:pt x="274" y="140"/>
                      </a:lnTo>
                      <a:lnTo>
                        <a:pt x="270" y="144"/>
                      </a:lnTo>
                      <a:lnTo>
                        <a:pt x="265" y="147"/>
                      </a:lnTo>
                      <a:lnTo>
                        <a:pt x="261" y="152"/>
                      </a:lnTo>
                      <a:lnTo>
                        <a:pt x="259" y="157"/>
                      </a:lnTo>
                      <a:lnTo>
                        <a:pt x="255" y="167"/>
                      </a:lnTo>
                      <a:lnTo>
                        <a:pt x="249" y="176"/>
                      </a:lnTo>
                      <a:lnTo>
                        <a:pt x="235" y="192"/>
                      </a:lnTo>
                      <a:lnTo>
                        <a:pt x="228" y="199"/>
                      </a:lnTo>
                      <a:lnTo>
                        <a:pt x="222" y="206"/>
                      </a:lnTo>
                      <a:lnTo>
                        <a:pt x="213" y="218"/>
                      </a:lnTo>
                      <a:lnTo>
                        <a:pt x="203" y="229"/>
                      </a:lnTo>
                      <a:lnTo>
                        <a:pt x="199" y="232"/>
                      </a:lnTo>
                      <a:lnTo>
                        <a:pt x="194" y="236"/>
                      </a:lnTo>
                      <a:lnTo>
                        <a:pt x="189" y="238"/>
                      </a:lnTo>
                      <a:lnTo>
                        <a:pt x="184" y="240"/>
                      </a:lnTo>
                      <a:lnTo>
                        <a:pt x="181" y="242"/>
                      </a:lnTo>
                      <a:lnTo>
                        <a:pt x="179" y="244"/>
                      </a:lnTo>
                      <a:lnTo>
                        <a:pt x="176" y="247"/>
                      </a:lnTo>
                      <a:lnTo>
                        <a:pt x="175" y="248"/>
                      </a:lnTo>
                      <a:lnTo>
                        <a:pt x="165" y="247"/>
                      </a:lnTo>
                      <a:lnTo>
                        <a:pt x="160" y="248"/>
                      </a:lnTo>
                      <a:lnTo>
                        <a:pt x="156" y="251"/>
                      </a:lnTo>
                      <a:lnTo>
                        <a:pt x="153" y="253"/>
                      </a:lnTo>
                      <a:lnTo>
                        <a:pt x="152" y="253"/>
                      </a:lnTo>
                      <a:lnTo>
                        <a:pt x="147" y="253"/>
                      </a:lnTo>
                      <a:lnTo>
                        <a:pt x="142" y="253"/>
                      </a:lnTo>
                      <a:lnTo>
                        <a:pt x="136" y="251"/>
                      </a:lnTo>
                      <a:lnTo>
                        <a:pt x="137" y="251"/>
                      </a:lnTo>
                      <a:lnTo>
                        <a:pt x="133" y="250"/>
                      </a:lnTo>
                      <a:lnTo>
                        <a:pt x="131" y="250"/>
                      </a:lnTo>
                      <a:lnTo>
                        <a:pt x="126" y="251"/>
                      </a:lnTo>
                      <a:lnTo>
                        <a:pt x="117" y="257"/>
                      </a:lnTo>
                      <a:lnTo>
                        <a:pt x="113" y="257"/>
                      </a:lnTo>
                      <a:lnTo>
                        <a:pt x="110" y="257"/>
                      </a:lnTo>
                      <a:lnTo>
                        <a:pt x="108" y="256"/>
                      </a:lnTo>
                      <a:lnTo>
                        <a:pt x="105" y="255"/>
                      </a:lnTo>
                      <a:lnTo>
                        <a:pt x="103" y="255"/>
                      </a:lnTo>
                      <a:lnTo>
                        <a:pt x="99" y="257"/>
                      </a:lnTo>
                      <a:lnTo>
                        <a:pt x="96" y="260"/>
                      </a:lnTo>
                      <a:lnTo>
                        <a:pt x="94" y="262"/>
                      </a:lnTo>
                      <a:lnTo>
                        <a:pt x="91" y="262"/>
                      </a:lnTo>
                      <a:lnTo>
                        <a:pt x="81" y="261"/>
                      </a:lnTo>
                      <a:lnTo>
                        <a:pt x="77" y="260"/>
                      </a:lnTo>
                      <a:lnTo>
                        <a:pt x="72" y="261"/>
                      </a:lnTo>
                      <a:lnTo>
                        <a:pt x="70" y="263"/>
                      </a:lnTo>
                      <a:lnTo>
                        <a:pt x="68" y="266"/>
                      </a:lnTo>
                      <a:lnTo>
                        <a:pt x="66" y="269"/>
                      </a:lnTo>
                      <a:lnTo>
                        <a:pt x="63" y="270"/>
                      </a:lnTo>
                      <a:lnTo>
                        <a:pt x="61" y="270"/>
                      </a:lnTo>
                      <a:lnTo>
                        <a:pt x="58" y="269"/>
                      </a:lnTo>
                      <a:lnTo>
                        <a:pt x="53" y="267"/>
                      </a:lnTo>
                      <a:lnTo>
                        <a:pt x="49" y="262"/>
                      </a:lnTo>
                      <a:lnTo>
                        <a:pt x="46" y="257"/>
                      </a:lnTo>
                      <a:lnTo>
                        <a:pt x="42" y="255"/>
                      </a:lnTo>
                      <a:lnTo>
                        <a:pt x="39" y="255"/>
                      </a:lnTo>
                      <a:lnTo>
                        <a:pt x="37" y="256"/>
                      </a:lnTo>
                      <a:lnTo>
                        <a:pt x="34" y="257"/>
                      </a:lnTo>
                      <a:lnTo>
                        <a:pt x="33" y="257"/>
                      </a:lnTo>
                      <a:lnTo>
                        <a:pt x="33" y="256"/>
                      </a:lnTo>
                      <a:lnTo>
                        <a:pt x="32" y="245"/>
                      </a:lnTo>
                      <a:lnTo>
                        <a:pt x="30" y="241"/>
                      </a:lnTo>
                      <a:lnTo>
                        <a:pt x="26" y="236"/>
                      </a:lnTo>
                      <a:lnTo>
                        <a:pt x="26" y="234"/>
                      </a:lnTo>
                      <a:lnTo>
                        <a:pt x="25" y="230"/>
                      </a:lnTo>
                      <a:lnTo>
                        <a:pt x="24" y="224"/>
                      </a:lnTo>
                      <a:lnTo>
                        <a:pt x="24" y="222"/>
                      </a:lnTo>
                      <a:lnTo>
                        <a:pt x="25" y="219"/>
                      </a:lnTo>
                      <a:lnTo>
                        <a:pt x="29" y="218"/>
                      </a:lnTo>
                      <a:lnTo>
                        <a:pt x="33" y="218"/>
                      </a:lnTo>
                      <a:lnTo>
                        <a:pt x="34" y="215"/>
                      </a:lnTo>
                      <a:lnTo>
                        <a:pt x="34" y="210"/>
                      </a:lnTo>
                      <a:lnTo>
                        <a:pt x="32" y="202"/>
                      </a:lnTo>
                      <a:lnTo>
                        <a:pt x="26" y="194"/>
                      </a:lnTo>
                      <a:lnTo>
                        <a:pt x="23" y="191"/>
                      </a:lnTo>
                      <a:lnTo>
                        <a:pt x="19" y="189"/>
                      </a:lnTo>
                      <a:lnTo>
                        <a:pt x="16" y="187"/>
                      </a:lnTo>
                      <a:lnTo>
                        <a:pt x="15" y="185"/>
                      </a:lnTo>
                      <a:lnTo>
                        <a:pt x="15" y="179"/>
                      </a:lnTo>
                      <a:lnTo>
                        <a:pt x="14" y="167"/>
                      </a:lnTo>
                      <a:lnTo>
                        <a:pt x="11" y="157"/>
                      </a:lnTo>
                      <a:lnTo>
                        <a:pt x="6" y="145"/>
                      </a:lnTo>
                      <a:lnTo>
                        <a:pt x="0" y="1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8" name="Freeform 728">
                  <a:extLst>
                    <a:ext uri="{FF2B5EF4-FFF2-40B4-BE49-F238E27FC236}">
                      <a16:creationId xmlns:a16="http://schemas.microsoft.com/office/drawing/2014/main" id="{A282B748-D301-054F-8BB6-FABB316A1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2220" y="5368657"/>
                  <a:ext cx="34038" cy="41436"/>
                </a:xfrm>
                <a:custGeom>
                  <a:avLst/>
                  <a:gdLst>
                    <a:gd name="T0" fmla="*/ 2147483647 w 25"/>
                    <a:gd name="T1" fmla="*/ 2147483647 h 28"/>
                    <a:gd name="T2" fmla="*/ 2147483647 w 25"/>
                    <a:gd name="T3" fmla="*/ 2147483647 h 28"/>
                    <a:gd name="T4" fmla="*/ 2147483647 w 25"/>
                    <a:gd name="T5" fmla="*/ 2147483647 h 28"/>
                    <a:gd name="T6" fmla="*/ 2147483647 w 25"/>
                    <a:gd name="T7" fmla="*/ 0 h 28"/>
                    <a:gd name="T8" fmla="*/ 2147483647 w 25"/>
                    <a:gd name="T9" fmla="*/ 2147483647 h 28"/>
                    <a:gd name="T10" fmla="*/ 2147483647 w 25"/>
                    <a:gd name="T11" fmla="*/ 2147483647 h 28"/>
                    <a:gd name="T12" fmla="*/ 0 w 25"/>
                    <a:gd name="T13" fmla="*/ 2147483647 h 28"/>
                    <a:gd name="T14" fmla="*/ 0 w 25"/>
                    <a:gd name="T15" fmla="*/ 2147483647 h 28"/>
                    <a:gd name="T16" fmla="*/ 0 w 25"/>
                    <a:gd name="T17" fmla="*/ 2147483647 h 28"/>
                    <a:gd name="T18" fmla="*/ 2147483647 w 25"/>
                    <a:gd name="T19" fmla="*/ 2147483647 h 28"/>
                    <a:gd name="T20" fmla="*/ 2147483647 w 25"/>
                    <a:gd name="T21" fmla="*/ 2147483647 h 28"/>
                    <a:gd name="T22" fmla="*/ 2147483647 w 25"/>
                    <a:gd name="T23" fmla="*/ 2147483647 h 28"/>
                    <a:gd name="T24" fmla="*/ 2147483647 w 25"/>
                    <a:gd name="T25" fmla="*/ 2147483647 h 28"/>
                    <a:gd name="T26" fmla="*/ 2147483647 w 25"/>
                    <a:gd name="T27" fmla="*/ 2147483647 h 28"/>
                    <a:gd name="T28" fmla="*/ 2147483647 w 25"/>
                    <a:gd name="T29" fmla="*/ 2147483647 h 28"/>
                    <a:gd name="T30" fmla="*/ 2147483647 w 25"/>
                    <a:gd name="T31" fmla="*/ 2147483647 h 28"/>
                    <a:gd name="T32" fmla="*/ 2147483647 w 25"/>
                    <a:gd name="T33" fmla="*/ 2147483647 h 28"/>
                    <a:gd name="T34" fmla="*/ 2147483647 w 25"/>
                    <a:gd name="T35" fmla="*/ 2147483647 h 28"/>
                    <a:gd name="T36" fmla="*/ 2147483647 w 25"/>
                    <a:gd name="T37" fmla="*/ 2147483647 h 28"/>
                    <a:gd name="T38" fmla="*/ 2147483647 w 25"/>
                    <a:gd name="T39" fmla="*/ 2147483647 h 28"/>
                    <a:gd name="T40" fmla="*/ 2147483647 w 25"/>
                    <a:gd name="T41" fmla="*/ 2147483647 h 2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5"/>
                    <a:gd name="T64" fmla="*/ 0 h 28"/>
                    <a:gd name="T65" fmla="*/ 25 w 25"/>
                    <a:gd name="T66" fmla="*/ 28 h 2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5" h="28">
                      <a:moveTo>
                        <a:pt x="20" y="6"/>
                      </a:moveTo>
                      <a:lnTo>
                        <a:pt x="18" y="5"/>
                      </a:lnTo>
                      <a:lnTo>
                        <a:pt x="14" y="1"/>
                      </a:lnTo>
                      <a:lnTo>
                        <a:pt x="11" y="0"/>
                      </a:lnTo>
                      <a:lnTo>
                        <a:pt x="7" y="1"/>
                      </a:lnTo>
                      <a:lnTo>
                        <a:pt x="4" y="6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3"/>
                      </a:lnTo>
                      <a:lnTo>
                        <a:pt x="3" y="25"/>
                      </a:lnTo>
                      <a:lnTo>
                        <a:pt x="4" y="27"/>
                      </a:lnTo>
                      <a:lnTo>
                        <a:pt x="7" y="28"/>
                      </a:lnTo>
                      <a:lnTo>
                        <a:pt x="9" y="28"/>
                      </a:lnTo>
                      <a:lnTo>
                        <a:pt x="12" y="28"/>
                      </a:lnTo>
                      <a:lnTo>
                        <a:pt x="16" y="25"/>
                      </a:lnTo>
                      <a:lnTo>
                        <a:pt x="21" y="21"/>
                      </a:lnTo>
                      <a:lnTo>
                        <a:pt x="22" y="20"/>
                      </a:lnTo>
                      <a:lnTo>
                        <a:pt x="25" y="20"/>
                      </a:lnTo>
                      <a:lnTo>
                        <a:pt x="23" y="13"/>
                      </a:lnTo>
                      <a:lnTo>
                        <a:pt x="22" y="9"/>
                      </a:lnTo>
                      <a:lnTo>
                        <a:pt x="2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9" name="Freeform 730">
                  <a:extLst>
                    <a:ext uri="{FF2B5EF4-FFF2-40B4-BE49-F238E27FC236}">
                      <a16:creationId xmlns:a16="http://schemas.microsoft.com/office/drawing/2014/main" id="{E9679103-16C2-A442-BB3F-2E233A46C5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0738" y="5367177"/>
                  <a:ext cx="32557" cy="41436"/>
                </a:xfrm>
                <a:custGeom>
                  <a:avLst/>
                  <a:gdLst>
                    <a:gd name="T0" fmla="*/ 2147483647 w 24"/>
                    <a:gd name="T1" fmla="*/ 2147483647 h 28"/>
                    <a:gd name="T2" fmla="*/ 2147483647 w 24"/>
                    <a:gd name="T3" fmla="*/ 2147483647 h 28"/>
                    <a:gd name="T4" fmla="*/ 2147483647 w 24"/>
                    <a:gd name="T5" fmla="*/ 2147483647 h 28"/>
                    <a:gd name="T6" fmla="*/ 2147483647 w 24"/>
                    <a:gd name="T7" fmla="*/ 2147483647 h 28"/>
                    <a:gd name="T8" fmla="*/ 2147483647 w 24"/>
                    <a:gd name="T9" fmla="*/ 2147483647 h 28"/>
                    <a:gd name="T10" fmla="*/ 2147483647 w 24"/>
                    <a:gd name="T11" fmla="*/ 0 h 28"/>
                    <a:gd name="T12" fmla="*/ 2147483647 w 24"/>
                    <a:gd name="T13" fmla="*/ 2147483647 h 28"/>
                    <a:gd name="T14" fmla="*/ 2147483647 w 24"/>
                    <a:gd name="T15" fmla="*/ 2147483647 h 28"/>
                    <a:gd name="T16" fmla="*/ 2147483647 w 24"/>
                    <a:gd name="T17" fmla="*/ 2147483647 h 28"/>
                    <a:gd name="T18" fmla="*/ 0 w 24"/>
                    <a:gd name="T19" fmla="*/ 2147483647 h 28"/>
                    <a:gd name="T20" fmla="*/ 0 w 24"/>
                    <a:gd name="T21" fmla="*/ 2147483647 h 28"/>
                    <a:gd name="T22" fmla="*/ 0 w 24"/>
                    <a:gd name="T23" fmla="*/ 2147483647 h 28"/>
                    <a:gd name="T24" fmla="*/ 2147483647 w 24"/>
                    <a:gd name="T25" fmla="*/ 2147483647 h 28"/>
                    <a:gd name="T26" fmla="*/ 2147483647 w 24"/>
                    <a:gd name="T27" fmla="*/ 2147483647 h 28"/>
                    <a:gd name="T28" fmla="*/ 2147483647 w 24"/>
                    <a:gd name="T29" fmla="*/ 2147483647 h 28"/>
                    <a:gd name="T30" fmla="*/ 2147483647 w 24"/>
                    <a:gd name="T31" fmla="*/ 2147483647 h 28"/>
                    <a:gd name="T32" fmla="*/ 2147483647 w 24"/>
                    <a:gd name="T33" fmla="*/ 2147483647 h 28"/>
                    <a:gd name="T34" fmla="*/ 2147483647 w 24"/>
                    <a:gd name="T35" fmla="*/ 2147483647 h 28"/>
                    <a:gd name="T36" fmla="*/ 2147483647 w 24"/>
                    <a:gd name="T37" fmla="*/ 2147483647 h 28"/>
                    <a:gd name="T38" fmla="*/ 2147483647 w 24"/>
                    <a:gd name="T39" fmla="*/ 2147483647 h 28"/>
                    <a:gd name="T40" fmla="*/ 2147483647 w 24"/>
                    <a:gd name="T41" fmla="*/ 2147483647 h 28"/>
                    <a:gd name="T42" fmla="*/ 2147483647 w 24"/>
                    <a:gd name="T43" fmla="*/ 2147483647 h 28"/>
                    <a:gd name="T44" fmla="*/ 2147483647 w 24"/>
                    <a:gd name="T45" fmla="*/ 2147483647 h 28"/>
                    <a:gd name="T46" fmla="*/ 2147483647 w 24"/>
                    <a:gd name="T47" fmla="*/ 2147483647 h 28"/>
                    <a:gd name="T48" fmla="*/ 2147483647 w 24"/>
                    <a:gd name="T49" fmla="*/ 2147483647 h 28"/>
                    <a:gd name="T50" fmla="*/ 2147483647 w 24"/>
                    <a:gd name="T51" fmla="*/ 2147483647 h 28"/>
                    <a:gd name="T52" fmla="*/ 2147483647 w 24"/>
                    <a:gd name="T53" fmla="*/ 2147483647 h 2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4"/>
                    <a:gd name="T82" fmla="*/ 0 h 28"/>
                    <a:gd name="T83" fmla="*/ 24 w 24"/>
                    <a:gd name="T84" fmla="*/ 28 h 2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4" h="28">
                      <a:moveTo>
                        <a:pt x="19" y="6"/>
                      </a:moveTo>
                      <a:lnTo>
                        <a:pt x="19" y="6"/>
                      </a:lnTo>
                      <a:lnTo>
                        <a:pt x="18" y="5"/>
                      </a:lnTo>
                      <a:lnTo>
                        <a:pt x="14" y="1"/>
                      </a:lnTo>
                      <a:lnTo>
                        <a:pt x="10" y="0"/>
                      </a:lnTo>
                      <a:lnTo>
                        <a:pt x="7" y="1"/>
                      </a:lnTo>
                      <a:lnTo>
                        <a:pt x="4" y="6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3" y="25"/>
                      </a:lnTo>
                      <a:lnTo>
                        <a:pt x="4" y="27"/>
                      </a:lnTo>
                      <a:lnTo>
                        <a:pt x="7" y="28"/>
                      </a:lnTo>
                      <a:lnTo>
                        <a:pt x="9" y="28"/>
                      </a:lnTo>
                      <a:lnTo>
                        <a:pt x="12" y="28"/>
                      </a:lnTo>
                      <a:lnTo>
                        <a:pt x="15" y="25"/>
                      </a:lnTo>
                      <a:lnTo>
                        <a:pt x="21" y="21"/>
                      </a:lnTo>
                      <a:lnTo>
                        <a:pt x="22" y="20"/>
                      </a:lnTo>
                      <a:lnTo>
                        <a:pt x="24" y="20"/>
                      </a:lnTo>
                      <a:lnTo>
                        <a:pt x="23" y="13"/>
                      </a:lnTo>
                      <a:lnTo>
                        <a:pt x="22" y="9"/>
                      </a:lnTo>
                      <a:lnTo>
                        <a:pt x="19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0" name="Freeform 731">
                  <a:extLst>
                    <a:ext uri="{FF2B5EF4-FFF2-40B4-BE49-F238E27FC236}">
                      <a16:creationId xmlns:a16="http://schemas.microsoft.com/office/drawing/2014/main" id="{9A24B9E9-83B7-5D44-90CC-28C607F879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1501" y="4918779"/>
                  <a:ext cx="254537" cy="479478"/>
                </a:xfrm>
                <a:custGeom>
                  <a:avLst/>
                  <a:gdLst>
                    <a:gd name="T0" fmla="*/ 2147483647 w 187"/>
                    <a:gd name="T1" fmla="*/ 2147483647 h 324"/>
                    <a:gd name="T2" fmla="*/ 2147483647 w 187"/>
                    <a:gd name="T3" fmla="*/ 2147483647 h 324"/>
                    <a:gd name="T4" fmla="*/ 2147483647 w 187"/>
                    <a:gd name="T5" fmla="*/ 2147483647 h 324"/>
                    <a:gd name="T6" fmla="*/ 2147483647 w 187"/>
                    <a:gd name="T7" fmla="*/ 2147483647 h 324"/>
                    <a:gd name="T8" fmla="*/ 2147483647 w 187"/>
                    <a:gd name="T9" fmla="*/ 2147483647 h 324"/>
                    <a:gd name="T10" fmla="*/ 2147483647 w 187"/>
                    <a:gd name="T11" fmla="*/ 2147483647 h 324"/>
                    <a:gd name="T12" fmla="*/ 2147483647 w 187"/>
                    <a:gd name="T13" fmla="*/ 2147483647 h 324"/>
                    <a:gd name="T14" fmla="*/ 2147483647 w 187"/>
                    <a:gd name="T15" fmla="*/ 2147483647 h 324"/>
                    <a:gd name="T16" fmla="*/ 2147483647 w 187"/>
                    <a:gd name="T17" fmla="*/ 2147483647 h 324"/>
                    <a:gd name="T18" fmla="*/ 2147483647 w 187"/>
                    <a:gd name="T19" fmla="*/ 2147483647 h 324"/>
                    <a:gd name="T20" fmla="*/ 0 w 187"/>
                    <a:gd name="T21" fmla="*/ 2147483647 h 324"/>
                    <a:gd name="T22" fmla="*/ 2147483647 w 187"/>
                    <a:gd name="T23" fmla="*/ 2147483647 h 324"/>
                    <a:gd name="T24" fmla="*/ 2147483647 w 187"/>
                    <a:gd name="T25" fmla="*/ 2147483647 h 324"/>
                    <a:gd name="T26" fmla="*/ 2147483647 w 187"/>
                    <a:gd name="T27" fmla="*/ 2147483647 h 324"/>
                    <a:gd name="T28" fmla="*/ 2147483647 w 187"/>
                    <a:gd name="T29" fmla="*/ 2147483647 h 324"/>
                    <a:gd name="T30" fmla="*/ 2147483647 w 187"/>
                    <a:gd name="T31" fmla="*/ 2147483647 h 324"/>
                    <a:gd name="T32" fmla="*/ 2147483647 w 187"/>
                    <a:gd name="T33" fmla="*/ 2147483647 h 324"/>
                    <a:gd name="T34" fmla="*/ 2147483647 w 187"/>
                    <a:gd name="T35" fmla="*/ 2147483647 h 324"/>
                    <a:gd name="T36" fmla="*/ 2147483647 w 187"/>
                    <a:gd name="T37" fmla="*/ 2147483647 h 324"/>
                    <a:gd name="T38" fmla="*/ 2147483647 w 187"/>
                    <a:gd name="T39" fmla="*/ 2147483647 h 324"/>
                    <a:gd name="T40" fmla="*/ 2147483647 w 187"/>
                    <a:gd name="T41" fmla="*/ 2147483647 h 324"/>
                    <a:gd name="T42" fmla="*/ 2147483647 w 187"/>
                    <a:gd name="T43" fmla="*/ 2147483647 h 324"/>
                    <a:gd name="T44" fmla="*/ 2147483647 w 187"/>
                    <a:gd name="T45" fmla="*/ 2147483647 h 324"/>
                    <a:gd name="T46" fmla="*/ 2147483647 w 187"/>
                    <a:gd name="T47" fmla="*/ 2147483647 h 324"/>
                    <a:gd name="T48" fmla="*/ 2147483647 w 187"/>
                    <a:gd name="T49" fmla="*/ 2147483647 h 324"/>
                    <a:gd name="T50" fmla="*/ 2147483647 w 187"/>
                    <a:gd name="T51" fmla="*/ 2147483647 h 324"/>
                    <a:gd name="T52" fmla="*/ 2147483647 w 187"/>
                    <a:gd name="T53" fmla="*/ 2147483647 h 324"/>
                    <a:gd name="T54" fmla="*/ 2147483647 w 187"/>
                    <a:gd name="T55" fmla="*/ 2147483647 h 324"/>
                    <a:gd name="T56" fmla="*/ 2147483647 w 187"/>
                    <a:gd name="T57" fmla="*/ 2147483647 h 324"/>
                    <a:gd name="T58" fmla="*/ 2147483647 w 187"/>
                    <a:gd name="T59" fmla="*/ 2147483647 h 324"/>
                    <a:gd name="T60" fmla="*/ 2147483647 w 187"/>
                    <a:gd name="T61" fmla="*/ 2147483647 h 324"/>
                    <a:gd name="T62" fmla="*/ 2147483647 w 187"/>
                    <a:gd name="T63" fmla="*/ 2147483647 h 324"/>
                    <a:gd name="T64" fmla="*/ 2147483647 w 187"/>
                    <a:gd name="T65" fmla="*/ 2147483647 h 324"/>
                    <a:gd name="T66" fmla="*/ 2147483647 w 187"/>
                    <a:gd name="T67" fmla="*/ 2147483647 h 324"/>
                    <a:gd name="T68" fmla="*/ 2147483647 w 187"/>
                    <a:gd name="T69" fmla="*/ 2147483647 h 324"/>
                    <a:gd name="T70" fmla="*/ 2147483647 w 187"/>
                    <a:gd name="T71" fmla="*/ 2147483647 h 324"/>
                    <a:gd name="T72" fmla="*/ 2147483647 w 187"/>
                    <a:gd name="T73" fmla="*/ 2147483647 h 324"/>
                    <a:gd name="T74" fmla="*/ 2147483647 w 187"/>
                    <a:gd name="T75" fmla="*/ 2147483647 h 324"/>
                    <a:gd name="T76" fmla="*/ 2147483647 w 187"/>
                    <a:gd name="T77" fmla="*/ 2147483647 h 324"/>
                    <a:gd name="T78" fmla="*/ 2147483647 w 187"/>
                    <a:gd name="T79" fmla="*/ 2147483647 h 324"/>
                    <a:gd name="T80" fmla="*/ 2147483647 w 187"/>
                    <a:gd name="T81" fmla="*/ 2147483647 h 324"/>
                    <a:gd name="T82" fmla="*/ 2147483647 w 187"/>
                    <a:gd name="T83" fmla="*/ 2147483647 h 324"/>
                    <a:gd name="T84" fmla="*/ 2147483647 w 187"/>
                    <a:gd name="T85" fmla="*/ 2147483647 h 324"/>
                    <a:gd name="T86" fmla="*/ 2147483647 w 187"/>
                    <a:gd name="T87" fmla="*/ 0 h 324"/>
                    <a:gd name="T88" fmla="*/ 2147483647 w 187"/>
                    <a:gd name="T89" fmla="*/ 2147483647 h 324"/>
                    <a:gd name="T90" fmla="*/ 2147483647 w 187"/>
                    <a:gd name="T91" fmla="*/ 2147483647 h 324"/>
                    <a:gd name="T92" fmla="*/ 2147483647 w 187"/>
                    <a:gd name="T93" fmla="*/ 2147483647 h 324"/>
                    <a:gd name="T94" fmla="*/ 2147483647 w 187"/>
                    <a:gd name="T95" fmla="*/ 2147483647 h 324"/>
                    <a:gd name="T96" fmla="*/ 2147483647 w 187"/>
                    <a:gd name="T97" fmla="*/ 2147483647 h 324"/>
                    <a:gd name="T98" fmla="*/ 2147483647 w 187"/>
                    <a:gd name="T99" fmla="*/ 2147483647 h 324"/>
                    <a:gd name="T100" fmla="*/ 2147483647 w 187"/>
                    <a:gd name="T101" fmla="*/ 2147483647 h 32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87"/>
                    <a:gd name="T154" fmla="*/ 0 h 324"/>
                    <a:gd name="T155" fmla="*/ 187 w 187"/>
                    <a:gd name="T156" fmla="*/ 324 h 32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87" h="324">
                      <a:moveTo>
                        <a:pt x="87" y="62"/>
                      </a:moveTo>
                      <a:lnTo>
                        <a:pt x="92" y="65"/>
                      </a:lnTo>
                      <a:lnTo>
                        <a:pt x="97" y="69"/>
                      </a:lnTo>
                      <a:lnTo>
                        <a:pt x="101" y="75"/>
                      </a:lnTo>
                      <a:lnTo>
                        <a:pt x="102" y="78"/>
                      </a:lnTo>
                      <a:lnTo>
                        <a:pt x="103" y="80"/>
                      </a:lnTo>
                      <a:lnTo>
                        <a:pt x="103" y="86"/>
                      </a:lnTo>
                      <a:lnTo>
                        <a:pt x="102" y="93"/>
                      </a:lnTo>
                      <a:lnTo>
                        <a:pt x="99" y="100"/>
                      </a:lnTo>
                      <a:lnTo>
                        <a:pt x="95" y="107"/>
                      </a:lnTo>
                      <a:lnTo>
                        <a:pt x="94" y="115"/>
                      </a:lnTo>
                      <a:lnTo>
                        <a:pt x="94" y="124"/>
                      </a:lnTo>
                      <a:lnTo>
                        <a:pt x="94" y="132"/>
                      </a:lnTo>
                      <a:lnTo>
                        <a:pt x="94" y="134"/>
                      </a:lnTo>
                      <a:lnTo>
                        <a:pt x="92" y="137"/>
                      </a:lnTo>
                      <a:lnTo>
                        <a:pt x="89" y="137"/>
                      </a:lnTo>
                      <a:lnTo>
                        <a:pt x="88" y="136"/>
                      </a:lnTo>
                      <a:lnTo>
                        <a:pt x="85" y="133"/>
                      </a:lnTo>
                      <a:lnTo>
                        <a:pt x="80" y="123"/>
                      </a:lnTo>
                      <a:lnTo>
                        <a:pt x="76" y="118"/>
                      </a:lnTo>
                      <a:lnTo>
                        <a:pt x="70" y="114"/>
                      </a:lnTo>
                      <a:lnTo>
                        <a:pt x="69" y="113"/>
                      </a:lnTo>
                      <a:lnTo>
                        <a:pt x="68" y="112"/>
                      </a:lnTo>
                      <a:lnTo>
                        <a:pt x="68" y="107"/>
                      </a:lnTo>
                      <a:lnTo>
                        <a:pt x="71" y="98"/>
                      </a:lnTo>
                      <a:lnTo>
                        <a:pt x="74" y="94"/>
                      </a:lnTo>
                      <a:lnTo>
                        <a:pt x="75" y="91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0" y="83"/>
                      </a:lnTo>
                      <a:lnTo>
                        <a:pt x="66" y="83"/>
                      </a:lnTo>
                      <a:lnTo>
                        <a:pt x="62" y="83"/>
                      </a:lnTo>
                      <a:lnTo>
                        <a:pt x="57" y="85"/>
                      </a:lnTo>
                      <a:lnTo>
                        <a:pt x="54" y="85"/>
                      </a:lnTo>
                      <a:lnTo>
                        <a:pt x="52" y="83"/>
                      </a:lnTo>
                      <a:lnTo>
                        <a:pt x="51" y="82"/>
                      </a:lnTo>
                      <a:lnTo>
                        <a:pt x="50" y="79"/>
                      </a:lnTo>
                      <a:lnTo>
                        <a:pt x="49" y="74"/>
                      </a:lnTo>
                      <a:lnTo>
                        <a:pt x="38" y="80"/>
                      </a:lnTo>
                      <a:lnTo>
                        <a:pt x="27" y="85"/>
                      </a:lnTo>
                      <a:lnTo>
                        <a:pt x="5" y="93"/>
                      </a:lnTo>
                      <a:lnTo>
                        <a:pt x="3" y="94"/>
                      </a:lnTo>
                      <a:lnTo>
                        <a:pt x="0" y="98"/>
                      </a:lnTo>
                      <a:lnTo>
                        <a:pt x="0" y="102"/>
                      </a:lnTo>
                      <a:lnTo>
                        <a:pt x="0" y="107"/>
                      </a:lnTo>
                      <a:lnTo>
                        <a:pt x="3" y="112"/>
                      </a:lnTo>
                      <a:lnTo>
                        <a:pt x="7" y="114"/>
                      </a:lnTo>
                      <a:lnTo>
                        <a:pt x="17" y="119"/>
                      </a:lnTo>
                      <a:lnTo>
                        <a:pt x="27" y="124"/>
                      </a:lnTo>
                      <a:lnTo>
                        <a:pt x="32" y="126"/>
                      </a:lnTo>
                      <a:lnTo>
                        <a:pt x="37" y="127"/>
                      </a:lnTo>
                      <a:lnTo>
                        <a:pt x="42" y="130"/>
                      </a:lnTo>
                      <a:lnTo>
                        <a:pt x="46" y="133"/>
                      </a:lnTo>
                      <a:lnTo>
                        <a:pt x="49" y="139"/>
                      </a:lnTo>
                      <a:lnTo>
                        <a:pt x="49" y="145"/>
                      </a:lnTo>
                      <a:lnTo>
                        <a:pt x="50" y="159"/>
                      </a:lnTo>
                      <a:lnTo>
                        <a:pt x="50" y="163"/>
                      </a:lnTo>
                      <a:lnTo>
                        <a:pt x="47" y="166"/>
                      </a:lnTo>
                      <a:lnTo>
                        <a:pt x="45" y="169"/>
                      </a:lnTo>
                      <a:lnTo>
                        <a:pt x="43" y="172"/>
                      </a:lnTo>
                      <a:lnTo>
                        <a:pt x="42" y="176"/>
                      </a:lnTo>
                      <a:lnTo>
                        <a:pt x="42" y="180"/>
                      </a:lnTo>
                      <a:lnTo>
                        <a:pt x="43" y="185"/>
                      </a:lnTo>
                      <a:lnTo>
                        <a:pt x="47" y="193"/>
                      </a:lnTo>
                      <a:lnTo>
                        <a:pt x="50" y="200"/>
                      </a:lnTo>
                      <a:lnTo>
                        <a:pt x="51" y="207"/>
                      </a:lnTo>
                      <a:lnTo>
                        <a:pt x="50" y="212"/>
                      </a:lnTo>
                      <a:lnTo>
                        <a:pt x="49" y="217"/>
                      </a:lnTo>
                      <a:lnTo>
                        <a:pt x="45" y="221"/>
                      </a:lnTo>
                      <a:lnTo>
                        <a:pt x="35" y="229"/>
                      </a:lnTo>
                      <a:lnTo>
                        <a:pt x="24" y="236"/>
                      </a:lnTo>
                      <a:lnTo>
                        <a:pt x="21" y="239"/>
                      </a:lnTo>
                      <a:lnTo>
                        <a:pt x="19" y="240"/>
                      </a:lnTo>
                      <a:lnTo>
                        <a:pt x="19" y="241"/>
                      </a:lnTo>
                      <a:lnTo>
                        <a:pt x="18" y="247"/>
                      </a:lnTo>
                      <a:lnTo>
                        <a:pt x="18" y="252"/>
                      </a:lnTo>
                      <a:lnTo>
                        <a:pt x="22" y="257"/>
                      </a:lnTo>
                      <a:lnTo>
                        <a:pt x="24" y="268"/>
                      </a:lnTo>
                      <a:lnTo>
                        <a:pt x="28" y="280"/>
                      </a:lnTo>
                      <a:lnTo>
                        <a:pt x="32" y="291"/>
                      </a:lnTo>
                      <a:lnTo>
                        <a:pt x="35" y="297"/>
                      </a:lnTo>
                      <a:lnTo>
                        <a:pt x="37" y="302"/>
                      </a:lnTo>
                      <a:lnTo>
                        <a:pt x="38" y="305"/>
                      </a:lnTo>
                      <a:lnTo>
                        <a:pt x="37" y="308"/>
                      </a:lnTo>
                      <a:lnTo>
                        <a:pt x="35" y="310"/>
                      </a:lnTo>
                      <a:lnTo>
                        <a:pt x="37" y="313"/>
                      </a:lnTo>
                      <a:lnTo>
                        <a:pt x="38" y="317"/>
                      </a:lnTo>
                      <a:lnTo>
                        <a:pt x="40" y="324"/>
                      </a:lnTo>
                      <a:lnTo>
                        <a:pt x="41" y="316"/>
                      </a:lnTo>
                      <a:lnTo>
                        <a:pt x="43" y="309"/>
                      </a:lnTo>
                      <a:lnTo>
                        <a:pt x="49" y="304"/>
                      </a:lnTo>
                      <a:lnTo>
                        <a:pt x="54" y="300"/>
                      </a:lnTo>
                      <a:lnTo>
                        <a:pt x="59" y="298"/>
                      </a:lnTo>
                      <a:lnTo>
                        <a:pt x="65" y="297"/>
                      </a:lnTo>
                      <a:lnTo>
                        <a:pt x="71" y="296"/>
                      </a:lnTo>
                      <a:lnTo>
                        <a:pt x="80" y="292"/>
                      </a:lnTo>
                      <a:lnTo>
                        <a:pt x="85" y="291"/>
                      </a:lnTo>
                      <a:lnTo>
                        <a:pt x="89" y="289"/>
                      </a:lnTo>
                      <a:lnTo>
                        <a:pt x="93" y="286"/>
                      </a:lnTo>
                      <a:lnTo>
                        <a:pt x="95" y="284"/>
                      </a:lnTo>
                      <a:lnTo>
                        <a:pt x="97" y="281"/>
                      </a:lnTo>
                      <a:lnTo>
                        <a:pt x="97" y="279"/>
                      </a:lnTo>
                      <a:lnTo>
                        <a:pt x="94" y="276"/>
                      </a:lnTo>
                      <a:lnTo>
                        <a:pt x="93" y="273"/>
                      </a:lnTo>
                      <a:lnTo>
                        <a:pt x="92" y="271"/>
                      </a:lnTo>
                      <a:lnTo>
                        <a:pt x="94" y="267"/>
                      </a:lnTo>
                      <a:lnTo>
                        <a:pt x="95" y="265"/>
                      </a:lnTo>
                      <a:lnTo>
                        <a:pt x="98" y="263"/>
                      </a:lnTo>
                      <a:lnTo>
                        <a:pt x="98" y="259"/>
                      </a:lnTo>
                      <a:lnTo>
                        <a:pt x="95" y="249"/>
                      </a:lnTo>
                      <a:lnTo>
                        <a:pt x="94" y="240"/>
                      </a:lnTo>
                      <a:lnTo>
                        <a:pt x="93" y="236"/>
                      </a:lnTo>
                      <a:lnTo>
                        <a:pt x="92" y="234"/>
                      </a:lnTo>
                      <a:lnTo>
                        <a:pt x="90" y="232"/>
                      </a:lnTo>
                      <a:lnTo>
                        <a:pt x="89" y="228"/>
                      </a:lnTo>
                      <a:lnTo>
                        <a:pt x="89" y="223"/>
                      </a:lnTo>
                      <a:lnTo>
                        <a:pt x="90" y="217"/>
                      </a:lnTo>
                      <a:lnTo>
                        <a:pt x="90" y="215"/>
                      </a:lnTo>
                      <a:lnTo>
                        <a:pt x="90" y="213"/>
                      </a:lnTo>
                      <a:lnTo>
                        <a:pt x="87" y="210"/>
                      </a:lnTo>
                      <a:lnTo>
                        <a:pt x="84" y="208"/>
                      </a:lnTo>
                      <a:lnTo>
                        <a:pt x="83" y="207"/>
                      </a:lnTo>
                      <a:lnTo>
                        <a:pt x="82" y="204"/>
                      </a:lnTo>
                      <a:lnTo>
                        <a:pt x="82" y="203"/>
                      </a:lnTo>
                      <a:lnTo>
                        <a:pt x="80" y="201"/>
                      </a:lnTo>
                      <a:lnTo>
                        <a:pt x="75" y="197"/>
                      </a:lnTo>
                      <a:lnTo>
                        <a:pt x="74" y="195"/>
                      </a:lnTo>
                      <a:lnTo>
                        <a:pt x="74" y="193"/>
                      </a:lnTo>
                      <a:lnTo>
                        <a:pt x="76" y="184"/>
                      </a:lnTo>
                      <a:lnTo>
                        <a:pt x="78" y="183"/>
                      </a:lnTo>
                      <a:lnTo>
                        <a:pt x="80" y="183"/>
                      </a:lnTo>
                      <a:lnTo>
                        <a:pt x="84" y="183"/>
                      </a:lnTo>
                      <a:lnTo>
                        <a:pt x="90" y="182"/>
                      </a:lnTo>
                      <a:lnTo>
                        <a:pt x="94" y="181"/>
                      </a:lnTo>
                      <a:lnTo>
                        <a:pt x="102" y="172"/>
                      </a:lnTo>
                      <a:lnTo>
                        <a:pt x="103" y="171"/>
                      </a:lnTo>
                      <a:lnTo>
                        <a:pt x="106" y="170"/>
                      </a:lnTo>
                      <a:lnTo>
                        <a:pt x="108" y="170"/>
                      </a:lnTo>
                      <a:lnTo>
                        <a:pt x="111" y="172"/>
                      </a:lnTo>
                      <a:lnTo>
                        <a:pt x="113" y="171"/>
                      </a:lnTo>
                      <a:lnTo>
                        <a:pt x="115" y="169"/>
                      </a:lnTo>
                      <a:lnTo>
                        <a:pt x="117" y="165"/>
                      </a:lnTo>
                      <a:lnTo>
                        <a:pt x="121" y="161"/>
                      </a:lnTo>
                      <a:lnTo>
                        <a:pt x="122" y="157"/>
                      </a:lnTo>
                      <a:lnTo>
                        <a:pt x="123" y="155"/>
                      </a:lnTo>
                      <a:lnTo>
                        <a:pt x="122" y="152"/>
                      </a:lnTo>
                      <a:lnTo>
                        <a:pt x="122" y="150"/>
                      </a:lnTo>
                      <a:lnTo>
                        <a:pt x="125" y="148"/>
                      </a:lnTo>
                      <a:lnTo>
                        <a:pt x="127" y="146"/>
                      </a:lnTo>
                      <a:lnTo>
                        <a:pt x="129" y="146"/>
                      </a:lnTo>
                      <a:lnTo>
                        <a:pt x="134" y="146"/>
                      </a:lnTo>
                      <a:lnTo>
                        <a:pt x="136" y="146"/>
                      </a:lnTo>
                      <a:lnTo>
                        <a:pt x="139" y="145"/>
                      </a:lnTo>
                      <a:lnTo>
                        <a:pt x="149" y="138"/>
                      </a:lnTo>
                      <a:lnTo>
                        <a:pt x="155" y="136"/>
                      </a:lnTo>
                      <a:lnTo>
                        <a:pt x="162" y="133"/>
                      </a:lnTo>
                      <a:lnTo>
                        <a:pt x="165" y="131"/>
                      </a:lnTo>
                      <a:lnTo>
                        <a:pt x="167" y="127"/>
                      </a:lnTo>
                      <a:lnTo>
                        <a:pt x="170" y="119"/>
                      </a:lnTo>
                      <a:lnTo>
                        <a:pt x="174" y="113"/>
                      </a:lnTo>
                      <a:lnTo>
                        <a:pt x="178" y="107"/>
                      </a:lnTo>
                      <a:lnTo>
                        <a:pt x="187" y="95"/>
                      </a:lnTo>
                      <a:lnTo>
                        <a:pt x="187" y="93"/>
                      </a:lnTo>
                      <a:lnTo>
                        <a:pt x="187" y="92"/>
                      </a:lnTo>
                      <a:lnTo>
                        <a:pt x="186" y="89"/>
                      </a:lnTo>
                      <a:lnTo>
                        <a:pt x="186" y="87"/>
                      </a:lnTo>
                      <a:lnTo>
                        <a:pt x="186" y="70"/>
                      </a:lnTo>
                      <a:lnTo>
                        <a:pt x="184" y="62"/>
                      </a:lnTo>
                      <a:lnTo>
                        <a:pt x="183" y="54"/>
                      </a:lnTo>
                      <a:lnTo>
                        <a:pt x="181" y="46"/>
                      </a:lnTo>
                      <a:lnTo>
                        <a:pt x="181" y="35"/>
                      </a:lnTo>
                      <a:lnTo>
                        <a:pt x="182" y="14"/>
                      </a:lnTo>
                      <a:lnTo>
                        <a:pt x="183" y="9"/>
                      </a:lnTo>
                      <a:lnTo>
                        <a:pt x="183" y="6"/>
                      </a:lnTo>
                      <a:lnTo>
                        <a:pt x="182" y="4"/>
                      </a:lnTo>
                      <a:lnTo>
                        <a:pt x="177" y="0"/>
                      </a:lnTo>
                      <a:lnTo>
                        <a:pt x="173" y="5"/>
                      </a:lnTo>
                      <a:lnTo>
                        <a:pt x="172" y="8"/>
                      </a:lnTo>
                      <a:lnTo>
                        <a:pt x="169" y="9"/>
                      </a:lnTo>
                      <a:lnTo>
                        <a:pt x="163" y="11"/>
                      </a:lnTo>
                      <a:lnTo>
                        <a:pt x="158" y="15"/>
                      </a:lnTo>
                      <a:lnTo>
                        <a:pt x="153" y="18"/>
                      </a:lnTo>
                      <a:lnTo>
                        <a:pt x="148" y="22"/>
                      </a:lnTo>
                      <a:lnTo>
                        <a:pt x="145" y="23"/>
                      </a:lnTo>
                      <a:lnTo>
                        <a:pt x="142" y="23"/>
                      </a:lnTo>
                      <a:lnTo>
                        <a:pt x="139" y="21"/>
                      </a:lnTo>
                      <a:lnTo>
                        <a:pt x="136" y="18"/>
                      </a:lnTo>
                      <a:lnTo>
                        <a:pt x="135" y="17"/>
                      </a:lnTo>
                      <a:lnTo>
                        <a:pt x="132" y="17"/>
                      </a:lnTo>
                      <a:lnTo>
                        <a:pt x="120" y="23"/>
                      </a:lnTo>
                      <a:lnTo>
                        <a:pt x="112" y="25"/>
                      </a:lnTo>
                      <a:lnTo>
                        <a:pt x="104" y="25"/>
                      </a:lnTo>
                      <a:lnTo>
                        <a:pt x="98" y="24"/>
                      </a:lnTo>
                      <a:lnTo>
                        <a:pt x="92" y="24"/>
                      </a:lnTo>
                      <a:lnTo>
                        <a:pt x="87" y="25"/>
                      </a:lnTo>
                      <a:lnTo>
                        <a:pt x="82" y="28"/>
                      </a:lnTo>
                      <a:lnTo>
                        <a:pt x="78" y="30"/>
                      </a:lnTo>
                      <a:lnTo>
                        <a:pt x="76" y="35"/>
                      </a:lnTo>
                      <a:lnTo>
                        <a:pt x="75" y="41"/>
                      </a:lnTo>
                      <a:lnTo>
                        <a:pt x="76" y="47"/>
                      </a:lnTo>
                      <a:lnTo>
                        <a:pt x="78" y="51"/>
                      </a:lnTo>
                      <a:lnTo>
                        <a:pt x="79" y="55"/>
                      </a:lnTo>
                      <a:lnTo>
                        <a:pt x="80" y="59"/>
                      </a:lnTo>
                      <a:lnTo>
                        <a:pt x="80" y="61"/>
                      </a:lnTo>
                      <a:lnTo>
                        <a:pt x="87" y="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1" name="Freeform 732">
                  <a:extLst>
                    <a:ext uri="{FF2B5EF4-FFF2-40B4-BE49-F238E27FC236}">
                      <a16:creationId xmlns:a16="http://schemas.microsoft.com/office/drawing/2014/main" id="{02ABA774-4BDE-0F4F-9F5D-E7DD2BFB53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7323" y="5142237"/>
                  <a:ext cx="229380" cy="264897"/>
                </a:xfrm>
                <a:custGeom>
                  <a:avLst/>
                  <a:gdLst>
                    <a:gd name="T0" fmla="*/ 2147483647 w 167"/>
                    <a:gd name="T1" fmla="*/ 2147483647 h 179"/>
                    <a:gd name="T2" fmla="*/ 2147483647 w 167"/>
                    <a:gd name="T3" fmla="*/ 2147483647 h 179"/>
                    <a:gd name="T4" fmla="*/ 2147483647 w 167"/>
                    <a:gd name="T5" fmla="*/ 2147483647 h 179"/>
                    <a:gd name="T6" fmla="*/ 2147483647 w 167"/>
                    <a:gd name="T7" fmla="*/ 2147483647 h 179"/>
                    <a:gd name="T8" fmla="*/ 2147483647 w 167"/>
                    <a:gd name="T9" fmla="*/ 2147483647 h 179"/>
                    <a:gd name="T10" fmla="*/ 2147483647 w 167"/>
                    <a:gd name="T11" fmla="*/ 2147483647 h 179"/>
                    <a:gd name="T12" fmla="*/ 2147483647 w 167"/>
                    <a:gd name="T13" fmla="*/ 2147483647 h 179"/>
                    <a:gd name="T14" fmla="*/ 2147483647 w 167"/>
                    <a:gd name="T15" fmla="*/ 2147483647 h 179"/>
                    <a:gd name="T16" fmla="*/ 2147483647 w 167"/>
                    <a:gd name="T17" fmla="*/ 2147483647 h 179"/>
                    <a:gd name="T18" fmla="*/ 2147483647 w 167"/>
                    <a:gd name="T19" fmla="*/ 2147483647 h 179"/>
                    <a:gd name="T20" fmla="*/ 2147483647 w 167"/>
                    <a:gd name="T21" fmla="*/ 2147483647 h 179"/>
                    <a:gd name="T22" fmla="*/ 2147483647 w 167"/>
                    <a:gd name="T23" fmla="*/ 2147483647 h 179"/>
                    <a:gd name="T24" fmla="*/ 2147483647 w 167"/>
                    <a:gd name="T25" fmla="*/ 2147483647 h 179"/>
                    <a:gd name="T26" fmla="*/ 2147483647 w 167"/>
                    <a:gd name="T27" fmla="*/ 2147483647 h 179"/>
                    <a:gd name="T28" fmla="*/ 2147483647 w 167"/>
                    <a:gd name="T29" fmla="*/ 2147483647 h 179"/>
                    <a:gd name="T30" fmla="*/ 2147483647 w 167"/>
                    <a:gd name="T31" fmla="*/ 2147483647 h 179"/>
                    <a:gd name="T32" fmla="*/ 2147483647 w 167"/>
                    <a:gd name="T33" fmla="*/ 2147483647 h 179"/>
                    <a:gd name="T34" fmla="*/ 2147483647 w 167"/>
                    <a:gd name="T35" fmla="*/ 2147483647 h 179"/>
                    <a:gd name="T36" fmla="*/ 2147483647 w 167"/>
                    <a:gd name="T37" fmla="*/ 2147483647 h 179"/>
                    <a:gd name="T38" fmla="*/ 2147483647 w 167"/>
                    <a:gd name="T39" fmla="*/ 2147483647 h 179"/>
                    <a:gd name="T40" fmla="*/ 2147483647 w 167"/>
                    <a:gd name="T41" fmla="*/ 2147483647 h 179"/>
                    <a:gd name="T42" fmla="*/ 2147483647 w 167"/>
                    <a:gd name="T43" fmla="*/ 2147483647 h 179"/>
                    <a:gd name="T44" fmla="*/ 2147483647 w 167"/>
                    <a:gd name="T45" fmla="*/ 2147483647 h 179"/>
                    <a:gd name="T46" fmla="*/ 2147483647 w 167"/>
                    <a:gd name="T47" fmla="*/ 2147483647 h 179"/>
                    <a:gd name="T48" fmla="*/ 2147483647 w 167"/>
                    <a:gd name="T49" fmla="*/ 2147483647 h 179"/>
                    <a:gd name="T50" fmla="*/ 2147483647 w 167"/>
                    <a:gd name="T51" fmla="*/ 2147483647 h 179"/>
                    <a:gd name="T52" fmla="*/ 0 w 167"/>
                    <a:gd name="T53" fmla="*/ 2147483647 h 179"/>
                    <a:gd name="T54" fmla="*/ 2147483647 w 167"/>
                    <a:gd name="T55" fmla="*/ 2147483647 h 179"/>
                    <a:gd name="T56" fmla="*/ 2147483647 w 167"/>
                    <a:gd name="T57" fmla="*/ 2147483647 h 179"/>
                    <a:gd name="T58" fmla="*/ 2147483647 w 167"/>
                    <a:gd name="T59" fmla="*/ 2147483647 h 179"/>
                    <a:gd name="T60" fmla="*/ 2147483647 w 167"/>
                    <a:gd name="T61" fmla="*/ 2147483647 h 179"/>
                    <a:gd name="T62" fmla="*/ 2147483647 w 167"/>
                    <a:gd name="T63" fmla="*/ 0 h 179"/>
                    <a:gd name="T64" fmla="*/ 2147483647 w 167"/>
                    <a:gd name="T65" fmla="*/ 2147483647 h 179"/>
                    <a:gd name="T66" fmla="*/ 2147483647 w 167"/>
                    <a:gd name="T67" fmla="*/ 2147483647 h 179"/>
                    <a:gd name="T68" fmla="*/ 2147483647 w 167"/>
                    <a:gd name="T69" fmla="*/ 2147483647 h 179"/>
                    <a:gd name="T70" fmla="*/ 2147483647 w 167"/>
                    <a:gd name="T71" fmla="*/ 2147483647 h 179"/>
                    <a:gd name="T72" fmla="*/ 2147483647 w 167"/>
                    <a:gd name="T73" fmla="*/ 2147483647 h 179"/>
                    <a:gd name="T74" fmla="*/ 2147483647 w 167"/>
                    <a:gd name="T75" fmla="*/ 2147483647 h 179"/>
                    <a:gd name="T76" fmla="*/ 2147483647 w 167"/>
                    <a:gd name="T77" fmla="*/ 2147483647 h 179"/>
                    <a:gd name="T78" fmla="*/ 2147483647 w 167"/>
                    <a:gd name="T79" fmla="*/ 2147483647 h 179"/>
                    <a:gd name="T80" fmla="*/ 2147483647 w 167"/>
                    <a:gd name="T81" fmla="*/ 2147483647 h 179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67"/>
                    <a:gd name="T124" fmla="*/ 0 h 179"/>
                    <a:gd name="T125" fmla="*/ 167 w 167"/>
                    <a:gd name="T126" fmla="*/ 179 h 179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67" h="179">
                      <a:moveTo>
                        <a:pt x="167" y="85"/>
                      </a:moveTo>
                      <a:lnTo>
                        <a:pt x="164" y="87"/>
                      </a:lnTo>
                      <a:lnTo>
                        <a:pt x="163" y="90"/>
                      </a:lnTo>
                      <a:lnTo>
                        <a:pt x="162" y="91"/>
                      </a:lnTo>
                      <a:lnTo>
                        <a:pt x="160" y="94"/>
                      </a:lnTo>
                      <a:lnTo>
                        <a:pt x="155" y="96"/>
                      </a:lnTo>
                      <a:lnTo>
                        <a:pt x="149" y="97"/>
                      </a:lnTo>
                      <a:lnTo>
                        <a:pt x="143" y="100"/>
                      </a:lnTo>
                      <a:lnTo>
                        <a:pt x="138" y="103"/>
                      </a:lnTo>
                      <a:lnTo>
                        <a:pt x="131" y="107"/>
                      </a:lnTo>
                      <a:lnTo>
                        <a:pt x="124" y="109"/>
                      </a:lnTo>
                      <a:lnTo>
                        <a:pt x="122" y="110"/>
                      </a:lnTo>
                      <a:lnTo>
                        <a:pt x="120" y="112"/>
                      </a:lnTo>
                      <a:lnTo>
                        <a:pt x="119" y="115"/>
                      </a:lnTo>
                      <a:lnTo>
                        <a:pt x="117" y="121"/>
                      </a:lnTo>
                      <a:lnTo>
                        <a:pt x="115" y="126"/>
                      </a:lnTo>
                      <a:lnTo>
                        <a:pt x="113" y="127"/>
                      </a:lnTo>
                      <a:lnTo>
                        <a:pt x="111" y="128"/>
                      </a:lnTo>
                      <a:lnTo>
                        <a:pt x="108" y="129"/>
                      </a:lnTo>
                      <a:lnTo>
                        <a:pt x="107" y="130"/>
                      </a:lnTo>
                      <a:lnTo>
                        <a:pt x="106" y="135"/>
                      </a:lnTo>
                      <a:lnTo>
                        <a:pt x="105" y="140"/>
                      </a:lnTo>
                      <a:lnTo>
                        <a:pt x="102" y="145"/>
                      </a:lnTo>
                      <a:lnTo>
                        <a:pt x="100" y="148"/>
                      </a:lnTo>
                      <a:lnTo>
                        <a:pt x="96" y="152"/>
                      </a:lnTo>
                      <a:lnTo>
                        <a:pt x="91" y="154"/>
                      </a:lnTo>
                      <a:lnTo>
                        <a:pt x="86" y="155"/>
                      </a:lnTo>
                      <a:lnTo>
                        <a:pt x="80" y="157"/>
                      </a:lnTo>
                      <a:lnTo>
                        <a:pt x="79" y="158"/>
                      </a:lnTo>
                      <a:lnTo>
                        <a:pt x="75" y="157"/>
                      </a:lnTo>
                      <a:lnTo>
                        <a:pt x="72" y="154"/>
                      </a:lnTo>
                      <a:lnTo>
                        <a:pt x="68" y="152"/>
                      </a:lnTo>
                      <a:lnTo>
                        <a:pt x="63" y="149"/>
                      </a:lnTo>
                      <a:lnTo>
                        <a:pt x="60" y="149"/>
                      </a:lnTo>
                      <a:lnTo>
                        <a:pt x="58" y="151"/>
                      </a:lnTo>
                      <a:lnTo>
                        <a:pt x="55" y="155"/>
                      </a:lnTo>
                      <a:lnTo>
                        <a:pt x="53" y="161"/>
                      </a:lnTo>
                      <a:lnTo>
                        <a:pt x="50" y="166"/>
                      </a:lnTo>
                      <a:lnTo>
                        <a:pt x="47" y="167"/>
                      </a:lnTo>
                      <a:lnTo>
                        <a:pt x="45" y="168"/>
                      </a:lnTo>
                      <a:lnTo>
                        <a:pt x="44" y="171"/>
                      </a:lnTo>
                      <a:lnTo>
                        <a:pt x="42" y="173"/>
                      </a:lnTo>
                      <a:lnTo>
                        <a:pt x="40" y="174"/>
                      </a:lnTo>
                      <a:lnTo>
                        <a:pt x="35" y="176"/>
                      </a:lnTo>
                      <a:lnTo>
                        <a:pt x="28" y="178"/>
                      </a:lnTo>
                      <a:lnTo>
                        <a:pt x="23" y="179"/>
                      </a:lnTo>
                      <a:lnTo>
                        <a:pt x="21" y="179"/>
                      </a:lnTo>
                      <a:lnTo>
                        <a:pt x="20" y="178"/>
                      </a:lnTo>
                      <a:lnTo>
                        <a:pt x="18" y="167"/>
                      </a:lnTo>
                      <a:lnTo>
                        <a:pt x="14" y="158"/>
                      </a:lnTo>
                      <a:lnTo>
                        <a:pt x="12" y="154"/>
                      </a:lnTo>
                      <a:lnTo>
                        <a:pt x="9" y="151"/>
                      </a:lnTo>
                      <a:lnTo>
                        <a:pt x="6" y="147"/>
                      </a:lnTo>
                      <a:lnTo>
                        <a:pt x="0" y="145"/>
                      </a:lnTo>
                      <a:lnTo>
                        <a:pt x="0" y="79"/>
                      </a:lnTo>
                      <a:lnTo>
                        <a:pt x="21" y="79"/>
                      </a:lnTo>
                      <a:lnTo>
                        <a:pt x="22" y="11"/>
                      </a:lnTo>
                      <a:lnTo>
                        <a:pt x="61" y="4"/>
                      </a:lnTo>
                      <a:lnTo>
                        <a:pt x="65" y="7"/>
                      </a:lnTo>
                      <a:lnTo>
                        <a:pt x="68" y="8"/>
                      </a:lnTo>
                      <a:lnTo>
                        <a:pt x="69" y="8"/>
                      </a:lnTo>
                      <a:lnTo>
                        <a:pt x="75" y="6"/>
                      </a:lnTo>
                      <a:lnTo>
                        <a:pt x="82" y="4"/>
                      </a:lnTo>
                      <a:lnTo>
                        <a:pt x="94" y="0"/>
                      </a:lnTo>
                      <a:lnTo>
                        <a:pt x="97" y="1"/>
                      </a:lnTo>
                      <a:lnTo>
                        <a:pt x="100" y="4"/>
                      </a:lnTo>
                      <a:lnTo>
                        <a:pt x="103" y="8"/>
                      </a:lnTo>
                      <a:lnTo>
                        <a:pt x="110" y="19"/>
                      </a:lnTo>
                      <a:lnTo>
                        <a:pt x="116" y="29"/>
                      </a:lnTo>
                      <a:lnTo>
                        <a:pt x="120" y="32"/>
                      </a:lnTo>
                      <a:lnTo>
                        <a:pt x="124" y="36"/>
                      </a:lnTo>
                      <a:lnTo>
                        <a:pt x="129" y="39"/>
                      </a:lnTo>
                      <a:lnTo>
                        <a:pt x="135" y="40"/>
                      </a:lnTo>
                      <a:lnTo>
                        <a:pt x="139" y="43"/>
                      </a:lnTo>
                      <a:lnTo>
                        <a:pt x="141" y="46"/>
                      </a:lnTo>
                      <a:lnTo>
                        <a:pt x="143" y="57"/>
                      </a:lnTo>
                      <a:lnTo>
                        <a:pt x="145" y="68"/>
                      </a:lnTo>
                      <a:lnTo>
                        <a:pt x="147" y="71"/>
                      </a:lnTo>
                      <a:lnTo>
                        <a:pt x="149" y="75"/>
                      </a:lnTo>
                      <a:lnTo>
                        <a:pt x="153" y="77"/>
                      </a:lnTo>
                      <a:lnTo>
                        <a:pt x="158" y="78"/>
                      </a:lnTo>
                      <a:lnTo>
                        <a:pt x="167" y="8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2" name="Freeform 734">
                  <a:extLst>
                    <a:ext uri="{FF2B5EF4-FFF2-40B4-BE49-F238E27FC236}">
                      <a16:creationId xmlns:a16="http://schemas.microsoft.com/office/drawing/2014/main" id="{D2405025-8F02-3B47-B279-A1EB18F3F8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5840" y="5140759"/>
                  <a:ext cx="229381" cy="264898"/>
                </a:xfrm>
                <a:custGeom>
                  <a:avLst/>
                  <a:gdLst>
                    <a:gd name="T0" fmla="*/ 2147483647 w 167"/>
                    <a:gd name="T1" fmla="*/ 2147483647 h 179"/>
                    <a:gd name="T2" fmla="*/ 2147483647 w 167"/>
                    <a:gd name="T3" fmla="*/ 2147483647 h 179"/>
                    <a:gd name="T4" fmla="*/ 2147483647 w 167"/>
                    <a:gd name="T5" fmla="*/ 2147483647 h 179"/>
                    <a:gd name="T6" fmla="*/ 2147483647 w 167"/>
                    <a:gd name="T7" fmla="*/ 2147483647 h 179"/>
                    <a:gd name="T8" fmla="*/ 2147483647 w 167"/>
                    <a:gd name="T9" fmla="*/ 2147483647 h 179"/>
                    <a:gd name="T10" fmla="*/ 2147483647 w 167"/>
                    <a:gd name="T11" fmla="*/ 2147483647 h 179"/>
                    <a:gd name="T12" fmla="*/ 2147483647 w 167"/>
                    <a:gd name="T13" fmla="*/ 2147483647 h 179"/>
                    <a:gd name="T14" fmla="*/ 2147483647 w 167"/>
                    <a:gd name="T15" fmla="*/ 2147483647 h 179"/>
                    <a:gd name="T16" fmla="*/ 2147483647 w 167"/>
                    <a:gd name="T17" fmla="*/ 2147483647 h 179"/>
                    <a:gd name="T18" fmla="*/ 2147483647 w 167"/>
                    <a:gd name="T19" fmla="*/ 2147483647 h 179"/>
                    <a:gd name="T20" fmla="*/ 2147483647 w 167"/>
                    <a:gd name="T21" fmla="*/ 2147483647 h 179"/>
                    <a:gd name="T22" fmla="*/ 2147483647 w 167"/>
                    <a:gd name="T23" fmla="*/ 2147483647 h 179"/>
                    <a:gd name="T24" fmla="*/ 2147483647 w 167"/>
                    <a:gd name="T25" fmla="*/ 2147483647 h 179"/>
                    <a:gd name="T26" fmla="*/ 2147483647 w 167"/>
                    <a:gd name="T27" fmla="*/ 2147483647 h 179"/>
                    <a:gd name="T28" fmla="*/ 2147483647 w 167"/>
                    <a:gd name="T29" fmla="*/ 2147483647 h 179"/>
                    <a:gd name="T30" fmla="*/ 2147483647 w 167"/>
                    <a:gd name="T31" fmla="*/ 2147483647 h 179"/>
                    <a:gd name="T32" fmla="*/ 2147483647 w 167"/>
                    <a:gd name="T33" fmla="*/ 2147483647 h 179"/>
                    <a:gd name="T34" fmla="*/ 2147483647 w 167"/>
                    <a:gd name="T35" fmla="*/ 2147483647 h 179"/>
                    <a:gd name="T36" fmla="*/ 2147483647 w 167"/>
                    <a:gd name="T37" fmla="*/ 2147483647 h 179"/>
                    <a:gd name="T38" fmla="*/ 2147483647 w 167"/>
                    <a:gd name="T39" fmla="*/ 2147483647 h 179"/>
                    <a:gd name="T40" fmla="*/ 2147483647 w 167"/>
                    <a:gd name="T41" fmla="*/ 2147483647 h 179"/>
                    <a:gd name="T42" fmla="*/ 2147483647 w 167"/>
                    <a:gd name="T43" fmla="*/ 2147483647 h 179"/>
                    <a:gd name="T44" fmla="*/ 2147483647 w 167"/>
                    <a:gd name="T45" fmla="*/ 2147483647 h 179"/>
                    <a:gd name="T46" fmla="*/ 2147483647 w 167"/>
                    <a:gd name="T47" fmla="*/ 2147483647 h 179"/>
                    <a:gd name="T48" fmla="*/ 2147483647 w 167"/>
                    <a:gd name="T49" fmla="*/ 2147483647 h 179"/>
                    <a:gd name="T50" fmla="*/ 2147483647 w 167"/>
                    <a:gd name="T51" fmla="*/ 2147483647 h 179"/>
                    <a:gd name="T52" fmla="*/ 2147483647 w 167"/>
                    <a:gd name="T53" fmla="*/ 2147483647 h 179"/>
                    <a:gd name="T54" fmla="*/ 2147483647 w 167"/>
                    <a:gd name="T55" fmla="*/ 2147483647 h 179"/>
                    <a:gd name="T56" fmla="*/ 2147483647 w 167"/>
                    <a:gd name="T57" fmla="*/ 2147483647 h 179"/>
                    <a:gd name="T58" fmla="*/ 2147483647 w 167"/>
                    <a:gd name="T59" fmla="*/ 2147483647 h 179"/>
                    <a:gd name="T60" fmla="*/ 2147483647 w 167"/>
                    <a:gd name="T61" fmla="*/ 2147483647 h 179"/>
                    <a:gd name="T62" fmla="*/ 2147483647 w 167"/>
                    <a:gd name="T63" fmla="*/ 2147483647 h 179"/>
                    <a:gd name="T64" fmla="*/ 2147483647 w 167"/>
                    <a:gd name="T65" fmla="*/ 2147483647 h 179"/>
                    <a:gd name="T66" fmla="*/ 0 w 167"/>
                    <a:gd name="T67" fmla="*/ 2147483647 h 179"/>
                    <a:gd name="T68" fmla="*/ 2147483647 w 167"/>
                    <a:gd name="T69" fmla="*/ 2147483647 h 179"/>
                    <a:gd name="T70" fmla="*/ 2147483647 w 167"/>
                    <a:gd name="T71" fmla="*/ 2147483647 h 179"/>
                    <a:gd name="T72" fmla="*/ 2147483647 w 167"/>
                    <a:gd name="T73" fmla="*/ 2147483647 h 179"/>
                    <a:gd name="T74" fmla="*/ 2147483647 w 167"/>
                    <a:gd name="T75" fmla="*/ 2147483647 h 179"/>
                    <a:gd name="T76" fmla="*/ 2147483647 w 167"/>
                    <a:gd name="T77" fmla="*/ 2147483647 h 179"/>
                    <a:gd name="T78" fmla="*/ 2147483647 w 167"/>
                    <a:gd name="T79" fmla="*/ 0 h 179"/>
                    <a:gd name="T80" fmla="*/ 2147483647 w 167"/>
                    <a:gd name="T81" fmla="*/ 2147483647 h 179"/>
                    <a:gd name="T82" fmla="*/ 2147483647 w 167"/>
                    <a:gd name="T83" fmla="*/ 2147483647 h 179"/>
                    <a:gd name="T84" fmla="*/ 2147483647 w 167"/>
                    <a:gd name="T85" fmla="*/ 2147483647 h 179"/>
                    <a:gd name="T86" fmla="*/ 2147483647 w 167"/>
                    <a:gd name="T87" fmla="*/ 2147483647 h 179"/>
                    <a:gd name="T88" fmla="*/ 2147483647 w 167"/>
                    <a:gd name="T89" fmla="*/ 2147483647 h 179"/>
                    <a:gd name="T90" fmla="*/ 2147483647 w 167"/>
                    <a:gd name="T91" fmla="*/ 2147483647 h 179"/>
                    <a:gd name="T92" fmla="*/ 2147483647 w 167"/>
                    <a:gd name="T93" fmla="*/ 2147483647 h 179"/>
                    <a:gd name="T94" fmla="*/ 2147483647 w 167"/>
                    <a:gd name="T95" fmla="*/ 2147483647 h 179"/>
                    <a:gd name="T96" fmla="*/ 2147483647 w 167"/>
                    <a:gd name="T97" fmla="*/ 2147483647 h 179"/>
                    <a:gd name="T98" fmla="*/ 2147483647 w 167"/>
                    <a:gd name="T99" fmla="*/ 2147483647 h 179"/>
                    <a:gd name="T100" fmla="*/ 2147483647 w 167"/>
                    <a:gd name="T101" fmla="*/ 2147483647 h 17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7"/>
                    <a:gd name="T154" fmla="*/ 0 h 179"/>
                    <a:gd name="T155" fmla="*/ 167 w 167"/>
                    <a:gd name="T156" fmla="*/ 179 h 179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7" h="179">
                      <a:moveTo>
                        <a:pt x="167" y="85"/>
                      </a:moveTo>
                      <a:lnTo>
                        <a:pt x="167" y="85"/>
                      </a:lnTo>
                      <a:lnTo>
                        <a:pt x="164" y="86"/>
                      </a:lnTo>
                      <a:lnTo>
                        <a:pt x="163" y="90"/>
                      </a:lnTo>
                      <a:lnTo>
                        <a:pt x="161" y="91"/>
                      </a:lnTo>
                      <a:lnTo>
                        <a:pt x="160" y="94"/>
                      </a:lnTo>
                      <a:lnTo>
                        <a:pt x="155" y="96"/>
                      </a:lnTo>
                      <a:lnTo>
                        <a:pt x="149" y="97"/>
                      </a:lnTo>
                      <a:lnTo>
                        <a:pt x="142" y="99"/>
                      </a:lnTo>
                      <a:lnTo>
                        <a:pt x="137" y="103"/>
                      </a:lnTo>
                      <a:lnTo>
                        <a:pt x="131" y="107"/>
                      </a:lnTo>
                      <a:lnTo>
                        <a:pt x="123" y="109"/>
                      </a:lnTo>
                      <a:lnTo>
                        <a:pt x="122" y="110"/>
                      </a:lnTo>
                      <a:lnTo>
                        <a:pt x="120" y="111"/>
                      </a:lnTo>
                      <a:lnTo>
                        <a:pt x="118" y="115"/>
                      </a:lnTo>
                      <a:lnTo>
                        <a:pt x="117" y="121"/>
                      </a:lnTo>
                      <a:lnTo>
                        <a:pt x="114" y="126"/>
                      </a:lnTo>
                      <a:lnTo>
                        <a:pt x="113" y="127"/>
                      </a:lnTo>
                      <a:lnTo>
                        <a:pt x="111" y="128"/>
                      </a:lnTo>
                      <a:lnTo>
                        <a:pt x="108" y="129"/>
                      </a:lnTo>
                      <a:lnTo>
                        <a:pt x="107" y="130"/>
                      </a:lnTo>
                      <a:lnTo>
                        <a:pt x="106" y="135"/>
                      </a:lnTo>
                      <a:lnTo>
                        <a:pt x="104" y="140"/>
                      </a:lnTo>
                      <a:lnTo>
                        <a:pt x="102" y="145"/>
                      </a:lnTo>
                      <a:lnTo>
                        <a:pt x="99" y="148"/>
                      </a:lnTo>
                      <a:lnTo>
                        <a:pt x="95" y="152"/>
                      </a:lnTo>
                      <a:lnTo>
                        <a:pt x="90" y="154"/>
                      </a:lnTo>
                      <a:lnTo>
                        <a:pt x="85" y="155"/>
                      </a:lnTo>
                      <a:lnTo>
                        <a:pt x="80" y="156"/>
                      </a:lnTo>
                      <a:lnTo>
                        <a:pt x="79" y="158"/>
                      </a:lnTo>
                      <a:lnTo>
                        <a:pt x="75" y="156"/>
                      </a:lnTo>
                      <a:lnTo>
                        <a:pt x="71" y="154"/>
                      </a:lnTo>
                      <a:lnTo>
                        <a:pt x="68" y="152"/>
                      </a:lnTo>
                      <a:lnTo>
                        <a:pt x="62" y="149"/>
                      </a:lnTo>
                      <a:lnTo>
                        <a:pt x="60" y="149"/>
                      </a:lnTo>
                      <a:lnTo>
                        <a:pt x="57" y="150"/>
                      </a:lnTo>
                      <a:lnTo>
                        <a:pt x="55" y="155"/>
                      </a:lnTo>
                      <a:lnTo>
                        <a:pt x="52" y="161"/>
                      </a:lnTo>
                      <a:lnTo>
                        <a:pt x="50" y="166"/>
                      </a:lnTo>
                      <a:lnTo>
                        <a:pt x="47" y="167"/>
                      </a:lnTo>
                      <a:lnTo>
                        <a:pt x="45" y="168"/>
                      </a:lnTo>
                      <a:lnTo>
                        <a:pt x="43" y="171"/>
                      </a:lnTo>
                      <a:lnTo>
                        <a:pt x="42" y="173"/>
                      </a:lnTo>
                      <a:lnTo>
                        <a:pt x="40" y="174"/>
                      </a:lnTo>
                      <a:lnTo>
                        <a:pt x="34" y="175"/>
                      </a:lnTo>
                      <a:lnTo>
                        <a:pt x="28" y="178"/>
                      </a:lnTo>
                      <a:lnTo>
                        <a:pt x="23" y="179"/>
                      </a:lnTo>
                      <a:lnTo>
                        <a:pt x="21" y="179"/>
                      </a:lnTo>
                      <a:lnTo>
                        <a:pt x="19" y="178"/>
                      </a:lnTo>
                      <a:lnTo>
                        <a:pt x="18" y="167"/>
                      </a:lnTo>
                      <a:lnTo>
                        <a:pt x="14" y="158"/>
                      </a:lnTo>
                      <a:lnTo>
                        <a:pt x="12" y="154"/>
                      </a:lnTo>
                      <a:lnTo>
                        <a:pt x="9" y="150"/>
                      </a:lnTo>
                      <a:lnTo>
                        <a:pt x="5" y="147"/>
                      </a:lnTo>
                      <a:lnTo>
                        <a:pt x="0" y="145"/>
                      </a:lnTo>
                      <a:lnTo>
                        <a:pt x="0" y="79"/>
                      </a:lnTo>
                      <a:lnTo>
                        <a:pt x="21" y="79"/>
                      </a:lnTo>
                      <a:lnTo>
                        <a:pt x="22" y="11"/>
                      </a:lnTo>
                      <a:lnTo>
                        <a:pt x="61" y="3"/>
                      </a:lnTo>
                      <a:lnTo>
                        <a:pt x="65" y="7"/>
                      </a:lnTo>
                      <a:lnTo>
                        <a:pt x="68" y="8"/>
                      </a:lnTo>
                      <a:lnTo>
                        <a:pt x="69" y="8"/>
                      </a:lnTo>
                      <a:lnTo>
                        <a:pt x="75" y="6"/>
                      </a:lnTo>
                      <a:lnTo>
                        <a:pt x="81" y="3"/>
                      </a:lnTo>
                      <a:lnTo>
                        <a:pt x="94" y="0"/>
                      </a:lnTo>
                      <a:lnTo>
                        <a:pt x="97" y="1"/>
                      </a:lnTo>
                      <a:lnTo>
                        <a:pt x="99" y="3"/>
                      </a:lnTo>
                      <a:lnTo>
                        <a:pt x="103" y="8"/>
                      </a:lnTo>
                      <a:lnTo>
                        <a:pt x="109" y="19"/>
                      </a:lnTo>
                      <a:lnTo>
                        <a:pt x="116" y="28"/>
                      </a:lnTo>
                      <a:lnTo>
                        <a:pt x="120" y="32"/>
                      </a:lnTo>
                      <a:lnTo>
                        <a:pt x="123" y="35"/>
                      </a:lnTo>
                      <a:lnTo>
                        <a:pt x="128" y="39"/>
                      </a:lnTo>
                      <a:lnTo>
                        <a:pt x="135" y="40"/>
                      </a:lnTo>
                      <a:lnTo>
                        <a:pt x="139" y="43"/>
                      </a:lnTo>
                      <a:lnTo>
                        <a:pt x="141" y="46"/>
                      </a:lnTo>
                      <a:lnTo>
                        <a:pt x="142" y="57"/>
                      </a:lnTo>
                      <a:lnTo>
                        <a:pt x="145" y="67"/>
                      </a:lnTo>
                      <a:lnTo>
                        <a:pt x="146" y="71"/>
                      </a:lnTo>
                      <a:lnTo>
                        <a:pt x="149" y="75"/>
                      </a:lnTo>
                      <a:lnTo>
                        <a:pt x="153" y="77"/>
                      </a:lnTo>
                      <a:lnTo>
                        <a:pt x="158" y="78"/>
                      </a:lnTo>
                      <a:lnTo>
                        <a:pt x="167" y="8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3" name="Freeform 735">
                  <a:extLst>
                    <a:ext uri="{FF2B5EF4-FFF2-40B4-BE49-F238E27FC236}">
                      <a16:creationId xmlns:a16="http://schemas.microsoft.com/office/drawing/2014/main" id="{4F98EB7B-8825-D641-98C3-055B95FBBF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6068" y="5075646"/>
                  <a:ext cx="184984" cy="199783"/>
                </a:xfrm>
                <a:custGeom>
                  <a:avLst/>
                  <a:gdLst>
                    <a:gd name="T0" fmla="*/ 2147483647 w 135"/>
                    <a:gd name="T1" fmla="*/ 2147483647 h 135"/>
                    <a:gd name="T2" fmla="*/ 2147483647 w 135"/>
                    <a:gd name="T3" fmla="*/ 2147483647 h 135"/>
                    <a:gd name="T4" fmla="*/ 2147483647 w 135"/>
                    <a:gd name="T5" fmla="*/ 2147483647 h 135"/>
                    <a:gd name="T6" fmla="*/ 2147483647 w 135"/>
                    <a:gd name="T7" fmla="*/ 2147483647 h 135"/>
                    <a:gd name="T8" fmla="*/ 2147483647 w 135"/>
                    <a:gd name="T9" fmla="*/ 2147483647 h 135"/>
                    <a:gd name="T10" fmla="*/ 2147483647 w 135"/>
                    <a:gd name="T11" fmla="*/ 2147483647 h 135"/>
                    <a:gd name="T12" fmla="*/ 2147483647 w 135"/>
                    <a:gd name="T13" fmla="*/ 2147483647 h 135"/>
                    <a:gd name="T14" fmla="*/ 2147483647 w 135"/>
                    <a:gd name="T15" fmla="*/ 2147483647 h 135"/>
                    <a:gd name="T16" fmla="*/ 2147483647 w 135"/>
                    <a:gd name="T17" fmla="*/ 2147483647 h 135"/>
                    <a:gd name="T18" fmla="*/ 2147483647 w 135"/>
                    <a:gd name="T19" fmla="*/ 2147483647 h 135"/>
                    <a:gd name="T20" fmla="*/ 2147483647 w 135"/>
                    <a:gd name="T21" fmla="*/ 2147483647 h 135"/>
                    <a:gd name="T22" fmla="*/ 2147483647 w 135"/>
                    <a:gd name="T23" fmla="*/ 2147483647 h 135"/>
                    <a:gd name="T24" fmla="*/ 2147483647 w 135"/>
                    <a:gd name="T25" fmla="*/ 2147483647 h 135"/>
                    <a:gd name="T26" fmla="*/ 2147483647 w 135"/>
                    <a:gd name="T27" fmla="*/ 2147483647 h 135"/>
                    <a:gd name="T28" fmla="*/ 2147483647 w 135"/>
                    <a:gd name="T29" fmla="*/ 2147483647 h 135"/>
                    <a:gd name="T30" fmla="*/ 2147483647 w 135"/>
                    <a:gd name="T31" fmla="*/ 2147483647 h 135"/>
                    <a:gd name="T32" fmla="*/ 2147483647 w 135"/>
                    <a:gd name="T33" fmla="*/ 2147483647 h 135"/>
                    <a:gd name="T34" fmla="*/ 2147483647 w 135"/>
                    <a:gd name="T35" fmla="*/ 2147483647 h 135"/>
                    <a:gd name="T36" fmla="*/ 2147483647 w 135"/>
                    <a:gd name="T37" fmla="*/ 2147483647 h 135"/>
                    <a:gd name="T38" fmla="*/ 2147483647 w 135"/>
                    <a:gd name="T39" fmla="*/ 2147483647 h 135"/>
                    <a:gd name="T40" fmla="*/ 2147483647 w 135"/>
                    <a:gd name="T41" fmla="*/ 2147483647 h 135"/>
                    <a:gd name="T42" fmla="*/ 2147483647 w 135"/>
                    <a:gd name="T43" fmla="*/ 0 h 135"/>
                    <a:gd name="T44" fmla="*/ 2147483647 w 135"/>
                    <a:gd name="T45" fmla="*/ 2147483647 h 135"/>
                    <a:gd name="T46" fmla="*/ 2147483647 w 135"/>
                    <a:gd name="T47" fmla="*/ 2147483647 h 135"/>
                    <a:gd name="T48" fmla="*/ 2147483647 w 135"/>
                    <a:gd name="T49" fmla="*/ 2147483647 h 135"/>
                    <a:gd name="T50" fmla="*/ 2147483647 w 135"/>
                    <a:gd name="T51" fmla="*/ 2147483647 h 135"/>
                    <a:gd name="T52" fmla="*/ 2147483647 w 135"/>
                    <a:gd name="T53" fmla="*/ 2147483647 h 135"/>
                    <a:gd name="T54" fmla="*/ 2147483647 w 135"/>
                    <a:gd name="T55" fmla="*/ 2147483647 h 135"/>
                    <a:gd name="T56" fmla="*/ 2147483647 w 135"/>
                    <a:gd name="T57" fmla="*/ 2147483647 h 135"/>
                    <a:gd name="T58" fmla="*/ 2147483647 w 135"/>
                    <a:gd name="T59" fmla="*/ 2147483647 h 135"/>
                    <a:gd name="T60" fmla="*/ 2147483647 w 135"/>
                    <a:gd name="T61" fmla="*/ 2147483647 h 135"/>
                    <a:gd name="T62" fmla="*/ 2147483647 w 135"/>
                    <a:gd name="T63" fmla="*/ 2147483647 h 135"/>
                    <a:gd name="T64" fmla="*/ 2147483647 w 135"/>
                    <a:gd name="T65" fmla="*/ 2147483647 h 135"/>
                    <a:gd name="T66" fmla="*/ 2147483647 w 135"/>
                    <a:gd name="T67" fmla="*/ 2147483647 h 135"/>
                    <a:gd name="T68" fmla="*/ 2147483647 w 135"/>
                    <a:gd name="T69" fmla="*/ 2147483647 h 135"/>
                    <a:gd name="T70" fmla="*/ 2147483647 w 135"/>
                    <a:gd name="T71" fmla="*/ 2147483647 h 135"/>
                    <a:gd name="T72" fmla="*/ 2147483647 w 135"/>
                    <a:gd name="T73" fmla="*/ 2147483647 h 135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35"/>
                    <a:gd name="T112" fmla="*/ 0 h 135"/>
                    <a:gd name="T113" fmla="*/ 135 w 135"/>
                    <a:gd name="T114" fmla="*/ 135 h 135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35" h="135">
                      <a:moveTo>
                        <a:pt x="103" y="135"/>
                      </a:moveTo>
                      <a:lnTo>
                        <a:pt x="98" y="132"/>
                      </a:lnTo>
                      <a:lnTo>
                        <a:pt x="93" y="129"/>
                      </a:lnTo>
                      <a:lnTo>
                        <a:pt x="87" y="128"/>
                      </a:lnTo>
                      <a:lnTo>
                        <a:pt x="82" y="129"/>
                      </a:lnTo>
                      <a:lnTo>
                        <a:pt x="77" y="130"/>
                      </a:lnTo>
                      <a:lnTo>
                        <a:pt x="73" y="130"/>
                      </a:lnTo>
                      <a:lnTo>
                        <a:pt x="64" y="123"/>
                      </a:lnTo>
                      <a:lnTo>
                        <a:pt x="59" y="122"/>
                      </a:lnTo>
                      <a:lnTo>
                        <a:pt x="55" y="120"/>
                      </a:lnTo>
                      <a:lnTo>
                        <a:pt x="53" y="116"/>
                      </a:lnTo>
                      <a:lnTo>
                        <a:pt x="51" y="113"/>
                      </a:lnTo>
                      <a:lnTo>
                        <a:pt x="49" y="102"/>
                      </a:lnTo>
                      <a:lnTo>
                        <a:pt x="47" y="91"/>
                      </a:lnTo>
                      <a:lnTo>
                        <a:pt x="45" y="88"/>
                      </a:lnTo>
                      <a:lnTo>
                        <a:pt x="41" y="85"/>
                      </a:lnTo>
                      <a:lnTo>
                        <a:pt x="35" y="84"/>
                      </a:lnTo>
                      <a:lnTo>
                        <a:pt x="30" y="81"/>
                      </a:lnTo>
                      <a:lnTo>
                        <a:pt x="26" y="77"/>
                      </a:lnTo>
                      <a:lnTo>
                        <a:pt x="22" y="74"/>
                      </a:lnTo>
                      <a:lnTo>
                        <a:pt x="16" y="64"/>
                      </a:lnTo>
                      <a:lnTo>
                        <a:pt x="9" y="53"/>
                      </a:lnTo>
                      <a:lnTo>
                        <a:pt x="6" y="49"/>
                      </a:lnTo>
                      <a:lnTo>
                        <a:pt x="3" y="46"/>
                      </a:lnTo>
                      <a:lnTo>
                        <a:pt x="0" y="45"/>
                      </a:lnTo>
                      <a:lnTo>
                        <a:pt x="2" y="44"/>
                      </a:lnTo>
                      <a:lnTo>
                        <a:pt x="2" y="42"/>
                      </a:lnTo>
                      <a:lnTo>
                        <a:pt x="9" y="40"/>
                      </a:lnTo>
                      <a:lnTo>
                        <a:pt x="13" y="40"/>
                      </a:lnTo>
                      <a:lnTo>
                        <a:pt x="17" y="42"/>
                      </a:lnTo>
                      <a:lnTo>
                        <a:pt x="19" y="43"/>
                      </a:lnTo>
                      <a:lnTo>
                        <a:pt x="23" y="43"/>
                      </a:lnTo>
                      <a:lnTo>
                        <a:pt x="30" y="40"/>
                      </a:lnTo>
                      <a:lnTo>
                        <a:pt x="37" y="36"/>
                      </a:lnTo>
                      <a:lnTo>
                        <a:pt x="44" y="28"/>
                      </a:lnTo>
                      <a:lnTo>
                        <a:pt x="50" y="23"/>
                      </a:lnTo>
                      <a:lnTo>
                        <a:pt x="58" y="18"/>
                      </a:lnTo>
                      <a:lnTo>
                        <a:pt x="59" y="15"/>
                      </a:lnTo>
                      <a:lnTo>
                        <a:pt x="60" y="14"/>
                      </a:lnTo>
                      <a:lnTo>
                        <a:pt x="63" y="9"/>
                      </a:lnTo>
                      <a:lnTo>
                        <a:pt x="65" y="5"/>
                      </a:lnTo>
                      <a:lnTo>
                        <a:pt x="72" y="1"/>
                      </a:lnTo>
                      <a:lnTo>
                        <a:pt x="75" y="0"/>
                      </a:lnTo>
                      <a:lnTo>
                        <a:pt x="78" y="0"/>
                      </a:lnTo>
                      <a:lnTo>
                        <a:pt x="82" y="0"/>
                      </a:lnTo>
                      <a:lnTo>
                        <a:pt x="84" y="1"/>
                      </a:lnTo>
                      <a:lnTo>
                        <a:pt x="87" y="6"/>
                      </a:lnTo>
                      <a:lnTo>
                        <a:pt x="91" y="8"/>
                      </a:lnTo>
                      <a:lnTo>
                        <a:pt x="101" y="13"/>
                      </a:lnTo>
                      <a:lnTo>
                        <a:pt x="111" y="18"/>
                      </a:lnTo>
                      <a:lnTo>
                        <a:pt x="116" y="20"/>
                      </a:lnTo>
                      <a:lnTo>
                        <a:pt x="121" y="21"/>
                      </a:lnTo>
                      <a:lnTo>
                        <a:pt x="126" y="24"/>
                      </a:lnTo>
                      <a:lnTo>
                        <a:pt x="130" y="27"/>
                      </a:lnTo>
                      <a:lnTo>
                        <a:pt x="133" y="33"/>
                      </a:lnTo>
                      <a:lnTo>
                        <a:pt x="133" y="39"/>
                      </a:lnTo>
                      <a:lnTo>
                        <a:pt x="134" y="53"/>
                      </a:lnTo>
                      <a:lnTo>
                        <a:pt x="134" y="57"/>
                      </a:lnTo>
                      <a:lnTo>
                        <a:pt x="131" y="60"/>
                      </a:lnTo>
                      <a:lnTo>
                        <a:pt x="129" y="63"/>
                      </a:lnTo>
                      <a:lnTo>
                        <a:pt x="127" y="66"/>
                      </a:lnTo>
                      <a:lnTo>
                        <a:pt x="126" y="70"/>
                      </a:lnTo>
                      <a:lnTo>
                        <a:pt x="126" y="74"/>
                      </a:lnTo>
                      <a:lnTo>
                        <a:pt x="127" y="79"/>
                      </a:lnTo>
                      <a:lnTo>
                        <a:pt x="131" y="87"/>
                      </a:lnTo>
                      <a:lnTo>
                        <a:pt x="134" y="94"/>
                      </a:lnTo>
                      <a:lnTo>
                        <a:pt x="135" y="101"/>
                      </a:lnTo>
                      <a:lnTo>
                        <a:pt x="134" y="106"/>
                      </a:lnTo>
                      <a:lnTo>
                        <a:pt x="133" y="111"/>
                      </a:lnTo>
                      <a:lnTo>
                        <a:pt x="129" y="115"/>
                      </a:lnTo>
                      <a:lnTo>
                        <a:pt x="119" y="123"/>
                      </a:lnTo>
                      <a:lnTo>
                        <a:pt x="108" y="130"/>
                      </a:lnTo>
                      <a:lnTo>
                        <a:pt x="105" y="133"/>
                      </a:lnTo>
                      <a:lnTo>
                        <a:pt x="103" y="134"/>
                      </a:lnTo>
                      <a:lnTo>
                        <a:pt x="103" y="1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4" name="Freeform 736">
                  <a:extLst>
                    <a:ext uri="{FF2B5EF4-FFF2-40B4-BE49-F238E27FC236}">
                      <a16:creationId xmlns:a16="http://schemas.microsoft.com/office/drawing/2014/main" id="{C1595741-40BB-834F-BA6B-7A2CF17560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7638" y="4864021"/>
                  <a:ext cx="275256" cy="275256"/>
                </a:xfrm>
                <a:custGeom>
                  <a:avLst/>
                  <a:gdLst>
                    <a:gd name="T0" fmla="*/ 2147483647 w 202"/>
                    <a:gd name="T1" fmla="*/ 2147483647 h 186"/>
                    <a:gd name="T2" fmla="*/ 2147483647 w 202"/>
                    <a:gd name="T3" fmla="*/ 2147483647 h 186"/>
                    <a:gd name="T4" fmla="*/ 2147483647 w 202"/>
                    <a:gd name="T5" fmla="*/ 2147483647 h 186"/>
                    <a:gd name="T6" fmla="*/ 2147483647 w 202"/>
                    <a:gd name="T7" fmla="*/ 2147483647 h 186"/>
                    <a:gd name="T8" fmla="*/ 2147483647 w 202"/>
                    <a:gd name="T9" fmla="*/ 2147483647 h 186"/>
                    <a:gd name="T10" fmla="*/ 2147483647 w 202"/>
                    <a:gd name="T11" fmla="*/ 2147483647 h 186"/>
                    <a:gd name="T12" fmla="*/ 2147483647 w 202"/>
                    <a:gd name="T13" fmla="*/ 2147483647 h 186"/>
                    <a:gd name="T14" fmla="*/ 2147483647 w 202"/>
                    <a:gd name="T15" fmla="*/ 2147483647 h 186"/>
                    <a:gd name="T16" fmla="*/ 2147483647 w 202"/>
                    <a:gd name="T17" fmla="*/ 2147483647 h 186"/>
                    <a:gd name="T18" fmla="*/ 2147483647 w 202"/>
                    <a:gd name="T19" fmla="*/ 2147483647 h 186"/>
                    <a:gd name="T20" fmla="*/ 2147483647 w 202"/>
                    <a:gd name="T21" fmla="*/ 2147483647 h 186"/>
                    <a:gd name="T22" fmla="*/ 2147483647 w 202"/>
                    <a:gd name="T23" fmla="*/ 2147483647 h 186"/>
                    <a:gd name="T24" fmla="*/ 2147483647 w 202"/>
                    <a:gd name="T25" fmla="*/ 2147483647 h 186"/>
                    <a:gd name="T26" fmla="*/ 2147483647 w 202"/>
                    <a:gd name="T27" fmla="*/ 2147483647 h 186"/>
                    <a:gd name="T28" fmla="*/ 2147483647 w 202"/>
                    <a:gd name="T29" fmla="*/ 2147483647 h 186"/>
                    <a:gd name="T30" fmla="*/ 2147483647 w 202"/>
                    <a:gd name="T31" fmla="*/ 2147483647 h 186"/>
                    <a:gd name="T32" fmla="*/ 2147483647 w 202"/>
                    <a:gd name="T33" fmla="*/ 2147483647 h 186"/>
                    <a:gd name="T34" fmla="*/ 2147483647 w 202"/>
                    <a:gd name="T35" fmla="*/ 2147483647 h 186"/>
                    <a:gd name="T36" fmla="*/ 2147483647 w 202"/>
                    <a:gd name="T37" fmla="*/ 2147483647 h 186"/>
                    <a:gd name="T38" fmla="*/ 2147483647 w 202"/>
                    <a:gd name="T39" fmla="*/ 2147483647 h 186"/>
                    <a:gd name="T40" fmla="*/ 2147483647 w 202"/>
                    <a:gd name="T41" fmla="*/ 2147483647 h 186"/>
                    <a:gd name="T42" fmla="*/ 2147483647 w 202"/>
                    <a:gd name="T43" fmla="*/ 2147483647 h 186"/>
                    <a:gd name="T44" fmla="*/ 2147483647 w 202"/>
                    <a:gd name="T45" fmla="*/ 2147483647 h 186"/>
                    <a:gd name="T46" fmla="*/ 2147483647 w 202"/>
                    <a:gd name="T47" fmla="*/ 2147483647 h 186"/>
                    <a:gd name="T48" fmla="*/ 2147483647 w 202"/>
                    <a:gd name="T49" fmla="*/ 2147483647 h 186"/>
                    <a:gd name="T50" fmla="*/ 2147483647 w 202"/>
                    <a:gd name="T51" fmla="*/ 2147483647 h 186"/>
                    <a:gd name="T52" fmla="*/ 2147483647 w 202"/>
                    <a:gd name="T53" fmla="*/ 2147483647 h 186"/>
                    <a:gd name="T54" fmla="*/ 2147483647 w 202"/>
                    <a:gd name="T55" fmla="*/ 2147483647 h 186"/>
                    <a:gd name="T56" fmla="*/ 2147483647 w 202"/>
                    <a:gd name="T57" fmla="*/ 2147483647 h 186"/>
                    <a:gd name="T58" fmla="*/ 2147483647 w 202"/>
                    <a:gd name="T59" fmla="*/ 2147483647 h 186"/>
                    <a:gd name="T60" fmla="*/ 2147483647 w 202"/>
                    <a:gd name="T61" fmla="*/ 2147483647 h 186"/>
                    <a:gd name="T62" fmla="*/ 2147483647 w 202"/>
                    <a:gd name="T63" fmla="*/ 2147483647 h 186"/>
                    <a:gd name="T64" fmla="*/ 2147483647 w 202"/>
                    <a:gd name="T65" fmla="*/ 2147483647 h 186"/>
                    <a:gd name="T66" fmla="*/ 2147483647 w 202"/>
                    <a:gd name="T67" fmla="*/ 2147483647 h 186"/>
                    <a:gd name="T68" fmla="*/ 2147483647 w 202"/>
                    <a:gd name="T69" fmla="*/ 2147483647 h 186"/>
                    <a:gd name="T70" fmla="*/ 2147483647 w 202"/>
                    <a:gd name="T71" fmla="*/ 2147483647 h 186"/>
                    <a:gd name="T72" fmla="*/ 2147483647 w 202"/>
                    <a:gd name="T73" fmla="*/ 2147483647 h 186"/>
                    <a:gd name="T74" fmla="*/ 2147483647 w 202"/>
                    <a:gd name="T75" fmla="*/ 2147483647 h 186"/>
                    <a:gd name="T76" fmla="*/ 2147483647 w 202"/>
                    <a:gd name="T77" fmla="*/ 2147483647 h 186"/>
                    <a:gd name="T78" fmla="*/ 2147483647 w 202"/>
                    <a:gd name="T79" fmla="*/ 2147483647 h 186"/>
                    <a:gd name="T80" fmla="*/ 2147483647 w 202"/>
                    <a:gd name="T81" fmla="*/ 2147483647 h 186"/>
                    <a:gd name="T82" fmla="*/ 2147483647 w 202"/>
                    <a:gd name="T83" fmla="*/ 2147483647 h 186"/>
                    <a:gd name="T84" fmla="*/ 2147483647 w 202"/>
                    <a:gd name="T85" fmla="*/ 0 h 186"/>
                    <a:gd name="T86" fmla="*/ 2147483647 w 202"/>
                    <a:gd name="T87" fmla="*/ 0 h 186"/>
                    <a:gd name="T88" fmla="*/ 2147483647 w 202"/>
                    <a:gd name="T89" fmla="*/ 2147483647 h 186"/>
                    <a:gd name="T90" fmla="*/ 2147483647 w 202"/>
                    <a:gd name="T91" fmla="*/ 2147483647 h 186"/>
                    <a:gd name="T92" fmla="*/ 2147483647 w 202"/>
                    <a:gd name="T93" fmla="*/ 2147483647 h 186"/>
                    <a:gd name="T94" fmla="*/ 2147483647 w 202"/>
                    <a:gd name="T95" fmla="*/ 2147483647 h 186"/>
                    <a:gd name="T96" fmla="*/ 2147483647 w 202"/>
                    <a:gd name="T97" fmla="*/ 2147483647 h 186"/>
                    <a:gd name="T98" fmla="*/ 2147483647 w 202"/>
                    <a:gd name="T99" fmla="*/ 2147483647 h 186"/>
                    <a:gd name="T100" fmla="*/ 2147483647 w 202"/>
                    <a:gd name="T101" fmla="*/ 2147483647 h 186"/>
                    <a:gd name="T102" fmla="*/ 2147483647 w 202"/>
                    <a:gd name="T103" fmla="*/ 2147483647 h 186"/>
                    <a:gd name="T104" fmla="*/ 2147483647 w 202"/>
                    <a:gd name="T105" fmla="*/ 2147483647 h 186"/>
                    <a:gd name="T106" fmla="*/ 2147483647 w 202"/>
                    <a:gd name="T107" fmla="*/ 2147483647 h 186"/>
                    <a:gd name="T108" fmla="*/ 2147483647 w 202"/>
                    <a:gd name="T109" fmla="*/ 2147483647 h 186"/>
                    <a:gd name="T110" fmla="*/ 2147483647 w 202"/>
                    <a:gd name="T111" fmla="*/ 2147483647 h 18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02"/>
                    <a:gd name="T169" fmla="*/ 0 h 186"/>
                    <a:gd name="T170" fmla="*/ 202 w 202"/>
                    <a:gd name="T171" fmla="*/ 186 h 18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02" h="186">
                      <a:moveTo>
                        <a:pt x="191" y="111"/>
                      </a:moveTo>
                      <a:lnTo>
                        <a:pt x="180" y="117"/>
                      </a:lnTo>
                      <a:lnTo>
                        <a:pt x="169" y="122"/>
                      </a:lnTo>
                      <a:lnTo>
                        <a:pt x="147" y="130"/>
                      </a:lnTo>
                      <a:lnTo>
                        <a:pt x="145" y="131"/>
                      </a:lnTo>
                      <a:lnTo>
                        <a:pt x="142" y="135"/>
                      </a:lnTo>
                      <a:lnTo>
                        <a:pt x="142" y="139"/>
                      </a:lnTo>
                      <a:lnTo>
                        <a:pt x="142" y="144"/>
                      </a:lnTo>
                      <a:lnTo>
                        <a:pt x="140" y="143"/>
                      </a:lnTo>
                      <a:lnTo>
                        <a:pt x="136" y="143"/>
                      </a:lnTo>
                      <a:lnTo>
                        <a:pt x="133" y="143"/>
                      </a:lnTo>
                      <a:lnTo>
                        <a:pt x="130" y="144"/>
                      </a:lnTo>
                      <a:lnTo>
                        <a:pt x="123" y="148"/>
                      </a:lnTo>
                      <a:lnTo>
                        <a:pt x="121" y="152"/>
                      </a:lnTo>
                      <a:lnTo>
                        <a:pt x="118" y="157"/>
                      </a:lnTo>
                      <a:lnTo>
                        <a:pt x="117" y="158"/>
                      </a:lnTo>
                      <a:lnTo>
                        <a:pt x="116" y="161"/>
                      </a:lnTo>
                      <a:lnTo>
                        <a:pt x="108" y="166"/>
                      </a:lnTo>
                      <a:lnTo>
                        <a:pt x="102" y="171"/>
                      </a:lnTo>
                      <a:lnTo>
                        <a:pt x="95" y="179"/>
                      </a:lnTo>
                      <a:lnTo>
                        <a:pt x="88" y="183"/>
                      </a:lnTo>
                      <a:lnTo>
                        <a:pt x="81" y="186"/>
                      </a:lnTo>
                      <a:lnTo>
                        <a:pt x="77" y="186"/>
                      </a:lnTo>
                      <a:lnTo>
                        <a:pt x="75" y="185"/>
                      </a:lnTo>
                      <a:lnTo>
                        <a:pt x="71" y="183"/>
                      </a:lnTo>
                      <a:lnTo>
                        <a:pt x="67" y="183"/>
                      </a:lnTo>
                      <a:lnTo>
                        <a:pt x="60" y="185"/>
                      </a:lnTo>
                      <a:lnTo>
                        <a:pt x="53" y="185"/>
                      </a:lnTo>
                      <a:lnTo>
                        <a:pt x="48" y="185"/>
                      </a:lnTo>
                      <a:lnTo>
                        <a:pt x="43" y="181"/>
                      </a:lnTo>
                      <a:lnTo>
                        <a:pt x="33" y="181"/>
                      </a:lnTo>
                      <a:lnTo>
                        <a:pt x="22" y="182"/>
                      </a:lnTo>
                      <a:lnTo>
                        <a:pt x="0" y="186"/>
                      </a:lnTo>
                      <a:lnTo>
                        <a:pt x="3" y="93"/>
                      </a:lnTo>
                      <a:lnTo>
                        <a:pt x="9" y="93"/>
                      </a:lnTo>
                      <a:lnTo>
                        <a:pt x="20" y="92"/>
                      </a:lnTo>
                      <a:lnTo>
                        <a:pt x="36" y="90"/>
                      </a:lnTo>
                      <a:lnTo>
                        <a:pt x="36" y="54"/>
                      </a:lnTo>
                      <a:lnTo>
                        <a:pt x="42" y="56"/>
                      </a:lnTo>
                      <a:lnTo>
                        <a:pt x="47" y="61"/>
                      </a:lnTo>
                      <a:lnTo>
                        <a:pt x="50" y="62"/>
                      </a:lnTo>
                      <a:lnTo>
                        <a:pt x="53" y="61"/>
                      </a:lnTo>
                      <a:lnTo>
                        <a:pt x="61" y="59"/>
                      </a:lnTo>
                      <a:lnTo>
                        <a:pt x="60" y="64"/>
                      </a:lnTo>
                      <a:lnTo>
                        <a:pt x="60" y="67"/>
                      </a:lnTo>
                      <a:lnTo>
                        <a:pt x="60" y="70"/>
                      </a:lnTo>
                      <a:lnTo>
                        <a:pt x="62" y="71"/>
                      </a:lnTo>
                      <a:lnTo>
                        <a:pt x="67" y="72"/>
                      </a:lnTo>
                      <a:lnTo>
                        <a:pt x="74" y="72"/>
                      </a:lnTo>
                      <a:lnTo>
                        <a:pt x="79" y="71"/>
                      </a:lnTo>
                      <a:lnTo>
                        <a:pt x="90" y="64"/>
                      </a:lnTo>
                      <a:lnTo>
                        <a:pt x="91" y="64"/>
                      </a:lnTo>
                      <a:lnTo>
                        <a:pt x="93" y="64"/>
                      </a:lnTo>
                      <a:lnTo>
                        <a:pt x="95" y="66"/>
                      </a:lnTo>
                      <a:lnTo>
                        <a:pt x="98" y="71"/>
                      </a:lnTo>
                      <a:lnTo>
                        <a:pt x="105" y="80"/>
                      </a:lnTo>
                      <a:lnTo>
                        <a:pt x="109" y="85"/>
                      </a:lnTo>
                      <a:lnTo>
                        <a:pt x="114" y="87"/>
                      </a:lnTo>
                      <a:lnTo>
                        <a:pt x="117" y="90"/>
                      </a:lnTo>
                      <a:lnTo>
                        <a:pt x="118" y="93"/>
                      </a:lnTo>
                      <a:lnTo>
                        <a:pt x="119" y="96"/>
                      </a:lnTo>
                      <a:lnTo>
                        <a:pt x="122" y="99"/>
                      </a:lnTo>
                      <a:lnTo>
                        <a:pt x="124" y="100"/>
                      </a:lnTo>
                      <a:lnTo>
                        <a:pt x="130" y="102"/>
                      </a:lnTo>
                      <a:lnTo>
                        <a:pt x="133" y="102"/>
                      </a:lnTo>
                      <a:lnTo>
                        <a:pt x="135" y="100"/>
                      </a:lnTo>
                      <a:lnTo>
                        <a:pt x="135" y="88"/>
                      </a:lnTo>
                      <a:lnTo>
                        <a:pt x="135" y="84"/>
                      </a:lnTo>
                      <a:lnTo>
                        <a:pt x="135" y="81"/>
                      </a:lnTo>
                      <a:lnTo>
                        <a:pt x="133" y="81"/>
                      </a:lnTo>
                      <a:lnTo>
                        <a:pt x="130" y="81"/>
                      </a:lnTo>
                      <a:lnTo>
                        <a:pt x="126" y="79"/>
                      </a:lnTo>
                      <a:lnTo>
                        <a:pt x="121" y="77"/>
                      </a:lnTo>
                      <a:lnTo>
                        <a:pt x="118" y="73"/>
                      </a:lnTo>
                      <a:lnTo>
                        <a:pt x="114" y="68"/>
                      </a:lnTo>
                      <a:lnTo>
                        <a:pt x="112" y="64"/>
                      </a:lnTo>
                      <a:lnTo>
                        <a:pt x="111" y="59"/>
                      </a:lnTo>
                      <a:lnTo>
                        <a:pt x="111" y="54"/>
                      </a:lnTo>
                      <a:lnTo>
                        <a:pt x="112" y="36"/>
                      </a:lnTo>
                      <a:lnTo>
                        <a:pt x="113" y="23"/>
                      </a:lnTo>
                      <a:lnTo>
                        <a:pt x="116" y="15"/>
                      </a:lnTo>
                      <a:lnTo>
                        <a:pt x="121" y="8"/>
                      </a:lnTo>
                      <a:lnTo>
                        <a:pt x="121" y="5"/>
                      </a:lnTo>
                      <a:lnTo>
                        <a:pt x="121" y="3"/>
                      </a:lnTo>
                      <a:lnTo>
                        <a:pt x="122" y="1"/>
                      </a:lnTo>
                      <a:lnTo>
                        <a:pt x="122" y="0"/>
                      </a:lnTo>
                      <a:lnTo>
                        <a:pt x="138" y="0"/>
                      </a:lnTo>
                      <a:lnTo>
                        <a:pt x="146" y="0"/>
                      </a:lnTo>
                      <a:lnTo>
                        <a:pt x="154" y="3"/>
                      </a:lnTo>
                      <a:lnTo>
                        <a:pt x="157" y="4"/>
                      </a:lnTo>
                      <a:lnTo>
                        <a:pt x="168" y="11"/>
                      </a:lnTo>
                      <a:lnTo>
                        <a:pt x="173" y="14"/>
                      </a:lnTo>
                      <a:lnTo>
                        <a:pt x="179" y="16"/>
                      </a:lnTo>
                      <a:lnTo>
                        <a:pt x="180" y="17"/>
                      </a:lnTo>
                      <a:lnTo>
                        <a:pt x="183" y="20"/>
                      </a:lnTo>
                      <a:lnTo>
                        <a:pt x="187" y="21"/>
                      </a:lnTo>
                      <a:lnTo>
                        <a:pt x="191" y="22"/>
                      </a:lnTo>
                      <a:lnTo>
                        <a:pt x="191" y="24"/>
                      </a:lnTo>
                      <a:lnTo>
                        <a:pt x="191" y="26"/>
                      </a:lnTo>
                      <a:lnTo>
                        <a:pt x="197" y="37"/>
                      </a:lnTo>
                      <a:lnTo>
                        <a:pt x="199" y="43"/>
                      </a:lnTo>
                      <a:lnTo>
                        <a:pt x="199" y="49"/>
                      </a:lnTo>
                      <a:lnTo>
                        <a:pt x="199" y="67"/>
                      </a:lnTo>
                      <a:lnTo>
                        <a:pt x="199" y="77"/>
                      </a:lnTo>
                      <a:lnTo>
                        <a:pt x="202" y="85"/>
                      </a:lnTo>
                      <a:lnTo>
                        <a:pt x="202" y="87"/>
                      </a:lnTo>
                      <a:lnTo>
                        <a:pt x="201" y="90"/>
                      </a:lnTo>
                      <a:lnTo>
                        <a:pt x="197" y="93"/>
                      </a:lnTo>
                      <a:lnTo>
                        <a:pt x="193" y="97"/>
                      </a:lnTo>
                      <a:lnTo>
                        <a:pt x="191" y="100"/>
                      </a:lnTo>
                      <a:lnTo>
                        <a:pt x="189" y="103"/>
                      </a:lnTo>
                      <a:lnTo>
                        <a:pt x="189" y="106"/>
                      </a:lnTo>
                      <a:lnTo>
                        <a:pt x="191" y="1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5" name="Freeform 737">
                  <a:extLst>
                    <a:ext uri="{FF2B5EF4-FFF2-40B4-BE49-F238E27FC236}">
                      <a16:creationId xmlns:a16="http://schemas.microsoft.com/office/drawing/2014/main" id="{72CDBB97-F671-0B43-96AC-3CA52D6043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4590" y="5074163"/>
                  <a:ext cx="184984" cy="199782"/>
                </a:xfrm>
                <a:custGeom>
                  <a:avLst/>
                  <a:gdLst>
                    <a:gd name="T0" fmla="*/ 2147483647 w 135"/>
                    <a:gd name="T1" fmla="*/ 2147483647 h 135"/>
                    <a:gd name="T2" fmla="*/ 2147483647 w 135"/>
                    <a:gd name="T3" fmla="*/ 2147483647 h 135"/>
                    <a:gd name="T4" fmla="*/ 2147483647 w 135"/>
                    <a:gd name="T5" fmla="*/ 2147483647 h 135"/>
                    <a:gd name="T6" fmla="*/ 2147483647 w 135"/>
                    <a:gd name="T7" fmla="*/ 2147483647 h 135"/>
                    <a:gd name="T8" fmla="*/ 2147483647 w 135"/>
                    <a:gd name="T9" fmla="*/ 2147483647 h 135"/>
                    <a:gd name="T10" fmla="*/ 2147483647 w 135"/>
                    <a:gd name="T11" fmla="*/ 2147483647 h 135"/>
                    <a:gd name="T12" fmla="*/ 2147483647 w 135"/>
                    <a:gd name="T13" fmla="*/ 2147483647 h 135"/>
                    <a:gd name="T14" fmla="*/ 2147483647 w 135"/>
                    <a:gd name="T15" fmla="*/ 2147483647 h 135"/>
                    <a:gd name="T16" fmla="*/ 2147483647 w 135"/>
                    <a:gd name="T17" fmla="*/ 2147483647 h 135"/>
                    <a:gd name="T18" fmla="*/ 2147483647 w 135"/>
                    <a:gd name="T19" fmla="*/ 2147483647 h 135"/>
                    <a:gd name="T20" fmla="*/ 2147483647 w 135"/>
                    <a:gd name="T21" fmla="*/ 2147483647 h 135"/>
                    <a:gd name="T22" fmla="*/ 2147483647 w 135"/>
                    <a:gd name="T23" fmla="*/ 2147483647 h 135"/>
                    <a:gd name="T24" fmla="*/ 2147483647 w 135"/>
                    <a:gd name="T25" fmla="*/ 2147483647 h 135"/>
                    <a:gd name="T26" fmla="*/ 2147483647 w 135"/>
                    <a:gd name="T27" fmla="*/ 2147483647 h 135"/>
                    <a:gd name="T28" fmla="*/ 2147483647 w 135"/>
                    <a:gd name="T29" fmla="*/ 2147483647 h 135"/>
                    <a:gd name="T30" fmla="*/ 0 w 135"/>
                    <a:gd name="T31" fmla="*/ 2147483647 h 135"/>
                    <a:gd name="T32" fmla="*/ 2147483647 w 135"/>
                    <a:gd name="T33" fmla="*/ 2147483647 h 135"/>
                    <a:gd name="T34" fmla="*/ 2147483647 w 135"/>
                    <a:gd name="T35" fmla="*/ 2147483647 h 135"/>
                    <a:gd name="T36" fmla="*/ 2147483647 w 135"/>
                    <a:gd name="T37" fmla="*/ 2147483647 h 135"/>
                    <a:gd name="T38" fmla="*/ 2147483647 w 135"/>
                    <a:gd name="T39" fmla="*/ 2147483647 h 135"/>
                    <a:gd name="T40" fmla="*/ 2147483647 w 135"/>
                    <a:gd name="T41" fmla="*/ 2147483647 h 135"/>
                    <a:gd name="T42" fmla="*/ 2147483647 w 135"/>
                    <a:gd name="T43" fmla="*/ 2147483647 h 135"/>
                    <a:gd name="T44" fmla="*/ 2147483647 w 135"/>
                    <a:gd name="T45" fmla="*/ 2147483647 h 135"/>
                    <a:gd name="T46" fmla="*/ 2147483647 w 135"/>
                    <a:gd name="T47" fmla="*/ 2147483647 h 135"/>
                    <a:gd name="T48" fmla="*/ 2147483647 w 135"/>
                    <a:gd name="T49" fmla="*/ 2147483647 h 135"/>
                    <a:gd name="T50" fmla="*/ 2147483647 w 135"/>
                    <a:gd name="T51" fmla="*/ 2147483647 h 135"/>
                    <a:gd name="T52" fmla="*/ 2147483647 w 135"/>
                    <a:gd name="T53" fmla="*/ 2147483647 h 135"/>
                    <a:gd name="T54" fmla="*/ 2147483647 w 135"/>
                    <a:gd name="T55" fmla="*/ 0 h 135"/>
                    <a:gd name="T56" fmla="*/ 2147483647 w 135"/>
                    <a:gd name="T57" fmla="*/ 0 h 135"/>
                    <a:gd name="T58" fmla="*/ 2147483647 w 135"/>
                    <a:gd name="T59" fmla="*/ 2147483647 h 135"/>
                    <a:gd name="T60" fmla="*/ 2147483647 w 135"/>
                    <a:gd name="T61" fmla="*/ 2147483647 h 135"/>
                    <a:gd name="T62" fmla="*/ 2147483647 w 135"/>
                    <a:gd name="T63" fmla="*/ 2147483647 h 135"/>
                    <a:gd name="T64" fmla="*/ 2147483647 w 135"/>
                    <a:gd name="T65" fmla="*/ 2147483647 h 135"/>
                    <a:gd name="T66" fmla="*/ 2147483647 w 135"/>
                    <a:gd name="T67" fmla="*/ 2147483647 h 135"/>
                    <a:gd name="T68" fmla="*/ 2147483647 w 135"/>
                    <a:gd name="T69" fmla="*/ 2147483647 h 135"/>
                    <a:gd name="T70" fmla="*/ 2147483647 w 135"/>
                    <a:gd name="T71" fmla="*/ 2147483647 h 135"/>
                    <a:gd name="T72" fmla="*/ 2147483647 w 135"/>
                    <a:gd name="T73" fmla="*/ 2147483647 h 135"/>
                    <a:gd name="T74" fmla="*/ 2147483647 w 135"/>
                    <a:gd name="T75" fmla="*/ 2147483647 h 135"/>
                    <a:gd name="T76" fmla="*/ 2147483647 w 135"/>
                    <a:gd name="T77" fmla="*/ 2147483647 h 135"/>
                    <a:gd name="T78" fmla="*/ 2147483647 w 135"/>
                    <a:gd name="T79" fmla="*/ 2147483647 h 135"/>
                    <a:gd name="T80" fmla="*/ 2147483647 w 135"/>
                    <a:gd name="T81" fmla="*/ 2147483647 h 135"/>
                    <a:gd name="T82" fmla="*/ 2147483647 w 135"/>
                    <a:gd name="T83" fmla="*/ 2147483647 h 135"/>
                    <a:gd name="T84" fmla="*/ 2147483647 w 135"/>
                    <a:gd name="T85" fmla="*/ 2147483647 h 135"/>
                    <a:gd name="T86" fmla="*/ 2147483647 w 135"/>
                    <a:gd name="T87" fmla="*/ 2147483647 h 135"/>
                    <a:gd name="T88" fmla="*/ 2147483647 w 135"/>
                    <a:gd name="T89" fmla="*/ 2147483647 h 135"/>
                    <a:gd name="T90" fmla="*/ 2147483647 w 135"/>
                    <a:gd name="T91" fmla="*/ 2147483647 h 135"/>
                    <a:gd name="T92" fmla="*/ 2147483647 w 135"/>
                    <a:gd name="T93" fmla="*/ 2147483647 h 135"/>
                    <a:gd name="T94" fmla="*/ 2147483647 w 135"/>
                    <a:gd name="T95" fmla="*/ 2147483647 h 135"/>
                    <a:gd name="T96" fmla="*/ 2147483647 w 135"/>
                    <a:gd name="T97" fmla="*/ 2147483647 h 13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35"/>
                    <a:gd name="T148" fmla="*/ 0 h 135"/>
                    <a:gd name="T149" fmla="*/ 135 w 135"/>
                    <a:gd name="T150" fmla="*/ 135 h 13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35" h="135">
                      <a:moveTo>
                        <a:pt x="103" y="135"/>
                      </a:moveTo>
                      <a:lnTo>
                        <a:pt x="103" y="135"/>
                      </a:lnTo>
                      <a:lnTo>
                        <a:pt x="98" y="131"/>
                      </a:lnTo>
                      <a:lnTo>
                        <a:pt x="93" y="129"/>
                      </a:lnTo>
                      <a:lnTo>
                        <a:pt x="87" y="128"/>
                      </a:lnTo>
                      <a:lnTo>
                        <a:pt x="81" y="129"/>
                      </a:lnTo>
                      <a:lnTo>
                        <a:pt x="76" y="130"/>
                      </a:lnTo>
                      <a:lnTo>
                        <a:pt x="73" y="130"/>
                      </a:lnTo>
                      <a:lnTo>
                        <a:pt x="64" y="123"/>
                      </a:lnTo>
                      <a:lnTo>
                        <a:pt x="59" y="122"/>
                      </a:lnTo>
                      <a:lnTo>
                        <a:pt x="55" y="120"/>
                      </a:lnTo>
                      <a:lnTo>
                        <a:pt x="52" y="116"/>
                      </a:lnTo>
                      <a:lnTo>
                        <a:pt x="51" y="112"/>
                      </a:lnTo>
                      <a:lnTo>
                        <a:pt x="48" y="102"/>
                      </a:lnTo>
                      <a:lnTo>
                        <a:pt x="47" y="91"/>
                      </a:lnTo>
                      <a:lnTo>
                        <a:pt x="45" y="88"/>
                      </a:lnTo>
                      <a:lnTo>
                        <a:pt x="41" y="85"/>
                      </a:lnTo>
                      <a:lnTo>
                        <a:pt x="34" y="84"/>
                      </a:lnTo>
                      <a:lnTo>
                        <a:pt x="29" y="80"/>
                      </a:lnTo>
                      <a:lnTo>
                        <a:pt x="26" y="77"/>
                      </a:lnTo>
                      <a:lnTo>
                        <a:pt x="22" y="73"/>
                      </a:lnTo>
                      <a:lnTo>
                        <a:pt x="15" y="64"/>
                      </a:lnTo>
                      <a:lnTo>
                        <a:pt x="9" y="53"/>
                      </a:lnTo>
                      <a:lnTo>
                        <a:pt x="5" y="48"/>
                      </a:lnTo>
                      <a:lnTo>
                        <a:pt x="3" y="46"/>
                      </a:lnTo>
                      <a:lnTo>
                        <a:pt x="0" y="45"/>
                      </a:lnTo>
                      <a:lnTo>
                        <a:pt x="1" y="44"/>
                      </a:lnTo>
                      <a:lnTo>
                        <a:pt x="1" y="41"/>
                      </a:lnTo>
                      <a:lnTo>
                        <a:pt x="9" y="40"/>
                      </a:lnTo>
                      <a:lnTo>
                        <a:pt x="13" y="40"/>
                      </a:lnTo>
                      <a:lnTo>
                        <a:pt x="17" y="41"/>
                      </a:lnTo>
                      <a:lnTo>
                        <a:pt x="19" y="43"/>
                      </a:lnTo>
                      <a:lnTo>
                        <a:pt x="23" y="43"/>
                      </a:lnTo>
                      <a:lnTo>
                        <a:pt x="29" y="40"/>
                      </a:lnTo>
                      <a:lnTo>
                        <a:pt x="37" y="35"/>
                      </a:lnTo>
                      <a:lnTo>
                        <a:pt x="43" y="28"/>
                      </a:lnTo>
                      <a:lnTo>
                        <a:pt x="50" y="22"/>
                      </a:lnTo>
                      <a:lnTo>
                        <a:pt x="57" y="18"/>
                      </a:lnTo>
                      <a:lnTo>
                        <a:pt x="59" y="15"/>
                      </a:lnTo>
                      <a:lnTo>
                        <a:pt x="60" y="14"/>
                      </a:lnTo>
                      <a:lnTo>
                        <a:pt x="62" y="9"/>
                      </a:lnTo>
                      <a:lnTo>
                        <a:pt x="65" y="5"/>
                      </a:lnTo>
                      <a:lnTo>
                        <a:pt x="71" y="1"/>
                      </a:lnTo>
                      <a:lnTo>
                        <a:pt x="75" y="0"/>
                      </a:lnTo>
                      <a:lnTo>
                        <a:pt x="78" y="0"/>
                      </a:lnTo>
                      <a:lnTo>
                        <a:pt x="81" y="0"/>
                      </a:lnTo>
                      <a:lnTo>
                        <a:pt x="84" y="1"/>
                      </a:lnTo>
                      <a:lnTo>
                        <a:pt x="87" y="6"/>
                      </a:lnTo>
                      <a:lnTo>
                        <a:pt x="90" y="8"/>
                      </a:lnTo>
                      <a:lnTo>
                        <a:pt x="100" y="13"/>
                      </a:lnTo>
                      <a:lnTo>
                        <a:pt x="111" y="18"/>
                      </a:lnTo>
                      <a:lnTo>
                        <a:pt x="116" y="20"/>
                      </a:lnTo>
                      <a:lnTo>
                        <a:pt x="121" y="21"/>
                      </a:lnTo>
                      <a:lnTo>
                        <a:pt x="126" y="24"/>
                      </a:lnTo>
                      <a:lnTo>
                        <a:pt x="130" y="27"/>
                      </a:lnTo>
                      <a:lnTo>
                        <a:pt x="132" y="33"/>
                      </a:lnTo>
                      <a:lnTo>
                        <a:pt x="132" y="39"/>
                      </a:lnTo>
                      <a:lnTo>
                        <a:pt x="134" y="53"/>
                      </a:lnTo>
                      <a:lnTo>
                        <a:pt x="134" y="57"/>
                      </a:lnTo>
                      <a:lnTo>
                        <a:pt x="131" y="60"/>
                      </a:lnTo>
                      <a:lnTo>
                        <a:pt x="128" y="63"/>
                      </a:lnTo>
                      <a:lnTo>
                        <a:pt x="127" y="66"/>
                      </a:lnTo>
                      <a:lnTo>
                        <a:pt x="126" y="70"/>
                      </a:lnTo>
                      <a:lnTo>
                        <a:pt x="126" y="73"/>
                      </a:lnTo>
                      <a:lnTo>
                        <a:pt x="127" y="79"/>
                      </a:lnTo>
                      <a:lnTo>
                        <a:pt x="131" y="86"/>
                      </a:lnTo>
                      <a:lnTo>
                        <a:pt x="134" y="93"/>
                      </a:lnTo>
                      <a:lnTo>
                        <a:pt x="135" y="101"/>
                      </a:lnTo>
                      <a:lnTo>
                        <a:pt x="134" y="105"/>
                      </a:lnTo>
                      <a:lnTo>
                        <a:pt x="132" y="111"/>
                      </a:lnTo>
                      <a:lnTo>
                        <a:pt x="128" y="115"/>
                      </a:lnTo>
                      <a:lnTo>
                        <a:pt x="118" y="123"/>
                      </a:lnTo>
                      <a:lnTo>
                        <a:pt x="108" y="130"/>
                      </a:lnTo>
                      <a:lnTo>
                        <a:pt x="104" y="133"/>
                      </a:lnTo>
                      <a:lnTo>
                        <a:pt x="103" y="134"/>
                      </a:lnTo>
                      <a:lnTo>
                        <a:pt x="103" y="13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6" name="Freeform 738">
                  <a:extLst>
                    <a:ext uri="{FF2B5EF4-FFF2-40B4-BE49-F238E27FC236}">
                      <a16:creationId xmlns:a16="http://schemas.microsoft.com/office/drawing/2014/main" id="{7A88BAA2-854A-4245-A3C6-DF11AF7713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6159" y="4861063"/>
                  <a:ext cx="275256" cy="276736"/>
                </a:xfrm>
                <a:custGeom>
                  <a:avLst/>
                  <a:gdLst>
                    <a:gd name="T0" fmla="*/ 2147483647 w 202"/>
                    <a:gd name="T1" fmla="*/ 2147483647 h 187"/>
                    <a:gd name="T2" fmla="*/ 2147483647 w 202"/>
                    <a:gd name="T3" fmla="*/ 2147483647 h 187"/>
                    <a:gd name="T4" fmla="*/ 2147483647 w 202"/>
                    <a:gd name="T5" fmla="*/ 2147483647 h 187"/>
                    <a:gd name="T6" fmla="*/ 2147483647 w 202"/>
                    <a:gd name="T7" fmla="*/ 2147483647 h 187"/>
                    <a:gd name="T8" fmla="*/ 2147483647 w 202"/>
                    <a:gd name="T9" fmla="*/ 2147483647 h 187"/>
                    <a:gd name="T10" fmla="*/ 2147483647 w 202"/>
                    <a:gd name="T11" fmla="*/ 2147483647 h 187"/>
                    <a:gd name="T12" fmla="*/ 2147483647 w 202"/>
                    <a:gd name="T13" fmla="*/ 2147483647 h 187"/>
                    <a:gd name="T14" fmla="*/ 2147483647 w 202"/>
                    <a:gd name="T15" fmla="*/ 2147483647 h 187"/>
                    <a:gd name="T16" fmla="*/ 2147483647 w 202"/>
                    <a:gd name="T17" fmla="*/ 2147483647 h 187"/>
                    <a:gd name="T18" fmla="*/ 2147483647 w 202"/>
                    <a:gd name="T19" fmla="*/ 2147483647 h 187"/>
                    <a:gd name="T20" fmla="*/ 2147483647 w 202"/>
                    <a:gd name="T21" fmla="*/ 2147483647 h 187"/>
                    <a:gd name="T22" fmla="*/ 2147483647 w 202"/>
                    <a:gd name="T23" fmla="*/ 2147483647 h 187"/>
                    <a:gd name="T24" fmla="*/ 2147483647 w 202"/>
                    <a:gd name="T25" fmla="*/ 2147483647 h 187"/>
                    <a:gd name="T26" fmla="*/ 2147483647 w 202"/>
                    <a:gd name="T27" fmla="*/ 2147483647 h 187"/>
                    <a:gd name="T28" fmla="*/ 2147483647 w 202"/>
                    <a:gd name="T29" fmla="*/ 2147483647 h 187"/>
                    <a:gd name="T30" fmla="*/ 2147483647 w 202"/>
                    <a:gd name="T31" fmla="*/ 2147483647 h 187"/>
                    <a:gd name="T32" fmla="*/ 2147483647 w 202"/>
                    <a:gd name="T33" fmla="*/ 2147483647 h 187"/>
                    <a:gd name="T34" fmla="*/ 2147483647 w 202"/>
                    <a:gd name="T35" fmla="*/ 2147483647 h 187"/>
                    <a:gd name="T36" fmla="*/ 2147483647 w 202"/>
                    <a:gd name="T37" fmla="*/ 2147483647 h 187"/>
                    <a:gd name="T38" fmla="*/ 2147483647 w 202"/>
                    <a:gd name="T39" fmla="*/ 2147483647 h 187"/>
                    <a:gd name="T40" fmla="*/ 2147483647 w 202"/>
                    <a:gd name="T41" fmla="*/ 2147483647 h 187"/>
                    <a:gd name="T42" fmla="*/ 2147483647 w 202"/>
                    <a:gd name="T43" fmla="*/ 2147483647 h 187"/>
                    <a:gd name="T44" fmla="*/ 2147483647 w 202"/>
                    <a:gd name="T45" fmla="*/ 2147483647 h 187"/>
                    <a:gd name="T46" fmla="*/ 2147483647 w 202"/>
                    <a:gd name="T47" fmla="*/ 2147483647 h 187"/>
                    <a:gd name="T48" fmla="*/ 2147483647 w 202"/>
                    <a:gd name="T49" fmla="*/ 2147483647 h 187"/>
                    <a:gd name="T50" fmla="*/ 2147483647 w 202"/>
                    <a:gd name="T51" fmla="*/ 2147483647 h 187"/>
                    <a:gd name="T52" fmla="*/ 2147483647 w 202"/>
                    <a:gd name="T53" fmla="*/ 2147483647 h 187"/>
                    <a:gd name="T54" fmla="*/ 2147483647 w 202"/>
                    <a:gd name="T55" fmla="*/ 2147483647 h 187"/>
                    <a:gd name="T56" fmla="*/ 2147483647 w 202"/>
                    <a:gd name="T57" fmla="*/ 2147483647 h 187"/>
                    <a:gd name="T58" fmla="*/ 2147483647 w 202"/>
                    <a:gd name="T59" fmla="*/ 2147483647 h 187"/>
                    <a:gd name="T60" fmla="*/ 2147483647 w 202"/>
                    <a:gd name="T61" fmla="*/ 2147483647 h 187"/>
                    <a:gd name="T62" fmla="*/ 2147483647 w 202"/>
                    <a:gd name="T63" fmla="*/ 2147483647 h 187"/>
                    <a:gd name="T64" fmla="*/ 2147483647 w 202"/>
                    <a:gd name="T65" fmla="*/ 2147483647 h 187"/>
                    <a:gd name="T66" fmla="*/ 2147483647 w 202"/>
                    <a:gd name="T67" fmla="*/ 2147483647 h 187"/>
                    <a:gd name="T68" fmla="*/ 2147483647 w 202"/>
                    <a:gd name="T69" fmla="*/ 2147483647 h 187"/>
                    <a:gd name="T70" fmla="*/ 2147483647 w 202"/>
                    <a:gd name="T71" fmla="*/ 2147483647 h 187"/>
                    <a:gd name="T72" fmla="*/ 2147483647 w 202"/>
                    <a:gd name="T73" fmla="*/ 0 h 187"/>
                    <a:gd name="T74" fmla="*/ 2147483647 w 202"/>
                    <a:gd name="T75" fmla="*/ 0 h 187"/>
                    <a:gd name="T76" fmla="*/ 2147483647 w 202"/>
                    <a:gd name="T77" fmla="*/ 2147483647 h 187"/>
                    <a:gd name="T78" fmla="*/ 2147483647 w 202"/>
                    <a:gd name="T79" fmla="*/ 2147483647 h 187"/>
                    <a:gd name="T80" fmla="*/ 2147483647 w 202"/>
                    <a:gd name="T81" fmla="*/ 2147483647 h 187"/>
                    <a:gd name="T82" fmla="*/ 2147483647 w 202"/>
                    <a:gd name="T83" fmla="*/ 2147483647 h 187"/>
                    <a:gd name="T84" fmla="*/ 2147483647 w 202"/>
                    <a:gd name="T85" fmla="*/ 2147483647 h 187"/>
                    <a:gd name="T86" fmla="*/ 2147483647 w 202"/>
                    <a:gd name="T87" fmla="*/ 2147483647 h 187"/>
                    <a:gd name="T88" fmla="*/ 2147483647 w 202"/>
                    <a:gd name="T89" fmla="*/ 2147483647 h 187"/>
                    <a:gd name="T90" fmla="*/ 2147483647 w 202"/>
                    <a:gd name="T91" fmla="*/ 2147483647 h 187"/>
                    <a:gd name="T92" fmla="*/ 2147483647 w 202"/>
                    <a:gd name="T93" fmla="*/ 2147483647 h 187"/>
                    <a:gd name="T94" fmla="*/ 2147483647 w 202"/>
                    <a:gd name="T95" fmla="*/ 2147483647 h 187"/>
                    <a:gd name="T96" fmla="*/ 2147483647 w 202"/>
                    <a:gd name="T97" fmla="*/ 2147483647 h 187"/>
                    <a:gd name="T98" fmla="*/ 2147483647 w 202"/>
                    <a:gd name="T99" fmla="*/ 2147483647 h 187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2"/>
                    <a:gd name="T151" fmla="*/ 0 h 187"/>
                    <a:gd name="T152" fmla="*/ 202 w 202"/>
                    <a:gd name="T153" fmla="*/ 187 h 187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2" h="187">
                      <a:moveTo>
                        <a:pt x="190" y="112"/>
                      </a:moveTo>
                      <a:lnTo>
                        <a:pt x="190" y="112"/>
                      </a:lnTo>
                      <a:lnTo>
                        <a:pt x="180" y="118"/>
                      </a:lnTo>
                      <a:lnTo>
                        <a:pt x="169" y="122"/>
                      </a:lnTo>
                      <a:lnTo>
                        <a:pt x="147" y="131"/>
                      </a:lnTo>
                      <a:lnTo>
                        <a:pt x="145" y="132"/>
                      </a:lnTo>
                      <a:lnTo>
                        <a:pt x="142" y="136"/>
                      </a:lnTo>
                      <a:lnTo>
                        <a:pt x="142" y="140"/>
                      </a:lnTo>
                      <a:lnTo>
                        <a:pt x="142" y="145"/>
                      </a:lnTo>
                      <a:lnTo>
                        <a:pt x="139" y="144"/>
                      </a:lnTo>
                      <a:lnTo>
                        <a:pt x="136" y="144"/>
                      </a:lnTo>
                      <a:lnTo>
                        <a:pt x="133" y="144"/>
                      </a:lnTo>
                      <a:lnTo>
                        <a:pt x="129" y="145"/>
                      </a:lnTo>
                      <a:lnTo>
                        <a:pt x="123" y="149"/>
                      </a:lnTo>
                      <a:lnTo>
                        <a:pt x="120" y="153"/>
                      </a:lnTo>
                      <a:lnTo>
                        <a:pt x="118" y="158"/>
                      </a:lnTo>
                      <a:lnTo>
                        <a:pt x="117" y="159"/>
                      </a:lnTo>
                      <a:lnTo>
                        <a:pt x="115" y="162"/>
                      </a:lnTo>
                      <a:lnTo>
                        <a:pt x="108" y="166"/>
                      </a:lnTo>
                      <a:lnTo>
                        <a:pt x="101" y="172"/>
                      </a:lnTo>
                      <a:lnTo>
                        <a:pt x="95" y="179"/>
                      </a:lnTo>
                      <a:lnTo>
                        <a:pt x="87" y="184"/>
                      </a:lnTo>
                      <a:lnTo>
                        <a:pt x="81" y="187"/>
                      </a:lnTo>
                      <a:lnTo>
                        <a:pt x="77" y="187"/>
                      </a:lnTo>
                      <a:lnTo>
                        <a:pt x="75" y="185"/>
                      </a:lnTo>
                      <a:lnTo>
                        <a:pt x="71" y="184"/>
                      </a:lnTo>
                      <a:lnTo>
                        <a:pt x="67" y="184"/>
                      </a:lnTo>
                      <a:lnTo>
                        <a:pt x="59" y="185"/>
                      </a:lnTo>
                      <a:lnTo>
                        <a:pt x="53" y="185"/>
                      </a:lnTo>
                      <a:lnTo>
                        <a:pt x="48" y="185"/>
                      </a:lnTo>
                      <a:lnTo>
                        <a:pt x="43" y="182"/>
                      </a:lnTo>
                      <a:lnTo>
                        <a:pt x="33" y="182"/>
                      </a:lnTo>
                      <a:lnTo>
                        <a:pt x="21" y="183"/>
                      </a:lnTo>
                      <a:lnTo>
                        <a:pt x="0" y="187"/>
                      </a:lnTo>
                      <a:lnTo>
                        <a:pt x="2" y="94"/>
                      </a:lnTo>
                      <a:lnTo>
                        <a:pt x="9" y="94"/>
                      </a:lnTo>
                      <a:lnTo>
                        <a:pt x="20" y="93"/>
                      </a:lnTo>
                      <a:lnTo>
                        <a:pt x="35" y="90"/>
                      </a:lnTo>
                      <a:lnTo>
                        <a:pt x="35" y="55"/>
                      </a:lnTo>
                      <a:lnTo>
                        <a:pt x="42" y="57"/>
                      </a:lnTo>
                      <a:lnTo>
                        <a:pt x="47" y="62"/>
                      </a:lnTo>
                      <a:lnTo>
                        <a:pt x="49" y="63"/>
                      </a:lnTo>
                      <a:lnTo>
                        <a:pt x="53" y="62"/>
                      </a:lnTo>
                      <a:lnTo>
                        <a:pt x="61" y="60"/>
                      </a:lnTo>
                      <a:lnTo>
                        <a:pt x="59" y="64"/>
                      </a:lnTo>
                      <a:lnTo>
                        <a:pt x="59" y="68"/>
                      </a:lnTo>
                      <a:lnTo>
                        <a:pt x="59" y="70"/>
                      </a:lnTo>
                      <a:lnTo>
                        <a:pt x="62" y="72"/>
                      </a:lnTo>
                      <a:lnTo>
                        <a:pt x="67" y="73"/>
                      </a:lnTo>
                      <a:lnTo>
                        <a:pt x="73" y="73"/>
                      </a:lnTo>
                      <a:lnTo>
                        <a:pt x="78" y="72"/>
                      </a:lnTo>
                      <a:lnTo>
                        <a:pt x="90" y="64"/>
                      </a:lnTo>
                      <a:lnTo>
                        <a:pt x="91" y="64"/>
                      </a:lnTo>
                      <a:lnTo>
                        <a:pt x="92" y="64"/>
                      </a:lnTo>
                      <a:lnTo>
                        <a:pt x="95" y="67"/>
                      </a:lnTo>
                      <a:lnTo>
                        <a:pt x="98" y="72"/>
                      </a:lnTo>
                      <a:lnTo>
                        <a:pt x="105" y="81"/>
                      </a:lnTo>
                      <a:lnTo>
                        <a:pt x="109" y="86"/>
                      </a:lnTo>
                      <a:lnTo>
                        <a:pt x="114" y="88"/>
                      </a:lnTo>
                      <a:lnTo>
                        <a:pt x="117" y="90"/>
                      </a:lnTo>
                      <a:lnTo>
                        <a:pt x="118" y="94"/>
                      </a:lnTo>
                      <a:lnTo>
                        <a:pt x="119" y="96"/>
                      </a:lnTo>
                      <a:lnTo>
                        <a:pt x="122" y="100"/>
                      </a:lnTo>
                      <a:lnTo>
                        <a:pt x="124" y="101"/>
                      </a:lnTo>
                      <a:lnTo>
                        <a:pt x="129" y="102"/>
                      </a:lnTo>
                      <a:lnTo>
                        <a:pt x="133" y="102"/>
                      </a:lnTo>
                      <a:lnTo>
                        <a:pt x="134" y="101"/>
                      </a:lnTo>
                      <a:lnTo>
                        <a:pt x="134" y="89"/>
                      </a:lnTo>
                      <a:lnTo>
                        <a:pt x="134" y="85"/>
                      </a:lnTo>
                      <a:lnTo>
                        <a:pt x="134" y="82"/>
                      </a:lnTo>
                      <a:lnTo>
                        <a:pt x="133" y="82"/>
                      </a:lnTo>
                      <a:lnTo>
                        <a:pt x="129" y="82"/>
                      </a:lnTo>
                      <a:lnTo>
                        <a:pt x="125" y="80"/>
                      </a:lnTo>
                      <a:lnTo>
                        <a:pt x="120" y="77"/>
                      </a:lnTo>
                      <a:lnTo>
                        <a:pt x="118" y="74"/>
                      </a:lnTo>
                      <a:lnTo>
                        <a:pt x="114" y="69"/>
                      </a:lnTo>
                      <a:lnTo>
                        <a:pt x="112" y="64"/>
                      </a:lnTo>
                      <a:lnTo>
                        <a:pt x="110" y="60"/>
                      </a:lnTo>
                      <a:lnTo>
                        <a:pt x="110" y="55"/>
                      </a:lnTo>
                      <a:lnTo>
                        <a:pt x="112" y="37"/>
                      </a:lnTo>
                      <a:lnTo>
                        <a:pt x="113" y="24"/>
                      </a:lnTo>
                      <a:lnTo>
                        <a:pt x="115" y="16"/>
                      </a:lnTo>
                      <a:lnTo>
                        <a:pt x="120" y="9"/>
                      </a:lnTo>
                      <a:lnTo>
                        <a:pt x="120" y="6"/>
                      </a:lnTo>
                      <a:lnTo>
                        <a:pt x="120" y="4"/>
                      </a:lnTo>
                      <a:lnTo>
                        <a:pt x="122" y="2"/>
                      </a:lnTo>
                      <a:lnTo>
                        <a:pt x="122" y="0"/>
                      </a:lnTo>
                      <a:lnTo>
                        <a:pt x="138" y="0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57" y="5"/>
                      </a:lnTo>
                      <a:lnTo>
                        <a:pt x="167" y="12"/>
                      </a:lnTo>
                      <a:lnTo>
                        <a:pt x="172" y="15"/>
                      </a:lnTo>
                      <a:lnTo>
                        <a:pt x="179" y="17"/>
                      </a:lnTo>
                      <a:lnTo>
                        <a:pt x="180" y="18"/>
                      </a:lnTo>
                      <a:lnTo>
                        <a:pt x="183" y="21"/>
                      </a:lnTo>
                      <a:lnTo>
                        <a:pt x="186" y="22"/>
                      </a:lnTo>
                      <a:lnTo>
                        <a:pt x="190" y="23"/>
                      </a:lnTo>
                      <a:lnTo>
                        <a:pt x="190" y="25"/>
                      </a:lnTo>
                      <a:lnTo>
                        <a:pt x="190" y="26"/>
                      </a:lnTo>
                      <a:lnTo>
                        <a:pt x="197" y="38"/>
                      </a:lnTo>
                      <a:lnTo>
                        <a:pt x="199" y="44"/>
                      </a:lnTo>
                      <a:lnTo>
                        <a:pt x="199" y="50"/>
                      </a:lnTo>
                      <a:lnTo>
                        <a:pt x="199" y="68"/>
                      </a:lnTo>
                      <a:lnTo>
                        <a:pt x="199" y="77"/>
                      </a:lnTo>
                      <a:lnTo>
                        <a:pt x="202" y="86"/>
                      </a:lnTo>
                      <a:lnTo>
                        <a:pt x="202" y="88"/>
                      </a:lnTo>
                      <a:lnTo>
                        <a:pt x="200" y="90"/>
                      </a:lnTo>
                      <a:lnTo>
                        <a:pt x="197" y="94"/>
                      </a:lnTo>
                      <a:lnTo>
                        <a:pt x="193" y="98"/>
                      </a:lnTo>
                      <a:lnTo>
                        <a:pt x="190" y="101"/>
                      </a:lnTo>
                      <a:lnTo>
                        <a:pt x="189" y="104"/>
                      </a:lnTo>
                      <a:lnTo>
                        <a:pt x="189" y="107"/>
                      </a:lnTo>
                      <a:lnTo>
                        <a:pt x="190" y="1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7" name="Freeform 739">
                  <a:extLst>
                    <a:ext uri="{FF2B5EF4-FFF2-40B4-BE49-F238E27FC236}">
                      <a16:creationId xmlns:a16="http://schemas.microsoft.com/office/drawing/2014/main" id="{E752D30C-C07A-A94E-A23C-8F14C46BAB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4959" y="4766350"/>
                  <a:ext cx="10359" cy="16278"/>
                </a:xfrm>
                <a:custGeom>
                  <a:avLst/>
                  <a:gdLst>
                    <a:gd name="T0" fmla="*/ 2147483647 w 8"/>
                    <a:gd name="T1" fmla="*/ 2147483647 h 11"/>
                    <a:gd name="T2" fmla="*/ 2147483647 w 8"/>
                    <a:gd name="T3" fmla="*/ 2147483647 h 11"/>
                    <a:gd name="T4" fmla="*/ 2147483647 w 8"/>
                    <a:gd name="T5" fmla="*/ 0 h 11"/>
                    <a:gd name="T6" fmla="*/ 2147483647 w 8"/>
                    <a:gd name="T7" fmla="*/ 2147483647 h 11"/>
                    <a:gd name="T8" fmla="*/ 2147483647 w 8"/>
                    <a:gd name="T9" fmla="*/ 2147483647 h 11"/>
                    <a:gd name="T10" fmla="*/ 2147483647 w 8"/>
                    <a:gd name="T11" fmla="*/ 2147483647 h 11"/>
                    <a:gd name="T12" fmla="*/ 2147483647 w 8"/>
                    <a:gd name="T13" fmla="*/ 2147483647 h 11"/>
                    <a:gd name="T14" fmla="*/ 2147483647 w 8"/>
                    <a:gd name="T15" fmla="*/ 2147483647 h 11"/>
                    <a:gd name="T16" fmla="*/ 0 w 8"/>
                    <a:gd name="T17" fmla="*/ 2147483647 h 11"/>
                    <a:gd name="T18" fmla="*/ 0 w 8"/>
                    <a:gd name="T19" fmla="*/ 2147483647 h 11"/>
                    <a:gd name="T20" fmla="*/ 2147483647 w 8"/>
                    <a:gd name="T21" fmla="*/ 2147483647 h 11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11"/>
                    <a:gd name="T35" fmla="*/ 8 w 8"/>
                    <a:gd name="T36" fmla="*/ 11 h 11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11">
                      <a:moveTo>
                        <a:pt x="1" y="5"/>
                      </a:move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8" y="6"/>
                      </a:lnTo>
                      <a:lnTo>
                        <a:pt x="5" y="10"/>
                      </a:lnTo>
                      <a:lnTo>
                        <a:pt x="3" y="11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8" name="Freeform 740">
                  <a:extLst>
                    <a:ext uri="{FF2B5EF4-FFF2-40B4-BE49-F238E27FC236}">
                      <a16:creationId xmlns:a16="http://schemas.microsoft.com/office/drawing/2014/main" id="{98836FA8-0F3A-A848-8AFB-A33846CB2A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7560" y="4792988"/>
                  <a:ext cx="7400" cy="17758"/>
                </a:xfrm>
                <a:custGeom>
                  <a:avLst/>
                  <a:gdLst>
                    <a:gd name="T0" fmla="*/ 2147483647 w 6"/>
                    <a:gd name="T1" fmla="*/ 2147483647 h 12"/>
                    <a:gd name="T2" fmla="*/ 2147483647 w 6"/>
                    <a:gd name="T3" fmla="*/ 2147483647 h 12"/>
                    <a:gd name="T4" fmla="*/ 2147483647 w 6"/>
                    <a:gd name="T5" fmla="*/ 2147483647 h 12"/>
                    <a:gd name="T6" fmla="*/ 0 w 6"/>
                    <a:gd name="T7" fmla="*/ 2147483647 h 12"/>
                    <a:gd name="T8" fmla="*/ 0 w 6"/>
                    <a:gd name="T9" fmla="*/ 2147483647 h 12"/>
                    <a:gd name="T10" fmla="*/ 2147483647 w 6"/>
                    <a:gd name="T11" fmla="*/ 2147483647 h 12"/>
                    <a:gd name="T12" fmla="*/ 2147483647 w 6"/>
                    <a:gd name="T13" fmla="*/ 2147483647 h 12"/>
                    <a:gd name="T14" fmla="*/ 0 w 6"/>
                    <a:gd name="T15" fmla="*/ 2147483647 h 12"/>
                    <a:gd name="T16" fmla="*/ 0 w 6"/>
                    <a:gd name="T17" fmla="*/ 0 h 12"/>
                    <a:gd name="T18" fmla="*/ 2147483647 w 6"/>
                    <a:gd name="T19" fmla="*/ 0 h 12"/>
                    <a:gd name="T20" fmla="*/ 2147483647 w 6"/>
                    <a:gd name="T21" fmla="*/ 0 h 12"/>
                    <a:gd name="T22" fmla="*/ 2147483647 w 6"/>
                    <a:gd name="T23" fmla="*/ 2147483647 h 12"/>
                    <a:gd name="T24" fmla="*/ 2147483647 w 6"/>
                    <a:gd name="T25" fmla="*/ 2147483647 h 12"/>
                    <a:gd name="T26" fmla="*/ 2147483647 w 6"/>
                    <a:gd name="T27" fmla="*/ 2147483647 h 12"/>
                    <a:gd name="T28" fmla="*/ 2147483647 w 6"/>
                    <a:gd name="T29" fmla="*/ 2147483647 h 12"/>
                    <a:gd name="T30" fmla="*/ 2147483647 w 6"/>
                    <a:gd name="T31" fmla="*/ 2147483647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12"/>
                    <a:gd name="T50" fmla="*/ 6 w 6"/>
                    <a:gd name="T51" fmla="*/ 12 h 1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12">
                      <a:moveTo>
                        <a:pt x="6" y="11"/>
                      </a:moveTo>
                      <a:lnTo>
                        <a:pt x="4" y="12"/>
                      </a:lnTo>
                      <a:lnTo>
                        <a:pt x="1" y="12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7"/>
                      </a:lnTo>
                      <a:lnTo>
                        <a:pt x="6" y="8"/>
                      </a:ln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9" name="Freeform 741">
                  <a:extLst>
                    <a:ext uri="{FF2B5EF4-FFF2-40B4-BE49-F238E27FC236}">
                      <a16:creationId xmlns:a16="http://schemas.microsoft.com/office/drawing/2014/main" id="{1941C1F5-36D7-2944-9B07-EF7EECA5EE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3483" y="4764873"/>
                  <a:ext cx="10360" cy="16279"/>
                </a:xfrm>
                <a:custGeom>
                  <a:avLst/>
                  <a:gdLst>
                    <a:gd name="T0" fmla="*/ 2147483647 w 7"/>
                    <a:gd name="T1" fmla="*/ 2147483647 h 11"/>
                    <a:gd name="T2" fmla="*/ 2147483647 w 7"/>
                    <a:gd name="T3" fmla="*/ 2147483647 h 11"/>
                    <a:gd name="T4" fmla="*/ 2147483647 w 7"/>
                    <a:gd name="T5" fmla="*/ 2147483647 h 11"/>
                    <a:gd name="T6" fmla="*/ 2147483647 w 7"/>
                    <a:gd name="T7" fmla="*/ 0 h 11"/>
                    <a:gd name="T8" fmla="*/ 2147483647 w 7"/>
                    <a:gd name="T9" fmla="*/ 0 h 11"/>
                    <a:gd name="T10" fmla="*/ 2147483647 w 7"/>
                    <a:gd name="T11" fmla="*/ 2147483647 h 11"/>
                    <a:gd name="T12" fmla="*/ 2147483647 w 7"/>
                    <a:gd name="T13" fmla="*/ 2147483647 h 11"/>
                    <a:gd name="T14" fmla="*/ 2147483647 w 7"/>
                    <a:gd name="T15" fmla="*/ 2147483647 h 11"/>
                    <a:gd name="T16" fmla="*/ 2147483647 w 7"/>
                    <a:gd name="T17" fmla="*/ 2147483647 h 11"/>
                    <a:gd name="T18" fmla="*/ 2147483647 w 7"/>
                    <a:gd name="T19" fmla="*/ 2147483647 h 11"/>
                    <a:gd name="T20" fmla="*/ 2147483647 w 7"/>
                    <a:gd name="T21" fmla="*/ 2147483647 h 11"/>
                    <a:gd name="T22" fmla="*/ 0 w 7"/>
                    <a:gd name="T23" fmla="*/ 2147483647 h 11"/>
                    <a:gd name="T24" fmla="*/ 0 w 7"/>
                    <a:gd name="T25" fmla="*/ 2147483647 h 11"/>
                    <a:gd name="T26" fmla="*/ 2147483647 w 7"/>
                    <a:gd name="T27" fmla="*/ 2147483647 h 11"/>
                    <a:gd name="T28" fmla="*/ 2147483647 w 7"/>
                    <a:gd name="T29" fmla="*/ 2147483647 h 1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"/>
                    <a:gd name="T46" fmla="*/ 0 h 11"/>
                    <a:gd name="T47" fmla="*/ 7 w 7"/>
                    <a:gd name="T48" fmla="*/ 11 h 1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" h="11">
                      <a:moveTo>
                        <a:pt x="1" y="5"/>
                      </a:moveTo>
                      <a:lnTo>
                        <a:pt x="1" y="5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7" y="3"/>
                      </a:lnTo>
                      <a:lnTo>
                        <a:pt x="7" y="6"/>
                      </a:lnTo>
                      <a:lnTo>
                        <a:pt x="5" y="10"/>
                      </a:lnTo>
                      <a:lnTo>
                        <a:pt x="2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0" name="Freeform 742">
                  <a:extLst>
                    <a:ext uri="{FF2B5EF4-FFF2-40B4-BE49-F238E27FC236}">
                      <a16:creationId xmlns:a16="http://schemas.microsoft.com/office/drawing/2014/main" id="{27F050EA-327F-354A-82C4-A60F51073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4602" y="4791507"/>
                  <a:ext cx="8879" cy="17758"/>
                </a:xfrm>
                <a:custGeom>
                  <a:avLst/>
                  <a:gdLst>
                    <a:gd name="T0" fmla="*/ 2147483647 w 7"/>
                    <a:gd name="T1" fmla="*/ 2147483647 h 12"/>
                    <a:gd name="T2" fmla="*/ 2147483647 w 7"/>
                    <a:gd name="T3" fmla="*/ 2147483647 h 12"/>
                    <a:gd name="T4" fmla="*/ 2147483647 w 7"/>
                    <a:gd name="T5" fmla="*/ 2147483647 h 12"/>
                    <a:gd name="T6" fmla="*/ 2147483647 w 7"/>
                    <a:gd name="T7" fmla="*/ 2147483647 h 12"/>
                    <a:gd name="T8" fmla="*/ 0 w 7"/>
                    <a:gd name="T9" fmla="*/ 2147483647 h 12"/>
                    <a:gd name="T10" fmla="*/ 0 w 7"/>
                    <a:gd name="T11" fmla="*/ 2147483647 h 12"/>
                    <a:gd name="T12" fmla="*/ 0 w 7"/>
                    <a:gd name="T13" fmla="*/ 2147483647 h 12"/>
                    <a:gd name="T14" fmla="*/ 2147483647 w 7"/>
                    <a:gd name="T15" fmla="*/ 2147483647 h 12"/>
                    <a:gd name="T16" fmla="*/ 2147483647 w 7"/>
                    <a:gd name="T17" fmla="*/ 2147483647 h 12"/>
                    <a:gd name="T18" fmla="*/ 0 w 7"/>
                    <a:gd name="T19" fmla="*/ 2147483647 h 12"/>
                    <a:gd name="T20" fmla="*/ 0 w 7"/>
                    <a:gd name="T21" fmla="*/ 2147483647 h 12"/>
                    <a:gd name="T22" fmla="*/ 0 w 7"/>
                    <a:gd name="T23" fmla="*/ 0 h 12"/>
                    <a:gd name="T24" fmla="*/ 2147483647 w 7"/>
                    <a:gd name="T25" fmla="*/ 0 h 12"/>
                    <a:gd name="T26" fmla="*/ 2147483647 w 7"/>
                    <a:gd name="T27" fmla="*/ 0 h 12"/>
                    <a:gd name="T28" fmla="*/ 2147483647 w 7"/>
                    <a:gd name="T29" fmla="*/ 0 h 12"/>
                    <a:gd name="T30" fmla="*/ 2147483647 w 7"/>
                    <a:gd name="T31" fmla="*/ 2147483647 h 12"/>
                    <a:gd name="T32" fmla="*/ 2147483647 w 7"/>
                    <a:gd name="T33" fmla="*/ 2147483647 h 12"/>
                    <a:gd name="T34" fmla="*/ 2147483647 w 7"/>
                    <a:gd name="T35" fmla="*/ 2147483647 h 12"/>
                    <a:gd name="T36" fmla="*/ 2147483647 w 7"/>
                    <a:gd name="T37" fmla="*/ 2147483647 h 12"/>
                    <a:gd name="T38" fmla="*/ 2147483647 w 7"/>
                    <a:gd name="T39" fmla="*/ 2147483647 h 12"/>
                    <a:gd name="T40" fmla="*/ 2147483647 w 7"/>
                    <a:gd name="T41" fmla="*/ 2147483647 h 12"/>
                    <a:gd name="T42" fmla="*/ 2147483647 w 7"/>
                    <a:gd name="T43" fmla="*/ 2147483647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7"/>
                    <a:gd name="T67" fmla="*/ 0 h 12"/>
                    <a:gd name="T68" fmla="*/ 7 w 7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7" h="12">
                      <a:moveTo>
                        <a:pt x="7" y="11"/>
                      </a:moveTo>
                      <a:lnTo>
                        <a:pt x="7" y="11"/>
                      </a:ln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lnTo>
                        <a:pt x="7" y="7"/>
                      </a:lnTo>
                      <a:lnTo>
                        <a:pt x="7" y="8"/>
                      </a:lnTo>
                      <a:lnTo>
                        <a:pt x="7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1" name="Freeform 743">
                  <a:extLst>
                    <a:ext uri="{FF2B5EF4-FFF2-40B4-BE49-F238E27FC236}">
                      <a16:creationId xmlns:a16="http://schemas.microsoft.com/office/drawing/2014/main" id="{3935C536-AEEB-3145-BE6A-95C3E93192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6443" y="4838866"/>
                  <a:ext cx="10360" cy="19239"/>
                </a:xfrm>
                <a:custGeom>
                  <a:avLst/>
                  <a:gdLst>
                    <a:gd name="T0" fmla="*/ 2147483647 w 8"/>
                    <a:gd name="T1" fmla="*/ 2147483647 h 13"/>
                    <a:gd name="T2" fmla="*/ 2147483647 w 8"/>
                    <a:gd name="T3" fmla="*/ 2147483647 h 13"/>
                    <a:gd name="T4" fmla="*/ 2147483647 w 8"/>
                    <a:gd name="T5" fmla="*/ 2147483647 h 13"/>
                    <a:gd name="T6" fmla="*/ 2147483647 w 8"/>
                    <a:gd name="T7" fmla="*/ 2147483647 h 13"/>
                    <a:gd name="T8" fmla="*/ 0 w 8"/>
                    <a:gd name="T9" fmla="*/ 2147483647 h 13"/>
                    <a:gd name="T10" fmla="*/ 0 w 8"/>
                    <a:gd name="T11" fmla="*/ 2147483647 h 13"/>
                    <a:gd name="T12" fmla="*/ 0 w 8"/>
                    <a:gd name="T13" fmla="*/ 2147483647 h 13"/>
                    <a:gd name="T14" fmla="*/ 2147483647 w 8"/>
                    <a:gd name="T15" fmla="*/ 2147483647 h 13"/>
                    <a:gd name="T16" fmla="*/ 2147483647 w 8"/>
                    <a:gd name="T17" fmla="*/ 2147483647 h 13"/>
                    <a:gd name="T18" fmla="*/ 2147483647 w 8"/>
                    <a:gd name="T19" fmla="*/ 0 h 13"/>
                    <a:gd name="T20" fmla="*/ 2147483647 w 8"/>
                    <a:gd name="T21" fmla="*/ 2147483647 h 13"/>
                    <a:gd name="T22" fmla="*/ 2147483647 w 8"/>
                    <a:gd name="T23" fmla="*/ 2147483647 h 13"/>
                    <a:gd name="T24" fmla="*/ 2147483647 w 8"/>
                    <a:gd name="T25" fmla="*/ 2147483647 h 1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13"/>
                    <a:gd name="T41" fmla="*/ 8 w 8"/>
                    <a:gd name="T42" fmla="*/ 13 h 1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13">
                      <a:moveTo>
                        <a:pt x="8" y="7"/>
                      </a:moveTo>
                      <a:lnTo>
                        <a:pt x="7" y="9"/>
                      </a:lnTo>
                      <a:lnTo>
                        <a:pt x="5" y="12"/>
                      </a:lnTo>
                      <a:lnTo>
                        <a:pt x="3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8" y="2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2" name="Freeform 744">
                  <a:extLst>
                    <a:ext uri="{FF2B5EF4-FFF2-40B4-BE49-F238E27FC236}">
                      <a16:creationId xmlns:a16="http://schemas.microsoft.com/office/drawing/2014/main" id="{C9C1A2A9-7128-444E-8F51-6C26346621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6701" y="4642040"/>
                  <a:ext cx="256018" cy="318172"/>
                </a:xfrm>
                <a:custGeom>
                  <a:avLst/>
                  <a:gdLst>
                    <a:gd name="T0" fmla="*/ 2147483647 w 188"/>
                    <a:gd name="T1" fmla="*/ 2147483647 h 215"/>
                    <a:gd name="T2" fmla="*/ 2147483647 w 188"/>
                    <a:gd name="T3" fmla="*/ 2147483647 h 215"/>
                    <a:gd name="T4" fmla="*/ 2147483647 w 188"/>
                    <a:gd name="T5" fmla="*/ 2147483647 h 215"/>
                    <a:gd name="T6" fmla="*/ 2147483647 w 188"/>
                    <a:gd name="T7" fmla="*/ 2147483647 h 215"/>
                    <a:gd name="T8" fmla="*/ 2147483647 w 188"/>
                    <a:gd name="T9" fmla="*/ 2147483647 h 215"/>
                    <a:gd name="T10" fmla="*/ 2147483647 w 188"/>
                    <a:gd name="T11" fmla="*/ 2147483647 h 215"/>
                    <a:gd name="T12" fmla="*/ 2147483647 w 188"/>
                    <a:gd name="T13" fmla="*/ 2147483647 h 215"/>
                    <a:gd name="T14" fmla="*/ 2147483647 w 188"/>
                    <a:gd name="T15" fmla="*/ 2147483647 h 215"/>
                    <a:gd name="T16" fmla="*/ 2147483647 w 188"/>
                    <a:gd name="T17" fmla="*/ 2147483647 h 215"/>
                    <a:gd name="T18" fmla="*/ 2147483647 w 188"/>
                    <a:gd name="T19" fmla="*/ 2147483647 h 215"/>
                    <a:gd name="T20" fmla="*/ 2147483647 w 188"/>
                    <a:gd name="T21" fmla="*/ 2147483647 h 215"/>
                    <a:gd name="T22" fmla="*/ 2147483647 w 188"/>
                    <a:gd name="T23" fmla="*/ 2147483647 h 215"/>
                    <a:gd name="T24" fmla="*/ 2147483647 w 188"/>
                    <a:gd name="T25" fmla="*/ 2147483647 h 215"/>
                    <a:gd name="T26" fmla="*/ 2147483647 w 188"/>
                    <a:gd name="T27" fmla="*/ 2147483647 h 215"/>
                    <a:gd name="T28" fmla="*/ 2147483647 w 188"/>
                    <a:gd name="T29" fmla="*/ 2147483647 h 215"/>
                    <a:gd name="T30" fmla="*/ 2147483647 w 188"/>
                    <a:gd name="T31" fmla="*/ 2147483647 h 215"/>
                    <a:gd name="T32" fmla="*/ 2147483647 w 188"/>
                    <a:gd name="T33" fmla="*/ 2147483647 h 215"/>
                    <a:gd name="T34" fmla="*/ 2147483647 w 188"/>
                    <a:gd name="T35" fmla="*/ 2147483647 h 215"/>
                    <a:gd name="T36" fmla="*/ 2147483647 w 188"/>
                    <a:gd name="T37" fmla="*/ 2147483647 h 215"/>
                    <a:gd name="T38" fmla="*/ 2147483647 w 188"/>
                    <a:gd name="T39" fmla="*/ 2147483647 h 215"/>
                    <a:gd name="T40" fmla="*/ 2147483647 w 188"/>
                    <a:gd name="T41" fmla="*/ 2147483647 h 215"/>
                    <a:gd name="T42" fmla="*/ 2147483647 w 188"/>
                    <a:gd name="T43" fmla="*/ 2147483647 h 215"/>
                    <a:gd name="T44" fmla="*/ 2147483647 w 188"/>
                    <a:gd name="T45" fmla="*/ 2147483647 h 215"/>
                    <a:gd name="T46" fmla="*/ 0 w 188"/>
                    <a:gd name="T47" fmla="*/ 2147483647 h 215"/>
                    <a:gd name="T48" fmla="*/ 2147483647 w 188"/>
                    <a:gd name="T49" fmla="*/ 2147483647 h 215"/>
                    <a:gd name="T50" fmla="*/ 2147483647 w 188"/>
                    <a:gd name="T51" fmla="*/ 2147483647 h 215"/>
                    <a:gd name="T52" fmla="*/ 2147483647 w 188"/>
                    <a:gd name="T53" fmla="*/ 2147483647 h 215"/>
                    <a:gd name="T54" fmla="*/ 2147483647 w 188"/>
                    <a:gd name="T55" fmla="*/ 2147483647 h 215"/>
                    <a:gd name="T56" fmla="*/ 2147483647 w 188"/>
                    <a:gd name="T57" fmla="*/ 2147483647 h 215"/>
                    <a:gd name="T58" fmla="*/ 2147483647 w 188"/>
                    <a:gd name="T59" fmla="*/ 2147483647 h 215"/>
                    <a:gd name="T60" fmla="*/ 2147483647 w 188"/>
                    <a:gd name="T61" fmla="*/ 2147483647 h 215"/>
                    <a:gd name="T62" fmla="*/ 2147483647 w 188"/>
                    <a:gd name="T63" fmla="*/ 0 h 215"/>
                    <a:gd name="T64" fmla="*/ 2147483647 w 188"/>
                    <a:gd name="T65" fmla="*/ 2147483647 h 215"/>
                    <a:gd name="T66" fmla="*/ 2147483647 w 188"/>
                    <a:gd name="T67" fmla="*/ 2147483647 h 215"/>
                    <a:gd name="T68" fmla="*/ 2147483647 w 188"/>
                    <a:gd name="T69" fmla="*/ 2147483647 h 215"/>
                    <a:gd name="T70" fmla="*/ 2147483647 w 188"/>
                    <a:gd name="T71" fmla="*/ 2147483647 h 215"/>
                    <a:gd name="T72" fmla="*/ 2147483647 w 188"/>
                    <a:gd name="T73" fmla="*/ 2147483647 h 215"/>
                    <a:gd name="T74" fmla="*/ 2147483647 w 188"/>
                    <a:gd name="T75" fmla="*/ 2147483647 h 215"/>
                    <a:gd name="T76" fmla="*/ 2147483647 w 188"/>
                    <a:gd name="T77" fmla="*/ 2147483647 h 215"/>
                    <a:gd name="T78" fmla="*/ 2147483647 w 188"/>
                    <a:gd name="T79" fmla="*/ 2147483647 h 215"/>
                    <a:gd name="T80" fmla="*/ 2147483647 w 188"/>
                    <a:gd name="T81" fmla="*/ 2147483647 h 215"/>
                    <a:gd name="T82" fmla="*/ 2147483647 w 188"/>
                    <a:gd name="T83" fmla="*/ 2147483647 h 215"/>
                    <a:gd name="T84" fmla="*/ 2147483647 w 188"/>
                    <a:gd name="T85" fmla="*/ 2147483647 h 215"/>
                    <a:gd name="T86" fmla="*/ 2147483647 w 188"/>
                    <a:gd name="T87" fmla="*/ 2147483647 h 215"/>
                    <a:gd name="T88" fmla="*/ 2147483647 w 188"/>
                    <a:gd name="T89" fmla="*/ 2147483647 h 215"/>
                    <a:gd name="T90" fmla="*/ 2147483647 w 188"/>
                    <a:gd name="T91" fmla="*/ 2147483647 h 215"/>
                    <a:gd name="T92" fmla="*/ 2147483647 w 188"/>
                    <a:gd name="T93" fmla="*/ 2147483647 h 215"/>
                    <a:gd name="T94" fmla="*/ 2147483647 w 188"/>
                    <a:gd name="T95" fmla="*/ 2147483647 h 215"/>
                    <a:gd name="T96" fmla="*/ 2147483647 w 188"/>
                    <a:gd name="T97" fmla="*/ 2147483647 h 215"/>
                    <a:gd name="T98" fmla="*/ 2147483647 w 188"/>
                    <a:gd name="T99" fmla="*/ 2147483647 h 215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88"/>
                    <a:gd name="T151" fmla="*/ 0 h 215"/>
                    <a:gd name="T152" fmla="*/ 188 w 188"/>
                    <a:gd name="T153" fmla="*/ 215 h 215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88" h="215">
                      <a:moveTo>
                        <a:pt x="188" y="187"/>
                      </a:moveTo>
                      <a:lnTo>
                        <a:pt x="184" y="192"/>
                      </a:lnTo>
                      <a:lnTo>
                        <a:pt x="183" y="195"/>
                      </a:lnTo>
                      <a:lnTo>
                        <a:pt x="180" y="196"/>
                      </a:lnTo>
                      <a:lnTo>
                        <a:pt x="174" y="198"/>
                      </a:lnTo>
                      <a:lnTo>
                        <a:pt x="169" y="202"/>
                      </a:lnTo>
                      <a:lnTo>
                        <a:pt x="164" y="205"/>
                      </a:lnTo>
                      <a:lnTo>
                        <a:pt x="159" y="209"/>
                      </a:lnTo>
                      <a:lnTo>
                        <a:pt x="156" y="210"/>
                      </a:lnTo>
                      <a:lnTo>
                        <a:pt x="153" y="210"/>
                      </a:lnTo>
                      <a:lnTo>
                        <a:pt x="150" y="208"/>
                      </a:lnTo>
                      <a:lnTo>
                        <a:pt x="147" y="205"/>
                      </a:lnTo>
                      <a:lnTo>
                        <a:pt x="146" y="204"/>
                      </a:lnTo>
                      <a:lnTo>
                        <a:pt x="143" y="204"/>
                      </a:lnTo>
                      <a:lnTo>
                        <a:pt x="131" y="210"/>
                      </a:lnTo>
                      <a:lnTo>
                        <a:pt x="123" y="212"/>
                      </a:lnTo>
                      <a:lnTo>
                        <a:pt x="115" y="212"/>
                      </a:lnTo>
                      <a:lnTo>
                        <a:pt x="109" y="211"/>
                      </a:lnTo>
                      <a:lnTo>
                        <a:pt x="103" y="211"/>
                      </a:lnTo>
                      <a:lnTo>
                        <a:pt x="98" y="212"/>
                      </a:lnTo>
                      <a:lnTo>
                        <a:pt x="93" y="215"/>
                      </a:lnTo>
                      <a:lnTo>
                        <a:pt x="91" y="205"/>
                      </a:lnTo>
                      <a:lnTo>
                        <a:pt x="91" y="197"/>
                      </a:lnTo>
                      <a:lnTo>
                        <a:pt x="91" y="193"/>
                      </a:lnTo>
                      <a:lnTo>
                        <a:pt x="90" y="190"/>
                      </a:lnTo>
                      <a:lnTo>
                        <a:pt x="84" y="180"/>
                      </a:lnTo>
                      <a:lnTo>
                        <a:pt x="77" y="172"/>
                      </a:lnTo>
                      <a:lnTo>
                        <a:pt x="76" y="172"/>
                      </a:lnTo>
                      <a:lnTo>
                        <a:pt x="75" y="174"/>
                      </a:lnTo>
                      <a:lnTo>
                        <a:pt x="76" y="176"/>
                      </a:lnTo>
                      <a:lnTo>
                        <a:pt x="71" y="174"/>
                      </a:lnTo>
                      <a:lnTo>
                        <a:pt x="66" y="172"/>
                      </a:lnTo>
                      <a:lnTo>
                        <a:pt x="60" y="172"/>
                      </a:lnTo>
                      <a:lnTo>
                        <a:pt x="56" y="171"/>
                      </a:lnTo>
                      <a:lnTo>
                        <a:pt x="52" y="170"/>
                      </a:lnTo>
                      <a:lnTo>
                        <a:pt x="49" y="167"/>
                      </a:lnTo>
                      <a:lnTo>
                        <a:pt x="48" y="166"/>
                      </a:lnTo>
                      <a:lnTo>
                        <a:pt x="42" y="164"/>
                      </a:lnTo>
                      <a:lnTo>
                        <a:pt x="37" y="161"/>
                      </a:lnTo>
                      <a:lnTo>
                        <a:pt x="26" y="154"/>
                      </a:lnTo>
                      <a:lnTo>
                        <a:pt x="25" y="150"/>
                      </a:lnTo>
                      <a:lnTo>
                        <a:pt x="23" y="144"/>
                      </a:lnTo>
                      <a:lnTo>
                        <a:pt x="18" y="134"/>
                      </a:lnTo>
                      <a:lnTo>
                        <a:pt x="11" y="125"/>
                      </a:lnTo>
                      <a:lnTo>
                        <a:pt x="6" y="114"/>
                      </a:lnTo>
                      <a:lnTo>
                        <a:pt x="4" y="102"/>
                      </a:lnTo>
                      <a:lnTo>
                        <a:pt x="1" y="89"/>
                      </a:lnTo>
                      <a:lnTo>
                        <a:pt x="0" y="76"/>
                      </a:lnTo>
                      <a:lnTo>
                        <a:pt x="1" y="64"/>
                      </a:lnTo>
                      <a:lnTo>
                        <a:pt x="7" y="58"/>
                      </a:lnTo>
                      <a:lnTo>
                        <a:pt x="11" y="54"/>
                      </a:lnTo>
                      <a:lnTo>
                        <a:pt x="13" y="51"/>
                      </a:lnTo>
                      <a:lnTo>
                        <a:pt x="13" y="48"/>
                      </a:lnTo>
                      <a:lnTo>
                        <a:pt x="10" y="42"/>
                      </a:lnTo>
                      <a:lnTo>
                        <a:pt x="9" y="36"/>
                      </a:lnTo>
                      <a:lnTo>
                        <a:pt x="11" y="35"/>
                      </a:lnTo>
                      <a:lnTo>
                        <a:pt x="14" y="32"/>
                      </a:lnTo>
                      <a:lnTo>
                        <a:pt x="15" y="29"/>
                      </a:lnTo>
                      <a:lnTo>
                        <a:pt x="16" y="22"/>
                      </a:lnTo>
                      <a:lnTo>
                        <a:pt x="15" y="13"/>
                      </a:lnTo>
                      <a:lnTo>
                        <a:pt x="15" y="6"/>
                      </a:lnTo>
                      <a:lnTo>
                        <a:pt x="30" y="6"/>
                      </a:lnTo>
                      <a:lnTo>
                        <a:pt x="46" y="5"/>
                      </a:lnTo>
                      <a:lnTo>
                        <a:pt x="76" y="0"/>
                      </a:lnTo>
                      <a:lnTo>
                        <a:pt x="93" y="14"/>
                      </a:lnTo>
                      <a:lnTo>
                        <a:pt x="109" y="27"/>
                      </a:lnTo>
                      <a:lnTo>
                        <a:pt x="127" y="44"/>
                      </a:lnTo>
                      <a:lnTo>
                        <a:pt x="134" y="50"/>
                      </a:lnTo>
                      <a:lnTo>
                        <a:pt x="138" y="58"/>
                      </a:lnTo>
                      <a:lnTo>
                        <a:pt x="141" y="62"/>
                      </a:lnTo>
                      <a:lnTo>
                        <a:pt x="145" y="65"/>
                      </a:lnTo>
                      <a:lnTo>
                        <a:pt x="155" y="71"/>
                      </a:lnTo>
                      <a:lnTo>
                        <a:pt x="165" y="77"/>
                      </a:lnTo>
                      <a:lnTo>
                        <a:pt x="169" y="81"/>
                      </a:lnTo>
                      <a:lnTo>
                        <a:pt x="171" y="83"/>
                      </a:lnTo>
                      <a:lnTo>
                        <a:pt x="169" y="89"/>
                      </a:lnTo>
                      <a:lnTo>
                        <a:pt x="165" y="95"/>
                      </a:lnTo>
                      <a:lnTo>
                        <a:pt x="162" y="99"/>
                      </a:lnTo>
                      <a:lnTo>
                        <a:pt x="161" y="102"/>
                      </a:lnTo>
                      <a:lnTo>
                        <a:pt x="161" y="107"/>
                      </a:lnTo>
                      <a:lnTo>
                        <a:pt x="162" y="110"/>
                      </a:lnTo>
                      <a:lnTo>
                        <a:pt x="162" y="115"/>
                      </a:lnTo>
                      <a:lnTo>
                        <a:pt x="165" y="119"/>
                      </a:lnTo>
                      <a:lnTo>
                        <a:pt x="167" y="121"/>
                      </a:lnTo>
                      <a:lnTo>
                        <a:pt x="170" y="125"/>
                      </a:lnTo>
                      <a:lnTo>
                        <a:pt x="171" y="128"/>
                      </a:lnTo>
                      <a:lnTo>
                        <a:pt x="171" y="132"/>
                      </a:lnTo>
                      <a:lnTo>
                        <a:pt x="169" y="138"/>
                      </a:lnTo>
                      <a:lnTo>
                        <a:pt x="169" y="141"/>
                      </a:lnTo>
                      <a:lnTo>
                        <a:pt x="170" y="145"/>
                      </a:lnTo>
                      <a:lnTo>
                        <a:pt x="171" y="150"/>
                      </a:lnTo>
                      <a:lnTo>
                        <a:pt x="173" y="154"/>
                      </a:lnTo>
                      <a:lnTo>
                        <a:pt x="176" y="159"/>
                      </a:lnTo>
                      <a:lnTo>
                        <a:pt x="180" y="164"/>
                      </a:lnTo>
                      <a:lnTo>
                        <a:pt x="181" y="169"/>
                      </a:lnTo>
                      <a:lnTo>
                        <a:pt x="181" y="173"/>
                      </a:lnTo>
                      <a:lnTo>
                        <a:pt x="183" y="183"/>
                      </a:lnTo>
                      <a:lnTo>
                        <a:pt x="184" y="185"/>
                      </a:lnTo>
                      <a:lnTo>
                        <a:pt x="186" y="186"/>
                      </a:lnTo>
                      <a:lnTo>
                        <a:pt x="188" y="18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3" name="Freeform 745">
                  <a:extLst>
                    <a:ext uri="{FF2B5EF4-FFF2-40B4-BE49-F238E27FC236}">
                      <a16:creationId xmlns:a16="http://schemas.microsoft.com/office/drawing/2014/main" id="{1920A612-1658-B74B-9E49-E01962DEB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4959" y="4837386"/>
                  <a:ext cx="10359" cy="19238"/>
                </a:xfrm>
                <a:custGeom>
                  <a:avLst/>
                  <a:gdLst>
                    <a:gd name="T0" fmla="*/ 2147483647 w 8"/>
                    <a:gd name="T1" fmla="*/ 2147483647 h 13"/>
                    <a:gd name="T2" fmla="*/ 2147483647 w 8"/>
                    <a:gd name="T3" fmla="*/ 2147483647 h 13"/>
                    <a:gd name="T4" fmla="*/ 2147483647 w 8"/>
                    <a:gd name="T5" fmla="*/ 2147483647 h 13"/>
                    <a:gd name="T6" fmla="*/ 2147483647 w 8"/>
                    <a:gd name="T7" fmla="*/ 2147483647 h 13"/>
                    <a:gd name="T8" fmla="*/ 2147483647 w 8"/>
                    <a:gd name="T9" fmla="*/ 2147483647 h 13"/>
                    <a:gd name="T10" fmla="*/ 0 w 8"/>
                    <a:gd name="T11" fmla="*/ 2147483647 h 13"/>
                    <a:gd name="T12" fmla="*/ 0 w 8"/>
                    <a:gd name="T13" fmla="*/ 2147483647 h 13"/>
                    <a:gd name="T14" fmla="*/ 0 w 8"/>
                    <a:gd name="T15" fmla="*/ 2147483647 h 13"/>
                    <a:gd name="T16" fmla="*/ 0 w 8"/>
                    <a:gd name="T17" fmla="*/ 2147483647 h 13"/>
                    <a:gd name="T18" fmla="*/ 2147483647 w 8"/>
                    <a:gd name="T19" fmla="*/ 2147483647 h 13"/>
                    <a:gd name="T20" fmla="*/ 2147483647 w 8"/>
                    <a:gd name="T21" fmla="*/ 2147483647 h 13"/>
                    <a:gd name="T22" fmla="*/ 2147483647 w 8"/>
                    <a:gd name="T23" fmla="*/ 0 h 13"/>
                    <a:gd name="T24" fmla="*/ 2147483647 w 8"/>
                    <a:gd name="T25" fmla="*/ 0 h 13"/>
                    <a:gd name="T26" fmla="*/ 2147483647 w 8"/>
                    <a:gd name="T27" fmla="*/ 2147483647 h 13"/>
                    <a:gd name="T28" fmla="*/ 2147483647 w 8"/>
                    <a:gd name="T29" fmla="*/ 2147483647 h 13"/>
                    <a:gd name="T30" fmla="*/ 2147483647 w 8"/>
                    <a:gd name="T31" fmla="*/ 2147483647 h 13"/>
                    <a:gd name="T32" fmla="*/ 2147483647 w 8"/>
                    <a:gd name="T33" fmla="*/ 2147483647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13"/>
                    <a:gd name="T53" fmla="*/ 8 w 8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13">
                      <a:moveTo>
                        <a:pt x="8" y="7"/>
                      </a:moveTo>
                      <a:lnTo>
                        <a:pt x="8" y="7"/>
                      </a:lnTo>
                      <a:lnTo>
                        <a:pt x="6" y="9"/>
                      </a:lnTo>
                      <a:lnTo>
                        <a:pt x="5" y="12"/>
                      </a:lnTo>
                      <a:lnTo>
                        <a:pt x="3" y="13"/>
                      </a:lnTo>
                      <a:lnTo>
                        <a:pt x="0" y="10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8" y="1"/>
                      </a:lnTo>
                      <a:lnTo>
                        <a:pt x="8" y="2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4" name="Freeform 746">
                  <a:extLst>
                    <a:ext uri="{FF2B5EF4-FFF2-40B4-BE49-F238E27FC236}">
                      <a16:creationId xmlns:a16="http://schemas.microsoft.com/office/drawing/2014/main" id="{18EA2AEA-A4B5-BD44-BAB7-3EE052BAD5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5224" y="4640563"/>
                  <a:ext cx="254537" cy="318173"/>
                </a:xfrm>
                <a:custGeom>
                  <a:avLst/>
                  <a:gdLst>
                    <a:gd name="T0" fmla="*/ 2147483647 w 187"/>
                    <a:gd name="T1" fmla="*/ 2147483647 h 215"/>
                    <a:gd name="T2" fmla="*/ 2147483647 w 187"/>
                    <a:gd name="T3" fmla="*/ 2147483647 h 215"/>
                    <a:gd name="T4" fmla="*/ 2147483647 w 187"/>
                    <a:gd name="T5" fmla="*/ 2147483647 h 215"/>
                    <a:gd name="T6" fmla="*/ 2147483647 w 187"/>
                    <a:gd name="T7" fmla="*/ 2147483647 h 215"/>
                    <a:gd name="T8" fmla="*/ 2147483647 w 187"/>
                    <a:gd name="T9" fmla="*/ 2147483647 h 215"/>
                    <a:gd name="T10" fmla="*/ 2147483647 w 187"/>
                    <a:gd name="T11" fmla="*/ 2147483647 h 215"/>
                    <a:gd name="T12" fmla="*/ 2147483647 w 187"/>
                    <a:gd name="T13" fmla="*/ 2147483647 h 215"/>
                    <a:gd name="T14" fmla="*/ 2147483647 w 187"/>
                    <a:gd name="T15" fmla="*/ 2147483647 h 215"/>
                    <a:gd name="T16" fmla="*/ 2147483647 w 187"/>
                    <a:gd name="T17" fmla="*/ 2147483647 h 215"/>
                    <a:gd name="T18" fmla="*/ 2147483647 w 187"/>
                    <a:gd name="T19" fmla="*/ 2147483647 h 215"/>
                    <a:gd name="T20" fmla="*/ 2147483647 w 187"/>
                    <a:gd name="T21" fmla="*/ 2147483647 h 215"/>
                    <a:gd name="T22" fmla="*/ 2147483647 w 187"/>
                    <a:gd name="T23" fmla="*/ 2147483647 h 215"/>
                    <a:gd name="T24" fmla="*/ 2147483647 w 187"/>
                    <a:gd name="T25" fmla="*/ 2147483647 h 215"/>
                    <a:gd name="T26" fmla="*/ 2147483647 w 187"/>
                    <a:gd name="T27" fmla="*/ 2147483647 h 215"/>
                    <a:gd name="T28" fmla="*/ 2147483647 w 187"/>
                    <a:gd name="T29" fmla="*/ 2147483647 h 215"/>
                    <a:gd name="T30" fmla="*/ 2147483647 w 187"/>
                    <a:gd name="T31" fmla="*/ 2147483647 h 215"/>
                    <a:gd name="T32" fmla="*/ 2147483647 w 187"/>
                    <a:gd name="T33" fmla="*/ 2147483647 h 215"/>
                    <a:gd name="T34" fmla="*/ 2147483647 w 187"/>
                    <a:gd name="T35" fmla="*/ 2147483647 h 215"/>
                    <a:gd name="T36" fmla="*/ 2147483647 w 187"/>
                    <a:gd name="T37" fmla="*/ 2147483647 h 215"/>
                    <a:gd name="T38" fmla="*/ 2147483647 w 187"/>
                    <a:gd name="T39" fmla="*/ 2147483647 h 215"/>
                    <a:gd name="T40" fmla="*/ 2147483647 w 187"/>
                    <a:gd name="T41" fmla="*/ 2147483647 h 215"/>
                    <a:gd name="T42" fmla="*/ 2147483647 w 187"/>
                    <a:gd name="T43" fmla="*/ 2147483647 h 215"/>
                    <a:gd name="T44" fmla="*/ 2147483647 w 187"/>
                    <a:gd name="T45" fmla="*/ 2147483647 h 215"/>
                    <a:gd name="T46" fmla="*/ 2147483647 w 187"/>
                    <a:gd name="T47" fmla="*/ 2147483647 h 215"/>
                    <a:gd name="T48" fmla="*/ 2147483647 w 187"/>
                    <a:gd name="T49" fmla="*/ 2147483647 h 215"/>
                    <a:gd name="T50" fmla="*/ 2147483647 w 187"/>
                    <a:gd name="T51" fmla="*/ 2147483647 h 215"/>
                    <a:gd name="T52" fmla="*/ 2147483647 w 187"/>
                    <a:gd name="T53" fmla="*/ 2147483647 h 215"/>
                    <a:gd name="T54" fmla="*/ 2147483647 w 187"/>
                    <a:gd name="T55" fmla="*/ 2147483647 h 215"/>
                    <a:gd name="T56" fmla="*/ 2147483647 w 187"/>
                    <a:gd name="T57" fmla="*/ 0 h 215"/>
                    <a:gd name="T58" fmla="*/ 2147483647 w 187"/>
                    <a:gd name="T59" fmla="*/ 2147483647 h 215"/>
                    <a:gd name="T60" fmla="*/ 2147483647 w 187"/>
                    <a:gd name="T61" fmla="*/ 2147483647 h 215"/>
                    <a:gd name="T62" fmla="*/ 2147483647 w 187"/>
                    <a:gd name="T63" fmla="*/ 2147483647 h 215"/>
                    <a:gd name="T64" fmla="*/ 2147483647 w 187"/>
                    <a:gd name="T65" fmla="*/ 2147483647 h 215"/>
                    <a:gd name="T66" fmla="*/ 2147483647 w 187"/>
                    <a:gd name="T67" fmla="*/ 2147483647 h 215"/>
                    <a:gd name="T68" fmla="*/ 2147483647 w 187"/>
                    <a:gd name="T69" fmla="*/ 2147483647 h 215"/>
                    <a:gd name="T70" fmla="*/ 2147483647 w 187"/>
                    <a:gd name="T71" fmla="*/ 2147483647 h 215"/>
                    <a:gd name="T72" fmla="*/ 2147483647 w 187"/>
                    <a:gd name="T73" fmla="*/ 2147483647 h 215"/>
                    <a:gd name="T74" fmla="*/ 2147483647 w 187"/>
                    <a:gd name="T75" fmla="*/ 2147483647 h 215"/>
                    <a:gd name="T76" fmla="*/ 2147483647 w 187"/>
                    <a:gd name="T77" fmla="*/ 2147483647 h 215"/>
                    <a:gd name="T78" fmla="*/ 2147483647 w 187"/>
                    <a:gd name="T79" fmla="*/ 2147483647 h 215"/>
                    <a:gd name="T80" fmla="*/ 2147483647 w 187"/>
                    <a:gd name="T81" fmla="*/ 2147483647 h 215"/>
                    <a:gd name="T82" fmla="*/ 2147483647 w 187"/>
                    <a:gd name="T83" fmla="*/ 2147483647 h 215"/>
                    <a:gd name="T84" fmla="*/ 2147483647 w 187"/>
                    <a:gd name="T85" fmla="*/ 2147483647 h 215"/>
                    <a:gd name="T86" fmla="*/ 2147483647 w 187"/>
                    <a:gd name="T87" fmla="*/ 2147483647 h 215"/>
                    <a:gd name="T88" fmla="*/ 2147483647 w 187"/>
                    <a:gd name="T89" fmla="*/ 2147483647 h 215"/>
                    <a:gd name="T90" fmla="*/ 2147483647 w 187"/>
                    <a:gd name="T91" fmla="*/ 2147483647 h 21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87"/>
                    <a:gd name="T139" fmla="*/ 0 h 215"/>
                    <a:gd name="T140" fmla="*/ 187 w 187"/>
                    <a:gd name="T141" fmla="*/ 215 h 21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87" h="215">
                      <a:moveTo>
                        <a:pt x="187" y="187"/>
                      </a:moveTo>
                      <a:lnTo>
                        <a:pt x="187" y="187"/>
                      </a:lnTo>
                      <a:lnTo>
                        <a:pt x="184" y="192"/>
                      </a:lnTo>
                      <a:lnTo>
                        <a:pt x="182" y="194"/>
                      </a:lnTo>
                      <a:lnTo>
                        <a:pt x="180" y="196"/>
                      </a:lnTo>
                      <a:lnTo>
                        <a:pt x="174" y="198"/>
                      </a:lnTo>
                      <a:lnTo>
                        <a:pt x="168" y="202"/>
                      </a:lnTo>
                      <a:lnTo>
                        <a:pt x="163" y="205"/>
                      </a:lnTo>
                      <a:lnTo>
                        <a:pt x="158" y="209"/>
                      </a:lnTo>
                      <a:lnTo>
                        <a:pt x="156" y="210"/>
                      </a:lnTo>
                      <a:lnTo>
                        <a:pt x="153" y="210"/>
                      </a:lnTo>
                      <a:lnTo>
                        <a:pt x="149" y="207"/>
                      </a:lnTo>
                      <a:lnTo>
                        <a:pt x="147" y="205"/>
                      </a:lnTo>
                      <a:lnTo>
                        <a:pt x="146" y="204"/>
                      </a:lnTo>
                      <a:lnTo>
                        <a:pt x="143" y="204"/>
                      </a:lnTo>
                      <a:lnTo>
                        <a:pt x="130" y="210"/>
                      </a:lnTo>
                      <a:lnTo>
                        <a:pt x="123" y="212"/>
                      </a:lnTo>
                      <a:lnTo>
                        <a:pt x="115" y="212"/>
                      </a:lnTo>
                      <a:lnTo>
                        <a:pt x="109" y="211"/>
                      </a:lnTo>
                      <a:lnTo>
                        <a:pt x="102" y="211"/>
                      </a:lnTo>
                      <a:lnTo>
                        <a:pt x="97" y="212"/>
                      </a:lnTo>
                      <a:lnTo>
                        <a:pt x="92" y="215"/>
                      </a:lnTo>
                      <a:lnTo>
                        <a:pt x="91" y="205"/>
                      </a:lnTo>
                      <a:lnTo>
                        <a:pt x="91" y="197"/>
                      </a:lnTo>
                      <a:lnTo>
                        <a:pt x="91" y="193"/>
                      </a:lnTo>
                      <a:lnTo>
                        <a:pt x="90" y="190"/>
                      </a:lnTo>
                      <a:lnTo>
                        <a:pt x="83" y="180"/>
                      </a:lnTo>
                      <a:lnTo>
                        <a:pt x="77" y="172"/>
                      </a:lnTo>
                      <a:lnTo>
                        <a:pt x="76" y="172"/>
                      </a:lnTo>
                      <a:lnTo>
                        <a:pt x="74" y="174"/>
                      </a:lnTo>
                      <a:lnTo>
                        <a:pt x="76" y="175"/>
                      </a:lnTo>
                      <a:lnTo>
                        <a:pt x="71" y="174"/>
                      </a:lnTo>
                      <a:lnTo>
                        <a:pt x="66" y="172"/>
                      </a:lnTo>
                      <a:lnTo>
                        <a:pt x="59" y="172"/>
                      </a:lnTo>
                      <a:lnTo>
                        <a:pt x="55" y="171"/>
                      </a:lnTo>
                      <a:lnTo>
                        <a:pt x="52" y="170"/>
                      </a:lnTo>
                      <a:lnTo>
                        <a:pt x="49" y="167"/>
                      </a:lnTo>
                      <a:lnTo>
                        <a:pt x="48" y="166"/>
                      </a:lnTo>
                      <a:lnTo>
                        <a:pt x="41" y="164"/>
                      </a:lnTo>
                      <a:lnTo>
                        <a:pt x="36" y="161"/>
                      </a:lnTo>
                      <a:lnTo>
                        <a:pt x="26" y="154"/>
                      </a:lnTo>
                      <a:lnTo>
                        <a:pt x="25" y="149"/>
                      </a:lnTo>
                      <a:lnTo>
                        <a:pt x="22" y="143"/>
                      </a:lnTo>
                      <a:lnTo>
                        <a:pt x="17" y="134"/>
                      </a:lnTo>
                      <a:lnTo>
                        <a:pt x="11" y="124"/>
                      </a:lnTo>
                      <a:lnTo>
                        <a:pt x="6" y="114"/>
                      </a:lnTo>
                      <a:lnTo>
                        <a:pt x="3" y="102"/>
                      </a:lnTo>
                      <a:lnTo>
                        <a:pt x="1" y="89"/>
                      </a:lnTo>
                      <a:lnTo>
                        <a:pt x="0" y="76"/>
                      </a:lnTo>
                      <a:lnTo>
                        <a:pt x="1" y="64"/>
                      </a:lnTo>
                      <a:lnTo>
                        <a:pt x="7" y="58"/>
                      </a:lnTo>
                      <a:lnTo>
                        <a:pt x="11" y="53"/>
                      </a:lnTo>
                      <a:lnTo>
                        <a:pt x="12" y="51"/>
                      </a:lnTo>
                      <a:lnTo>
                        <a:pt x="12" y="47"/>
                      </a:lnTo>
                      <a:lnTo>
                        <a:pt x="10" y="41"/>
                      </a:lnTo>
                      <a:lnTo>
                        <a:pt x="8" y="36"/>
                      </a:lnTo>
                      <a:lnTo>
                        <a:pt x="11" y="34"/>
                      </a:lnTo>
                      <a:lnTo>
                        <a:pt x="14" y="32"/>
                      </a:lnTo>
                      <a:lnTo>
                        <a:pt x="15" y="28"/>
                      </a:lnTo>
                      <a:lnTo>
                        <a:pt x="16" y="21"/>
                      </a:lnTo>
                      <a:lnTo>
                        <a:pt x="15" y="13"/>
                      </a:lnTo>
                      <a:lnTo>
                        <a:pt x="15" y="6"/>
                      </a:lnTo>
                      <a:lnTo>
                        <a:pt x="30" y="6"/>
                      </a:lnTo>
                      <a:lnTo>
                        <a:pt x="45" y="5"/>
                      </a:lnTo>
                      <a:lnTo>
                        <a:pt x="76" y="0"/>
                      </a:lnTo>
                      <a:lnTo>
                        <a:pt x="92" y="14"/>
                      </a:lnTo>
                      <a:lnTo>
                        <a:pt x="109" y="27"/>
                      </a:lnTo>
                      <a:lnTo>
                        <a:pt x="127" y="44"/>
                      </a:lnTo>
                      <a:lnTo>
                        <a:pt x="134" y="50"/>
                      </a:lnTo>
                      <a:lnTo>
                        <a:pt x="138" y="58"/>
                      </a:lnTo>
                      <a:lnTo>
                        <a:pt x="141" y="62"/>
                      </a:lnTo>
                      <a:lnTo>
                        <a:pt x="144" y="65"/>
                      </a:lnTo>
                      <a:lnTo>
                        <a:pt x="154" y="71"/>
                      </a:lnTo>
                      <a:lnTo>
                        <a:pt x="165" y="77"/>
                      </a:lnTo>
                      <a:lnTo>
                        <a:pt x="168" y="81"/>
                      </a:lnTo>
                      <a:lnTo>
                        <a:pt x="171" y="83"/>
                      </a:lnTo>
                      <a:lnTo>
                        <a:pt x="168" y="89"/>
                      </a:lnTo>
                      <a:lnTo>
                        <a:pt x="165" y="95"/>
                      </a:lnTo>
                      <a:lnTo>
                        <a:pt x="162" y="98"/>
                      </a:lnTo>
                      <a:lnTo>
                        <a:pt x="161" y="102"/>
                      </a:lnTo>
                      <a:lnTo>
                        <a:pt x="161" y="107"/>
                      </a:lnTo>
                      <a:lnTo>
                        <a:pt x="162" y="110"/>
                      </a:lnTo>
                      <a:lnTo>
                        <a:pt x="162" y="115"/>
                      </a:lnTo>
                      <a:lnTo>
                        <a:pt x="165" y="119"/>
                      </a:lnTo>
                      <a:lnTo>
                        <a:pt x="167" y="121"/>
                      </a:lnTo>
                      <a:lnTo>
                        <a:pt x="170" y="124"/>
                      </a:lnTo>
                      <a:lnTo>
                        <a:pt x="171" y="128"/>
                      </a:lnTo>
                      <a:lnTo>
                        <a:pt x="171" y="132"/>
                      </a:lnTo>
                      <a:lnTo>
                        <a:pt x="168" y="138"/>
                      </a:lnTo>
                      <a:lnTo>
                        <a:pt x="168" y="141"/>
                      </a:lnTo>
                      <a:lnTo>
                        <a:pt x="170" y="145"/>
                      </a:lnTo>
                      <a:lnTo>
                        <a:pt x="171" y="149"/>
                      </a:lnTo>
                      <a:lnTo>
                        <a:pt x="172" y="154"/>
                      </a:lnTo>
                      <a:lnTo>
                        <a:pt x="176" y="159"/>
                      </a:lnTo>
                      <a:lnTo>
                        <a:pt x="180" y="164"/>
                      </a:lnTo>
                      <a:lnTo>
                        <a:pt x="181" y="168"/>
                      </a:lnTo>
                      <a:lnTo>
                        <a:pt x="181" y="173"/>
                      </a:lnTo>
                      <a:lnTo>
                        <a:pt x="182" y="183"/>
                      </a:lnTo>
                      <a:lnTo>
                        <a:pt x="184" y="185"/>
                      </a:lnTo>
                      <a:lnTo>
                        <a:pt x="186" y="186"/>
                      </a:lnTo>
                      <a:lnTo>
                        <a:pt x="187" y="18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5" name="Freeform 747">
                  <a:extLst>
                    <a:ext uri="{FF2B5EF4-FFF2-40B4-BE49-F238E27FC236}">
                      <a16:creationId xmlns:a16="http://schemas.microsoft.com/office/drawing/2014/main" id="{C10255A4-03CF-BE47-B6DC-C2440ED7A3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8946" y="4650922"/>
                  <a:ext cx="38477" cy="48835"/>
                </a:xfrm>
                <a:custGeom>
                  <a:avLst/>
                  <a:gdLst>
                    <a:gd name="T0" fmla="*/ 2147483647 w 29"/>
                    <a:gd name="T1" fmla="*/ 2147483647 h 33"/>
                    <a:gd name="T2" fmla="*/ 2147483647 w 29"/>
                    <a:gd name="T3" fmla="*/ 2147483647 h 33"/>
                    <a:gd name="T4" fmla="*/ 0 w 29"/>
                    <a:gd name="T5" fmla="*/ 2147483647 h 33"/>
                    <a:gd name="T6" fmla="*/ 2147483647 w 29"/>
                    <a:gd name="T7" fmla="*/ 2147483647 h 33"/>
                    <a:gd name="T8" fmla="*/ 2147483647 w 29"/>
                    <a:gd name="T9" fmla="*/ 2147483647 h 33"/>
                    <a:gd name="T10" fmla="*/ 2147483647 w 29"/>
                    <a:gd name="T11" fmla="*/ 2147483647 h 33"/>
                    <a:gd name="T12" fmla="*/ 2147483647 w 29"/>
                    <a:gd name="T13" fmla="*/ 2147483647 h 33"/>
                    <a:gd name="T14" fmla="*/ 2147483647 w 29"/>
                    <a:gd name="T15" fmla="*/ 0 h 33"/>
                    <a:gd name="T16" fmla="*/ 2147483647 w 29"/>
                    <a:gd name="T17" fmla="*/ 0 h 33"/>
                    <a:gd name="T18" fmla="*/ 2147483647 w 29"/>
                    <a:gd name="T19" fmla="*/ 2147483647 h 33"/>
                    <a:gd name="T20" fmla="*/ 2147483647 w 29"/>
                    <a:gd name="T21" fmla="*/ 2147483647 h 33"/>
                    <a:gd name="T22" fmla="*/ 2147483647 w 29"/>
                    <a:gd name="T23" fmla="*/ 2147483647 h 33"/>
                    <a:gd name="T24" fmla="*/ 2147483647 w 29"/>
                    <a:gd name="T25" fmla="*/ 2147483647 h 33"/>
                    <a:gd name="T26" fmla="*/ 2147483647 w 29"/>
                    <a:gd name="T27" fmla="*/ 2147483647 h 33"/>
                    <a:gd name="T28" fmla="*/ 2147483647 w 29"/>
                    <a:gd name="T29" fmla="*/ 2147483647 h 33"/>
                    <a:gd name="T30" fmla="*/ 2147483647 w 29"/>
                    <a:gd name="T31" fmla="*/ 2147483647 h 33"/>
                    <a:gd name="T32" fmla="*/ 2147483647 w 29"/>
                    <a:gd name="T33" fmla="*/ 2147483647 h 33"/>
                    <a:gd name="T34" fmla="*/ 2147483647 w 29"/>
                    <a:gd name="T35" fmla="*/ 2147483647 h 3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9"/>
                    <a:gd name="T55" fmla="*/ 0 h 33"/>
                    <a:gd name="T56" fmla="*/ 29 w 29"/>
                    <a:gd name="T57" fmla="*/ 33 h 3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9" h="33">
                      <a:moveTo>
                        <a:pt x="3" y="32"/>
                      </a:moveTo>
                      <a:lnTo>
                        <a:pt x="1" y="32"/>
                      </a:lnTo>
                      <a:lnTo>
                        <a:pt x="0" y="30"/>
                      </a:lnTo>
                      <a:lnTo>
                        <a:pt x="1" y="24"/>
                      </a:lnTo>
                      <a:lnTo>
                        <a:pt x="3" y="19"/>
                      </a:lnTo>
                      <a:lnTo>
                        <a:pt x="5" y="14"/>
                      </a:lnTo>
                      <a:lnTo>
                        <a:pt x="12" y="7"/>
                      </a:lnTo>
                      <a:lnTo>
                        <a:pt x="18" y="0"/>
                      </a:lnTo>
                      <a:lnTo>
                        <a:pt x="28" y="0"/>
                      </a:lnTo>
                      <a:lnTo>
                        <a:pt x="28" y="7"/>
                      </a:lnTo>
                      <a:lnTo>
                        <a:pt x="29" y="16"/>
                      </a:lnTo>
                      <a:lnTo>
                        <a:pt x="28" y="23"/>
                      </a:lnTo>
                      <a:lnTo>
                        <a:pt x="27" y="26"/>
                      </a:lnTo>
                      <a:lnTo>
                        <a:pt x="24" y="29"/>
                      </a:lnTo>
                      <a:lnTo>
                        <a:pt x="22" y="30"/>
                      </a:lnTo>
                      <a:lnTo>
                        <a:pt x="12" y="33"/>
                      </a:lnTo>
                      <a:lnTo>
                        <a:pt x="6" y="33"/>
                      </a:lnTo>
                      <a:lnTo>
                        <a:pt x="3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6" name="Freeform 748">
                  <a:extLst>
                    <a:ext uri="{FF2B5EF4-FFF2-40B4-BE49-F238E27FC236}">
                      <a16:creationId xmlns:a16="http://schemas.microsoft.com/office/drawing/2014/main" id="{16BF83DC-96F5-0948-8D8E-70A4EFA709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1901" y="4695315"/>
                  <a:ext cx="32557" cy="41436"/>
                </a:xfrm>
                <a:custGeom>
                  <a:avLst/>
                  <a:gdLst>
                    <a:gd name="T0" fmla="*/ 2147483647 w 23"/>
                    <a:gd name="T1" fmla="*/ 2147483647 h 28"/>
                    <a:gd name="T2" fmla="*/ 2147483647 w 23"/>
                    <a:gd name="T3" fmla="*/ 2147483647 h 28"/>
                    <a:gd name="T4" fmla="*/ 2147483647 w 23"/>
                    <a:gd name="T5" fmla="*/ 2147483647 h 28"/>
                    <a:gd name="T6" fmla="*/ 2147483647 w 23"/>
                    <a:gd name="T7" fmla="*/ 2147483647 h 28"/>
                    <a:gd name="T8" fmla="*/ 0 w 23"/>
                    <a:gd name="T9" fmla="*/ 2147483647 h 28"/>
                    <a:gd name="T10" fmla="*/ 2147483647 w 23"/>
                    <a:gd name="T11" fmla="*/ 2147483647 h 28"/>
                    <a:gd name="T12" fmla="*/ 2147483647 w 23"/>
                    <a:gd name="T13" fmla="*/ 2147483647 h 28"/>
                    <a:gd name="T14" fmla="*/ 2147483647 w 23"/>
                    <a:gd name="T15" fmla="*/ 0 h 28"/>
                    <a:gd name="T16" fmla="*/ 2147483647 w 23"/>
                    <a:gd name="T17" fmla="*/ 2147483647 h 28"/>
                    <a:gd name="T18" fmla="*/ 2147483647 w 23"/>
                    <a:gd name="T19" fmla="*/ 2147483647 h 28"/>
                    <a:gd name="T20" fmla="*/ 2147483647 w 23"/>
                    <a:gd name="T21" fmla="*/ 2147483647 h 28"/>
                    <a:gd name="T22" fmla="*/ 2147483647 w 23"/>
                    <a:gd name="T23" fmla="*/ 2147483647 h 28"/>
                    <a:gd name="T24" fmla="*/ 2147483647 w 23"/>
                    <a:gd name="T25" fmla="*/ 2147483647 h 28"/>
                    <a:gd name="T26" fmla="*/ 2147483647 w 23"/>
                    <a:gd name="T27" fmla="*/ 2147483647 h 2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3"/>
                    <a:gd name="T43" fmla="*/ 0 h 28"/>
                    <a:gd name="T44" fmla="*/ 23 w 23"/>
                    <a:gd name="T45" fmla="*/ 28 h 2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3" h="28">
                      <a:moveTo>
                        <a:pt x="11" y="28"/>
                      </a:moveTo>
                      <a:lnTo>
                        <a:pt x="10" y="22"/>
                      </a:lnTo>
                      <a:lnTo>
                        <a:pt x="6" y="16"/>
                      </a:lnTo>
                      <a:lnTo>
                        <a:pt x="2" y="9"/>
                      </a:lnTo>
                      <a:lnTo>
                        <a:pt x="0" y="2"/>
                      </a:ln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9" y="0"/>
                      </a:lnTo>
                      <a:lnTo>
                        <a:pt x="20" y="6"/>
                      </a:lnTo>
                      <a:lnTo>
                        <a:pt x="23" y="12"/>
                      </a:lnTo>
                      <a:lnTo>
                        <a:pt x="23" y="15"/>
                      </a:lnTo>
                      <a:lnTo>
                        <a:pt x="21" y="18"/>
                      </a:lnTo>
                      <a:lnTo>
                        <a:pt x="17" y="22"/>
                      </a:lnTo>
                      <a:lnTo>
                        <a:pt x="11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7" name="Freeform 749">
                  <a:extLst>
                    <a:ext uri="{FF2B5EF4-FFF2-40B4-BE49-F238E27FC236}">
                      <a16:creationId xmlns:a16="http://schemas.microsoft.com/office/drawing/2014/main" id="{5F44DC3A-FD1D-7C4C-99B1-4CA5A5C885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7465" y="4649439"/>
                  <a:ext cx="38477" cy="48836"/>
                </a:xfrm>
                <a:custGeom>
                  <a:avLst/>
                  <a:gdLst>
                    <a:gd name="T0" fmla="*/ 2147483647 w 29"/>
                    <a:gd name="T1" fmla="*/ 2147483647 h 33"/>
                    <a:gd name="T2" fmla="*/ 2147483647 w 29"/>
                    <a:gd name="T3" fmla="*/ 2147483647 h 33"/>
                    <a:gd name="T4" fmla="*/ 2147483647 w 29"/>
                    <a:gd name="T5" fmla="*/ 2147483647 h 33"/>
                    <a:gd name="T6" fmla="*/ 0 w 29"/>
                    <a:gd name="T7" fmla="*/ 2147483647 h 33"/>
                    <a:gd name="T8" fmla="*/ 2147483647 w 29"/>
                    <a:gd name="T9" fmla="*/ 2147483647 h 33"/>
                    <a:gd name="T10" fmla="*/ 2147483647 w 29"/>
                    <a:gd name="T11" fmla="*/ 2147483647 h 33"/>
                    <a:gd name="T12" fmla="*/ 2147483647 w 29"/>
                    <a:gd name="T13" fmla="*/ 2147483647 h 33"/>
                    <a:gd name="T14" fmla="*/ 2147483647 w 29"/>
                    <a:gd name="T15" fmla="*/ 2147483647 h 33"/>
                    <a:gd name="T16" fmla="*/ 2147483647 w 29"/>
                    <a:gd name="T17" fmla="*/ 2147483647 h 33"/>
                    <a:gd name="T18" fmla="*/ 2147483647 w 29"/>
                    <a:gd name="T19" fmla="*/ 0 h 33"/>
                    <a:gd name="T20" fmla="*/ 2147483647 w 29"/>
                    <a:gd name="T21" fmla="*/ 0 h 33"/>
                    <a:gd name="T22" fmla="*/ 2147483647 w 29"/>
                    <a:gd name="T23" fmla="*/ 0 h 33"/>
                    <a:gd name="T24" fmla="*/ 2147483647 w 29"/>
                    <a:gd name="T25" fmla="*/ 0 h 33"/>
                    <a:gd name="T26" fmla="*/ 2147483647 w 29"/>
                    <a:gd name="T27" fmla="*/ 2147483647 h 33"/>
                    <a:gd name="T28" fmla="*/ 2147483647 w 29"/>
                    <a:gd name="T29" fmla="*/ 2147483647 h 33"/>
                    <a:gd name="T30" fmla="*/ 2147483647 w 29"/>
                    <a:gd name="T31" fmla="*/ 2147483647 h 33"/>
                    <a:gd name="T32" fmla="*/ 2147483647 w 29"/>
                    <a:gd name="T33" fmla="*/ 2147483647 h 33"/>
                    <a:gd name="T34" fmla="*/ 2147483647 w 29"/>
                    <a:gd name="T35" fmla="*/ 2147483647 h 33"/>
                    <a:gd name="T36" fmla="*/ 2147483647 w 29"/>
                    <a:gd name="T37" fmla="*/ 2147483647 h 33"/>
                    <a:gd name="T38" fmla="*/ 2147483647 w 29"/>
                    <a:gd name="T39" fmla="*/ 2147483647 h 33"/>
                    <a:gd name="T40" fmla="*/ 2147483647 w 29"/>
                    <a:gd name="T41" fmla="*/ 2147483647 h 33"/>
                    <a:gd name="T42" fmla="*/ 2147483647 w 29"/>
                    <a:gd name="T43" fmla="*/ 2147483647 h 33"/>
                    <a:gd name="T44" fmla="*/ 2147483647 w 29"/>
                    <a:gd name="T45" fmla="*/ 2147483647 h 33"/>
                    <a:gd name="T46" fmla="*/ 2147483647 w 29"/>
                    <a:gd name="T47" fmla="*/ 2147483647 h 33"/>
                    <a:gd name="T48" fmla="*/ 2147483647 w 29"/>
                    <a:gd name="T49" fmla="*/ 2147483647 h 33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9"/>
                    <a:gd name="T76" fmla="*/ 0 h 33"/>
                    <a:gd name="T77" fmla="*/ 29 w 29"/>
                    <a:gd name="T78" fmla="*/ 33 h 33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9" h="33">
                      <a:moveTo>
                        <a:pt x="2" y="32"/>
                      </a:moveTo>
                      <a:lnTo>
                        <a:pt x="2" y="32"/>
                      </a:lnTo>
                      <a:lnTo>
                        <a:pt x="1" y="32"/>
                      </a:lnTo>
                      <a:lnTo>
                        <a:pt x="0" y="30"/>
                      </a:lnTo>
                      <a:lnTo>
                        <a:pt x="1" y="24"/>
                      </a:lnTo>
                      <a:lnTo>
                        <a:pt x="2" y="19"/>
                      </a:lnTo>
                      <a:lnTo>
                        <a:pt x="5" y="14"/>
                      </a:lnTo>
                      <a:lnTo>
                        <a:pt x="11" y="7"/>
                      </a:lnTo>
                      <a:lnTo>
                        <a:pt x="18" y="0"/>
                      </a:lnTo>
                      <a:lnTo>
                        <a:pt x="28" y="0"/>
                      </a:lnTo>
                      <a:lnTo>
                        <a:pt x="28" y="7"/>
                      </a:lnTo>
                      <a:lnTo>
                        <a:pt x="29" y="15"/>
                      </a:lnTo>
                      <a:lnTo>
                        <a:pt x="28" y="22"/>
                      </a:lnTo>
                      <a:lnTo>
                        <a:pt x="27" y="26"/>
                      </a:lnTo>
                      <a:lnTo>
                        <a:pt x="24" y="28"/>
                      </a:lnTo>
                      <a:lnTo>
                        <a:pt x="21" y="30"/>
                      </a:lnTo>
                      <a:lnTo>
                        <a:pt x="11" y="33"/>
                      </a:lnTo>
                      <a:lnTo>
                        <a:pt x="6" y="33"/>
                      </a:lnTo>
                      <a:lnTo>
                        <a:pt x="2" y="3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8" name="Freeform 750">
                  <a:extLst>
                    <a:ext uri="{FF2B5EF4-FFF2-40B4-BE49-F238E27FC236}">
                      <a16:creationId xmlns:a16="http://schemas.microsoft.com/office/drawing/2014/main" id="{7DE7700F-7ABD-2148-9417-57781B4133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8943" y="4693835"/>
                  <a:ext cx="32557" cy="41436"/>
                </a:xfrm>
                <a:custGeom>
                  <a:avLst/>
                  <a:gdLst>
                    <a:gd name="T0" fmla="*/ 2147483647 w 23"/>
                    <a:gd name="T1" fmla="*/ 2147483647 h 28"/>
                    <a:gd name="T2" fmla="*/ 2147483647 w 23"/>
                    <a:gd name="T3" fmla="*/ 2147483647 h 28"/>
                    <a:gd name="T4" fmla="*/ 2147483647 w 23"/>
                    <a:gd name="T5" fmla="*/ 2147483647 h 28"/>
                    <a:gd name="T6" fmla="*/ 2147483647 w 23"/>
                    <a:gd name="T7" fmla="*/ 2147483647 h 28"/>
                    <a:gd name="T8" fmla="*/ 2147483647 w 23"/>
                    <a:gd name="T9" fmla="*/ 2147483647 h 28"/>
                    <a:gd name="T10" fmla="*/ 2147483647 w 23"/>
                    <a:gd name="T11" fmla="*/ 2147483647 h 28"/>
                    <a:gd name="T12" fmla="*/ 2147483647 w 23"/>
                    <a:gd name="T13" fmla="*/ 2147483647 h 28"/>
                    <a:gd name="T14" fmla="*/ 0 w 23"/>
                    <a:gd name="T15" fmla="*/ 2147483647 h 28"/>
                    <a:gd name="T16" fmla="*/ 0 w 23"/>
                    <a:gd name="T17" fmla="*/ 2147483647 h 28"/>
                    <a:gd name="T18" fmla="*/ 2147483647 w 23"/>
                    <a:gd name="T19" fmla="*/ 2147483647 h 28"/>
                    <a:gd name="T20" fmla="*/ 2147483647 w 23"/>
                    <a:gd name="T21" fmla="*/ 2147483647 h 28"/>
                    <a:gd name="T22" fmla="*/ 2147483647 w 23"/>
                    <a:gd name="T23" fmla="*/ 0 h 28"/>
                    <a:gd name="T24" fmla="*/ 2147483647 w 23"/>
                    <a:gd name="T25" fmla="*/ 0 h 28"/>
                    <a:gd name="T26" fmla="*/ 2147483647 w 23"/>
                    <a:gd name="T27" fmla="*/ 2147483647 h 28"/>
                    <a:gd name="T28" fmla="*/ 2147483647 w 23"/>
                    <a:gd name="T29" fmla="*/ 2147483647 h 28"/>
                    <a:gd name="T30" fmla="*/ 2147483647 w 23"/>
                    <a:gd name="T31" fmla="*/ 2147483647 h 28"/>
                    <a:gd name="T32" fmla="*/ 2147483647 w 23"/>
                    <a:gd name="T33" fmla="*/ 2147483647 h 28"/>
                    <a:gd name="T34" fmla="*/ 2147483647 w 23"/>
                    <a:gd name="T35" fmla="*/ 2147483647 h 28"/>
                    <a:gd name="T36" fmla="*/ 2147483647 w 23"/>
                    <a:gd name="T37" fmla="*/ 2147483647 h 28"/>
                    <a:gd name="T38" fmla="*/ 2147483647 w 23"/>
                    <a:gd name="T39" fmla="*/ 2147483647 h 28"/>
                    <a:gd name="T40" fmla="*/ 2147483647 w 23"/>
                    <a:gd name="T41" fmla="*/ 2147483647 h 28"/>
                    <a:gd name="T42" fmla="*/ 2147483647 w 23"/>
                    <a:gd name="T43" fmla="*/ 2147483647 h 2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3"/>
                    <a:gd name="T67" fmla="*/ 0 h 28"/>
                    <a:gd name="T68" fmla="*/ 23 w 23"/>
                    <a:gd name="T69" fmla="*/ 28 h 2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3" h="28">
                      <a:moveTo>
                        <a:pt x="12" y="28"/>
                      </a:moveTo>
                      <a:lnTo>
                        <a:pt x="12" y="28"/>
                      </a:lnTo>
                      <a:lnTo>
                        <a:pt x="11" y="22"/>
                      </a:lnTo>
                      <a:lnTo>
                        <a:pt x="7" y="16"/>
                      </a:lnTo>
                      <a:lnTo>
                        <a:pt x="3" y="9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9" y="0"/>
                      </a:lnTo>
                      <a:lnTo>
                        <a:pt x="21" y="5"/>
                      </a:lnTo>
                      <a:lnTo>
                        <a:pt x="23" y="11"/>
                      </a:lnTo>
                      <a:lnTo>
                        <a:pt x="23" y="15"/>
                      </a:lnTo>
                      <a:lnTo>
                        <a:pt x="22" y="17"/>
                      </a:lnTo>
                      <a:lnTo>
                        <a:pt x="18" y="22"/>
                      </a:lnTo>
                      <a:lnTo>
                        <a:pt x="12" y="2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9" name="Freeform 751">
                  <a:extLst>
                    <a:ext uri="{FF2B5EF4-FFF2-40B4-BE49-F238E27FC236}">
                      <a16:creationId xmlns:a16="http://schemas.microsoft.com/office/drawing/2014/main" id="{42930C07-6420-A142-9E2E-53829C373C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0294" y="4471857"/>
                  <a:ext cx="210142" cy="293015"/>
                </a:xfrm>
                <a:custGeom>
                  <a:avLst/>
                  <a:gdLst>
                    <a:gd name="T0" fmla="*/ 2147483647 w 154"/>
                    <a:gd name="T1" fmla="*/ 2147483647 h 198"/>
                    <a:gd name="T2" fmla="*/ 2147483647 w 154"/>
                    <a:gd name="T3" fmla="*/ 2147483647 h 198"/>
                    <a:gd name="T4" fmla="*/ 2147483647 w 154"/>
                    <a:gd name="T5" fmla="*/ 2147483647 h 198"/>
                    <a:gd name="T6" fmla="*/ 2147483647 w 154"/>
                    <a:gd name="T7" fmla="*/ 2147483647 h 198"/>
                    <a:gd name="T8" fmla="*/ 2147483647 w 154"/>
                    <a:gd name="T9" fmla="*/ 2147483647 h 198"/>
                    <a:gd name="T10" fmla="*/ 0 w 154"/>
                    <a:gd name="T11" fmla="*/ 2147483647 h 198"/>
                    <a:gd name="T12" fmla="*/ 2147483647 w 154"/>
                    <a:gd name="T13" fmla="*/ 2147483647 h 198"/>
                    <a:gd name="T14" fmla="*/ 2147483647 w 154"/>
                    <a:gd name="T15" fmla="*/ 2147483647 h 198"/>
                    <a:gd name="T16" fmla="*/ 2147483647 w 154"/>
                    <a:gd name="T17" fmla="*/ 2147483647 h 198"/>
                    <a:gd name="T18" fmla="*/ 2147483647 w 154"/>
                    <a:gd name="T19" fmla="*/ 2147483647 h 198"/>
                    <a:gd name="T20" fmla="*/ 2147483647 w 154"/>
                    <a:gd name="T21" fmla="*/ 2147483647 h 198"/>
                    <a:gd name="T22" fmla="*/ 2147483647 w 154"/>
                    <a:gd name="T23" fmla="*/ 2147483647 h 198"/>
                    <a:gd name="T24" fmla="*/ 2147483647 w 154"/>
                    <a:gd name="T25" fmla="*/ 2147483647 h 198"/>
                    <a:gd name="T26" fmla="*/ 2147483647 w 154"/>
                    <a:gd name="T27" fmla="*/ 2147483647 h 198"/>
                    <a:gd name="T28" fmla="*/ 2147483647 w 154"/>
                    <a:gd name="T29" fmla="*/ 2147483647 h 198"/>
                    <a:gd name="T30" fmla="*/ 2147483647 w 154"/>
                    <a:gd name="T31" fmla="*/ 2147483647 h 198"/>
                    <a:gd name="T32" fmla="*/ 2147483647 w 154"/>
                    <a:gd name="T33" fmla="*/ 2147483647 h 198"/>
                    <a:gd name="T34" fmla="*/ 2147483647 w 154"/>
                    <a:gd name="T35" fmla="*/ 2147483647 h 198"/>
                    <a:gd name="T36" fmla="*/ 2147483647 w 154"/>
                    <a:gd name="T37" fmla="*/ 2147483647 h 198"/>
                    <a:gd name="T38" fmla="*/ 2147483647 w 154"/>
                    <a:gd name="T39" fmla="*/ 2147483647 h 198"/>
                    <a:gd name="T40" fmla="*/ 2147483647 w 154"/>
                    <a:gd name="T41" fmla="*/ 2147483647 h 198"/>
                    <a:gd name="T42" fmla="*/ 2147483647 w 154"/>
                    <a:gd name="T43" fmla="*/ 2147483647 h 198"/>
                    <a:gd name="T44" fmla="*/ 2147483647 w 154"/>
                    <a:gd name="T45" fmla="*/ 2147483647 h 198"/>
                    <a:gd name="T46" fmla="*/ 2147483647 w 154"/>
                    <a:gd name="T47" fmla="*/ 2147483647 h 198"/>
                    <a:gd name="T48" fmla="*/ 2147483647 w 154"/>
                    <a:gd name="T49" fmla="*/ 2147483647 h 198"/>
                    <a:gd name="T50" fmla="*/ 2147483647 w 154"/>
                    <a:gd name="T51" fmla="*/ 2147483647 h 198"/>
                    <a:gd name="T52" fmla="*/ 2147483647 w 154"/>
                    <a:gd name="T53" fmla="*/ 2147483647 h 198"/>
                    <a:gd name="T54" fmla="*/ 2147483647 w 154"/>
                    <a:gd name="T55" fmla="*/ 2147483647 h 198"/>
                    <a:gd name="T56" fmla="*/ 2147483647 w 154"/>
                    <a:gd name="T57" fmla="*/ 2147483647 h 198"/>
                    <a:gd name="T58" fmla="*/ 2147483647 w 154"/>
                    <a:gd name="T59" fmla="*/ 2147483647 h 198"/>
                    <a:gd name="T60" fmla="*/ 2147483647 w 154"/>
                    <a:gd name="T61" fmla="*/ 2147483647 h 198"/>
                    <a:gd name="T62" fmla="*/ 2147483647 w 154"/>
                    <a:gd name="T63" fmla="*/ 2147483647 h 198"/>
                    <a:gd name="T64" fmla="*/ 2147483647 w 154"/>
                    <a:gd name="T65" fmla="*/ 2147483647 h 198"/>
                    <a:gd name="T66" fmla="*/ 2147483647 w 154"/>
                    <a:gd name="T67" fmla="*/ 2147483647 h 198"/>
                    <a:gd name="T68" fmla="*/ 2147483647 w 154"/>
                    <a:gd name="T69" fmla="*/ 2147483647 h 198"/>
                    <a:gd name="T70" fmla="*/ 2147483647 w 154"/>
                    <a:gd name="T71" fmla="*/ 2147483647 h 198"/>
                    <a:gd name="T72" fmla="*/ 2147483647 w 154"/>
                    <a:gd name="T73" fmla="*/ 2147483647 h 198"/>
                    <a:gd name="T74" fmla="*/ 2147483647 w 154"/>
                    <a:gd name="T75" fmla="*/ 2147483647 h 198"/>
                    <a:gd name="T76" fmla="*/ 2147483647 w 154"/>
                    <a:gd name="T77" fmla="*/ 2147483647 h 198"/>
                    <a:gd name="T78" fmla="*/ 2147483647 w 154"/>
                    <a:gd name="T79" fmla="*/ 2147483647 h 198"/>
                    <a:gd name="T80" fmla="*/ 2147483647 w 154"/>
                    <a:gd name="T81" fmla="*/ 2147483647 h 19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54"/>
                    <a:gd name="T124" fmla="*/ 0 h 198"/>
                    <a:gd name="T125" fmla="*/ 154 w 154"/>
                    <a:gd name="T126" fmla="*/ 198 h 19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54" h="198">
                      <a:moveTo>
                        <a:pt x="95" y="198"/>
                      </a:moveTo>
                      <a:lnTo>
                        <a:pt x="93" y="196"/>
                      </a:lnTo>
                      <a:lnTo>
                        <a:pt x="89" y="192"/>
                      </a:lnTo>
                      <a:lnTo>
                        <a:pt x="79" y="186"/>
                      </a:lnTo>
                      <a:lnTo>
                        <a:pt x="69" y="180"/>
                      </a:lnTo>
                      <a:lnTo>
                        <a:pt x="65" y="177"/>
                      </a:lnTo>
                      <a:lnTo>
                        <a:pt x="62" y="173"/>
                      </a:lnTo>
                      <a:lnTo>
                        <a:pt x="58" y="165"/>
                      </a:lnTo>
                      <a:lnTo>
                        <a:pt x="51" y="159"/>
                      </a:lnTo>
                      <a:lnTo>
                        <a:pt x="33" y="142"/>
                      </a:lnTo>
                      <a:lnTo>
                        <a:pt x="17" y="129"/>
                      </a:lnTo>
                      <a:lnTo>
                        <a:pt x="0" y="115"/>
                      </a:lnTo>
                      <a:lnTo>
                        <a:pt x="1" y="99"/>
                      </a:lnTo>
                      <a:lnTo>
                        <a:pt x="3" y="91"/>
                      </a:lnTo>
                      <a:lnTo>
                        <a:pt x="4" y="84"/>
                      </a:lnTo>
                      <a:lnTo>
                        <a:pt x="6" y="80"/>
                      </a:lnTo>
                      <a:lnTo>
                        <a:pt x="10" y="75"/>
                      </a:lnTo>
                      <a:lnTo>
                        <a:pt x="15" y="70"/>
                      </a:lnTo>
                      <a:lnTo>
                        <a:pt x="20" y="67"/>
                      </a:lnTo>
                      <a:lnTo>
                        <a:pt x="22" y="65"/>
                      </a:lnTo>
                      <a:lnTo>
                        <a:pt x="23" y="63"/>
                      </a:lnTo>
                      <a:lnTo>
                        <a:pt x="22" y="57"/>
                      </a:lnTo>
                      <a:lnTo>
                        <a:pt x="14" y="42"/>
                      </a:lnTo>
                      <a:lnTo>
                        <a:pt x="13" y="33"/>
                      </a:lnTo>
                      <a:lnTo>
                        <a:pt x="10" y="25"/>
                      </a:lnTo>
                      <a:lnTo>
                        <a:pt x="10" y="24"/>
                      </a:lnTo>
                      <a:lnTo>
                        <a:pt x="9" y="23"/>
                      </a:lnTo>
                      <a:lnTo>
                        <a:pt x="5" y="20"/>
                      </a:lnTo>
                      <a:lnTo>
                        <a:pt x="4" y="18"/>
                      </a:lnTo>
                      <a:lnTo>
                        <a:pt x="10" y="10"/>
                      </a:lnTo>
                      <a:lnTo>
                        <a:pt x="14" y="5"/>
                      </a:lnTo>
                      <a:lnTo>
                        <a:pt x="19" y="1"/>
                      </a:lnTo>
                      <a:lnTo>
                        <a:pt x="22" y="0"/>
                      </a:lnTo>
                      <a:lnTo>
                        <a:pt x="24" y="1"/>
                      </a:lnTo>
                      <a:lnTo>
                        <a:pt x="29" y="5"/>
                      </a:lnTo>
                      <a:lnTo>
                        <a:pt x="32" y="5"/>
                      </a:lnTo>
                      <a:lnTo>
                        <a:pt x="34" y="4"/>
                      </a:lnTo>
                      <a:lnTo>
                        <a:pt x="36" y="6"/>
                      </a:lnTo>
                      <a:lnTo>
                        <a:pt x="37" y="8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9" y="13"/>
                      </a:lnTo>
                      <a:lnTo>
                        <a:pt x="42" y="14"/>
                      </a:lnTo>
                      <a:lnTo>
                        <a:pt x="46" y="16"/>
                      </a:lnTo>
                      <a:lnTo>
                        <a:pt x="51" y="14"/>
                      </a:lnTo>
                      <a:lnTo>
                        <a:pt x="56" y="14"/>
                      </a:lnTo>
                      <a:lnTo>
                        <a:pt x="60" y="17"/>
                      </a:lnTo>
                      <a:lnTo>
                        <a:pt x="71" y="24"/>
                      </a:lnTo>
                      <a:lnTo>
                        <a:pt x="77" y="26"/>
                      </a:lnTo>
                      <a:lnTo>
                        <a:pt x="83" y="27"/>
                      </a:lnTo>
                      <a:lnTo>
                        <a:pt x="89" y="27"/>
                      </a:lnTo>
                      <a:lnTo>
                        <a:pt x="94" y="27"/>
                      </a:lnTo>
                      <a:lnTo>
                        <a:pt x="100" y="25"/>
                      </a:lnTo>
                      <a:lnTo>
                        <a:pt x="107" y="22"/>
                      </a:lnTo>
                      <a:lnTo>
                        <a:pt x="110" y="22"/>
                      </a:lnTo>
                      <a:lnTo>
                        <a:pt x="116" y="20"/>
                      </a:lnTo>
                      <a:lnTo>
                        <a:pt x="126" y="20"/>
                      </a:lnTo>
                      <a:lnTo>
                        <a:pt x="136" y="23"/>
                      </a:lnTo>
                      <a:lnTo>
                        <a:pt x="147" y="20"/>
                      </a:lnTo>
                      <a:lnTo>
                        <a:pt x="154" y="20"/>
                      </a:lnTo>
                      <a:lnTo>
                        <a:pt x="149" y="25"/>
                      </a:lnTo>
                      <a:lnTo>
                        <a:pt x="145" y="31"/>
                      </a:lnTo>
                      <a:lnTo>
                        <a:pt x="140" y="36"/>
                      </a:lnTo>
                      <a:lnTo>
                        <a:pt x="136" y="40"/>
                      </a:lnTo>
                      <a:lnTo>
                        <a:pt x="131" y="45"/>
                      </a:lnTo>
                      <a:lnTo>
                        <a:pt x="130" y="50"/>
                      </a:lnTo>
                      <a:lnTo>
                        <a:pt x="130" y="82"/>
                      </a:lnTo>
                      <a:lnTo>
                        <a:pt x="130" y="110"/>
                      </a:lnTo>
                      <a:lnTo>
                        <a:pt x="131" y="114"/>
                      </a:lnTo>
                      <a:lnTo>
                        <a:pt x="133" y="118"/>
                      </a:lnTo>
                      <a:lnTo>
                        <a:pt x="140" y="125"/>
                      </a:lnTo>
                      <a:lnTo>
                        <a:pt x="132" y="137"/>
                      </a:lnTo>
                      <a:lnTo>
                        <a:pt x="130" y="144"/>
                      </a:lnTo>
                      <a:lnTo>
                        <a:pt x="127" y="146"/>
                      </a:lnTo>
                      <a:lnTo>
                        <a:pt x="126" y="148"/>
                      </a:lnTo>
                      <a:lnTo>
                        <a:pt x="118" y="152"/>
                      </a:lnTo>
                      <a:lnTo>
                        <a:pt x="112" y="157"/>
                      </a:lnTo>
                      <a:lnTo>
                        <a:pt x="108" y="163"/>
                      </a:lnTo>
                      <a:lnTo>
                        <a:pt x="105" y="170"/>
                      </a:lnTo>
                      <a:lnTo>
                        <a:pt x="100" y="184"/>
                      </a:lnTo>
                      <a:lnTo>
                        <a:pt x="98" y="191"/>
                      </a:lnTo>
                      <a:lnTo>
                        <a:pt x="95" y="19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0" name="Freeform 752">
                  <a:extLst>
                    <a:ext uri="{FF2B5EF4-FFF2-40B4-BE49-F238E27FC236}">
                      <a16:creationId xmlns:a16="http://schemas.microsoft.com/office/drawing/2014/main" id="{A582E2B1-CBF9-6647-B4F9-2DD16D34F6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7876" y="4279470"/>
                  <a:ext cx="236780" cy="377368"/>
                </a:xfrm>
                <a:custGeom>
                  <a:avLst/>
                  <a:gdLst>
                    <a:gd name="T0" fmla="*/ 2147483647 w 174"/>
                    <a:gd name="T1" fmla="*/ 2147483647 h 255"/>
                    <a:gd name="T2" fmla="*/ 0 w 174"/>
                    <a:gd name="T3" fmla="*/ 2147483647 h 255"/>
                    <a:gd name="T4" fmla="*/ 0 w 174"/>
                    <a:gd name="T5" fmla="*/ 2147483647 h 255"/>
                    <a:gd name="T6" fmla="*/ 2147483647 w 174"/>
                    <a:gd name="T7" fmla="*/ 2147483647 h 255"/>
                    <a:gd name="T8" fmla="*/ 2147483647 w 174"/>
                    <a:gd name="T9" fmla="*/ 2147483647 h 255"/>
                    <a:gd name="T10" fmla="*/ 2147483647 w 174"/>
                    <a:gd name="T11" fmla="*/ 2147483647 h 255"/>
                    <a:gd name="T12" fmla="*/ 2147483647 w 174"/>
                    <a:gd name="T13" fmla="*/ 2147483647 h 255"/>
                    <a:gd name="T14" fmla="*/ 2147483647 w 174"/>
                    <a:gd name="T15" fmla="*/ 2147483647 h 255"/>
                    <a:gd name="T16" fmla="*/ 2147483647 w 174"/>
                    <a:gd name="T17" fmla="*/ 2147483647 h 255"/>
                    <a:gd name="T18" fmla="*/ 2147483647 w 174"/>
                    <a:gd name="T19" fmla="*/ 2147483647 h 255"/>
                    <a:gd name="T20" fmla="*/ 2147483647 w 174"/>
                    <a:gd name="T21" fmla="*/ 2147483647 h 255"/>
                    <a:gd name="T22" fmla="*/ 2147483647 w 174"/>
                    <a:gd name="T23" fmla="*/ 2147483647 h 255"/>
                    <a:gd name="T24" fmla="*/ 2147483647 w 174"/>
                    <a:gd name="T25" fmla="*/ 2147483647 h 255"/>
                    <a:gd name="T26" fmla="*/ 2147483647 w 174"/>
                    <a:gd name="T27" fmla="*/ 2147483647 h 255"/>
                    <a:gd name="T28" fmla="*/ 2147483647 w 174"/>
                    <a:gd name="T29" fmla="*/ 2147483647 h 255"/>
                    <a:gd name="T30" fmla="*/ 2147483647 w 174"/>
                    <a:gd name="T31" fmla="*/ 2147483647 h 255"/>
                    <a:gd name="T32" fmla="*/ 2147483647 w 174"/>
                    <a:gd name="T33" fmla="*/ 2147483647 h 255"/>
                    <a:gd name="T34" fmla="*/ 2147483647 w 174"/>
                    <a:gd name="T35" fmla="*/ 2147483647 h 255"/>
                    <a:gd name="T36" fmla="*/ 2147483647 w 174"/>
                    <a:gd name="T37" fmla="*/ 2147483647 h 255"/>
                    <a:gd name="T38" fmla="*/ 2147483647 w 174"/>
                    <a:gd name="T39" fmla="*/ 2147483647 h 255"/>
                    <a:gd name="T40" fmla="*/ 2147483647 w 174"/>
                    <a:gd name="T41" fmla="*/ 2147483647 h 255"/>
                    <a:gd name="T42" fmla="*/ 2147483647 w 174"/>
                    <a:gd name="T43" fmla="*/ 2147483647 h 255"/>
                    <a:gd name="T44" fmla="*/ 2147483647 w 174"/>
                    <a:gd name="T45" fmla="*/ 2147483647 h 255"/>
                    <a:gd name="T46" fmla="*/ 2147483647 w 174"/>
                    <a:gd name="T47" fmla="*/ 2147483647 h 255"/>
                    <a:gd name="T48" fmla="*/ 2147483647 w 174"/>
                    <a:gd name="T49" fmla="*/ 2147483647 h 255"/>
                    <a:gd name="T50" fmla="*/ 2147483647 w 174"/>
                    <a:gd name="T51" fmla="*/ 2147483647 h 255"/>
                    <a:gd name="T52" fmla="*/ 2147483647 w 174"/>
                    <a:gd name="T53" fmla="*/ 2147483647 h 255"/>
                    <a:gd name="T54" fmla="*/ 2147483647 w 174"/>
                    <a:gd name="T55" fmla="*/ 2147483647 h 255"/>
                    <a:gd name="T56" fmla="*/ 2147483647 w 174"/>
                    <a:gd name="T57" fmla="*/ 2147483647 h 255"/>
                    <a:gd name="T58" fmla="*/ 2147483647 w 174"/>
                    <a:gd name="T59" fmla="*/ 2147483647 h 255"/>
                    <a:gd name="T60" fmla="*/ 2147483647 w 174"/>
                    <a:gd name="T61" fmla="*/ 2147483647 h 255"/>
                    <a:gd name="T62" fmla="*/ 2147483647 w 174"/>
                    <a:gd name="T63" fmla="*/ 2147483647 h 255"/>
                    <a:gd name="T64" fmla="*/ 2147483647 w 174"/>
                    <a:gd name="T65" fmla="*/ 2147483647 h 255"/>
                    <a:gd name="T66" fmla="*/ 2147483647 w 174"/>
                    <a:gd name="T67" fmla="*/ 2147483647 h 255"/>
                    <a:gd name="T68" fmla="*/ 2147483647 w 174"/>
                    <a:gd name="T69" fmla="*/ 2147483647 h 255"/>
                    <a:gd name="T70" fmla="*/ 2147483647 w 174"/>
                    <a:gd name="T71" fmla="*/ 0 h 255"/>
                    <a:gd name="T72" fmla="*/ 2147483647 w 174"/>
                    <a:gd name="T73" fmla="*/ 2147483647 h 255"/>
                    <a:gd name="T74" fmla="*/ 2147483647 w 174"/>
                    <a:gd name="T75" fmla="*/ 2147483647 h 255"/>
                    <a:gd name="T76" fmla="*/ 2147483647 w 174"/>
                    <a:gd name="T77" fmla="*/ 2147483647 h 255"/>
                    <a:gd name="T78" fmla="*/ 2147483647 w 174"/>
                    <a:gd name="T79" fmla="*/ 2147483647 h 255"/>
                    <a:gd name="T80" fmla="*/ 2147483647 w 174"/>
                    <a:gd name="T81" fmla="*/ 2147483647 h 255"/>
                    <a:gd name="T82" fmla="*/ 2147483647 w 174"/>
                    <a:gd name="T83" fmla="*/ 2147483647 h 255"/>
                    <a:gd name="T84" fmla="*/ 2147483647 w 174"/>
                    <a:gd name="T85" fmla="*/ 2147483647 h 255"/>
                    <a:gd name="T86" fmla="*/ 2147483647 w 174"/>
                    <a:gd name="T87" fmla="*/ 2147483647 h 255"/>
                    <a:gd name="T88" fmla="*/ 2147483647 w 174"/>
                    <a:gd name="T89" fmla="*/ 2147483647 h 255"/>
                    <a:gd name="T90" fmla="*/ 2147483647 w 174"/>
                    <a:gd name="T91" fmla="*/ 2147483647 h 255"/>
                    <a:gd name="T92" fmla="*/ 2147483647 w 174"/>
                    <a:gd name="T93" fmla="*/ 2147483647 h 255"/>
                    <a:gd name="T94" fmla="*/ 2147483647 w 174"/>
                    <a:gd name="T95" fmla="*/ 2147483647 h 255"/>
                    <a:gd name="T96" fmla="*/ 2147483647 w 174"/>
                    <a:gd name="T97" fmla="*/ 2147483647 h 255"/>
                    <a:gd name="T98" fmla="*/ 2147483647 w 174"/>
                    <a:gd name="T99" fmla="*/ 2147483647 h 255"/>
                    <a:gd name="T100" fmla="*/ 2147483647 w 174"/>
                    <a:gd name="T101" fmla="*/ 2147483647 h 255"/>
                    <a:gd name="T102" fmla="*/ 2147483647 w 174"/>
                    <a:gd name="T103" fmla="*/ 2147483647 h 255"/>
                    <a:gd name="T104" fmla="*/ 2147483647 w 174"/>
                    <a:gd name="T105" fmla="*/ 2147483647 h 255"/>
                    <a:gd name="T106" fmla="*/ 2147483647 w 174"/>
                    <a:gd name="T107" fmla="*/ 2147483647 h 255"/>
                    <a:gd name="T108" fmla="*/ 2147483647 w 174"/>
                    <a:gd name="T109" fmla="*/ 2147483647 h 255"/>
                    <a:gd name="T110" fmla="*/ 2147483647 w 174"/>
                    <a:gd name="T111" fmla="*/ 2147483647 h 255"/>
                    <a:gd name="T112" fmla="*/ 2147483647 w 174"/>
                    <a:gd name="T113" fmla="*/ 2147483647 h 255"/>
                    <a:gd name="T114" fmla="*/ 2147483647 w 174"/>
                    <a:gd name="T115" fmla="*/ 2147483647 h 255"/>
                    <a:gd name="T116" fmla="*/ 2147483647 w 174"/>
                    <a:gd name="T117" fmla="*/ 2147483647 h 255"/>
                    <a:gd name="T118" fmla="*/ 2147483647 w 174"/>
                    <a:gd name="T119" fmla="*/ 2147483647 h 255"/>
                    <a:gd name="T120" fmla="*/ 2147483647 w 174"/>
                    <a:gd name="T121" fmla="*/ 2147483647 h 255"/>
                    <a:gd name="T122" fmla="*/ 2147483647 w 174"/>
                    <a:gd name="T123" fmla="*/ 2147483647 h 255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74"/>
                    <a:gd name="T187" fmla="*/ 0 h 255"/>
                    <a:gd name="T188" fmla="*/ 174 w 174"/>
                    <a:gd name="T189" fmla="*/ 255 h 255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74" h="255">
                      <a:moveTo>
                        <a:pt x="10" y="255"/>
                      </a:moveTo>
                      <a:lnTo>
                        <a:pt x="3" y="248"/>
                      </a:lnTo>
                      <a:lnTo>
                        <a:pt x="1" y="244"/>
                      </a:lnTo>
                      <a:lnTo>
                        <a:pt x="0" y="240"/>
                      </a:lnTo>
                      <a:lnTo>
                        <a:pt x="0" y="212"/>
                      </a:lnTo>
                      <a:lnTo>
                        <a:pt x="0" y="180"/>
                      </a:lnTo>
                      <a:lnTo>
                        <a:pt x="1" y="175"/>
                      </a:lnTo>
                      <a:lnTo>
                        <a:pt x="6" y="170"/>
                      </a:lnTo>
                      <a:lnTo>
                        <a:pt x="10" y="166"/>
                      </a:lnTo>
                      <a:lnTo>
                        <a:pt x="15" y="161"/>
                      </a:lnTo>
                      <a:lnTo>
                        <a:pt x="19" y="155"/>
                      </a:lnTo>
                      <a:lnTo>
                        <a:pt x="24" y="150"/>
                      </a:lnTo>
                      <a:lnTo>
                        <a:pt x="30" y="150"/>
                      </a:lnTo>
                      <a:lnTo>
                        <a:pt x="36" y="149"/>
                      </a:lnTo>
                      <a:lnTo>
                        <a:pt x="40" y="147"/>
                      </a:lnTo>
                      <a:lnTo>
                        <a:pt x="45" y="144"/>
                      </a:lnTo>
                      <a:lnTo>
                        <a:pt x="49" y="142"/>
                      </a:lnTo>
                      <a:lnTo>
                        <a:pt x="52" y="141"/>
                      </a:lnTo>
                      <a:lnTo>
                        <a:pt x="60" y="141"/>
                      </a:lnTo>
                      <a:lnTo>
                        <a:pt x="66" y="141"/>
                      </a:lnTo>
                      <a:lnTo>
                        <a:pt x="71" y="140"/>
                      </a:lnTo>
                      <a:lnTo>
                        <a:pt x="73" y="137"/>
                      </a:lnTo>
                      <a:lnTo>
                        <a:pt x="76" y="133"/>
                      </a:lnTo>
                      <a:lnTo>
                        <a:pt x="87" y="117"/>
                      </a:lnTo>
                      <a:lnTo>
                        <a:pt x="100" y="104"/>
                      </a:lnTo>
                      <a:lnTo>
                        <a:pt x="113" y="90"/>
                      </a:lnTo>
                      <a:lnTo>
                        <a:pt x="118" y="83"/>
                      </a:lnTo>
                      <a:lnTo>
                        <a:pt x="121" y="74"/>
                      </a:lnTo>
                      <a:lnTo>
                        <a:pt x="120" y="73"/>
                      </a:lnTo>
                      <a:lnTo>
                        <a:pt x="119" y="73"/>
                      </a:lnTo>
                      <a:lnTo>
                        <a:pt x="111" y="73"/>
                      </a:lnTo>
                      <a:lnTo>
                        <a:pt x="104" y="72"/>
                      </a:lnTo>
                      <a:lnTo>
                        <a:pt x="97" y="70"/>
                      </a:lnTo>
                      <a:lnTo>
                        <a:pt x="90" y="67"/>
                      </a:lnTo>
                      <a:lnTo>
                        <a:pt x="77" y="61"/>
                      </a:lnTo>
                      <a:lnTo>
                        <a:pt x="63" y="55"/>
                      </a:lnTo>
                      <a:lnTo>
                        <a:pt x="57" y="53"/>
                      </a:lnTo>
                      <a:lnTo>
                        <a:pt x="49" y="50"/>
                      </a:lnTo>
                      <a:lnTo>
                        <a:pt x="43" y="46"/>
                      </a:lnTo>
                      <a:lnTo>
                        <a:pt x="38" y="41"/>
                      </a:lnTo>
                      <a:lnTo>
                        <a:pt x="27" y="32"/>
                      </a:lnTo>
                      <a:lnTo>
                        <a:pt x="20" y="20"/>
                      </a:lnTo>
                      <a:lnTo>
                        <a:pt x="22" y="18"/>
                      </a:lnTo>
                      <a:lnTo>
                        <a:pt x="26" y="12"/>
                      </a:lnTo>
                      <a:lnTo>
                        <a:pt x="29" y="8"/>
                      </a:lnTo>
                      <a:lnTo>
                        <a:pt x="31" y="6"/>
                      </a:lnTo>
                      <a:lnTo>
                        <a:pt x="31" y="9"/>
                      </a:lnTo>
                      <a:lnTo>
                        <a:pt x="33" y="12"/>
                      </a:lnTo>
                      <a:lnTo>
                        <a:pt x="41" y="19"/>
                      </a:lnTo>
                      <a:lnTo>
                        <a:pt x="50" y="23"/>
                      </a:lnTo>
                      <a:lnTo>
                        <a:pt x="54" y="25"/>
                      </a:lnTo>
                      <a:lnTo>
                        <a:pt x="59" y="26"/>
                      </a:lnTo>
                      <a:lnTo>
                        <a:pt x="66" y="27"/>
                      </a:lnTo>
                      <a:lnTo>
                        <a:pt x="72" y="26"/>
                      </a:lnTo>
                      <a:lnTo>
                        <a:pt x="83" y="22"/>
                      </a:lnTo>
                      <a:lnTo>
                        <a:pt x="96" y="19"/>
                      </a:lnTo>
                      <a:lnTo>
                        <a:pt x="107" y="15"/>
                      </a:lnTo>
                      <a:lnTo>
                        <a:pt x="120" y="13"/>
                      </a:lnTo>
                      <a:lnTo>
                        <a:pt x="121" y="13"/>
                      </a:lnTo>
                      <a:lnTo>
                        <a:pt x="123" y="14"/>
                      </a:lnTo>
                      <a:lnTo>
                        <a:pt x="124" y="14"/>
                      </a:lnTo>
                      <a:lnTo>
                        <a:pt x="125" y="15"/>
                      </a:lnTo>
                      <a:lnTo>
                        <a:pt x="130" y="13"/>
                      </a:lnTo>
                      <a:lnTo>
                        <a:pt x="134" y="10"/>
                      </a:lnTo>
                      <a:lnTo>
                        <a:pt x="139" y="9"/>
                      </a:lnTo>
                      <a:lnTo>
                        <a:pt x="144" y="9"/>
                      </a:lnTo>
                      <a:lnTo>
                        <a:pt x="147" y="9"/>
                      </a:lnTo>
                      <a:lnTo>
                        <a:pt x="151" y="9"/>
                      </a:lnTo>
                      <a:lnTo>
                        <a:pt x="157" y="6"/>
                      </a:lnTo>
                      <a:lnTo>
                        <a:pt x="165" y="2"/>
                      </a:lnTo>
                      <a:lnTo>
                        <a:pt x="168" y="0"/>
                      </a:lnTo>
                      <a:lnTo>
                        <a:pt x="172" y="0"/>
                      </a:lnTo>
                      <a:lnTo>
                        <a:pt x="174" y="1"/>
                      </a:lnTo>
                      <a:lnTo>
                        <a:pt x="174" y="3"/>
                      </a:lnTo>
                      <a:lnTo>
                        <a:pt x="172" y="8"/>
                      </a:lnTo>
                      <a:lnTo>
                        <a:pt x="171" y="13"/>
                      </a:lnTo>
                      <a:lnTo>
                        <a:pt x="171" y="19"/>
                      </a:lnTo>
                      <a:lnTo>
                        <a:pt x="172" y="23"/>
                      </a:lnTo>
                      <a:lnTo>
                        <a:pt x="174" y="27"/>
                      </a:lnTo>
                      <a:lnTo>
                        <a:pt x="174" y="29"/>
                      </a:lnTo>
                      <a:lnTo>
                        <a:pt x="171" y="35"/>
                      </a:lnTo>
                      <a:lnTo>
                        <a:pt x="157" y="61"/>
                      </a:lnTo>
                      <a:lnTo>
                        <a:pt x="144" y="86"/>
                      </a:lnTo>
                      <a:lnTo>
                        <a:pt x="140" y="93"/>
                      </a:lnTo>
                      <a:lnTo>
                        <a:pt x="138" y="97"/>
                      </a:lnTo>
                      <a:lnTo>
                        <a:pt x="138" y="99"/>
                      </a:lnTo>
                      <a:lnTo>
                        <a:pt x="137" y="109"/>
                      </a:lnTo>
                      <a:lnTo>
                        <a:pt x="134" y="118"/>
                      </a:lnTo>
                      <a:lnTo>
                        <a:pt x="133" y="123"/>
                      </a:lnTo>
                      <a:lnTo>
                        <a:pt x="130" y="127"/>
                      </a:lnTo>
                      <a:lnTo>
                        <a:pt x="127" y="130"/>
                      </a:lnTo>
                      <a:lnTo>
                        <a:pt x="123" y="133"/>
                      </a:lnTo>
                      <a:lnTo>
                        <a:pt x="121" y="135"/>
                      </a:lnTo>
                      <a:lnTo>
                        <a:pt x="120" y="137"/>
                      </a:lnTo>
                      <a:lnTo>
                        <a:pt x="119" y="141"/>
                      </a:lnTo>
                      <a:lnTo>
                        <a:pt x="118" y="142"/>
                      </a:lnTo>
                      <a:lnTo>
                        <a:pt x="113" y="146"/>
                      </a:lnTo>
                      <a:lnTo>
                        <a:pt x="110" y="150"/>
                      </a:lnTo>
                      <a:lnTo>
                        <a:pt x="106" y="160"/>
                      </a:lnTo>
                      <a:lnTo>
                        <a:pt x="102" y="168"/>
                      </a:lnTo>
                      <a:lnTo>
                        <a:pt x="96" y="174"/>
                      </a:lnTo>
                      <a:lnTo>
                        <a:pt x="90" y="179"/>
                      </a:lnTo>
                      <a:lnTo>
                        <a:pt x="83" y="184"/>
                      </a:lnTo>
                      <a:lnTo>
                        <a:pt x="76" y="188"/>
                      </a:lnTo>
                      <a:lnTo>
                        <a:pt x="71" y="193"/>
                      </a:lnTo>
                      <a:lnTo>
                        <a:pt x="64" y="202"/>
                      </a:lnTo>
                      <a:lnTo>
                        <a:pt x="62" y="205"/>
                      </a:lnTo>
                      <a:lnTo>
                        <a:pt x="57" y="207"/>
                      </a:lnTo>
                      <a:lnTo>
                        <a:pt x="53" y="210"/>
                      </a:lnTo>
                      <a:lnTo>
                        <a:pt x="50" y="213"/>
                      </a:lnTo>
                      <a:lnTo>
                        <a:pt x="49" y="216"/>
                      </a:lnTo>
                      <a:lnTo>
                        <a:pt x="48" y="218"/>
                      </a:lnTo>
                      <a:lnTo>
                        <a:pt x="44" y="221"/>
                      </a:lnTo>
                      <a:lnTo>
                        <a:pt x="40" y="223"/>
                      </a:lnTo>
                      <a:lnTo>
                        <a:pt x="36" y="226"/>
                      </a:lnTo>
                      <a:lnTo>
                        <a:pt x="33" y="230"/>
                      </a:lnTo>
                      <a:lnTo>
                        <a:pt x="30" y="232"/>
                      </a:lnTo>
                      <a:lnTo>
                        <a:pt x="24" y="237"/>
                      </a:lnTo>
                      <a:lnTo>
                        <a:pt x="21" y="239"/>
                      </a:lnTo>
                      <a:lnTo>
                        <a:pt x="20" y="243"/>
                      </a:lnTo>
                      <a:lnTo>
                        <a:pt x="19" y="245"/>
                      </a:lnTo>
                      <a:lnTo>
                        <a:pt x="16" y="248"/>
                      </a:lnTo>
                      <a:lnTo>
                        <a:pt x="14" y="250"/>
                      </a:lnTo>
                      <a:lnTo>
                        <a:pt x="10" y="25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1" name="Freeform 753">
                  <a:extLst>
                    <a:ext uri="{FF2B5EF4-FFF2-40B4-BE49-F238E27FC236}">
                      <a16:creationId xmlns:a16="http://schemas.microsoft.com/office/drawing/2014/main" id="{CA6B5D49-D044-7240-9AA5-6CE114E5C2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8813" y="4470377"/>
                  <a:ext cx="208661" cy="293015"/>
                </a:xfrm>
                <a:custGeom>
                  <a:avLst/>
                  <a:gdLst>
                    <a:gd name="T0" fmla="*/ 2147483647 w 153"/>
                    <a:gd name="T1" fmla="*/ 2147483647 h 198"/>
                    <a:gd name="T2" fmla="*/ 2147483647 w 153"/>
                    <a:gd name="T3" fmla="*/ 2147483647 h 198"/>
                    <a:gd name="T4" fmla="*/ 2147483647 w 153"/>
                    <a:gd name="T5" fmla="*/ 2147483647 h 198"/>
                    <a:gd name="T6" fmla="*/ 2147483647 w 153"/>
                    <a:gd name="T7" fmla="*/ 2147483647 h 198"/>
                    <a:gd name="T8" fmla="*/ 2147483647 w 153"/>
                    <a:gd name="T9" fmla="*/ 2147483647 h 198"/>
                    <a:gd name="T10" fmla="*/ 2147483647 w 153"/>
                    <a:gd name="T11" fmla="*/ 2147483647 h 198"/>
                    <a:gd name="T12" fmla="*/ 2147483647 w 153"/>
                    <a:gd name="T13" fmla="*/ 2147483647 h 198"/>
                    <a:gd name="T14" fmla="*/ 0 w 153"/>
                    <a:gd name="T15" fmla="*/ 2147483647 h 198"/>
                    <a:gd name="T16" fmla="*/ 2147483647 w 153"/>
                    <a:gd name="T17" fmla="*/ 2147483647 h 198"/>
                    <a:gd name="T18" fmla="*/ 2147483647 w 153"/>
                    <a:gd name="T19" fmla="*/ 2147483647 h 198"/>
                    <a:gd name="T20" fmla="*/ 2147483647 w 153"/>
                    <a:gd name="T21" fmla="*/ 2147483647 h 198"/>
                    <a:gd name="T22" fmla="*/ 2147483647 w 153"/>
                    <a:gd name="T23" fmla="*/ 2147483647 h 198"/>
                    <a:gd name="T24" fmla="*/ 2147483647 w 153"/>
                    <a:gd name="T25" fmla="*/ 2147483647 h 198"/>
                    <a:gd name="T26" fmla="*/ 2147483647 w 153"/>
                    <a:gd name="T27" fmla="*/ 2147483647 h 198"/>
                    <a:gd name="T28" fmla="*/ 2147483647 w 153"/>
                    <a:gd name="T29" fmla="*/ 2147483647 h 198"/>
                    <a:gd name="T30" fmla="*/ 2147483647 w 153"/>
                    <a:gd name="T31" fmla="*/ 2147483647 h 198"/>
                    <a:gd name="T32" fmla="*/ 2147483647 w 153"/>
                    <a:gd name="T33" fmla="*/ 2147483647 h 198"/>
                    <a:gd name="T34" fmla="*/ 2147483647 w 153"/>
                    <a:gd name="T35" fmla="*/ 2147483647 h 198"/>
                    <a:gd name="T36" fmla="*/ 2147483647 w 153"/>
                    <a:gd name="T37" fmla="*/ 2147483647 h 198"/>
                    <a:gd name="T38" fmla="*/ 2147483647 w 153"/>
                    <a:gd name="T39" fmla="*/ 2147483647 h 198"/>
                    <a:gd name="T40" fmla="*/ 2147483647 w 153"/>
                    <a:gd name="T41" fmla="*/ 2147483647 h 198"/>
                    <a:gd name="T42" fmla="*/ 2147483647 w 153"/>
                    <a:gd name="T43" fmla="*/ 0 h 198"/>
                    <a:gd name="T44" fmla="*/ 2147483647 w 153"/>
                    <a:gd name="T45" fmla="*/ 2147483647 h 198"/>
                    <a:gd name="T46" fmla="*/ 2147483647 w 153"/>
                    <a:gd name="T47" fmla="*/ 2147483647 h 198"/>
                    <a:gd name="T48" fmla="*/ 2147483647 w 153"/>
                    <a:gd name="T49" fmla="*/ 2147483647 h 198"/>
                    <a:gd name="T50" fmla="*/ 2147483647 w 153"/>
                    <a:gd name="T51" fmla="*/ 2147483647 h 198"/>
                    <a:gd name="T52" fmla="*/ 2147483647 w 153"/>
                    <a:gd name="T53" fmla="*/ 2147483647 h 198"/>
                    <a:gd name="T54" fmla="*/ 2147483647 w 153"/>
                    <a:gd name="T55" fmla="*/ 2147483647 h 198"/>
                    <a:gd name="T56" fmla="*/ 2147483647 w 153"/>
                    <a:gd name="T57" fmla="*/ 2147483647 h 198"/>
                    <a:gd name="T58" fmla="*/ 2147483647 w 153"/>
                    <a:gd name="T59" fmla="*/ 2147483647 h 198"/>
                    <a:gd name="T60" fmla="*/ 2147483647 w 153"/>
                    <a:gd name="T61" fmla="*/ 2147483647 h 198"/>
                    <a:gd name="T62" fmla="*/ 2147483647 w 153"/>
                    <a:gd name="T63" fmla="*/ 2147483647 h 198"/>
                    <a:gd name="T64" fmla="*/ 2147483647 w 153"/>
                    <a:gd name="T65" fmla="*/ 2147483647 h 198"/>
                    <a:gd name="T66" fmla="*/ 2147483647 w 153"/>
                    <a:gd name="T67" fmla="*/ 2147483647 h 198"/>
                    <a:gd name="T68" fmla="*/ 2147483647 w 153"/>
                    <a:gd name="T69" fmla="*/ 2147483647 h 198"/>
                    <a:gd name="T70" fmla="*/ 2147483647 w 153"/>
                    <a:gd name="T71" fmla="*/ 2147483647 h 198"/>
                    <a:gd name="T72" fmla="*/ 2147483647 w 153"/>
                    <a:gd name="T73" fmla="*/ 2147483647 h 198"/>
                    <a:gd name="T74" fmla="*/ 2147483647 w 153"/>
                    <a:gd name="T75" fmla="*/ 2147483647 h 198"/>
                    <a:gd name="T76" fmla="*/ 2147483647 w 153"/>
                    <a:gd name="T77" fmla="*/ 2147483647 h 198"/>
                    <a:gd name="T78" fmla="*/ 2147483647 w 153"/>
                    <a:gd name="T79" fmla="*/ 2147483647 h 198"/>
                    <a:gd name="T80" fmla="*/ 2147483647 w 153"/>
                    <a:gd name="T81" fmla="*/ 2147483647 h 198"/>
                    <a:gd name="T82" fmla="*/ 2147483647 w 153"/>
                    <a:gd name="T83" fmla="*/ 2147483647 h 198"/>
                    <a:gd name="T84" fmla="*/ 2147483647 w 153"/>
                    <a:gd name="T85" fmla="*/ 2147483647 h 198"/>
                    <a:gd name="T86" fmla="*/ 2147483647 w 153"/>
                    <a:gd name="T87" fmla="*/ 2147483647 h 198"/>
                    <a:gd name="T88" fmla="*/ 2147483647 w 153"/>
                    <a:gd name="T89" fmla="*/ 2147483647 h 198"/>
                    <a:gd name="T90" fmla="*/ 2147483647 w 153"/>
                    <a:gd name="T91" fmla="*/ 2147483647 h 198"/>
                    <a:gd name="T92" fmla="*/ 2147483647 w 153"/>
                    <a:gd name="T93" fmla="*/ 2147483647 h 198"/>
                    <a:gd name="T94" fmla="*/ 2147483647 w 153"/>
                    <a:gd name="T95" fmla="*/ 2147483647 h 198"/>
                    <a:gd name="T96" fmla="*/ 2147483647 w 153"/>
                    <a:gd name="T97" fmla="*/ 2147483647 h 198"/>
                    <a:gd name="T98" fmla="*/ 2147483647 w 153"/>
                    <a:gd name="T99" fmla="*/ 2147483647 h 198"/>
                    <a:gd name="T100" fmla="*/ 2147483647 w 153"/>
                    <a:gd name="T101" fmla="*/ 2147483647 h 198"/>
                    <a:gd name="T102" fmla="*/ 2147483647 w 153"/>
                    <a:gd name="T103" fmla="*/ 2147483647 h 198"/>
                    <a:gd name="T104" fmla="*/ 2147483647 w 153"/>
                    <a:gd name="T105" fmla="*/ 2147483647 h 198"/>
                    <a:gd name="T106" fmla="*/ 2147483647 w 153"/>
                    <a:gd name="T107" fmla="*/ 2147483647 h 19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53"/>
                    <a:gd name="T163" fmla="*/ 0 h 198"/>
                    <a:gd name="T164" fmla="*/ 153 w 153"/>
                    <a:gd name="T165" fmla="*/ 198 h 19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53" h="198">
                      <a:moveTo>
                        <a:pt x="95" y="198"/>
                      </a:moveTo>
                      <a:lnTo>
                        <a:pt x="95" y="198"/>
                      </a:lnTo>
                      <a:lnTo>
                        <a:pt x="92" y="196"/>
                      </a:lnTo>
                      <a:lnTo>
                        <a:pt x="89" y="192"/>
                      </a:lnTo>
                      <a:lnTo>
                        <a:pt x="78" y="186"/>
                      </a:lnTo>
                      <a:lnTo>
                        <a:pt x="68" y="180"/>
                      </a:lnTo>
                      <a:lnTo>
                        <a:pt x="65" y="177"/>
                      </a:lnTo>
                      <a:lnTo>
                        <a:pt x="62" y="173"/>
                      </a:lnTo>
                      <a:lnTo>
                        <a:pt x="58" y="165"/>
                      </a:lnTo>
                      <a:lnTo>
                        <a:pt x="51" y="159"/>
                      </a:lnTo>
                      <a:lnTo>
                        <a:pt x="33" y="142"/>
                      </a:lnTo>
                      <a:lnTo>
                        <a:pt x="16" y="129"/>
                      </a:lnTo>
                      <a:lnTo>
                        <a:pt x="0" y="115"/>
                      </a:lnTo>
                      <a:lnTo>
                        <a:pt x="1" y="98"/>
                      </a:lnTo>
                      <a:lnTo>
                        <a:pt x="2" y="91"/>
                      </a:lnTo>
                      <a:lnTo>
                        <a:pt x="4" y="84"/>
                      </a:lnTo>
                      <a:lnTo>
                        <a:pt x="6" y="79"/>
                      </a:lnTo>
                      <a:lnTo>
                        <a:pt x="10" y="75"/>
                      </a:lnTo>
                      <a:lnTo>
                        <a:pt x="15" y="70"/>
                      </a:lnTo>
                      <a:lnTo>
                        <a:pt x="20" y="66"/>
                      </a:lnTo>
                      <a:lnTo>
                        <a:pt x="21" y="65"/>
                      </a:lnTo>
                      <a:lnTo>
                        <a:pt x="23" y="63"/>
                      </a:lnTo>
                      <a:lnTo>
                        <a:pt x="21" y="57"/>
                      </a:lnTo>
                      <a:lnTo>
                        <a:pt x="14" y="41"/>
                      </a:lnTo>
                      <a:lnTo>
                        <a:pt x="12" y="33"/>
                      </a:lnTo>
                      <a:lnTo>
                        <a:pt x="10" y="25"/>
                      </a:lnTo>
                      <a:lnTo>
                        <a:pt x="10" y="24"/>
                      </a:lnTo>
                      <a:lnTo>
                        <a:pt x="9" y="23"/>
                      </a:lnTo>
                      <a:lnTo>
                        <a:pt x="5" y="20"/>
                      </a:lnTo>
                      <a:lnTo>
                        <a:pt x="4" y="18"/>
                      </a:lnTo>
                      <a:lnTo>
                        <a:pt x="10" y="9"/>
                      </a:lnTo>
                      <a:lnTo>
                        <a:pt x="14" y="5"/>
                      </a:lnTo>
                      <a:lnTo>
                        <a:pt x="19" y="1"/>
                      </a:lnTo>
                      <a:lnTo>
                        <a:pt x="21" y="0"/>
                      </a:lnTo>
                      <a:lnTo>
                        <a:pt x="24" y="1"/>
                      </a:lnTo>
                      <a:lnTo>
                        <a:pt x="29" y="5"/>
                      </a:lnTo>
                      <a:lnTo>
                        <a:pt x="31" y="5"/>
                      </a:lnTo>
                      <a:lnTo>
                        <a:pt x="34" y="4"/>
                      </a:lnTo>
                      <a:lnTo>
                        <a:pt x="35" y="6"/>
                      </a:lnTo>
                      <a:lnTo>
                        <a:pt x="37" y="8"/>
                      </a:lnTo>
                      <a:lnTo>
                        <a:pt x="38" y="11"/>
                      </a:lnTo>
                      <a:lnTo>
                        <a:pt x="38" y="12"/>
                      </a:lnTo>
                      <a:lnTo>
                        <a:pt x="39" y="13"/>
                      </a:lnTo>
                      <a:lnTo>
                        <a:pt x="42" y="14"/>
                      </a:lnTo>
                      <a:lnTo>
                        <a:pt x="45" y="15"/>
                      </a:lnTo>
                      <a:lnTo>
                        <a:pt x="51" y="14"/>
                      </a:lnTo>
                      <a:lnTo>
                        <a:pt x="56" y="14"/>
                      </a:lnTo>
                      <a:lnTo>
                        <a:pt x="59" y="17"/>
                      </a:lnTo>
                      <a:lnTo>
                        <a:pt x="71" y="24"/>
                      </a:lnTo>
                      <a:lnTo>
                        <a:pt x="77" y="26"/>
                      </a:lnTo>
                      <a:lnTo>
                        <a:pt x="82" y="27"/>
                      </a:lnTo>
                      <a:lnTo>
                        <a:pt x="89" y="27"/>
                      </a:lnTo>
                      <a:lnTo>
                        <a:pt x="94" y="27"/>
                      </a:lnTo>
                      <a:lnTo>
                        <a:pt x="100" y="25"/>
                      </a:lnTo>
                      <a:lnTo>
                        <a:pt x="106" y="21"/>
                      </a:lnTo>
                      <a:lnTo>
                        <a:pt x="110" y="21"/>
                      </a:lnTo>
                      <a:lnTo>
                        <a:pt x="115" y="20"/>
                      </a:lnTo>
                      <a:lnTo>
                        <a:pt x="125" y="20"/>
                      </a:lnTo>
                      <a:lnTo>
                        <a:pt x="136" y="23"/>
                      </a:lnTo>
                      <a:lnTo>
                        <a:pt x="147" y="20"/>
                      </a:lnTo>
                      <a:lnTo>
                        <a:pt x="153" y="20"/>
                      </a:lnTo>
                      <a:lnTo>
                        <a:pt x="148" y="25"/>
                      </a:lnTo>
                      <a:lnTo>
                        <a:pt x="145" y="31"/>
                      </a:lnTo>
                      <a:lnTo>
                        <a:pt x="139" y="36"/>
                      </a:lnTo>
                      <a:lnTo>
                        <a:pt x="136" y="40"/>
                      </a:lnTo>
                      <a:lnTo>
                        <a:pt x="131" y="45"/>
                      </a:lnTo>
                      <a:lnTo>
                        <a:pt x="129" y="50"/>
                      </a:lnTo>
                      <a:lnTo>
                        <a:pt x="129" y="82"/>
                      </a:lnTo>
                      <a:lnTo>
                        <a:pt x="129" y="110"/>
                      </a:lnTo>
                      <a:lnTo>
                        <a:pt x="131" y="114"/>
                      </a:lnTo>
                      <a:lnTo>
                        <a:pt x="133" y="117"/>
                      </a:lnTo>
                      <a:lnTo>
                        <a:pt x="139" y="124"/>
                      </a:lnTo>
                      <a:lnTo>
                        <a:pt x="132" y="136"/>
                      </a:lnTo>
                      <a:lnTo>
                        <a:pt x="129" y="143"/>
                      </a:lnTo>
                      <a:lnTo>
                        <a:pt x="127" y="146"/>
                      </a:lnTo>
                      <a:lnTo>
                        <a:pt x="125" y="148"/>
                      </a:lnTo>
                      <a:lnTo>
                        <a:pt x="118" y="152"/>
                      </a:lnTo>
                      <a:lnTo>
                        <a:pt x="111" y="156"/>
                      </a:lnTo>
                      <a:lnTo>
                        <a:pt x="108" y="162"/>
                      </a:lnTo>
                      <a:lnTo>
                        <a:pt x="105" y="170"/>
                      </a:lnTo>
                      <a:lnTo>
                        <a:pt x="100" y="184"/>
                      </a:lnTo>
                      <a:lnTo>
                        <a:pt x="98" y="191"/>
                      </a:lnTo>
                      <a:lnTo>
                        <a:pt x="95" y="19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2" name="Freeform 754">
                  <a:extLst>
                    <a:ext uri="{FF2B5EF4-FFF2-40B4-BE49-F238E27FC236}">
                      <a16:creationId xmlns:a16="http://schemas.microsoft.com/office/drawing/2014/main" id="{8AFC1DA5-8D58-A140-A100-4F8540504B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4915" y="4277995"/>
                  <a:ext cx="236780" cy="375887"/>
                </a:xfrm>
                <a:custGeom>
                  <a:avLst/>
                  <a:gdLst>
                    <a:gd name="T0" fmla="*/ 2147483647 w 174"/>
                    <a:gd name="T1" fmla="*/ 2147483647 h 254"/>
                    <a:gd name="T2" fmla="*/ 0 w 174"/>
                    <a:gd name="T3" fmla="*/ 2147483647 h 254"/>
                    <a:gd name="T4" fmla="*/ 0 w 174"/>
                    <a:gd name="T5" fmla="*/ 2147483647 h 254"/>
                    <a:gd name="T6" fmla="*/ 2147483647 w 174"/>
                    <a:gd name="T7" fmla="*/ 2147483647 h 254"/>
                    <a:gd name="T8" fmla="*/ 2147483647 w 174"/>
                    <a:gd name="T9" fmla="*/ 2147483647 h 254"/>
                    <a:gd name="T10" fmla="*/ 2147483647 w 174"/>
                    <a:gd name="T11" fmla="*/ 2147483647 h 254"/>
                    <a:gd name="T12" fmla="*/ 2147483647 w 174"/>
                    <a:gd name="T13" fmla="*/ 2147483647 h 254"/>
                    <a:gd name="T14" fmla="*/ 2147483647 w 174"/>
                    <a:gd name="T15" fmla="*/ 2147483647 h 254"/>
                    <a:gd name="T16" fmla="*/ 2147483647 w 174"/>
                    <a:gd name="T17" fmla="*/ 2147483647 h 254"/>
                    <a:gd name="T18" fmla="*/ 2147483647 w 174"/>
                    <a:gd name="T19" fmla="*/ 2147483647 h 254"/>
                    <a:gd name="T20" fmla="*/ 2147483647 w 174"/>
                    <a:gd name="T21" fmla="*/ 2147483647 h 254"/>
                    <a:gd name="T22" fmla="*/ 2147483647 w 174"/>
                    <a:gd name="T23" fmla="*/ 2147483647 h 254"/>
                    <a:gd name="T24" fmla="*/ 2147483647 w 174"/>
                    <a:gd name="T25" fmla="*/ 2147483647 h 254"/>
                    <a:gd name="T26" fmla="*/ 2147483647 w 174"/>
                    <a:gd name="T27" fmla="*/ 2147483647 h 254"/>
                    <a:gd name="T28" fmla="*/ 2147483647 w 174"/>
                    <a:gd name="T29" fmla="*/ 2147483647 h 254"/>
                    <a:gd name="T30" fmla="*/ 2147483647 w 174"/>
                    <a:gd name="T31" fmla="*/ 2147483647 h 254"/>
                    <a:gd name="T32" fmla="*/ 2147483647 w 174"/>
                    <a:gd name="T33" fmla="*/ 2147483647 h 254"/>
                    <a:gd name="T34" fmla="*/ 2147483647 w 174"/>
                    <a:gd name="T35" fmla="*/ 2147483647 h 254"/>
                    <a:gd name="T36" fmla="*/ 2147483647 w 174"/>
                    <a:gd name="T37" fmla="*/ 2147483647 h 254"/>
                    <a:gd name="T38" fmla="*/ 2147483647 w 174"/>
                    <a:gd name="T39" fmla="*/ 2147483647 h 254"/>
                    <a:gd name="T40" fmla="*/ 2147483647 w 174"/>
                    <a:gd name="T41" fmla="*/ 2147483647 h 254"/>
                    <a:gd name="T42" fmla="*/ 2147483647 w 174"/>
                    <a:gd name="T43" fmla="*/ 2147483647 h 254"/>
                    <a:gd name="T44" fmla="*/ 2147483647 w 174"/>
                    <a:gd name="T45" fmla="*/ 2147483647 h 254"/>
                    <a:gd name="T46" fmla="*/ 2147483647 w 174"/>
                    <a:gd name="T47" fmla="*/ 2147483647 h 254"/>
                    <a:gd name="T48" fmla="*/ 2147483647 w 174"/>
                    <a:gd name="T49" fmla="*/ 2147483647 h 254"/>
                    <a:gd name="T50" fmla="*/ 2147483647 w 174"/>
                    <a:gd name="T51" fmla="*/ 2147483647 h 254"/>
                    <a:gd name="T52" fmla="*/ 2147483647 w 174"/>
                    <a:gd name="T53" fmla="*/ 2147483647 h 254"/>
                    <a:gd name="T54" fmla="*/ 2147483647 w 174"/>
                    <a:gd name="T55" fmla="*/ 2147483647 h 254"/>
                    <a:gd name="T56" fmla="*/ 2147483647 w 174"/>
                    <a:gd name="T57" fmla="*/ 2147483647 h 254"/>
                    <a:gd name="T58" fmla="*/ 2147483647 w 174"/>
                    <a:gd name="T59" fmla="*/ 2147483647 h 254"/>
                    <a:gd name="T60" fmla="*/ 2147483647 w 174"/>
                    <a:gd name="T61" fmla="*/ 0 h 254"/>
                    <a:gd name="T62" fmla="*/ 2147483647 w 174"/>
                    <a:gd name="T63" fmla="*/ 2147483647 h 254"/>
                    <a:gd name="T64" fmla="*/ 2147483647 w 174"/>
                    <a:gd name="T65" fmla="*/ 2147483647 h 254"/>
                    <a:gd name="T66" fmla="*/ 2147483647 w 174"/>
                    <a:gd name="T67" fmla="*/ 2147483647 h 254"/>
                    <a:gd name="T68" fmla="*/ 2147483647 w 174"/>
                    <a:gd name="T69" fmla="*/ 2147483647 h 254"/>
                    <a:gd name="T70" fmla="*/ 2147483647 w 174"/>
                    <a:gd name="T71" fmla="*/ 2147483647 h 254"/>
                    <a:gd name="T72" fmla="*/ 2147483647 w 174"/>
                    <a:gd name="T73" fmla="*/ 2147483647 h 254"/>
                    <a:gd name="T74" fmla="*/ 2147483647 w 174"/>
                    <a:gd name="T75" fmla="*/ 2147483647 h 254"/>
                    <a:gd name="T76" fmla="*/ 2147483647 w 174"/>
                    <a:gd name="T77" fmla="*/ 2147483647 h 254"/>
                    <a:gd name="T78" fmla="*/ 2147483647 w 174"/>
                    <a:gd name="T79" fmla="*/ 2147483647 h 254"/>
                    <a:gd name="T80" fmla="*/ 2147483647 w 174"/>
                    <a:gd name="T81" fmla="*/ 2147483647 h 254"/>
                    <a:gd name="T82" fmla="*/ 2147483647 w 174"/>
                    <a:gd name="T83" fmla="*/ 2147483647 h 254"/>
                    <a:gd name="T84" fmla="*/ 2147483647 w 174"/>
                    <a:gd name="T85" fmla="*/ 2147483647 h 254"/>
                    <a:gd name="T86" fmla="*/ 2147483647 w 174"/>
                    <a:gd name="T87" fmla="*/ 2147483647 h 254"/>
                    <a:gd name="T88" fmla="*/ 2147483647 w 174"/>
                    <a:gd name="T89" fmla="*/ 2147483647 h 254"/>
                    <a:gd name="T90" fmla="*/ 2147483647 w 174"/>
                    <a:gd name="T91" fmla="*/ 2147483647 h 254"/>
                    <a:gd name="T92" fmla="*/ 2147483647 w 174"/>
                    <a:gd name="T93" fmla="*/ 2147483647 h 254"/>
                    <a:gd name="T94" fmla="*/ 2147483647 w 174"/>
                    <a:gd name="T95" fmla="*/ 2147483647 h 254"/>
                    <a:gd name="T96" fmla="*/ 2147483647 w 174"/>
                    <a:gd name="T97" fmla="*/ 2147483647 h 254"/>
                    <a:gd name="T98" fmla="*/ 2147483647 w 174"/>
                    <a:gd name="T99" fmla="*/ 2147483647 h 254"/>
                    <a:gd name="T100" fmla="*/ 2147483647 w 174"/>
                    <a:gd name="T101" fmla="*/ 2147483647 h 254"/>
                    <a:gd name="T102" fmla="*/ 2147483647 w 174"/>
                    <a:gd name="T103" fmla="*/ 2147483647 h 254"/>
                    <a:gd name="T104" fmla="*/ 2147483647 w 174"/>
                    <a:gd name="T105" fmla="*/ 2147483647 h 25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74"/>
                    <a:gd name="T160" fmla="*/ 0 h 254"/>
                    <a:gd name="T161" fmla="*/ 174 w 174"/>
                    <a:gd name="T162" fmla="*/ 254 h 25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74" h="254">
                      <a:moveTo>
                        <a:pt x="10" y="254"/>
                      </a:moveTo>
                      <a:lnTo>
                        <a:pt x="10" y="254"/>
                      </a:lnTo>
                      <a:lnTo>
                        <a:pt x="4" y="247"/>
                      </a:lnTo>
                      <a:lnTo>
                        <a:pt x="2" y="244"/>
                      </a:lnTo>
                      <a:lnTo>
                        <a:pt x="0" y="240"/>
                      </a:lnTo>
                      <a:lnTo>
                        <a:pt x="0" y="212"/>
                      </a:lnTo>
                      <a:lnTo>
                        <a:pt x="0" y="180"/>
                      </a:lnTo>
                      <a:lnTo>
                        <a:pt x="2" y="175"/>
                      </a:lnTo>
                      <a:lnTo>
                        <a:pt x="7" y="170"/>
                      </a:lnTo>
                      <a:lnTo>
                        <a:pt x="10" y="166"/>
                      </a:lnTo>
                      <a:lnTo>
                        <a:pt x="16" y="161"/>
                      </a:lnTo>
                      <a:lnTo>
                        <a:pt x="19" y="155"/>
                      </a:lnTo>
                      <a:lnTo>
                        <a:pt x="24" y="150"/>
                      </a:lnTo>
                      <a:lnTo>
                        <a:pt x="31" y="150"/>
                      </a:lnTo>
                      <a:lnTo>
                        <a:pt x="37" y="149"/>
                      </a:lnTo>
                      <a:lnTo>
                        <a:pt x="41" y="147"/>
                      </a:lnTo>
                      <a:lnTo>
                        <a:pt x="46" y="144"/>
                      </a:lnTo>
                      <a:lnTo>
                        <a:pt x="50" y="142"/>
                      </a:lnTo>
                      <a:lnTo>
                        <a:pt x="52" y="141"/>
                      </a:lnTo>
                      <a:lnTo>
                        <a:pt x="61" y="141"/>
                      </a:lnTo>
                      <a:lnTo>
                        <a:pt x="66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6" y="132"/>
                      </a:lnTo>
                      <a:lnTo>
                        <a:pt x="88" y="117"/>
                      </a:lnTo>
                      <a:lnTo>
                        <a:pt x="101" y="104"/>
                      </a:lnTo>
                      <a:lnTo>
                        <a:pt x="113" y="90"/>
                      </a:lnTo>
                      <a:lnTo>
                        <a:pt x="118" y="83"/>
                      </a:lnTo>
                      <a:lnTo>
                        <a:pt x="122" y="74"/>
                      </a:lnTo>
                      <a:lnTo>
                        <a:pt x="121" y="73"/>
                      </a:lnTo>
                      <a:lnTo>
                        <a:pt x="120" y="73"/>
                      </a:lnTo>
                      <a:lnTo>
                        <a:pt x="112" y="73"/>
                      </a:lnTo>
                      <a:lnTo>
                        <a:pt x="104" y="72"/>
                      </a:lnTo>
                      <a:lnTo>
                        <a:pt x="98" y="70"/>
                      </a:lnTo>
                      <a:lnTo>
                        <a:pt x="90" y="67"/>
                      </a:lnTo>
                      <a:lnTo>
                        <a:pt x="78" y="61"/>
                      </a:lnTo>
                      <a:lnTo>
                        <a:pt x="64" y="55"/>
                      </a:lnTo>
                      <a:lnTo>
                        <a:pt x="57" y="53"/>
                      </a:lnTo>
                      <a:lnTo>
                        <a:pt x="50" y="49"/>
                      </a:lnTo>
                      <a:lnTo>
                        <a:pt x="43" y="46"/>
                      </a:lnTo>
                      <a:lnTo>
                        <a:pt x="38" y="41"/>
                      </a:lnTo>
                      <a:lnTo>
                        <a:pt x="28" y="32"/>
                      </a:lnTo>
                      <a:lnTo>
                        <a:pt x="21" y="20"/>
                      </a:lnTo>
                      <a:lnTo>
                        <a:pt x="23" y="17"/>
                      </a:lnTo>
                      <a:lnTo>
                        <a:pt x="27" y="11"/>
                      </a:lnTo>
                      <a:lnTo>
                        <a:pt x="29" y="8"/>
                      </a:lnTo>
                      <a:lnTo>
                        <a:pt x="32" y="6"/>
                      </a:lnTo>
                      <a:lnTo>
                        <a:pt x="32" y="9"/>
                      </a:lnTo>
                      <a:lnTo>
                        <a:pt x="33" y="11"/>
                      </a:lnTo>
                      <a:lnTo>
                        <a:pt x="42" y="19"/>
                      </a:lnTo>
                      <a:lnTo>
                        <a:pt x="51" y="23"/>
                      </a:lnTo>
                      <a:lnTo>
                        <a:pt x="55" y="24"/>
                      </a:lnTo>
                      <a:lnTo>
                        <a:pt x="60" y="26"/>
                      </a:lnTo>
                      <a:lnTo>
                        <a:pt x="66" y="27"/>
                      </a:lnTo>
                      <a:lnTo>
                        <a:pt x="73" y="26"/>
                      </a:lnTo>
                      <a:lnTo>
                        <a:pt x="84" y="22"/>
                      </a:lnTo>
                      <a:lnTo>
                        <a:pt x="97" y="19"/>
                      </a:lnTo>
                      <a:lnTo>
                        <a:pt x="108" y="15"/>
                      </a:lnTo>
                      <a:lnTo>
                        <a:pt x="121" y="13"/>
                      </a:lnTo>
                      <a:lnTo>
                        <a:pt x="122" y="13"/>
                      </a:lnTo>
                      <a:lnTo>
                        <a:pt x="123" y="14"/>
                      </a:lnTo>
                      <a:lnTo>
                        <a:pt x="125" y="14"/>
                      </a:lnTo>
                      <a:lnTo>
                        <a:pt x="126" y="15"/>
                      </a:lnTo>
                      <a:lnTo>
                        <a:pt x="131" y="13"/>
                      </a:lnTo>
                      <a:lnTo>
                        <a:pt x="135" y="10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8" y="9"/>
                      </a:lnTo>
                      <a:lnTo>
                        <a:pt x="151" y="9"/>
                      </a:lnTo>
                      <a:lnTo>
                        <a:pt x="158" y="6"/>
                      </a:lnTo>
                      <a:lnTo>
                        <a:pt x="165" y="2"/>
                      </a:lnTo>
                      <a:lnTo>
                        <a:pt x="169" y="0"/>
                      </a:lnTo>
                      <a:lnTo>
                        <a:pt x="173" y="0"/>
                      </a:lnTo>
                      <a:lnTo>
                        <a:pt x="174" y="1"/>
                      </a:lnTo>
                      <a:lnTo>
                        <a:pt x="174" y="3"/>
                      </a:lnTo>
                      <a:lnTo>
                        <a:pt x="173" y="8"/>
                      </a:lnTo>
                      <a:lnTo>
                        <a:pt x="172" y="13"/>
                      </a:lnTo>
                      <a:lnTo>
                        <a:pt x="172" y="19"/>
                      </a:lnTo>
                      <a:lnTo>
                        <a:pt x="173" y="23"/>
                      </a:lnTo>
                      <a:lnTo>
                        <a:pt x="174" y="27"/>
                      </a:lnTo>
                      <a:lnTo>
                        <a:pt x="174" y="29"/>
                      </a:lnTo>
                      <a:lnTo>
                        <a:pt x="172" y="35"/>
                      </a:lnTo>
                      <a:lnTo>
                        <a:pt x="158" y="61"/>
                      </a:lnTo>
                      <a:lnTo>
                        <a:pt x="145" y="86"/>
                      </a:lnTo>
                      <a:lnTo>
                        <a:pt x="141" y="93"/>
                      </a:lnTo>
                      <a:lnTo>
                        <a:pt x="139" y="97"/>
                      </a:lnTo>
                      <a:lnTo>
                        <a:pt x="139" y="99"/>
                      </a:lnTo>
                      <a:lnTo>
                        <a:pt x="137" y="109"/>
                      </a:lnTo>
                      <a:lnTo>
                        <a:pt x="135" y="118"/>
                      </a:lnTo>
                      <a:lnTo>
                        <a:pt x="134" y="123"/>
                      </a:lnTo>
                      <a:lnTo>
                        <a:pt x="131" y="126"/>
                      </a:lnTo>
                      <a:lnTo>
                        <a:pt x="127" y="130"/>
                      </a:lnTo>
                      <a:lnTo>
                        <a:pt x="123" y="132"/>
                      </a:lnTo>
                      <a:lnTo>
                        <a:pt x="122" y="135"/>
                      </a:lnTo>
                      <a:lnTo>
                        <a:pt x="121" y="137"/>
                      </a:lnTo>
                      <a:lnTo>
                        <a:pt x="120" y="141"/>
                      </a:lnTo>
                      <a:lnTo>
                        <a:pt x="118" y="142"/>
                      </a:lnTo>
                      <a:lnTo>
                        <a:pt x="113" y="145"/>
                      </a:lnTo>
                      <a:lnTo>
                        <a:pt x="111" y="150"/>
                      </a:lnTo>
                      <a:lnTo>
                        <a:pt x="107" y="160"/>
                      </a:lnTo>
                      <a:lnTo>
                        <a:pt x="103" y="168"/>
                      </a:lnTo>
                      <a:lnTo>
                        <a:pt x="97" y="174"/>
                      </a:lnTo>
                      <a:lnTo>
                        <a:pt x="90" y="179"/>
                      </a:lnTo>
                      <a:lnTo>
                        <a:pt x="84" y="183"/>
                      </a:lnTo>
                      <a:lnTo>
                        <a:pt x="76" y="188"/>
                      </a:lnTo>
                      <a:lnTo>
                        <a:pt x="71" y="193"/>
                      </a:lnTo>
                      <a:lnTo>
                        <a:pt x="65" y="202"/>
                      </a:lnTo>
                      <a:lnTo>
                        <a:pt x="62" y="205"/>
                      </a:lnTo>
                      <a:lnTo>
                        <a:pt x="57" y="207"/>
                      </a:lnTo>
                      <a:lnTo>
                        <a:pt x="54" y="209"/>
                      </a:lnTo>
                      <a:lnTo>
                        <a:pt x="51" y="213"/>
                      </a:lnTo>
                      <a:lnTo>
                        <a:pt x="50" y="215"/>
                      </a:lnTo>
                      <a:lnTo>
                        <a:pt x="49" y="218"/>
                      </a:lnTo>
                      <a:lnTo>
                        <a:pt x="45" y="221"/>
                      </a:lnTo>
                      <a:lnTo>
                        <a:pt x="41" y="222"/>
                      </a:lnTo>
                      <a:lnTo>
                        <a:pt x="37" y="226"/>
                      </a:lnTo>
                      <a:lnTo>
                        <a:pt x="33" y="230"/>
                      </a:lnTo>
                      <a:lnTo>
                        <a:pt x="31" y="232"/>
                      </a:lnTo>
                      <a:lnTo>
                        <a:pt x="24" y="237"/>
                      </a:lnTo>
                      <a:lnTo>
                        <a:pt x="22" y="239"/>
                      </a:lnTo>
                      <a:lnTo>
                        <a:pt x="21" y="243"/>
                      </a:lnTo>
                      <a:lnTo>
                        <a:pt x="19" y="245"/>
                      </a:lnTo>
                      <a:lnTo>
                        <a:pt x="17" y="247"/>
                      </a:lnTo>
                      <a:lnTo>
                        <a:pt x="14" y="250"/>
                      </a:lnTo>
                      <a:lnTo>
                        <a:pt x="10" y="25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3" name="Freeform 755">
                  <a:extLst>
                    <a:ext uri="{FF2B5EF4-FFF2-40B4-BE49-F238E27FC236}">
                      <a16:creationId xmlns:a16="http://schemas.microsoft.com/office/drawing/2014/main" id="{D49D56CB-0C74-E449-A730-ADC2A2FD02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8239" y="4264673"/>
                  <a:ext cx="38477" cy="45877"/>
                </a:xfrm>
                <a:custGeom>
                  <a:avLst/>
                  <a:gdLst>
                    <a:gd name="T0" fmla="*/ 2147483647 w 28"/>
                    <a:gd name="T1" fmla="*/ 2147483647 h 31"/>
                    <a:gd name="T2" fmla="*/ 2147483647 w 28"/>
                    <a:gd name="T3" fmla="*/ 2147483647 h 31"/>
                    <a:gd name="T4" fmla="*/ 2147483647 w 28"/>
                    <a:gd name="T5" fmla="*/ 2147483647 h 31"/>
                    <a:gd name="T6" fmla="*/ 2147483647 w 28"/>
                    <a:gd name="T7" fmla="*/ 2147483647 h 31"/>
                    <a:gd name="T8" fmla="*/ 2147483647 w 28"/>
                    <a:gd name="T9" fmla="*/ 2147483647 h 31"/>
                    <a:gd name="T10" fmla="*/ 2147483647 w 28"/>
                    <a:gd name="T11" fmla="*/ 2147483647 h 31"/>
                    <a:gd name="T12" fmla="*/ 2147483647 w 28"/>
                    <a:gd name="T13" fmla="*/ 2147483647 h 31"/>
                    <a:gd name="T14" fmla="*/ 2147483647 w 28"/>
                    <a:gd name="T15" fmla="*/ 2147483647 h 31"/>
                    <a:gd name="T16" fmla="*/ 2147483647 w 28"/>
                    <a:gd name="T17" fmla="*/ 2147483647 h 31"/>
                    <a:gd name="T18" fmla="*/ 2147483647 w 28"/>
                    <a:gd name="T19" fmla="*/ 2147483647 h 31"/>
                    <a:gd name="T20" fmla="*/ 2147483647 w 28"/>
                    <a:gd name="T21" fmla="*/ 2147483647 h 31"/>
                    <a:gd name="T22" fmla="*/ 2147483647 w 28"/>
                    <a:gd name="T23" fmla="*/ 2147483647 h 31"/>
                    <a:gd name="T24" fmla="*/ 2147483647 w 28"/>
                    <a:gd name="T25" fmla="*/ 2147483647 h 31"/>
                    <a:gd name="T26" fmla="*/ 2147483647 w 28"/>
                    <a:gd name="T27" fmla="*/ 0 h 31"/>
                    <a:gd name="T28" fmla="*/ 2147483647 w 28"/>
                    <a:gd name="T29" fmla="*/ 2147483647 h 31"/>
                    <a:gd name="T30" fmla="*/ 2147483647 w 28"/>
                    <a:gd name="T31" fmla="*/ 2147483647 h 31"/>
                    <a:gd name="T32" fmla="*/ 2147483647 w 28"/>
                    <a:gd name="T33" fmla="*/ 2147483647 h 31"/>
                    <a:gd name="T34" fmla="*/ 2147483647 w 28"/>
                    <a:gd name="T35" fmla="*/ 2147483647 h 31"/>
                    <a:gd name="T36" fmla="*/ 2147483647 w 28"/>
                    <a:gd name="T37" fmla="*/ 2147483647 h 31"/>
                    <a:gd name="T38" fmla="*/ 0 w 28"/>
                    <a:gd name="T39" fmla="*/ 2147483647 h 31"/>
                    <a:gd name="T40" fmla="*/ 0 w 28"/>
                    <a:gd name="T41" fmla="*/ 2147483647 h 31"/>
                    <a:gd name="T42" fmla="*/ 2147483647 w 28"/>
                    <a:gd name="T43" fmla="*/ 2147483647 h 31"/>
                    <a:gd name="T44" fmla="*/ 2147483647 w 28"/>
                    <a:gd name="T45" fmla="*/ 2147483647 h 31"/>
                    <a:gd name="T46" fmla="*/ 2147483647 w 28"/>
                    <a:gd name="T47" fmla="*/ 2147483647 h 31"/>
                    <a:gd name="T48" fmla="*/ 2147483647 w 28"/>
                    <a:gd name="T49" fmla="*/ 2147483647 h 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8"/>
                    <a:gd name="T76" fmla="*/ 0 h 31"/>
                    <a:gd name="T77" fmla="*/ 28 w 28"/>
                    <a:gd name="T78" fmla="*/ 31 h 3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8" h="31">
                      <a:moveTo>
                        <a:pt x="12" y="30"/>
                      </a:moveTo>
                      <a:lnTo>
                        <a:pt x="14" y="28"/>
                      </a:lnTo>
                      <a:lnTo>
                        <a:pt x="18" y="22"/>
                      </a:lnTo>
                      <a:lnTo>
                        <a:pt x="21" y="18"/>
                      </a:lnTo>
                      <a:lnTo>
                        <a:pt x="23" y="16"/>
                      </a:lnTo>
                      <a:lnTo>
                        <a:pt x="22" y="13"/>
                      </a:lnTo>
                      <a:lnTo>
                        <a:pt x="23" y="11"/>
                      </a:lnTo>
                      <a:lnTo>
                        <a:pt x="27" y="9"/>
                      </a:lnTo>
                      <a:lnTo>
                        <a:pt x="28" y="7"/>
                      </a:lnTo>
                      <a:lnTo>
                        <a:pt x="28" y="5"/>
                      </a:lnTo>
                      <a:lnTo>
                        <a:pt x="26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3" y="4"/>
                      </a:lnTo>
                      <a:lnTo>
                        <a:pt x="8" y="9"/>
                      </a:lnTo>
                      <a:lnTo>
                        <a:pt x="4" y="13"/>
                      </a:lnTo>
                      <a:lnTo>
                        <a:pt x="3" y="20"/>
                      </a:lnTo>
                      <a:lnTo>
                        <a:pt x="2" y="22"/>
                      </a:lnTo>
                      <a:lnTo>
                        <a:pt x="0" y="24"/>
                      </a:lnTo>
                      <a:lnTo>
                        <a:pt x="0" y="28"/>
                      </a:lnTo>
                      <a:lnTo>
                        <a:pt x="2" y="30"/>
                      </a:lnTo>
                      <a:lnTo>
                        <a:pt x="3" y="31"/>
                      </a:lnTo>
                      <a:lnTo>
                        <a:pt x="6" y="31"/>
                      </a:lnTo>
                      <a:lnTo>
                        <a:pt x="12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4" name="Freeform 756">
                  <a:extLst>
                    <a:ext uri="{FF2B5EF4-FFF2-40B4-BE49-F238E27FC236}">
                      <a16:creationId xmlns:a16="http://schemas.microsoft.com/office/drawing/2014/main" id="{70F154F0-DCF8-6E46-885E-E6E2867F72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8096" y="4103366"/>
                  <a:ext cx="364049" cy="408445"/>
                </a:xfrm>
                <a:custGeom>
                  <a:avLst/>
                  <a:gdLst>
                    <a:gd name="T0" fmla="*/ 2147483647 w 267"/>
                    <a:gd name="T1" fmla="*/ 2147483647 h 276"/>
                    <a:gd name="T2" fmla="*/ 2147483647 w 267"/>
                    <a:gd name="T3" fmla="*/ 2147483647 h 276"/>
                    <a:gd name="T4" fmla="*/ 2147483647 w 267"/>
                    <a:gd name="T5" fmla="*/ 2147483647 h 276"/>
                    <a:gd name="T6" fmla="*/ 2147483647 w 267"/>
                    <a:gd name="T7" fmla="*/ 2147483647 h 276"/>
                    <a:gd name="T8" fmla="*/ 2147483647 w 267"/>
                    <a:gd name="T9" fmla="*/ 2147483647 h 276"/>
                    <a:gd name="T10" fmla="*/ 2147483647 w 267"/>
                    <a:gd name="T11" fmla="*/ 2147483647 h 276"/>
                    <a:gd name="T12" fmla="*/ 2147483647 w 267"/>
                    <a:gd name="T13" fmla="*/ 2147483647 h 276"/>
                    <a:gd name="T14" fmla="*/ 2147483647 w 267"/>
                    <a:gd name="T15" fmla="*/ 2147483647 h 276"/>
                    <a:gd name="T16" fmla="*/ 2147483647 w 267"/>
                    <a:gd name="T17" fmla="*/ 2147483647 h 276"/>
                    <a:gd name="T18" fmla="*/ 2147483647 w 267"/>
                    <a:gd name="T19" fmla="*/ 2147483647 h 276"/>
                    <a:gd name="T20" fmla="*/ 2147483647 w 267"/>
                    <a:gd name="T21" fmla="*/ 2147483647 h 276"/>
                    <a:gd name="T22" fmla="*/ 2147483647 w 267"/>
                    <a:gd name="T23" fmla="*/ 2147483647 h 276"/>
                    <a:gd name="T24" fmla="*/ 2147483647 w 267"/>
                    <a:gd name="T25" fmla="*/ 2147483647 h 276"/>
                    <a:gd name="T26" fmla="*/ 2147483647 w 267"/>
                    <a:gd name="T27" fmla="*/ 2147483647 h 276"/>
                    <a:gd name="T28" fmla="*/ 2147483647 w 267"/>
                    <a:gd name="T29" fmla="*/ 2147483647 h 276"/>
                    <a:gd name="T30" fmla="*/ 2147483647 w 267"/>
                    <a:gd name="T31" fmla="*/ 2147483647 h 276"/>
                    <a:gd name="T32" fmla="*/ 2147483647 w 267"/>
                    <a:gd name="T33" fmla="*/ 2147483647 h 276"/>
                    <a:gd name="T34" fmla="*/ 2147483647 w 267"/>
                    <a:gd name="T35" fmla="*/ 2147483647 h 276"/>
                    <a:gd name="T36" fmla="*/ 2147483647 w 267"/>
                    <a:gd name="T37" fmla="*/ 2147483647 h 276"/>
                    <a:gd name="T38" fmla="*/ 2147483647 w 267"/>
                    <a:gd name="T39" fmla="*/ 2147483647 h 276"/>
                    <a:gd name="T40" fmla="*/ 2147483647 w 267"/>
                    <a:gd name="T41" fmla="*/ 2147483647 h 276"/>
                    <a:gd name="T42" fmla="*/ 2147483647 w 267"/>
                    <a:gd name="T43" fmla="*/ 2147483647 h 276"/>
                    <a:gd name="T44" fmla="*/ 2147483647 w 267"/>
                    <a:gd name="T45" fmla="*/ 2147483647 h 276"/>
                    <a:gd name="T46" fmla="*/ 2147483647 w 267"/>
                    <a:gd name="T47" fmla="*/ 2147483647 h 276"/>
                    <a:gd name="T48" fmla="*/ 2147483647 w 267"/>
                    <a:gd name="T49" fmla="*/ 2147483647 h 276"/>
                    <a:gd name="T50" fmla="*/ 2147483647 w 267"/>
                    <a:gd name="T51" fmla="*/ 2147483647 h 276"/>
                    <a:gd name="T52" fmla="*/ 0 w 267"/>
                    <a:gd name="T53" fmla="*/ 2147483647 h 276"/>
                    <a:gd name="T54" fmla="*/ 2147483647 w 267"/>
                    <a:gd name="T55" fmla="*/ 2147483647 h 276"/>
                    <a:gd name="T56" fmla="*/ 2147483647 w 267"/>
                    <a:gd name="T57" fmla="*/ 2147483647 h 276"/>
                    <a:gd name="T58" fmla="*/ 2147483647 w 267"/>
                    <a:gd name="T59" fmla="*/ 2147483647 h 276"/>
                    <a:gd name="T60" fmla="*/ 2147483647 w 267"/>
                    <a:gd name="T61" fmla="*/ 2147483647 h 276"/>
                    <a:gd name="T62" fmla="*/ 2147483647 w 267"/>
                    <a:gd name="T63" fmla="*/ 2147483647 h 276"/>
                    <a:gd name="T64" fmla="*/ 2147483647 w 267"/>
                    <a:gd name="T65" fmla="*/ 2147483647 h 276"/>
                    <a:gd name="T66" fmla="*/ 2147483647 w 267"/>
                    <a:gd name="T67" fmla="*/ 2147483647 h 276"/>
                    <a:gd name="T68" fmla="*/ 2147483647 w 267"/>
                    <a:gd name="T69" fmla="*/ 2147483647 h 276"/>
                    <a:gd name="T70" fmla="*/ 2147483647 w 267"/>
                    <a:gd name="T71" fmla="*/ 2147483647 h 276"/>
                    <a:gd name="T72" fmla="*/ 2147483647 w 267"/>
                    <a:gd name="T73" fmla="*/ 2147483647 h 276"/>
                    <a:gd name="T74" fmla="*/ 2147483647 w 267"/>
                    <a:gd name="T75" fmla="*/ 2147483647 h 276"/>
                    <a:gd name="T76" fmla="*/ 2147483647 w 267"/>
                    <a:gd name="T77" fmla="*/ 2147483647 h 276"/>
                    <a:gd name="T78" fmla="*/ 2147483647 w 267"/>
                    <a:gd name="T79" fmla="*/ 2147483647 h 276"/>
                    <a:gd name="T80" fmla="*/ 2147483647 w 267"/>
                    <a:gd name="T81" fmla="*/ 2147483647 h 276"/>
                    <a:gd name="T82" fmla="*/ 2147483647 w 267"/>
                    <a:gd name="T83" fmla="*/ 2147483647 h 276"/>
                    <a:gd name="T84" fmla="*/ 2147483647 w 267"/>
                    <a:gd name="T85" fmla="*/ 2147483647 h 276"/>
                    <a:gd name="T86" fmla="*/ 2147483647 w 267"/>
                    <a:gd name="T87" fmla="*/ 2147483647 h 276"/>
                    <a:gd name="T88" fmla="*/ 2147483647 w 267"/>
                    <a:gd name="T89" fmla="*/ 2147483647 h 276"/>
                    <a:gd name="T90" fmla="*/ 2147483647 w 267"/>
                    <a:gd name="T91" fmla="*/ 2147483647 h 276"/>
                    <a:gd name="T92" fmla="*/ 2147483647 w 267"/>
                    <a:gd name="T93" fmla="*/ 2147483647 h 276"/>
                    <a:gd name="T94" fmla="*/ 2147483647 w 267"/>
                    <a:gd name="T95" fmla="*/ 2147483647 h 27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67"/>
                    <a:gd name="T145" fmla="*/ 0 h 276"/>
                    <a:gd name="T146" fmla="*/ 267 w 267"/>
                    <a:gd name="T147" fmla="*/ 276 h 27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67" h="276">
                      <a:moveTo>
                        <a:pt x="172" y="109"/>
                      </a:moveTo>
                      <a:lnTo>
                        <a:pt x="167" y="113"/>
                      </a:lnTo>
                      <a:lnTo>
                        <a:pt x="162" y="118"/>
                      </a:lnTo>
                      <a:lnTo>
                        <a:pt x="158" y="122"/>
                      </a:lnTo>
                      <a:lnTo>
                        <a:pt x="157" y="129"/>
                      </a:lnTo>
                      <a:lnTo>
                        <a:pt x="156" y="131"/>
                      </a:lnTo>
                      <a:lnTo>
                        <a:pt x="154" y="133"/>
                      </a:lnTo>
                      <a:lnTo>
                        <a:pt x="154" y="137"/>
                      </a:lnTo>
                      <a:lnTo>
                        <a:pt x="156" y="139"/>
                      </a:lnTo>
                      <a:lnTo>
                        <a:pt x="157" y="140"/>
                      </a:lnTo>
                      <a:lnTo>
                        <a:pt x="160" y="140"/>
                      </a:lnTo>
                      <a:lnTo>
                        <a:pt x="166" y="139"/>
                      </a:lnTo>
                      <a:lnTo>
                        <a:pt x="173" y="151"/>
                      </a:lnTo>
                      <a:lnTo>
                        <a:pt x="184" y="160"/>
                      </a:lnTo>
                      <a:lnTo>
                        <a:pt x="189" y="165"/>
                      </a:lnTo>
                      <a:lnTo>
                        <a:pt x="195" y="169"/>
                      </a:lnTo>
                      <a:lnTo>
                        <a:pt x="203" y="172"/>
                      </a:lnTo>
                      <a:lnTo>
                        <a:pt x="209" y="174"/>
                      </a:lnTo>
                      <a:lnTo>
                        <a:pt x="223" y="180"/>
                      </a:lnTo>
                      <a:lnTo>
                        <a:pt x="236" y="186"/>
                      </a:lnTo>
                      <a:lnTo>
                        <a:pt x="243" y="189"/>
                      </a:lnTo>
                      <a:lnTo>
                        <a:pt x="250" y="191"/>
                      </a:lnTo>
                      <a:lnTo>
                        <a:pt x="257" y="192"/>
                      </a:lnTo>
                      <a:lnTo>
                        <a:pt x="265" y="192"/>
                      </a:lnTo>
                      <a:lnTo>
                        <a:pt x="266" y="192"/>
                      </a:lnTo>
                      <a:lnTo>
                        <a:pt x="267" y="193"/>
                      </a:lnTo>
                      <a:lnTo>
                        <a:pt x="264" y="202"/>
                      </a:lnTo>
                      <a:lnTo>
                        <a:pt x="259" y="209"/>
                      </a:lnTo>
                      <a:lnTo>
                        <a:pt x="246" y="223"/>
                      </a:lnTo>
                      <a:lnTo>
                        <a:pt x="233" y="236"/>
                      </a:lnTo>
                      <a:lnTo>
                        <a:pt x="222" y="252"/>
                      </a:lnTo>
                      <a:lnTo>
                        <a:pt x="219" y="256"/>
                      </a:lnTo>
                      <a:lnTo>
                        <a:pt x="217" y="259"/>
                      </a:lnTo>
                      <a:lnTo>
                        <a:pt x="212" y="260"/>
                      </a:lnTo>
                      <a:lnTo>
                        <a:pt x="206" y="260"/>
                      </a:lnTo>
                      <a:lnTo>
                        <a:pt x="198" y="260"/>
                      </a:lnTo>
                      <a:lnTo>
                        <a:pt x="195" y="261"/>
                      </a:lnTo>
                      <a:lnTo>
                        <a:pt x="191" y="263"/>
                      </a:lnTo>
                      <a:lnTo>
                        <a:pt x="186" y="266"/>
                      </a:lnTo>
                      <a:lnTo>
                        <a:pt x="182" y="268"/>
                      </a:lnTo>
                      <a:lnTo>
                        <a:pt x="176" y="269"/>
                      </a:lnTo>
                      <a:lnTo>
                        <a:pt x="170" y="269"/>
                      </a:lnTo>
                      <a:lnTo>
                        <a:pt x="163" y="269"/>
                      </a:lnTo>
                      <a:lnTo>
                        <a:pt x="152" y="272"/>
                      </a:lnTo>
                      <a:lnTo>
                        <a:pt x="142" y="269"/>
                      </a:lnTo>
                      <a:lnTo>
                        <a:pt x="132" y="269"/>
                      </a:lnTo>
                      <a:lnTo>
                        <a:pt x="126" y="271"/>
                      </a:lnTo>
                      <a:lnTo>
                        <a:pt x="123" y="271"/>
                      </a:lnTo>
                      <a:lnTo>
                        <a:pt x="116" y="274"/>
                      </a:lnTo>
                      <a:lnTo>
                        <a:pt x="110" y="276"/>
                      </a:lnTo>
                      <a:lnTo>
                        <a:pt x="105" y="276"/>
                      </a:lnTo>
                      <a:lnTo>
                        <a:pt x="99" y="276"/>
                      </a:lnTo>
                      <a:lnTo>
                        <a:pt x="93" y="275"/>
                      </a:lnTo>
                      <a:lnTo>
                        <a:pt x="87" y="273"/>
                      </a:lnTo>
                      <a:lnTo>
                        <a:pt x="76" y="266"/>
                      </a:lnTo>
                      <a:lnTo>
                        <a:pt x="72" y="263"/>
                      </a:lnTo>
                      <a:lnTo>
                        <a:pt x="67" y="263"/>
                      </a:lnTo>
                      <a:lnTo>
                        <a:pt x="62" y="265"/>
                      </a:lnTo>
                      <a:lnTo>
                        <a:pt x="58" y="263"/>
                      </a:lnTo>
                      <a:lnTo>
                        <a:pt x="55" y="262"/>
                      </a:lnTo>
                      <a:lnTo>
                        <a:pt x="54" y="261"/>
                      </a:lnTo>
                      <a:lnTo>
                        <a:pt x="54" y="260"/>
                      </a:lnTo>
                      <a:lnTo>
                        <a:pt x="53" y="257"/>
                      </a:lnTo>
                      <a:lnTo>
                        <a:pt x="52" y="255"/>
                      </a:lnTo>
                      <a:lnTo>
                        <a:pt x="50" y="253"/>
                      </a:lnTo>
                      <a:lnTo>
                        <a:pt x="50" y="248"/>
                      </a:lnTo>
                      <a:lnTo>
                        <a:pt x="48" y="246"/>
                      </a:lnTo>
                      <a:lnTo>
                        <a:pt x="44" y="243"/>
                      </a:lnTo>
                      <a:lnTo>
                        <a:pt x="38" y="242"/>
                      </a:lnTo>
                      <a:lnTo>
                        <a:pt x="38" y="240"/>
                      </a:lnTo>
                      <a:lnTo>
                        <a:pt x="36" y="237"/>
                      </a:lnTo>
                      <a:lnTo>
                        <a:pt x="36" y="233"/>
                      </a:lnTo>
                      <a:lnTo>
                        <a:pt x="35" y="227"/>
                      </a:lnTo>
                      <a:lnTo>
                        <a:pt x="31" y="220"/>
                      </a:lnTo>
                      <a:lnTo>
                        <a:pt x="26" y="212"/>
                      </a:lnTo>
                      <a:lnTo>
                        <a:pt x="17" y="206"/>
                      </a:lnTo>
                      <a:lnTo>
                        <a:pt x="3" y="199"/>
                      </a:lnTo>
                      <a:lnTo>
                        <a:pt x="2" y="198"/>
                      </a:lnTo>
                      <a:lnTo>
                        <a:pt x="0" y="197"/>
                      </a:lnTo>
                      <a:lnTo>
                        <a:pt x="0" y="192"/>
                      </a:lnTo>
                      <a:lnTo>
                        <a:pt x="0" y="188"/>
                      </a:lnTo>
                      <a:lnTo>
                        <a:pt x="3" y="184"/>
                      </a:lnTo>
                      <a:lnTo>
                        <a:pt x="5" y="184"/>
                      </a:lnTo>
                      <a:lnTo>
                        <a:pt x="8" y="184"/>
                      </a:lnTo>
                      <a:lnTo>
                        <a:pt x="11" y="184"/>
                      </a:lnTo>
                      <a:lnTo>
                        <a:pt x="13" y="183"/>
                      </a:lnTo>
                      <a:lnTo>
                        <a:pt x="16" y="182"/>
                      </a:lnTo>
                      <a:lnTo>
                        <a:pt x="19" y="179"/>
                      </a:lnTo>
                      <a:lnTo>
                        <a:pt x="20" y="173"/>
                      </a:lnTo>
                      <a:lnTo>
                        <a:pt x="21" y="160"/>
                      </a:lnTo>
                      <a:lnTo>
                        <a:pt x="21" y="153"/>
                      </a:lnTo>
                      <a:lnTo>
                        <a:pt x="21" y="146"/>
                      </a:lnTo>
                      <a:lnTo>
                        <a:pt x="21" y="144"/>
                      </a:lnTo>
                      <a:lnTo>
                        <a:pt x="22" y="141"/>
                      </a:lnTo>
                      <a:lnTo>
                        <a:pt x="26" y="140"/>
                      </a:lnTo>
                      <a:lnTo>
                        <a:pt x="30" y="139"/>
                      </a:lnTo>
                      <a:lnTo>
                        <a:pt x="33" y="139"/>
                      </a:lnTo>
                      <a:lnTo>
                        <a:pt x="33" y="138"/>
                      </a:lnTo>
                      <a:lnTo>
                        <a:pt x="35" y="127"/>
                      </a:lnTo>
                      <a:lnTo>
                        <a:pt x="36" y="120"/>
                      </a:lnTo>
                      <a:lnTo>
                        <a:pt x="38" y="110"/>
                      </a:lnTo>
                      <a:lnTo>
                        <a:pt x="40" y="107"/>
                      </a:lnTo>
                      <a:lnTo>
                        <a:pt x="44" y="103"/>
                      </a:lnTo>
                      <a:lnTo>
                        <a:pt x="58" y="91"/>
                      </a:lnTo>
                      <a:lnTo>
                        <a:pt x="62" y="88"/>
                      </a:lnTo>
                      <a:lnTo>
                        <a:pt x="63" y="86"/>
                      </a:lnTo>
                      <a:lnTo>
                        <a:pt x="63" y="84"/>
                      </a:lnTo>
                      <a:lnTo>
                        <a:pt x="60" y="77"/>
                      </a:lnTo>
                      <a:lnTo>
                        <a:pt x="59" y="69"/>
                      </a:lnTo>
                      <a:lnTo>
                        <a:pt x="59" y="61"/>
                      </a:lnTo>
                      <a:lnTo>
                        <a:pt x="59" y="52"/>
                      </a:lnTo>
                      <a:lnTo>
                        <a:pt x="60" y="43"/>
                      </a:lnTo>
                      <a:lnTo>
                        <a:pt x="63" y="35"/>
                      </a:lnTo>
                      <a:lnTo>
                        <a:pt x="67" y="26"/>
                      </a:lnTo>
                      <a:lnTo>
                        <a:pt x="72" y="20"/>
                      </a:lnTo>
                      <a:lnTo>
                        <a:pt x="74" y="18"/>
                      </a:lnTo>
                      <a:lnTo>
                        <a:pt x="77" y="17"/>
                      </a:lnTo>
                      <a:lnTo>
                        <a:pt x="85" y="13"/>
                      </a:lnTo>
                      <a:lnTo>
                        <a:pt x="88" y="12"/>
                      </a:lnTo>
                      <a:lnTo>
                        <a:pt x="91" y="10"/>
                      </a:lnTo>
                      <a:lnTo>
                        <a:pt x="95" y="6"/>
                      </a:lnTo>
                      <a:lnTo>
                        <a:pt x="99" y="0"/>
                      </a:lnTo>
                      <a:lnTo>
                        <a:pt x="101" y="6"/>
                      </a:lnTo>
                      <a:lnTo>
                        <a:pt x="104" y="13"/>
                      </a:lnTo>
                      <a:lnTo>
                        <a:pt x="109" y="29"/>
                      </a:lnTo>
                      <a:lnTo>
                        <a:pt x="110" y="36"/>
                      </a:lnTo>
                      <a:lnTo>
                        <a:pt x="114" y="41"/>
                      </a:lnTo>
                      <a:lnTo>
                        <a:pt x="118" y="44"/>
                      </a:lnTo>
                      <a:lnTo>
                        <a:pt x="119" y="45"/>
                      </a:lnTo>
                      <a:lnTo>
                        <a:pt x="121" y="45"/>
                      </a:lnTo>
                      <a:lnTo>
                        <a:pt x="123" y="45"/>
                      </a:lnTo>
                      <a:lnTo>
                        <a:pt x="124" y="48"/>
                      </a:lnTo>
                      <a:lnTo>
                        <a:pt x="125" y="51"/>
                      </a:lnTo>
                      <a:lnTo>
                        <a:pt x="128" y="56"/>
                      </a:lnTo>
                      <a:lnTo>
                        <a:pt x="130" y="59"/>
                      </a:lnTo>
                      <a:lnTo>
                        <a:pt x="138" y="64"/>
                      </a:lnTo>
                      <a:lnTo>
                        <a:pt x="146" y="70"/>
                      </a:lnTo>
                      <a:lnTo>
                        <a:pt x="151" y="76"/>
                      </a:lnTo>
                      <a:lnTo>
                        <a:pt x="157" y="83"/>
                      </a:lnTo>
                      <a:lnTo>
                        <a:pt x="161" y="87"/>
                      </a:lnTo>
                      <a:lnTo>
                        <a:pt x="165" y="91"/>
                      </a:lnTo>
                      <a:lnTo>
                        <a:pt x="167" y="96"/>
                      </a:lnTo>
                      <a:lnTo>
                        <a:pt x="170" y="100"/>
                      </a:lnTo>
                      <a:lnTo>
                        <a:pt x="172" y="10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5" name="Freeform 757">
                  <a:extLst>
                    <a:ext uri="{FF2B5EF4-FFF2-40B4-BE49-F238E27FC236}">
                      <a16:creationId xmlns:a16="http://schemas.microsoft.com/office/drawing/2014/main" id="{8127EAC0-71D4-D94B-A4D4-F3ACA8FC29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6758" y="4263192"/>
                  <a:ext cx="38477" cy="45876"/>
                </a:xfrm>
                <a:custGeom>
                  <a:avLst/>
                  <a:gdLst>
                    <a:gd name="T0" fmla="*/ 2147483647 w 28"/>
                    <a:gd name="T1" fmla="*/ 2147483647 h 31"/>
                    <a:gd name="T2" fmla="*/ 2147483647 w 28"/>
                    <a:gd name="T3" fmla="*/ 2147483647 h 31"/>
                    <a:gd name="T4" fmla="*/ 2147483647 w 28"/>
                    <a:gd name="T5" fmla="*/ 2147483647 h 31"/>
                    <a:gd name="T6" fmla="*/ 2147483647 w 28"/>
                    <a:gd name="T7" fmla="*/ 2147483647 h 31"/>
                    <a:gd name="T8" fmla="*/ 2147483647 w 28"/>
                    <a:gd name="T9" fmla="*/ 2147483647 h 31"/>
                    <a:gd name="T10" fmla="*/ 2147483647 w 28"/>
                    <a:gd name="T11" fmla="*/ 2147483647 h 31"/>
                    <a:gd name="T12" fmla="*/ 2147483647 w 28"/>
                    <a:gd name="T13" fmla="*/ 2147483647 h 31"/>
                    <a:gd name="T14" fmla="*/ 2147483647 w 28"/>
                    <a:gd name="T15" fmla="*/ 2147483647 h 31"/>
                    <a:gd name="T16" fmla="*/ 2147483647 w 28"/>
                    <a:gd name="T17" fmla="*/ 2147483647 h 31"/>
                    <a:gd name="T18" fmla="*/ 2147483647 w 28"/>
                    <a:gd name="T19" fmla="*/ 2147483647 h 31"/>
                    <a:gd name="T20" fmla="*/ 2147483647 w 28"/>
                    <a:gd name="T21" fmla="*/ 2147483647 h 31"/>
                    <a:gd name="T22" fmla="*/ 2147483647 w 28"/>
                    <a:gd name="T23" fmla="*/ 2147483647 h 31"/>
                    <a:gd name="T24" fmla="*/ 2147483647 w 28"/>
                    <a:gd name="T25" fmla="*/ 2147483647 h 31"/>
                    <a:gd name="T26" fmla="*/ 2147483647 w 28"/>
                    <a:gd name="T27" fmla="*/ 2147483647 h 31"/>
                    <a:gd name="T28" fmla="*/ 2147483647 w 28"/>
                    <a:gd name="T29" fmla="*/ 2147483647 h 31"/>
                    <a:gd name="T30" fmla="*/ 2147483647 w 28"/>
                    <a:gd name="T31" fmla="*/ 2147483647 h 31"/>
                    <a:gd name="T32" fmla="*/ 2147483647 w 28"/>
                    <a:gd name="T33" fmla="*/ 2147483647 h 31"/>
                    <a:gd name="T34" fmla="*/ 2147483647 w 28"/>
                    <a:gd name="T35" fmla="*/ 2147483647 h 31"/>
                    <a:gd name="T36" fmla="*/ 2147483647 w 28"/>
                    <a:gd name="T37" fmla="*/ 2147483647 h 31"/>
                    <a:gd name="T38" fmla="*/ 2147483647 w 28"/>
                    <a:gd name="T39" fmla="*/ 0 h 31"/>
                    <a:gd name="T40" fmla="*/ 2147483647 w 28"/>
                    <a:gd name="T41" fmla="*/ 0 h 31"/>
                    <a:gd name="T42" fmla="*/ 2147483647 w 28"/>
                    <a:gd name="T43" fmla="*/ 2147483647 h 31"/>
                    <a:gd name="T44" fmla="*/ 2147483647 w 28"/>
                    <a:gd name="T45" fmla="*/ 2147483647 h 31"/>
                    <a:gd name="T46" fmla="*/ 2147483647 w 28"/>
                    <a:gd name="T47" fmla="*/ 2147483647 h 31"/>
                    <a:gd name="T48" fmla="*/ 2147483647 w 28"/>
                    <a:gd name="T49" fmla="*/ 2147483647 h 31"/>
                    <a:gd name="T50" fmla="*/ 2147483647 w 28"/>
                    <a:gd name="T51" fmla="*/ 2147483647 h 31"/>
                    <a:gd name="T52" fmla="*/ 2147483647 w 28"/>
                    <a:gd name="T53" fmla="*/ 2147483647 h 31"/>
                    <a:gd name="T54" fmla="*/ 0 w 28"/>
                    <a:gd name="T55" fmla="*/ 2147483647 h 31"/>
                    <a:gd name="T56" fmla="*/ 0 w 28"/>
                    <a:gd name="T57" fmla="*/ 2147483647 h 31"/>
                    <a:gd name="T58" fmla="*/ 2147483647 w 28"/>
                    <a:gd name="T59" fmla="*/ 2147483647 h 31"/>
                    <a:gd name="T60" fmla="*/ 2147483647 w 28"/>
                    <a:gd name="T61" fmla="*/ 2147483647 h 31"/>
                    <a:gd name="T62" fmla="*/ 2147483647 w 28"/>
                    <a:gd name="T63" fmla="*/ 2147483647 h 31"/>
                    <a:gd name="T64" fmla="*/ 2147483647 w 28"/>
                    <a:gd name="T65" fmla="*/ 2147483647 h 31"/>
                    <a:gd name="T66" fmla="*/ 2147483647 w 28"/>
                    <a:gd name="T67" fmla="*/ 2147483647 h 31"/>
                    <a:gd name="T68" fmla="*/ 2147483647 w 28"/>
                    <a:gd name="T69" fmla="*/ 2147483647 h 31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8"/>
                    <a:gd name="T106" fmla="*/ 0 h 31"/>
                    <a:gd name="T107" fmla="*/ 28 w 28"/>
                    <a:gd name="T108" fmla="*/ 31 h 31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8" h="31">
                      <a:moveTo>
                        <a:pt x="12" y="30"/>
                      </a:moveTo>
                      <a:lnTo>
                        <a:pt x="12" y="30"/>
                      </a:lnTo>
                      <a:lnTo>
                        <a:pt x="14" y="27"/>
                      </a:lnTo>
                      <a:lnTo>
                        <a:pt x="18" y="21"/>
                      </a:lnTo>
                      <a:lnTo>
                        <a:pt x="20" y="18"/>
                      </a:lnTo>
                      <a:lnTo>
                        <a:pt x="23" y="16"/>
                      </a:lnTo>
                      <a:lnTo>
                        <a:pt x="22" y="13"/>
                      </a:lnTo>
                      <a:lnTo>
                        <a:pt x="23" y="11"/>
                      </a:lnTo>
                      <a:lnTo>
                        <a:pt x="27" y="8"/>
                      </a:lnTo>
                      <a:lnTo>
                        <a:pt x="28" y="7"/>
                      </a:lnTo>
                      <a:lnTo>
                        <a:pt x="28" y="5"/>
                      </a:lnTo>
                      <a:lnTo>
                        <a:pt x="26" y="2"/>
                      </a:lnTo>
                      <a:lnTo>
                        <a:pt x="20" y="1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3" y="4"/>
                      </a:lnTo>
                      <a:lnTo>
                        <a:pt x="8" y="8"/>
                      </a:lnTo>
                      <a:lnTo>
                        <a:pt x="4" y="13"/>
                      </a:lnTo>
                      <a:lnTo>
                        <a:pt x="3" y="20"/>
                      </a:lnTo>
                      <a:lnTo>
                        <a:pt x="1" y="21"/>
                      </a:lnTo>
                      <a:lnTo>
                        <a:pt x="0" y="24"/>
                      </a:lnTo>
                      <a:lnTo>
                        <a:pt x="0" y="27"/>
                      </a:lnTo>
                      <a:lnTo>
                        <a:pt x="1" y="30"/>
                      </a:lnTo>
                      <a:lnTo>
                        <a:pt x="3" y="31"/>
                      </a:lnTo>
                      <a:lnTo>
                        <a:pt x="5" y="31"/>
                      </a:lnTo>
                      <a:lnTo>
                        <a:pt x="12" y="3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6" name="Freeform 758">
                  <a:extLst>
                    <a:ext uri="{FF2B5EF4-FFF2-40B4-BE49-F238E27FC236}">
                      <a16:creationId xmlns:a16="http://schemas.microsoft.com/office/drawing/2014/main" id="{4F6AFA0E-D393-5849-BC34-3AC53B223A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5133" y="4101886"/>
                  <a:ext cx="365528" cy="408445"/>
                </a:xfrm>
                <a:custGeom>
                  <a:avLst/>
                  <a:gdLst>
                    <a:gd name="T0" fmla="*/ 2147483647 w 268"/>
                    <a:gd name="T1" fmla="*/ 2147483647 h 276"/>
                    <a:gd name="T2" fmla="*/ 2147483647 w 268"/>
                    <a:gd name="T3" fmla="*/ 2147483647 h 276"/>
                    <a:gd name="T4" fmla="*/ 2147483647 w 268"/>
                    <a:gd name="T5" fmla="*/ 2147483647 h 276"/>
                    <a:gd name="T6" fmla="*/ 2147483647 w 268"/>
                    <a:gd name="T7" fmla="*/ 2147483647 h 276"/>
                    <a:gd name="T8" fmla="*/ 2147483647 w 268"/>
                    <a:gd name="T9" fmla="*/ 2147483647 h 276"/>
                    <a:gd name="T10" fmla="*/ 2147483647 w 268"/>
                    <a:gd name="T11" fmla="*/ 2147483647 h 276"/>
                    <a:gd name="T12" fmla="*/ 2147483647 w 268"/>
                    <a:gd name="T13" fmla="*/ 2147483647 h 276"/>
                    <a:gd name="T14" fmla="*/ 2147483647 w 268"/>
                    <a:gd name="T15" fmla="*/ 2147483647 h 276"/>
                    <a:gd name="T16" fmla="*/ 2147483647 w 268"/>
                    <a:gd name="T17" fmla="*/ 2147483647 h 276"/>
                    <a:gd name="T18" fmla="*/ 2147483647 w 268"/>
                    <a:gd name="T19" fmla="*/ 2147483647 h 276"/>
                    <a:gd name="T20" fmla="*/ 2147483647 w 268"/>
                    <a:gd name="T21" fmla="*/ 2147483647 h 276"/>
                    <a:gd name="T22" fmla="*/ 2147483647 w 268"/>
                    <a:gd name="T23" fmla="*/ 2147483647 h 276"/>
                    <a:gd name="T24" fmla="*/ 2147483647 w 268"/>
                    <a:gd name="T25" fmla="*/ 2147483647 h 276"/>
                    <a:gd name="T26" fmla="*/ 2147483647 w 268"/>
                    <a:gd name="T27" fmla="*/ 2147483647 h 276"/>
                    <a:gd name="T28" fmla="*/ 2147483647 w 268"/>
                    <a:gd name="T29" fmla="*/ 2147483647 h 276"/>
                    <a:gd name="T30" fmla="*/ 2147483647 w 268"/>
                    <a:gd name="T31" fmla="*/ 2147483647 h 276"/>
                    <a:gd name="T32" fmla="*/ 2147483647 w 268"/>
                    <a:gd name="T33" fmla="*/ 2147483647 h 276"/>
                    <a:gd name="T34" fmla="*/ 2147483647 w 268"/>
                    <a:gd name="T35" fmla="*/ 2147483647 h 276"/>
                    <a:gd name="T36" fmla="*/ 2147483647 w 268"/>
                    <a:gd name="T37" fmla="*/ 2147483647 h 276"/>
                    <a:gd name="T38" fmla="*/ 2147483647 w 268"/>
                    <a:gd name="T39" fmla="*/ 2147483647 h 276"/>
                    <a:gd name="T40" fmla="*/ 2147483647 w 268"/>
                    <a:gd name="T41" fmla="*/ 2147483647 h 276"/>
                    <a:gd name="T42" fmla="*/ 2147483647 w 268"/>
                    <a:gd name="T43" fmla="*/ 2147483647 h 276"/>
                    <a:gd name="T44" fmla="*/ 2147483647 w 268"/>
                    <a:gd name="T45" fmla="*/ 2147483647 h 276"/>
                    <a:gd name="T46" fmla="*/ 2147483647 w 268"/>
                    <a:gd name="T47" fmla="*/ 2147483647 h 276"/>
                    <a:gd name="T48" fmla="*/ 2147483647 w 268"/>
                    <a:gd name="T49" fmla="*/ 2147483647 h 276"/>
                    <a:gd name="T50" fmla="*/ 2147483647 w 268"/>
                    <a:gd name="T51" fmla="*/ 2147483647 h 276"/>
                    <a:gd name="T52" fmla="*/ 2147483647 w 268"/>
                    <a:gd name="T53" fmla="*/ 2147483647 h 276"/>
                    <a:gd name="T54" fmla="*/ 2147483647 w 268"/>
                    <a:gd name="T55" fmla="*/ 2147483647 h 276"/>
                    <a:gd name="T56" fmla="*/ 2147483647 w 268"/>
                    <a:gd name="T57" fmla="*/ 2147483647 h 276"/>
                    <a:gd name="T58" fmla="*/ 2147483647 w 268"/>
                    <a:gd name="T59" fmla="*/ 2147483647 h 276"/>
                    <a:gd name="T60" fmla="*/ 2147483647 w 268"/>
                    <a:gd name="T61" fmla="*/ 2147483647 h 276"/>
                    <a:gd name="T62" fmla="*/ 2147483647 w 268"/>
                    <a:gd name="T63" fmla="*/ 2147483647 h 276"/>
                    <a:gd name="T64" fmla="*/ 2147483647 w 268"/>
                    <a:gd name="T65" fmla="*/ 2147483647 h 276"/>
                    <a:gd name="T66" fmla="*/ 0 w 268"/>
                    <a:gd name="T67" fmla="*/ 2147483647 h 276"/>
                    <a:gd name="T68" fmla="*/ 2147483647 w 268"/>
                    <a:gd name="T69" fmla="*/ 2147483647 h 276"/>
                    <a:gd name="T70" fmla="*/ 2147483647 w 268"/>
                    <a:gd name="T71" fmla="*/ 2147483647 h 276"/>
                    <a:gd name="T72" fmla="*/ 2147483647 w 268"/>
                    <a:gd name="T73" fmla="*/ 2147483647 h 276"/>
                    <a:gd name="T74" fmla="*/ 2147483647 w 268"/>
                    <a:gd name="T75" fmla="*/ 2147483647 h 276"/>
                    <a:gd name="T76" fmla="*/ 2147483647 w 268"/>
                    <a:gd name="T77" fmla="*/ 2147483647 h 276"/>
                    <a:gd name="T78" fmla="*/ 2147483647 w 268"/>
                    <a:gd name="T79" fmla="*/ 2147483647 h 276"/>
                    <a:gd name="T80" fmla="*/ 2147483647 w 268"/>
                    <a:gd name="T81" fmla="*/ 2147483647 h 276"/>
                    <a:gd name="T82" fmla="*/ 2147483647 w 268"/>
                    <a:gd name="T83" fmla="*/ 2147483647 h 276"/>
                    <a:gd name="T84" fmla="*/ 2147483647 w 268"/>
                    <a:gd name="T85" fmla="*/ 2147483647 h 276"/>
                    <a:gd name="T86" fmla="*/ 2147483647 w 268"/>
                    <a:gd name="T87" fmla="*/ 2147483647 h 276"/>
                    <a:gd name="T88" fmla="*/ 2147483647 w 268"/>
                    <a:gd name="T89" fmla="*/ 2147483647 h 276"/>
                    <a:gd name="T90" fmla="*/ 2147483647 w 268"/>
                    <a:gd name="T91" fmla="*/ 2147483647 h 276"/>
                    <a:gd name="T92" fmla="*/ 2147483647 w 268"/>
                    <a:gd name="T93" fmla="*/ 2147483647 h 276"/>
                    <a:gd name="T94" fmla="*/ 2147483647 w 268"/>
                    <a:gd name="T95" fmla="*/ 2147483647 h 276"/>
                    <a:gd name="T96" fmla="*/ 2147483647 w 268"/>
                    <a:gd name="T97" fmla="*/ 2147483647 h 276"/>
                    <a:gd name="T98" fmla="*/ 2147483647 w 268"/>
                    <a:gd name="T99" fmla="*/ 2147483647 h 276"/>
                    <a:gd name="T100" fmla="*/ 2147483647 w 268"/>
                    <a:gd name="T101" fmla="*/ 2147483647 h 276"/>
                    <a:gd name="T102" fmla="*/ 2147483647 w 268"/>
                    <a:gd name="T103" fmla="*/ 2147483647 h 276"/>
                    <a:gd name="T104" fmla="*/ 2147483647 w 268"/>
                    <a:gd name="T105" fmla="*/ 2147483647 h 276"/>
                    <a:gd name="T106" fmla="*/ 2147483647 w 268"/>
                    <a:gd name="T107" fmla="*/ 2147483647 h 276"/>
                    <a:gd name="T108" fmla="*/ 2147483647 w 268"/>
                    <a:gd name="T109" fmla="*/ 2147483647 h 276"/>
                    <a:gd name="T110" fmla="*/ 2147483647 w 268"/>
                    <a:gd name="T111" fmla="*/ 2147483647 h 276"/>
                    <a:gd name="T112" fmla="*/ 2147483647 w 268"/>
                    <a:gd name="T113" fmla="*/ 2147483647 h 276"/>
                    <a:gd name="T114" fmla="*/ 2147483647 w 268"/>
                    <a:gd name="T115" fmla="*/ 2147483647 h 276"/>
                    <a:gd name="T116" fmla="*/ 2147483647 w 268"/>
                    <a:gd name="T117" fmla="*/ 2147483647 h 276"/>
                    <a:gd name="T118" fmla="*/ 2147483647 w 268"/>
                    <a:gd name="T119" fmla="*/ 2147483647 h 27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8"/>
                    <a:gd name="T181" fmla="*/ 0 h 276"/>
                    <a:gd name="T182" fmla="*/ 268 w 268"/>
                    <a:gd name="T183" fmla="*/ 276 h 27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8" h="276">
                      <a:moveTo>
                        <a:pt x="173" y="109"/>
                      </a:moveTo>
                      <a:lnTo>
                        <a:pt x="173" y="109"/>
                      </a:lnTo>
                      <a:lnTo>
                        <a:pt x="168" y="113"/>
                      </a:lnTo>
                      <a:lnTo>
                        <a:pt x="163" y="117"/>
                      </a:lnTo>
                      <a:lnTo>
                        <a:pt x="159" y="122"/>
                      </a:lnTo>
                      <a:lnTo>
                        <a:pt x="158" y="129"/>
                      </a:lnTo>
                      <a:lnTo>
                        <a:pt x="156" y="130"/>
                      </a:lnTo>
                      <a:lnTo>
                        <a:pt x="155" y="133"/>
                      </a:lnTo>
                      <a:lnTo>
                        <a:pt x="155" y="136"/>
                      </a:lnTo>
                      <a:lnTo>
                        <a:pt x="156" y="139"/>
                      </a:lnTo>
                      <a:lnTo>
                        <a:pt x="158" y="140"/>
                      </a:lnTo>
                      <a:lnTo>
                        <a:pt x="160" y="140"/>
                      </a:lnTo>
                      <a:lnTo>
                        <a:pt x="167" y="139"/>
                      </a:lnTo>
                      <a:lnTo>
                        <a:pt x="174" y="151"/>
                      </a:lnTo>
                      <a:lnTo>
                        <a:pt x="184" y="160"/>
                      </a:lnTo>
                      <a:lnTo>
                        <a:pt x="189" y="165"/>
                      </a:lnTo>
                      <a:lnTo>
                        <a:pt x="196" y="168"/>
                      </a:lnTo>
                      <a:lnTo>
                        <a:pt x="203" y="172"/>
                      </a:lnTo>
                      <a:lnTo>
                        <a:pt x="210" y="174"/>
                      </a:lnTo>
                      <a:lnTo>
                        <a:pt x="224" y="180"/>
                      </a:lnTo>
                      <a:lnTo>
                        <a:pt x="236" y="186"/>
                      </a:lnTo>
                      <a:lnTo>
                        <a:pt x="244" y="189"/>
                      </a:lnTo>
                      <a:lnTo>
                        <a:pt x="250" y="191"/>
                      </a:lnTo>
                      <a:lnTo>
                        <a:pt x="258" y="192"/>
                      </a:lnTo>
                      <a:lnTo>
                        <a:pt x="266" y="192"/>
                      </a:lnTo>
                      <a:lnTo>
                        <a:pt x="267" y="192"/>
                      </a:lnTo>
                      <a:lnTo>
                        <a:pt x="268" y="193"/>
                      </a:lnTo>
                      <a:lnTo>
                        <a:pt x="264" y="202"/>
                      </a:lnTo>
                      <a:lnTo>
                        <a:pt x="259" y="209"/>
                      </a:lnTo>
                      <a:lnTo>
                        <a:pt x="247" y="223"/>
                      </a:lnTo>
                      <a:lnTo>
                        <a:pt x="234" y="236"/>
                      </a:lnTo>
                      <a:lnTo>
                        <a:pt x="222" y="251"/>
                      </a:lnTo>
                      <a:lnTo>
                        <a:pt x="220" y="256"/>
                      </a:lnTo>
                      <a:lnTo>
                        <a:pt x="217" y="258"/>
                      </a:lnTo>
                      <a:lnTo>
                        <a:pt x="212" y="260"/>
                      </a:lnTo>
                      <a:lnTo>
                        <a:pt x="207" y="260"/>
                      </a:lnTo>
                      <a:lnTo>
                        <a:pt x="198" y="260"/>
                      </a:lnTo>
                      <a:lnTo>
                        <a:pt x="196" y="261"/>
                      </a:lnTo>
                      <a:lnTo>
                        <a:pt x="192" y="263"/>
                      </a:lnTo>
                      <a:lnTo>
                        <a:pt x="187" y="266"/>
                      </a:lnTo>
                      <a:lnTo>
                        <a:pt x="183" y="268"/>
                      </a:lnTo>
                      <a:lnTo>
                        <a:pt x="177" y="269"/>
                      </a:lnTo>
                      <a:lnTo>
                        <a:pt x="170" y="269"/>
                      </a:lnTo>
                      <a:lnTo>
                        <a:pt x="164" y="269"/>
                      </a:lnTo>
                      <a:lnTo>
                        <a:pt x="153" y="272"/>
                      </a:lnTo>
                      <a:lnTo>
                        <a:pt x="142" y="269"/>
                      </a:lnTo>
                      <a:lnTo>
                        <a:pt x="132" y="269"/>
                      </a:lnTo>
                      <a:lnTo>
                        <a:pt x="127" y="270"/>
                      </a:lnTo>
                      <a:lnTo>
                        <a:pt x="123" y="270"/>
                      </a:lnTo>
                      <a:lnTo>
                        <a:pt x="117" y="274"/>
                      </a:lnTo>
                      <a:lnTo>
                        <a:pt x="111" y="276"/>
                      </a:lnTo>
                      <a:lnTo>
                        <a:pt x="106" y="276"/>
                      </a:lnTo>
                      <a:lnTo>
                        <a:pt x="99" y="276"/>
                      </a:lnTo>
                      <a:lnTo>
                        <a:pt x="94" y="275"/>
                      </a:lnTo>
                      <a:lnTo>
                        <a:pt x="88" y="273"/>
                      </a:lnTo>
                      <a:lnTo>
                        <a:pt x="76" y="266"/>
                      </a:lnTo>
                      <a:lnTo>
                        <a:pt x="73" y="263"/>
                      </a:lnTo>
                      <a:lnTo>
                        <a:pt x="68" y="263"/>
                      </a:lnTo>
                      <a:lnTo>
                        <a:pt x="62" y="264"/>
                      </a:lnTo>
                      <a:lnTo>
                        <a:pt x="59" y="263"/>
                      </a:lnTo>
                      <a:lnTo>
                        <a:pt x="56" y="262"/>
                      </a:lnTo>
                      <a:lnTo>
                        <a:pt x="55" y="261"/>
                      </a:lnTo>
                      <a:lnTo>
                        <a:pt x="55" y="260"/>
                      </a:lnTo>
                      <a:lnTo>
                        <a:pt x="54" y="257"/>
                      </a:lnTo>
                      <a:lnTo>
                        <a:pt x="52" y="255"/>
                      </a:lnTo>
                      <a:lnTo>
                        <a:pt x="51" y="253"/>
                      </a:lnTo>
                      <a:lnTo>
                        <a:pt x="51" y="248"/>
                      </a:lnTo>
                      <a:lnTo>
                        <a:pt x="48" y="245"/>
                      </a:lnTo>
                      <a:lnTo>
                        <a:pt x="45" y="243"/>
                      </a:lnTo>
                      <a:lnTo>
                        <a:pt x="38" y="242"/>
                      </a:lnTo>
                      <a:lnTo>
                        <a:pt x="38" y="240"/>
                      </a:lnTo>
                      <a:lnTo>
                        <a:pt x="37" y="237"/>
                      </a:lnTo>
                      <a:lnTo>
                        <a:pt x="37" y="232"/>
                      </a:lnTo>
                      <a:lnTo>
                        <a:pt x="36" y="226"/>
                      </a:lnTo>
                      <a:lnTo>
                        <a:pt x="32" y="219"/>
                      </a:lnTo>
                      <a:lnTo>
                        <a:pt x="27" y="212"/>
                      </a:lnTo>
                      <a:lnTo>
                        <a:pt x="18" y="206"/>
                      </a:lnTo>
                      <a:lnTo>
                        <a:pt x="4" y="199"/>
                      </a:lnTo>
                      <a:lnTo>
                        <a:pt x="3" y="198"/>
                      </a:lnTo>
                      <a:lnTo>
                        <a:pt x="0" y="197"/>
                      </a:lnTo>
                      <a:lnTo>
                        <a:pt x="0" y="192"/>
                      </a:lnTo>
                      <a:lnTo>
                        <a:pt x="0" y="187"/>
                      </a:lnTo>
                      <a:lnTo>
                        <a:pt x="4" y="184"/>
                      </a:lnTo>
                      <a:lnTo>
                        <a:pt x="5" y="184"/>
                      </a:lnTo>
                      <a:lnTo>
                        <a:pt x="9" y="184"/>
                      </a:lnTo>
                      <a:lnTo>
                        <a:pt x="12" y="184"/>
                      </a:lnTo>
                      <a:lnTo>
                        <a:pt x="14" y="183"/>
                      </a:lnTo>
                      <a:lnTo>
                        <a:pt x="17" y="181"/>
                      </a:lnTo>
                      <a:lnTo>
                        <a:pt x="19" y="179"/>
                      </a:lnTo>
                      <a:lnTo>
                        <a:pt x="21" y="173"/>
                      </a:lnTo>
                      <a:lnTo>
                        <a:pt x="22" y="160"/>
                      </a:lnTo>
                      <a:lnTo>
                        <a:pt x="22" y="153"/>
                      </a:lnTo>
                      <a:lnTo>
                        <a:pt x="22" y="146"/>
                      </a:lnTo>
                      <a:lnTo>
                        <a:pt x="22" y="143"/>
                      </a:lnTo>
                      <a:lnTo>
                        <a:pt x="23" y="141"/>
                      </a:lnTo>
                      <a:lnTo>
                        <a:pt x="27" y="140"/>
                      </a:lnTo>
                      <a:lnTo>
                        <a:pt x="31" y="139"/>
                      </a:lnTo>
                      <a:lnTo>
                        <a:pt x="33" y="139"/>
                      </a:lnTo>
                      <a:lnTo>
                        <a:pt x="33" y="138"/>
                      </a:lnTo>
                      <a:lnTo>
                        <a:pt x="36" y="127"/>
                      </a:lnTo>
                      <a:lnTo>
                        <a:pt x="37" y="120"/>
                      </a:lnTo>
                      <a:lnTo>
                        <a:pt x="38" y="110"/>
                      </a:lnTo>
                      <a:lnTo>
                        <a:pt x="41" y="107"/>
                      </a:lnTo>
                      <a:lnTo>
                        <a:pt x="45" y="103"/>
                      </a:lnTo>
                      <a:lnTo>
                        <a:pt x="59" y="91"/>
                      </a:lnTo>
                      <a:lnTo>
                        <a:pt x="62" y="88"/>
                      </a:lnTo>
                      <a:lnTo>
                        <a:pt x="64" y="85"/>
                      </a:lnTo>
                      <a:lnTo>
                        <a:pt x="64" y="84"/>
                      </a:lnTo>
                      <a:lnTo>
                        <a:pt x="61" y="77"/>
                      </a:lnTo>
                      <a:lnTo>
                        <a:pt x="60" y="69"/>
                      </a:lnTo>
                      <a:lnTo>
                        <a:pt x="60" y="60"/>
                      </a:lnTo>
                      <a:lnTo>
                        <a:pt x="60" y="52"/>
                      </a:lnTo>
                      <a:lnTo>
                        <a:pt x="61" y="43"/>
                      </a:lnTo>
                      <a:lnTo>
                        <a:pt x="64" y="34"/>
                      </a:lnTo>
                      <a:lnTo>
                        <a:pt x="68" y="26"/>
                      </a:lnTo>
                      <a:lnTo>
                        <a:pt x="73" y="20"/>
                      </a:lnTo>
                      <a:lnTo>
                        <a:pt x="75" y="18"/>
                      </a:lnTo>
                      <a:lnTo>
                        <a:pt x="78" y="17"/>
                      </a:lnTo>
                      <a:lnTo>
                        <a:pt x="85" y="13"/>
                      </a:lnTo>
                      <a:lnTo>
                        <a:pt x="89" y="12"/>
                      </a:lnTo>
                      <a:lnTo>
                        <a:pt x="92" y="10"/>
                      </a:lnTo>
                      <a:lnTo>
                        <a:pt x="95" y="6"/>
                      </a:lnTo>
                      <a:lnTo>
                        <a:pt x="99" y="0"/>
                      </a:lnTo>
                      <a:lnTo>
                        <a:pt x="102" y="6"/>
                      </a:lnTo>
                      <a:lnTo>
                        <a:pt x="104" y="13"/>
                      </a:lnTo>
                      <a:lnTo>
                        <a:pt x="109" y="28"/>
                      </a:lnTo>
                      <a:lnTo>
                        <a:pt x="111" y="36"/>
                      </a:lnTo>
                      <a:lnTo>
                        <a:pt x="115" y="40"/>
                      </a:lnTo>
                      <a:lnTo>
                        <a:pt x="118" y="44"/>
                      </a:lnTo>
                      <a:lnTo>
                        <a:pt x="120" y="45"/>
                      </a:lnTo>
                      <a:lnTo>
                        <a:pt x="122" y="45"/>
                      </a:lnTo>
                      <a:lnTo>
                        <a:pt x="123" y="45"/>
                      </a:lnTo>
                      <a:lnTo>
                        <a:pt x="125" y="47"/>
                      </a:lnTo>
                      <a:lnTo>
                        <a:pt x="126" y="51"/>
                      </a:lnTo>
                      <a:lnTo>
                        <a:pt x="128" y="56"/>
                      </a:lnTo>
                      <a:lnTo>
                        <a:pt x="131" y="59"/>
                      </a:lnTo>
                      <a:lnTo>
                        <a:pt x="139" y="64"/>
                      </a:lnTo>
                      <a:lnTo>
                        <a:pt x="146" y="70"/>
                      </a:lnTo>
                      <a:lnTo>
                        <a:pt x="151" y="76"/>
                      </a:lnTo>
                      <a:lnTo>
                        <a:pt x="158" y="83"/>
                      </a:lnTo>
                      <a:lnTo>
                        <a:pt x="162" y="87"/>
                      </a:lnTo>
                      <a:lnTo>
                        <a:pt x="165" y="91"/>
                      </a:lnTo>
                      <a:lnTo>
                        <a:pt x="168" y="96"/>
                      </a:lnTo>
                      <a:lnTo>
                        <a:pt x="170" y="100"/>
                      </a:lnTo>
                      <a:lnTo>
                        <a:pt x="173" y="10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7" name="Freeform 760">
                  <a:extLst>
                    <a:ext uri="{FF2B5EF4-FFF2-40B4-BE49-F238E27FC236}">
                      <a16:creationId xmlns:a16="http://schemas.microsoft.com/office/drawing/2014/main" id="{905E67B7-435D-A74F-BF92-E4F9C0992B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2744" y="4476298"/>
                  <a:ext cx="14799" cy="25157"/>
                </a:xfrm>
                <a:custGeom>
                  <a:avLst/>
                  <a:gdLst>
                    <a:gd name="T0" fmla="*/ 2147483647 w 10"/>
                    <a:gd name="T1" fmla="*/ 2147483647 h 17"/>
                    <a:gd name="T2" fmla="*/ 2147483647 w 10"/>
                    <a:gd name="T3" fmla="*/ 2147483647 h 17"/>
                    <a:gd name="T4" fmla="*/ 2147483647 w 10"/>
                    <a:gd name="T5" fmla="*/ 2147483647 h 17"/>
                    <a:gd name="T6" fmla="*/ 2147483647 w 10"/>
                    <a:gd name="T7" fmla="*/ 2147483647 h 17"/>
                    <a:gd name="T8" fmla="*/ 2147483647 w 10"/>
                    <a:gd name="T9" fmla="*/ 0 h 17"/>
                    <a:gd name="T10" fmla="*/ 2147483647 w 10"/>
                    <a:gd name="T11" fmla="*/ 0 h 17"/>
                    <a:gd name="T12" fmla="*/ 2147483647 w 10"/>
                    <a:gd name="T13" fmla="*/ 2147483647 h 17"/>
                    <a:gd name="T14" fmla="*/ 2147483647 w 10"/>
                    <a:gd name="T15" fmla="*/ 2147483647 h 17"/>
                    <a:gd name="T16" fmla="*/ 0 w 10"/>
                    <a:gd name="T17" fmla="*/ 2147483647 h 17"/>
                    <a:gd name="T18" fmla="*/ 2147483647 w 10"/>
                    <a:gd name="T19" fmla="*/ 2147483647 h 17"/>
                    <a:gd name="T20" fmla="*/ 2147483647 w 10"/>
                    <a:gd name="T21" fmla="*/ 2147483647 h 17"/>
                    <a:gd name="T22" fmla="*/ 2147483647 w 10"/>
                    <a:gd name="T23" fmla="*/ 2147483647 h 17"/>
                    <a:gd name="T24" fmla="*/ 2147483647 w 10"/>
                    <a:gd name="T25" fmla="*/ 2147483647 h 17"/>
                    <a:gd name="T26" fmla="*/ 2147483647 w 10"/>
                    <a:gd name="T27" fmla="*/ 2147483647 h 17"/>
                    <a:gd name="T28" fmla="*/ 2147483647 w 10"/>
                    <a:gd name="T29" fmla="*/ 2147483647 h 17"/>
                    <a:gd name="T30" fmla="*/ 2147483647 w 10"/>
                    <a:gd name="T31" fmla="*/ 2147483647 h 1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0"/>
                    <a:gd name="T49" fmla="*/ 0 h 17"/>
                    <a:gd name="T50" fmla="*/ 10 w 10"/>
                    <a:gd name="T51" fmla="*/ 17 h 1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0" h="17">
                      <a:moveTo>
                        <a:pt x="10" y="10"/>
                      </a:moveTo>
                      <a:lnTo>
                        <a:pt x="10" y="5"/>
                      </a:lnTo>
                      <a:lnTo>
                        <a:pt x="9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1" y="8"/>
                      </a:lnTo>
                      <a:lnTo>
                        <a:pt x="0" y="14"/>
                      </a:lnTo>
                      <a:lnTo>
                        <a:pt x="1" y="15"/>
                      </a:lnTo>
                      <a:lnTo>
                        <a:pt x="3" y="16"/>
                      </a:lnTo>
                      <a:lnTo>
                        <a:pt x="5" y="17"/>
                      </a:lnTo>
                      <a:lnTo>
                        <a:pt x="6" y="17"/>
                      </a:lnTo>
                      <a:lnTo>
                        <a:pt x="9" y="15"/>
                      </a:lnTo>
                      <a:lnTo>
                        <a:pt x="10" y="14"/>
                      </a:lnTo>
                      <a:lnTo>
                        <a:pt x="10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8" name="Freeform 762">
                  <a:extLst>
                    <a:ext uri="{FF2B5EF4-FFF2-40B4-BE49-F238E27FC236}">
                      <a16:creationId xmlns:a16="http://schemas.microsoft.com/office/drawing/2014/main" id="{C29DBEA8-C5DC-9040-9FB0-0BE66E7560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1263" y="4473334"/>
                  <a:ext cx="14799" cy="26638"/>
                </a:xfrm>
                <a:custGeom>
                  <a:avLst/>
                  <a:gdLst>
                    <a:gd name="T0" fmla="*/ 2147483647 w 10"/>
                    <a:gd name="T1" fmla="*/ 2147483647 h 18"/>
                    <a:gd name="T2" fmla="*/ 2147483647 w 10"/>
                    <a:gd name="T3" fmla="*/ 2147483647 h 18"/>
                    <a:gd name="T4" fmla="*/ 2147483647 w 10"/>
                    <a:gd name="T5" fmla="*/ 2147483647 h 18"/>
                    <a:gd name="T6" fmla="*/ 2147483647 w 10"/>
                    <a:gd name="T7" fmla="*/ 2147483647 h 18"/>
                    <a:gd name="T8" fmla="*/ 2147483647 w 10"/>
                    <a:gd name="T9" fmla="*/ 2147483647 h 18"/>
                    <a:gd name="T10" fmla="*/ 2147483647 w 10"/>
                    <a:gd name="T11" fmla="*/ 2147483647 h 18"/>
                    <a:gd name="T12" fmla="*/ 2147483647 w 10"/>
                    <a:gd name="T13" fmla="*/ 0 h 18"/>
                    <a:gd name="T14" fmla="*/ 2147483647 w 10"/>
                    <a:gd name="T15" fmla="*/ 0 h 18"/>
                    <a:gd name="T16" fmla="*/ 2147483647 w 10"/>
                    <a:gd name="T17" fmla="*/ 2147483647 h 18"/>
                    <a:gd name="T18" fmla="*/ 2147483647 w 10"/>
                    <a:gd name="T19" fmla="*/ 2147483647 h 18"/>
                    <a:gd name="T20" fmla="*/ 2147483647 w 10"/>
                    <a:gd name="T21" fmla="*/ 2147483647 h 18"/>
                    <a:gd name="T22" fmla="*/ 0 w 10"/>
                    <a:gd name="T23" fmla="*/ 2147483647 h 18"/>
                    <a:gd name="T24" fmla="*/ 0 w 10"/>
                    <a:gd name="T25" fmla="*/ 2147483647 h 18"/>
                    <a:gd name="T26" fmla="*/ 2147483647 w 10"/>
                    <a:gd name="T27" fmla="*/ 2147483647 h 18"/>
                    <a:gd name="T28" fmla="*/ 2147483647 w 10"/>
                    <a:gd name="T29" fmla="*/ 2147483647 h 18"/>
                    <a:gd name="T30" fmla="*/ 2147483647 w 10"/>
                    <a:gd name="T31" fmla="*/ 2147483647 h 18"/>
                    <a:gd name="T32" fmla="*/ 2147483647 w 10"/>
                    <a:gd name="T33" fmla="*/ 2147483647 h 18"/>
                    <a:gd name="T34" fmla="*/ 2147483647 w 10"/>
                    <a:gd name="T35" fmla="*/ 2147483647 h 18"/>
                    <a:gd name="T36" fmla="*/ 2147483647 w 10"/>
                    <a:gd name="T37" fmla="*/ 2147483647 h 18"/>
                    <a:gd name="T38" fmla="*/ 2147483647 w 10"/>
                    <a:gd name="T39" fmla="*/ 2147483647 h 18"/>
                    <a:gd name="T40" fmla="*/ 2147483647 w 10"/>
                    <a:gd name="T41" fmla="*/ 2147483647 h 18"/>
                    <a:gd name="T42" fmla="*/ 2147483647 w 10"/>
                    <a:gd name="T43" fmla="*/ 2147483647 h 1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0"/>
                    <a:gd name="T67" fmla="*/ 0 h 18"/>
                    <a:gd name="T68" fmla="*/ 10 w 10"/>
                    <a:gd name="T69" fmla="*/ 18 h 1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0" h="18">
                      <a:moveTo>
                        <a:pt x="10" y="11"/>
                      </a:moveTo>
                      <a:lnTo>
                        <a:pt x="10" y="11"/>
                      </a:lnTo>
                      <a:lnTo>
                        <a:pt x="10" y="6"/>
                      </a:lnTo>
                      <a:lnTo>
                        <a:pt x="9" y="3"/>
                      </a:lnTo>
                      <a:lnTo>
                        <a:pt x="7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9"/>
                      </a:lnTo>
                      <a:lnTo>
                        <a:pt x="0" y="15"/>
                      </a:lnTo>
                      <a:lnTo>
                        <a:pt x="1" y="16"/>
                      </a:lnTo>
                      <a:lnTo>
                        <a:pt x="2" y="17"/>
                      </a:lnTo>
                      <a:lnTo>
                        <a:pt x="5" y="18"/>
                      </a:lnTo>
                      <a:lnTo>
                        <a:pt x="6" y="18"/>
                      </a:lnTo>
                      <a:lnTo>
                        <a:pt x="9" y="16"/>
                      </a:lnTo>
                      <a:lnTo>
                        <a:pt x="10" y="15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9" name="Freeform 1089">
                  <a:extLst>
                    <a:ext uri="{FF2B5EF4-FFF2-40B4-BE49-F238E27FC236}">
                      <a16:creationId xmlns:a16="http://schemas.microsoft.com/office/drawing/2014/main" id="{845BDFCE-3C5C-544B-BB8C-52E3C95689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1141" y="4498492"/>
                  <a:ext cx="130229" cy="152427"/>
                </a:xfrm>
                <a:custGeom>
                  <a:avLst/>
                  <a:gdLst>
                    <a:gd name="T0" fmla="*/ 2147483647 w 95"/>
                    <a:gd name="T1" fmla="*/ 2147483647 h 103"/>
                    <a:gd name="T2" fmla="*/ 2147483647 w 95"/>
                    <a:gd name="T3" fmla="*/ 2147483647 h 103"/>
                    <a:gd name="T4" fmla="*/ 2147483647 w 95"/>
                    <a:gd name="T5" fmla="*/ 2147483647 h 103"/>
                    <a:gd name="T6" fmla="*/ 2147483647 w 95"/>
                    <a:gd name="T7" fmla="*/ 2147483647 h 103"/>
                    <a:gd name="T8" fmla="*/ 2147483647 w 95"/>
                    <a:gd name="T9" fmla="*/ 2147483647 h 103"/>
                    <a:gd name="T10" fmla="*/ 2147483647 w 95"/>
                    <a:gd name="T11" fmla="*/ 2147483647 h 103"/>
                    <a:gd name="T12" fmla="*/ 2147483647 w 95"/>
                    <a:gd name="T13" fmla="*/ 2147483647 h 103"/>
                    <a:gd name="T14" fmla="*/ 2147483647 w 95"/>
                    <a:gd name="T15" fmla="*/ 2147483647 h 103"/>
                    <a:gd name="T16" fmla="*/ 2147483647 w 95"/>
                    <a:gd name="T17" fmla="*/ 2147483647 h 103"/>
                    <a:gd name="T18" fmla="*/ 2147483647 w 95"/>
                    <a:gd name="T19" fmla="*/ 2147483647 h 103"/>
                    <a:gd name="T20" fmla="*/ 2147483647 w 95"/>
                    <a:gd name="T21" fmla="*/ 2147483647 h 103"/>
                    <a:gd name="T22" fmla="*/ 2147483647 w 95"/>
                    <a:gd name="T23" fmla="*/ 2147483647 h 103"/>
                    <a:gd name="T24" fmla="*/ 2147483647 w 95"/>
                    <a:gd name="T25" fmla="*/ 2147483647 h 103"/>
                    <a:gd name="T26" fmla="*/ 2147483647 w 95"/>
                    <a:gd name="T27" fmla="*/ 2147483647 h 103"/>
                    <a:gd name="T28" fmla="*/ 2147483647 w 95"/>
                    <a:gd name="T29" fmla="*/ 2147483647 h 103"/>
                    <a:gd name="T30" fmla="*/ 2147483647 w 95"/>
                    <a:gd name="T31" fmla="*/ 2147483647 h 103"/>
                    <a:gd name="T32" fmla="*/ 2147483647 w 95"/>
                    <a:gd name="T33" fmla="*/ 2147483647 h 103"/>
                    <a:gd name="T34" fmla="*/ 0 w 95"/>
                    <a:gd name="T35" fmla="*/ 2147483647 h 103"/>
                    <a:gd name="T36" fmla="*/ 0 w 95"/>
                    <a:gd name="T37" fmla="*/ 2147483647 h 103"/>
                    <a:gd name="T38" fmla="*/ 0 w 95"/>
                    <a:gd name="T39" fmla="*/ 2147483647 h 103"/>
                    <a:gd name="T40" fmla="*/ 2147483647 w 95"/>
                    <a:gd name="T41" fmla="*/ 2147483647 h 103"/>
                    <a:gd name="T42" fmla="*/ 2147483647 w 95"/>
                    <a:gd name="T43" fmla="*/ 2147483647 h 103"/>
                    <a:gd name="T44" fmla="*/ 2147483647 w 95"/>
                    <a:gd name="T45" fmla="*/ 2147483647 h 103"/>
                    <a:gd name="T46" fmla="*/ 2147483647 w 95"/>
                    <a:gd name="T47" fmla="*/ 2147483647 h 103"/>
                    <a:gd name="T48" fmla="*/ 2147483647 w 95"/>
                    <a:gd name="T49" fmla="*/ 2147483647 h 103"/>
                    <a:gd name="T50" fmla="*/ 2147483647 w 95"/>
                    <a:gd name="T51" fmla="*/ 2147483647 h 103"/>
                    <a:gd name="T52" fmla="*/ 2147483647 w 95"/>
                    <a:gd name="T53" fmla="*/ 2147483647 h 103"/>
                    <a:gd name="T54" fmla="*/ 2147483647 w 95"/>
                    <a:gd name="T55" fmla="*/ 2147483647 h 103"/>
                    <a:gd name="T56" fmla="*/ 2147483647 w 95"/>
                    <a:gd name="T57" fmla="*/ 2147483647 h 103"/>
                    <a:gd name="T58" fmla="*/ 2147483647 w 95"/>
                    <a:gd name="T59" fmla="*/ 2147483647 h 103"/>
                    <a:gd name="T60" fmla="*/ 2147483647 w 95"/>
                    <a:gd name="T61" fmla="*/ 2147483647 h 103"/>
                    <a:gd name="T62" fmla="*/ 2147483647 w 95"/>
                    <a:gd name="T63" fmla="*/ 2147483647 h 103"/>
                    <a:gd name="T64" fmla="*/ 2147483647 w 95"/>
                    <a:gd name="T65" fmla="*/ 2147483647 h 103"/>
                    <a:gd name="T66" fmla="*/ 2147483647 w 95"/>
                    <a:gd name="T67" fmla="*/ 2147483647 h 103"/>
                    <a:gd name="T68" fmla="*/ 2147483647 w 95"/>
                    <a:gd name="T69" fmla="*/ 2147483647 h 103"/>
                    <a:gd name="T70" fmla="*/ 2147483647 w 95"/>
                    <a:gd name="T71" fmla="*/ 2147483647 h 103"/>
                    <a:gd name="T72" fmla="*/ 2147483647 w 95"/>
                    <a:gd name="T73" fmla="*/ 2147483647 h 103"/>
                    <a:gd name="T74" fmla="*/ 2147483647 w 95"/>
                    <a:gd name="T75" fmla="*/ 2147483647 h 103"/>
                    <a:gd name="T76" fmla="*/ 2147483647 w 95"/>
                    <a:gd name="T77" fmla="*/ 2147483647 h 103"/>
                    <a:gd name="T78" fmla="*/ 2147483647 w 95"/>
                    <a:gd name="T79" fmla="*/ 2147483647 h 103"/>
                    <a:gd name="T80" fmla="*/ 2147483647 w 95"/>
                    <a:gd name="T81" fmla="*/ 2147483647 h 103"/>
                    <a:gd name="T82" fmla="*/ 2147483647 w 95"/>
                    <a:gd name="T83" fmla="*/ 2147483647 h 103"/>
                    <a:gd name="T84" fmla="*/ 2147483647 w 95"/>
                    <a:gd name="T85" fmla="*/ 0 h 103"/>
                    <a:gd name="T86" fmla="*/ 2147483647 w 95"/>
                    <a:gd name="T87" fmla="*/ 2147483647 h 103"/>
                    <a:gd name="T88" fmla="*/ 2147483647 w 95"/>
                    <a:gd name="T89" fmla="*/ 2147483647 h 103"/>
                    <a:gd name="T90" fmla="*/ 2147483647 w 95"/>
                    <a:gd name="T91" fmla="*/ 2147483647 h 103"/>
                    <a:gd name="T92" fmla="*/ 2147483647 w 95"/>
                    <a:gd name="T93" fmla="*/ 2147483647 h 103"/>
                    <a:gd name="T94" fmla="*/ 2147483647 w 95"/>
                    <a:gd name="T95" fmla="*/ 2147483647 h 103"/>
                    <a:gd name="T96" fmla="*/ 2147483647 w 95"/>
                    <a:gd name="T97" fmla="*/ 2147483647 h 103"/>
                    <a:gd name="T98" fmla="*/ 2147483647 w 95"/>
                    <a:gd name="T99" fmla="*/ 2147483647 h 103"/>
                    <a:gd name="T100" fmla="*/ 2147483647 w 95"/>
                    <a:gd name="T101" fmla="*/ 2147483647 h 103"/>
                    <a:gd name="T102" fmla="*/ 2147483647 w 95"/>
                    <a:gd name="T103" fmla="*/ 2147483647 h 103"/>
                    <a:gd name="T104" fmla="*/ 2147483647 w 95"/>
                    <a:gd name="T105" fmla="*/ 2147483647 h 103"/>
                    <a:gd name="T106" fmla="*/ 2147483647 w 95"/>
                    <a:gd name="T107" fmla="*/ 2147483647 h 103"/>
                    <a:gd name="T108" fmla="*/ 2147483647 w 95"/>
                    <a:gd name="T109" fmla="*/ 2147483647 h 103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95"/>
                    <a:gd name="T166" fmla="*/ 0 h 103"/>
                    <a:gd name="T167" fmla="*/ 95 w 95"/>
                    <a:gd name="T168" fmla="*/ 103 h 103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95" h="103">
                      <a:moveTo>
                        <a:pt x="15" y="17"/>
                      </a:moveTo>
                      <a:lnTo>
                        <a:pt x="17" y="18"/>
                      </a:lnTo>
                      <a:lnTo>
                        <a:pt x="20" y="20"/>
                      </a:lnTo>
                      <a:lnTo>
                        <a:pt x="20" y="24"/>
                      </a:lnTo>
                      <a:lnTo>
                        <a:pt x="20" y="26"/>
                      </a:lnTo>
                      <a:lnTo>
                        <a:pt x="21" y="33"/>
                      </a:lnTo>
                      <a:lnTo>
                        <a:pt x="24" y="40"/>
                      </a:lnTo>
                      <a:lnTo>
                        <a:pt x="24" y="43"/>
                      </a:lnTo>
                      <a:lnTo>
                        <a:pt x="24" y="45"/>
                      </a:lnTo>
                      <a:lnTo>
                        <a:pt x="16" y="53"/>
                      </a:lnTo>
                      <a:lnTo>
                        <a:pt x="12" y="60"/>
                      </a:lnTo>
                      <a:lnTo>
                        <a:pt x="9" y="69"/>
                      </a:lnTo>
                      <a:lnTo>
                        <a:pt x="9" y="73"/>
                      </a:lnTo>
                      <a:lnTo>
                        <a:pt x="9" y="78"/>
                      </a:lnTo>
                      <a:lnTo>
                        <a:pt x="7" y="82"/>
                      </a:lnTo>
                      <a:lnTo>
                        <a:pt x="5" y="84"/>
                      </a:lnTo>
                      <a:lnTo>
                        <a:pt x="1" y="87"/>
                      </a:lnTo>
                      <a:lnTo>
                        <a:pt x="0" y="89"/>
                      </a:lnTo>
                      <a:lnTo>
                        <a:pt x="0" y="92"/>
                      </a:lnTo>
                      <a:lnTo>
                        <a:pt x="0" y="97"/>
                      </a:lnTo>
                      <a:lnTo>
                        <a:pt x="1" y="101"/>
                      </a:lnTo>
                      <a:lnTo>
                        <a:pt x="1" y="103"/>
                      </a:lnTo>
                      <a:lnTo>
                        <a:pt x="11" y="103"/>
                      </a:lnTo>
                      <a:lnTo>
                        <a:pt x="26" y="103"/>
                      </a:lnTo>
                      <a:lnTo>
                        <a:pt x="42" y="102"/>
                      </a:lnTo>
                      <a:lnTo>
                        <a:pt x="72" y="97"/>
                      </a:lnTo>
                      <a:lnTo>
                        <a:pt x="73" y="81"/>
                      </a:lnTo>
                      <a:lnTo>
                        <a:pt x="75" y="73"/>
                      </a:lnTo>
                      <a:lnTo>
                        <a:pt x="76" y="66"/>
                      </a:lnTo>
                      <a:lnTo>
                        <a:pt x="78" y="62"/>
                      </a:lnTo>
                      <a:lnTo>
                        <a:pt x="82" y="57"/>
                      </a:lnTo>
                      <a:lnTo>
                        <a:pt x="87" y="52"/>
                      </a:lnTo>
                      <a:lnTo>
                        <a:pt x="92" y="49"/>
                      </a:lnTo>
                      <a:lnTo>
                        <a:pt x="94" y="47"/>
                      </a:lnTo>
                      <a:lnTo>
                        <a:pt x="95" y="45"/>
                      </a:lnTo>
                      <a:lnTo>
                        <a:pt x="94" y="39"/>
                      </a:lnTo>
                      <a:lnTo>
                        <a:pt x="86" y="24"/>
                      </a:lnTo>
                      <a:lnTo>
                        <a:pt x="85" y="15"/>
                      </a:lnTo>
                      <a:lnTo>
                        <a:pt x="82" y="7"/>
                      </a:lnTo>
                      <a:lnTo>
                        <a:pt x="82" y="6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6" y="0"/>
                      </a:lnTo>
                      <a:lnTo>
                        <a:pt x="72" y="1"/>
                      </a:lnTo>
                      <a:lnTo>
                        <a:pt x="68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4" y="2"/>
                      </a:lnTo>
                      <a:lnTo>
                        <a:pt x="47" y="8"/>
                      </a:lnTo>
                      <a:lnTo>
                        <a:pt x="43" y="11"/>
                      </a:lnTo>
                      <a:lnTo>
                        <a:pt x="39" y="13"/>
                      </a:lnTo>
                      <a:lnTo>
                        <a:pt x="33" y="14"/>
                      </a:lnTo>
                      <a:lnTo>
                        <a:pt x="26" y="14"/>
                      </a:lnTo>
                      <a:lnTo>
                        <a:pt x="20" y="14"/>
                      </a:lnTo>
                      <a:lnTo>
                        <a:pt x="15" y="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0" name="Freeform 1091">
                  <a:extLst>
                    <a:ext uri="{FF2B5EF4-FFF2-40B4-BE49-F238E27FC236}">
                      <a16:creationId xmlns:a16="http://schemas.microsoft.com/office/drawing/2014/main" id="{68BFDF0D-5C65-E943-B720-828BCB22F0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8184" y="4497013"/>
                  <a:ext cx="131708" cy="152426"/>
                </a:xfrm>
                <a:custGeom>
                  <a:avLst/>
                  <a:gdLst>
                    <a:gd name="T0" fmla="*/ 2147483647 w 96"/>
                    <a:gd name="T1" fmla="*/ 2147483647 h 103"/>
                    <a:gd name="T2" fmla="*/ 2147483647 w 96"/>
                    <a:gd name="T3" fmla="*/ 2147483647 h 103"/>
                    <a:gd name="T4" fmla="*/ 2147483647 w 96"/>
                    <a:gd name="T5" fmla="*/ 2147483647 h 103"/>
                    <a:gd name="T6" fmla="*/ 2147483647 w 96"/>
                    <a:gd name="T7" fmla="*/ 2147483647 h 103"/>
                    <a:gd name="T8" fmla="*/ 2147483647 w 96"/>
                    <a:gd name="T9" fmla="*/ 2147483647 h 103"/>
                    <a:gd name="T10" fmla="*/ 2147483647 w 96"/>
                    <a:gd name="T11" fmla="*/ 2147483647 h 103"/>
                    <a:gd name="T12" fmla="*/ 2147483647 w 96"/>
                    <a:gd name="T13" fmla="*/ 2147483647 h 103"/>
                    <a:gd name="T14" fmla="*/ 2147483647 w 96"/>
                    <a:gd name="T15" fmla="*/ 2147483647 h 103"/>
                    <a:gd name="T16" fmla="*/ 2147483647 w 96"/>
                    <a:gd name="T17" fmla="*/ 2147483647 h 103"/>
                    <a:gd name="T18" fmla="*/ 2147483647 w 96"/>
                    <a:gd name="T19" fmla="*/ 2147483647 h 103"/>
                    <a:gd name="T20" fmla="*/ 2147483647 w 96"/>
                    <a:gd name="T21" fmla="*/ 2147483647 h 103"/>
                    <a:gd name="T22" fmla="*/ 2147483647 w 96"/>
                    <a:gd name="T23" fmla="*/ 2147483647 h 103"/>
                    <a:gd name="T24" fmla="*/ 0 w 96"/>
                    <a:gd name="T25" fmla="*/ 2147483647 h 103"/>
                    <a:gd name="T26" fmla="*/ 0 w 96"/>
                    <a:gd name="T27" fmla="*/ 2147483647 h 103"/>
                    <a:gd name="T28" fmla="*/ 2147483647 w 96"/>
                    <a:gd name="T29" fmla="*/ 2147483647 h 103"/>
                    <a:gd name="T30" fmla="*/ 2147483647 w 96"/>
                    <a:gd name="T31" fmla="*/ 2147483647 h 103"/>
                    <a:gd name="T32" fmla="*/ 2147483647 w 96"/>
                    <a:gd name="T33" fmla="*/ 2147483647 h 103"/>
                    <a:gd name="T34" fmla="*/ 2147483647 w 96"/>
                    <a:gd name="T35" fmla="*/ 2147483647 h 103"/>
                    <a:gd name="T36" fmla="*/ 2147483647 w 96"/>
                    <a:gd name="T37" fmla="*/ 2147483647 h 103"/>
                    <a:gd name="T38" fmla="*/ 2147483647 w 96"/>
                    <a:gd name="T39" fmla="*/ 2147483647 h 103"/>
                    <a:gd name="T40" fmla="*/ 2147483647 w 96"/>
                    <a:gd name="T41" fmla="*/ 2147483647 h 103"/>
                    <a:gd name="T42" fmla="*/ 2147483647 w 96"/>
                    <a:gd name="T43" fmla="*/ 2147483647 h 103"/>
                    <a:gd name="T44" fmla="*/ 2147483647 w 96"/>
                    <a:gd name="T45" fmla="*/ 2147483647 h 103"/>
                    <a:gd name="T46" fmla="*/ 2147483647 w 96"/>
                    <a:gd name="T47" fmla="*/ 2147483647 h 103"/>
                    <a:gd name="T48" fmla="*/ 2147483647 w 96"/>
                    <a:gd name="T49" fmla="*/ 2147483647 h 103"/>
                    <a:gd name="T50" fmla="*/ 2147483647 w 96"/>
                    <a:gd name="T51" fmla="*/ 2147483647 h 103"/>
                    <a:gd name="T52" fmla="*/ 2147483647 w 96"/>
                    <a:gd name="T53" fmla="*/ 2147483647 h 103"/>
                    <a:gd name="T54" fmla="*/ 2147483647 w 96"/>
                    <a:gd name="T55" fmla="*/ 2147483647 h 103"/>
                    <a:gd name="T56" fmla="*/ 2147483647 w 96"/>
                    <a:gd name="T57" fmla="*/ 0 h 103"/>
                    <a:gd name="T58" fmla="*/ 2147483647 w 96"/>
                    <a:gd name="T59" fmla="*/ 2147483647 h 103"/>
                    <a:gd name="T60" fmla="*/ 2147483647 w 96"/>
                    <a:gd name="T61" fmla="*/ 2147483647 h 103"/>
                    <a:gd name="T62" fmla="*/ 2147483647 w 96"/>
                    <a:gd name="T63" fmla="*/ 2147483647 h 103"/>
                    <a:gd name="T64" fmla="*/ 2147483647 w 96"/>
                    <a:gd name="T65" fmla="*/ 2147483647 h 103"/>
                    <a:gd name="T66" fmla="*/ 2147483647 w 96"/>
                    <a:gd name="T67" fmla="*/ 2147483647 h 103"/>
                    <a:gd name="T68" fmla="*/ 2147483647 w 96"/>
                    <a:gd name="T69" fmla="*/ 2147483647 h 103"/>
                    <a:gd name="T70" fmla="*/ 2147483647 w 96"/>
                    <a:gd name="T71" fmla="*/ 2147483647 h 103"/>
                    <a:gd name="T72" fmla="*/ 2147483647 w 96"/>
                    <a:gd name="T73" fmla="*/ 2147483647 h 103"/>
                    <a:gd name="T74" fmla="*/ 2147483647 w 96"/>
                    <a:gd name="T75" fmla="*/ 2147483647 h 103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96"/>
                    <a:gd name="T115" fmla="*/ 0 h 103"/>
                    <a:gd name="T116" fmla="*/ 96 w 96"/>
                    <a:gd name="T117" fmla="*/ 103 h 103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96" h="103">
                      <a:moveTo>
                        <a:pt x="16" y="16"/>
                      </a:moveTo>
                      <a:lnTo>
                        <a:pt x="16" y="16"/>
                      </a:lnTo>
                      <a:lnTo>
                        <a:pt x="18" y="18"/>
                      </a:lnTo>
                      <a:lnTo>
                        <a:pt x="21" y="20"/>
                      </a:lnTo>
                      <a:lnTo>
                        <a:pt x="21" y="23"/>
                      </a:lnTo>
                      <a:lnTo>
                        <a:pt x="21" y="26"/>
                      </a:lnTo>
                      <a:lnTo>
                        <a:pt x="22" y="33"/>
                      </a:lnTo>
                      <a:lnTo>
                        <a:pt x="24" y="40"/>
                      </a:lnTo>
                      <a:lnTo>
                        <a:pt x="24" y="42"/>
                      </a:lnTo>
                      <a:lnTo>
                        <a:pt x="24" y="45"/>
                      </a:lnTo>
                      <a:lnTo>
                        <a:pt x="17" y="53"/>
                      </a:lnTo>
                      <a:lnTo>
                        <a:pt x="13" y="60"/>
                      </a:lnTo>
                      <a:lnTo>
                        <a:pt x="9" y="69"/>
                      </a:lnTo>
                      <a:lnTo>
                        <a:pt x="9" y="73"/>
                      </a:lnTo>
                      <a:lnTo>
                        <a:pt x="9" y="78"/>
                      </a:lnTo>
                      <a:lnTo>
                        <a:pt x="8" y="82"/>
                      </a:lnTo>
                      <a:lnTo>
                        <a:pt x="5" y="84"/>
                      </a:lnTo>
                      <a:lnTo>
                        <a:pt x="2" y="86"/>
                      </a:lnTo>
                      <a:lnTo>
                        <a:pt x="0" y="89"/>
                      </a:lnTo>
                      <a:lnTo>
                        <a:pt x="0" y="92"/>
                      </a:lnTo>
                      <a:lnTo>
                        <a:pt x="0" y="97"/>
                      </a:lnTo>
                      <a:lnTo>
                        <a:pt x="2" y="101"/>
                      </a:lnTo>
                      <a:lnTo>
                        <a:pt x="2" y="103"/>
                      </a:lnTo>
                      <a:lnTo>
                        <a:pt x="12" y="103"/>
                      </a:lnTo>
                      <a:lnTo>
                        <a:pt x="27" y="103"/>
                      </a:lnTo>
                      <a:lnTo>
                        <a:pt x="42" y="102"/>
                      </a:lnTo>
                      <a:lnTo>
                        <a:pt x="73" y="97"/>
                      </a:lnTo>
                      <a:lnTo>
                        <a:pt x="74" y="80"/>
                      </a:lnTo>
                      <a:lnTo>
                        <a:pt x="75" y="73"/>
                      </a:lnTo>
                      <a:lnTo>
                        <a:pt x="77" y="66"/>
                      </a:lnTo>
                      <a:lnTo>
                        <a:pt x="79" y="61"/>
                      </a:lnTo>
                      <a:lnTo>
                        <a:pt x="83" y="57"/>
                      </a:lnTo>
                      <a:lnTo>
                        <a:pt x="88" y="52"/>
                      </a:lnTo>
                      <a:lnTo>
                        <a:pt x="93" y="48"/>
                      </a:lnTo>
                      <a:lnTo>
                        <a:pt x="94" y="47"/>
                      </a:lnTo>
                      <a:lnTo>
                        <a:pt x="96" y="45"/>
                      </a:lnTo>
                      <a:lnTo>
                        <a:pt x="94" y="39"/>
                      </a:lnTo>
                      <a:lnTo>
                        <a:pt x="87" y="23"/>
                      </a:lnTo>
                      <a:lnTo>
                        <a:pt x="85" y="15"/>
                      </a:lnTo>
                      <a:lnTo>
                        <a:pt x="83" y="7"/>
                      </a:lnTo>
                      <a:lnTo>
                        <a:pt x="83" y="6"/>
                      </a:lnTo>
                      <a:lnTo>
                        <a:pt x="82" y="5"/>
                      </a:lnTo>
                      <a:lnTo>
                        <a:pt x="78" y="2"/>
                      </a:lnTo>
                      <a:lnTo>
                        <a:pt x="77" y="0"/>
                      </a:lnTo>
                      <a:lnTo>
                        <a:pt x="73" y="1"/>
                      </a:lnTo>
                      <a:lnTo>
                        <a:pt x="69" y="2"/>
                      </a:lnTo>
                      <a:lnTo>
                        <a:pt x="61" y="1"/>
                      </a:lnTo>
                      <a:lnTo>
                        <a:pt x="59" y="1"/>
                      </a:lnTo>
                      <a:lnTo>
                        <a:pt x="55" y="2"/>
                      </a:lnTo>
                      <a:lnTo>
                        <a:pt x="47" y="8"/>
                      </a:lnTo>
                      <a:lnTo>
                        <a:pt x="44" y="10"/>
                      </a:lnTo>
                      <a:lnTo>
                        <a:pt x="40" y="13"/>
                      </a:lnTo>
                      <a:lnTo>
                        <a:pt x="33" y="14"/>
                      </a:lnTo>
                      <a:lnTo>
                        <a:pt x="27" y="14"/>
                      </a:lnTo>
                      <a:lnTo>
                        <a:pt x="21" y="14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1" name="Freeform 1096">
                  <a:extLst>
                    <a:ext uri="{FF2B5EF4-FFF2-40B4-BE49-F238E27FC236}">
                      <a16:creationId xmlns:a16="http://schemas.microsoft.com/office/drawing/2014/main" id="{EB02911F-0865-F642-B098-4995668B54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3012" y="2885434"/>
                  <a:ext cx="8879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2147483647 h 9"/>
                    <a:gd name="T4" fmla="*/ 2147483647 w 6"/>
                    <a:gd name="T5" fmla="*/ 2147483647 h 9"/>
                    <a:gd name="T6" fmla="*/ 2147483647 w 6"/>
                    <a:gd name="T7" fmla="*/ 2147483647 h 9"/>
                    <a:gd name="T8" fmla="*/ 2147483647 w 6"/>
                    <a:gd name="T9" fmla="*/ 2147483647 h 9"/>
                    <a:gd name="T10" fmla="*/ 0 w 6"/>
                    <a:gd name="T11" fmla="*/ 2147483647 h 9"/>
                    <a:gd name="T12" fmla="*/ 2147483647 w 6"/>
                    <a:gd name="T13" fmla="*/ 0 h 9"/>
                    <a:gd name="T14" fmla="*/ 2147483647 w 6"/>
                    <a:gd name="T15" fmla="*/ 0 h 9"/>
                    <a:gd name="T16" fmla="*/ 2147483647 w 6"/>
                    <a:gd name="T17" fmla="*/ 2147483647 h 9"/>
                    <a:gd name="T18" fmla="*/ 2147483647 w 6"/>
                    <a:gd name="T19" fmla="*/ 2147483647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9"/>
                    <a:gd name="T32" fmla="*/ 6 w 6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9">
                      <a:moveTo>
                        <a:pt x="6" y="6"/>
                      </a:move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2" name="Freeform 1097">
                  <a:extLst>
                    <a:ext uri="{FF2B5EF4-FFF2-40B4-BE49-F238E27FC236}">
                      <a16:creationId xmlns:a16="http://schemas.microsoft.com/office/drawing/2014/main" id="{50BF302F-B8F7-B444-AF04-98E77DC780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6506" y="3324956"/>
                  <a:ext cx="22199" cy="51795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2147483647 h 35"/>
                    <a:gd name="T4" fmla="*/ 2147483647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0 h 35"/>
                    <a:gd name="T12" fmla="*/ 2147483647 w 17"/>
                    <a:gd name="T13" fmla="*/ 0 h 35"/>
                    <a:gd name="T14" fmla="*/ 2147483647 w 17"/>
                    <a:gd name="T15" fmla="*/ 2147483647 h 35"/>
                    <a:gd name="T16" fmla="*/ 2147483647 w 17"/>
                    <a:gd name="T17" fmla="*/ 2147483647 h 35"/>
                    <a:gd name="T18" fmla="*/ 2147483647 w 17"/>
                    <a:gd name="T19" fmla="*/ 2147483647 h 35"/>
                    <a:gd name="T20" fmla="*/ 2147483647 w 17"/>
                    <a:gd name="T21" fmla="*/ 2147483647 h 35"/>
                    <a:gd name="T22" fmla="*/ 2147483647 w 17"/>
                    <a:gd name="T23" fmla="*/ 2147483647 h 35"/>
                    <a:gd name="T24" fmla="*/ 2147483647 w 17"/>
                    <a:gd name="T25" fmla="*/ 2147483647 h 35"/>
                    <a:gd name="T26" fmla="*/ 0 w 17"/>
                    <a:gd name="T27" fmla="*/ 2147483647 h 35"/>
                    <a:gd name="T28" fmla="*/ 0 w 17"/>
                    <a:gd name="T29" fmla="*/ 2147483647 h 35"/>
                    <a:gd name="T30" fmla="*/ 2147483647 w 17"/>
                    <a:gd name="T31" fmla="*/ 2147483647 h 35"/>
                    <a:gd name="T32" fmla="*/ 2147483647 w 17"/>
                    <a:gd name="T33" fmla="*/ 2147483647 h 35"/>
                    <a:gd name="T34" fmla="*/ 2147483647 w 17"/>
                    <a:gd name="T35" fmla="*/ 2147483647 h 35"/>
                    <a:gd name="T36" fmla="*/ 2147483647 w 17"/>
                    <a:gd name="T37" fmla="*/ 2147483647 h 35"/>
                    <a:gd name="T38" fmla="*/ 2147483647 w 17"/>
                    <a:gd name="T39" fmla="*/ 2147483647 h 35"/>
                    <a:gd name="T40" fmla="*/ 2147483647 w 17"/>
                    <a:gd name="T41" fmla="*/ 2147483647 h 35"/>
                    <a:gd name="T42" fmla="*/ 2147483647 w 17"/>
                    <a:gd name="T43" fmla="*/ 2147483647 h 35"/>
                    <a:gd name="T44" fmla="*/ 2147483647 w 17"/>
                    <a:gd name="T45" fmla="*/ 2147483647 h 35"/>
                    <a:gd name="T46" fmla="*/ 2147483647 w 17"/>
                    <a:gd name="T47" fmla="*/ 2147483647 h 35"/>
                    <a:gd name="T48" fmla="*/ 2147483647 w 17"/>
                    <a:gd name="T49" fmla="*/ 2147483647 h 35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"/>
                    <a:gd name="T76" fmla="*/ 0 h 35"/>
                    <a:gd name="T77" fmla="*/ 17 w 17"/>
                    <a:gd name="T78" fmla="*/ 35 h 35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" h="35">
                      <a:moveTo>
                        <a:pt x="14" y="10"/>
                      </a:moveTo>
                      <a:lnTo>
                        <a:pt x="13" y="9"/>
                      </a:lnTo>
                      <a:lnTo>
                        <a:pt x="14" y="7"/>
                      </a:lnTo>
                      <a:lnTo>
                        <a:pt x="17" y="3"/>
                      </a:lnTo>
                      <a:lnTo>
                        <a:pt x="17" y="2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2" y="3"/>
                      </a:lnTo>
                      <a:lnTo>
                        <a:pt x="9" y="3"/>
                      </a:lnTo>
                      <a:lnTo>
                        <a:pt x="6" y="5"/>
                      </a:lnTo>
                      <a:lnTo>
                        <a:pt x="4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8"/>
                      </a:lnTo>
                      <a:lnTo>
                        <a:pt x="1" y="25"/>
                      </a:lnTo>
                      <a:lnTo>
                        <a:pt x="5" y="32"/>
                      </a:lnTo>
                      <a:lnTo>
                        <a:pt x="8" y="34"/>
                      </a:lnTo>
                      <a:lnTo>
                        <a:pt x="10" y="35"/>
                      </a:lnTo>
                      <a:lnTo>
                        <a:pt x="13" y="29"/>
                      </a:lnTo>
                      <a:lnTo>
                        <a:pt x="15" y="24"/>
                      </a:lnTo>
                      <a:lnTo>
                        <a:pt x="15" y="21"/>
                      </a:lnTo>
                      <a:lnTo>
                        <a:pt x="15" y="18"/>
                      </a:lnTo>
                      <a:lnTo>
                        <a:pt x="14" y="14"/>
                      </a:lnTo>
                      <a:lnTo>
                        <a:pt x="14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3" name="Freeform 1098">
                  <a:extLst>
                    <a:ext uri="{FF2B5EF4-FFF2-40B4-BE49-F238E27FC236}">
                      <a16:creationId xmlns:a16="http://schemas.microsoft.com/office/drawing/2014/main" id="{75BAB83A-CE92-C344-97C2-90A3387E1A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1532" y="2883953"/>
                  <a:ext cx="8879" cy="13319"/>
                </a:xfrm>
                <a:custGeom>
                  <a:avLst/>
                  <a:gdLst>
                    <a:gd name="T0" fmla="*/ 2147483647 w 6"/>
                    <a:gd name="T1" fmla="*/ 2147483647 h 9"/>
                    <a:gd name="T2" fmla="*/ 2147483647 w 6"/>
                    <a:gd name="T3" fmla="*/ 2147483647 h 9"/>
                    <a:gd name="T4" fmla="*/ 2147483647 w 6"/>
                    <a:gd name="T5" fmla="*/ 2147483647 h 9"/>
                    <a:gd name="T6" fmla="*/ 2147483647 w 6"/>
                    <a:gd name="T7" fmla="*/ 2147483647 h 9"/>
                    <a:gd name="T8" fmla="*/ 2147483647 w 6"/>
                    <a:gd name="T9" fmla="*/ 2147483647 h 9"/>
                    <a:gd name="T10" fmla="*/ 2147483647 w 6"/>
                    <a:gd name="T11" fmla="*/ 2147483647 h 9"/>
                    <a:gd name="T12" fmla="*/ 2147483647 w 6"/>
                    <a:gd name="T13" fmla="*/ 2147483647 h 9"/>
                    <a:gd name="T14" fmla="*/ 0 w 6"/>
                    <a:gd name="T15" fmla="*/ 2147483647 h 9"/>
                    <a:gd name="T16" fmla="*/ 2147483647 w 6"/>
                    <a:gd name="T17" fmla="*/ 0 h 9"/>
                    <a:gd name="T18" fmla="*/ 2147483647 w 6"/>
                    <a:gd name="T19" fmla="*/ 0 h 9"/>
                    <a:gd name="T20" fmla="*/ 2147483647 w 6"/>
                    <a:gd name="T21" fmla="*/ 0 h 9"/>
                    <a:gd name="T22" fmla="*/ 2147483647 w 6"/>
                    <a:gd name="T23" fmla="*/ 2147483647 h 9"/>
                    <a:gd name="T24" fmla="*/ 2147483647 w 6"/>
                    <a:gd name="T25" fmla="*/ 2147483647 h 9"/>
                    <a:gd name="T26" fmla="*/ 2147483647 w 6"/>
                    <a:gd name="T27" fmla="*/ 2147483647 h 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9"/>
                    <a:gd name="T44" fmla="*/ 6 w 6"/>
                    <a:gd name="T45" fmla="*/ 9 h 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9">
                      <a:moveTo>
                        <a:pt x="6" y="6"/>
                      </a:moveTo>
                      <a:lnTo>
                        <a:pt x="6" y="6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2" y="9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3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4" name="Freeform 1100">
                  <a:extLst>
                    <a:ext uri="{FF2B5EF4-FFF2-40B4-BE49-F238E27FC236}">
                      <a16:creationId xmlns:a16="http://schemas.microsoft.com/office/drawing/2014/main" id="{F23BCDF9-3174-B044-A020-351812382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0584" y="3391548"/>
                  <a:ext cx="35517" cy="65114"/>
                </a:xfrm>
                <a:custGeom>
                  <a:avLst/>
                  <a:gdLst>
                    <a:gd name="T0" fmla="*/ 2147483647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2147483647 h 44"/>
                    <a:gd name="T8" fmla="*/ 2147483647 w 26"/>
                    <a:gd name="T9" fmla="*/ 2147483647 h 44"/>
                    <a:gd name="T10" fmla="*/ 2147483647 w 26"/>
                    <a:gd name="T11" fmla="*/ 2147483647 h 44"/>
                    <a:gd name="T12" fmla="*/ 2147483647 w 26"/>
                    <a:gd name="T13" fmla="*/ 0 h 44"/>
                    <a:gd name="T14" fmla="*/ 2147483647 w 26"/>
                    <a:gd name="T15" fmla="*/ 0 h 44"/>
                    <a:gd name="T16" fmla="*/ 2147483647 w 26"/>
                    <a:gd name="T17" fmla="*/ 2147483647 h 44"/>
                    <a:gd name="T18" fmla="*/ 0 w 26"/>
                    <a:gd name="T19" fmla="*/ 2147483647 h 44"/>
                    <a:gd name="T20" fmla="*/ 0 w 26"/>
                    <a:gd name="T21" fmla="*/ 2147483647 h 44"/>
                    <a:gd name="T22" fmla="*/ 0 w 26"/>
                    <a:gd name="T23" fmla="*/ 2147483647 h 44"/>
                    <a:gd name="T24" fmla="*/ 2147483647 w 26"/>
                    <a:gd name="T25" fmla="*/ 2147483647 h 44"/>
                    <a:gd name="T26" fmla="*/ 2147483647 w 26"/>
                    <a:gd name="T27" fmla="*/ 2147483647 h 44"/>
                    <a:gd name="T28" fmla="*/ 2147483647 w 26"/>
                    <a:gd name="T29" fmla="*/ 2147483647 h 44"/>
                    <a:gd name="T30" fmla="*/ 2147483647 w 26"/>
                    <a:gd name="T31" fmla="*/ 2147483647 h 44"/>
                    <a:gd name="T32" fmla="*/ 2147483647 w 26"/>
                    <a:gd name="T33" fmla="*/ 2147483647 h 44"/>
                    <a:gd name="T34" fmla="*/ 2147483647 w 26"/>
                    <a:gd name="T35" fmla="*/ 2147483647 h 44"/>
                    <a:gd name="T36" fmla="*/ 2147483647 w 26"/>
                    <a:gd name="T37" fmla="*/ 2147483647 h 44"/>
                    <a:gd name="T38" fmla="*/ 2147483647 w 26"/>
                    <a:gd name="T39" fmla="*/ 2147483647 h 44"/>
                    <a:gd name="T40" fmla="*/ 2147483647 w 26"/>
                    <a:gd name="T41" fmla="*/ 2147483647 h 44"/>
                    <a:gd name="T42" fmla="*/ 2147483647 w 26"/>
                    <a:gd name="T43" fmla="*/ 2147483647 h 44"/>
                    <a:gd name="T44" fmla="*/ 2147483647 w 26"/>
                    <a:gd name="T45" fmla="*/ 2147483647 h 44"/>
                    <a:gd name="T46" fmla="*/ 2147483647 w 26"/>
                    <a:gd name="T47" fmla="*/ 2147483647 h 44"/>
                    <a:gd name="T48" fmla="*/ 2147483647 w 26"/>
                    <a:gd name="T49" fmla="*/ 2147483647 h 44"/>
                    <a:gd name="T50" fmla="*/ 2147483647 w 26"/>
                    <a:gd name="T51" fmla="*/ 2147483647 h 44"/>
                    <a:gd name="T52" fmla="*/ 2147483647 w 26"/>
                    <a:gd name="T53" fmla="*/ 2147483647 h 44"/>
                    <a:gd name="T54" fmla="*/ 2147483647 w 26"/>
                    <a:gd name="T55" fmla="*/ 2147483647 h 44"/>
                    <a:gd name="T56" fmla="*/ 2147483647 w 26"/>
                    <a:gd name="T57" fmla="*/ 2147483647 h 4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6"/>
                    <a:gd name="T88" fmla="*/ 0 h 44"/>
                    <a:gd name="T89" fmla="*/ 26 w 26"/>
                    <a:gd name="T90" fmla="*/ 44 h 4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6" h="44">
                      <a:moveTo>
                        <a:pt x="23" y="30"/>
                      </a:moveTo>
                      <a:lnTo>
                        <a:pt x="23" y="25"/>
                      </a:lnTo>
                      <a:lnTo>
                        <a:pt x="24" y="14"/>
                      </a:lnTo>
                      <a:lnTo>
                        <a:pt x="23" y="9"/>
                      </a:lnTo>
                      <a:lnTo>
                        <a:pt x="21" y="5"/>
                      </a:lnTo>
                      <a:lnTo>
                        <a:pt x="18" y="1"/>
                      </a:lnTo>
                      <a:lnTo>
                        <a:pt x="13" y="0"/>
                      </a:lnTo>
                      <a:lnTo>
                        <a:pt x="8" y="0"/>
                      </a:lnTo>
                      <a:lnTo>
                        <a:pt x="3" y="2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4" y="12"/>
                      </a:lnTo>
                      <a:lnTo>
                        <a:pt x="5" y="16"/>
                      </a:lnTo>
                      <a:lnTo>
                        <a:pt x="4" y="31"/>
                      </a:lnTo>
                      <a:lnTo>
                        <a:pt x="5" y="38"/>
                      </a:lnTo>
                      <a:lnTo>
                        <a:pt x="8" y="40"/>
                      </a:lnTo>
                      <a:lnTo>
                        <a:pt x="9" y="43"/>
                      </a:lnTo>
                      <a:lnTo>
                        <a:pt x="10" y="44"/>
                      </a:lnTo>
                      <a:lnTo>
                        <a:pt x="12" y="43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8" y="39"/>
                      </a:lnTo>
                      <a:lnTo>
                        <a:pt x="21" y="39"/>
                      </a:lnTo>
                      <a:lnTo>
                        <a:pt x="23" y="39"/>
                      </a:lnTo>
                      <a:lnTo>
                        <a:pt x="24" y="39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3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5" name="Freeform 1102">
                  <a:extLst>
                    <a:ext uri="{FF2B5EF4-FFF2-40B4-BE49-F238E27FC236}">
                      <a16:creationId xmlns:a16="http://schemas.microsoft.com/office/drawing/2014/main" id="{C764DD2B-6E7A-E44F-8FE0-65958FBA7E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9104" y="3390068"/>
                  <a:ext cx="34037" cy="65114"/>
                </a:xfrm>
                <a:custGeom>
                  <a:avLst/>
                  <a:gdLst>
                    <a:gd name="T0" fmla="*/ 2147483647 w 25"/>
                    <a:gd name="T1" fmla="*/ 2147483647 h 44"/>
                    <a:gd name="T2" fmla="*/ 2147483647 w 25"/>
                    <a:gd name="T3" fmla="*/ 2147483647 h 44"/>
                    <a:gd name="T4" fmla="*/ 2147483647 w 25"/>
                    <a:gd name="T5" fmla="*/ 2147483647 h 44"/>
                    <a:gd name="T6" fmla="*/ 2147483647 w 25"/>
                    <a:gd name="T7" fmla="*/ 2147483647 h 44"/>
                    <a:gd name="T8" fmla="*/ 2147483647 w 25"/>
                    <a:gd name="T9" fmla="*/ 2147483647 h 44"/>
                    <a:gd name="T10" fmla="*/ 2147483647 w 25"/>
                    <a:gd name="T11" fmla="*/ 2147483647 h 44"/>
                    <a:gd name="T12" fmla="*/ 2147483647 w 25"/>
                    <a:gd name="T13" fmla="*/ 2147483647 h 44"/>
                    <a:gd name="T14" fmla="*/ 2147483647 w 25"/>
                    <a:gd name="T15" fmla="*/ 0 h 44"/>
                    <a:gd name="T16" fmla="*/ 2147483647 w 25"/>
                    <a:gd name="T17" fmla="*/ 0 h 44"/>
                    <a:gd name="T18" fmla="*/ 2147483647 w 25"/>
                    <a:gd name="T19" fmla="*/ 0 h 44"/>
                    <a:gd name="T20" fmla="*/ 2147483647 w 25"/>
                    <a:gd name="T21" fmla="*/ 2147483647 h 44"/>
                    <a:gd name="T22" fmla="*/ 2147483647 w 25"/>
                    <a:gd name="T23" fmla="*/ 2147483647 h 44"/>
                    <a:gd name="T24" fmla="*/ 0 w 25"/>
                    <a:gd name="T25" fmla="*/ 2147483647 h 44"/>
                    <a:gd name="T26" fmla="*/ 0 w 25"/>
                    <a:gd name="T27" fmla="*/ 2147483647 h 44"/>
                    <a:gd name="T28" fmla="*/ 0 w 25"/>
                    <a:gd name="T29" fmla="*/ 2147483647 h 44"/>
                    <a:gd name="T30" fmla="*/ 0 w 25"/>
                    <a:gd name="T31" fmla="*/ 2147483647 h 44"/>
                    <a:gd name="T32" fmla="*/ 2147483647 w 25"/>
                    <a:gd name="T33" fmla="*/ 2147483647 h 44"/>
                    <a:gd name="T34" fmla="*/ 2147483647 w 25"/>
                    <a:gd name="T35" fmla="*/ 2147483647 h 44"/>
                    <a:gd name="T36" fmla="*/ 2147483647 w 25"/>
                    <a:gd name="T37" fmla="*/ 2147483647 h 44"/>
                    <a:gd name="T38" fmla="*/ 2147483647 w 25"/>
                    <a:gd name="T39" fmla="*/ 2147483647 h 44"/>
                    <a:gd name="T40" fmla="*/ 2147483647 w 25"/>
                    <a:gd name="T41" fmla="*/ 2147483647 h 44"/>
                    <a:gd name="T42" fmla="*/ 2147483647 w 25"/>
                    <a:gd name="T43" fmla="*/ 2147483647 h 44"/>
                    <a:gd name="T44" fmla="*/ 2147483647 w 25"/>
                    <a:gd name="T45" fmla="*/ 2147483647 h 44"/>
                    <a:gd name="T46" fmla="*/ 2147483647 w 25"/>
                    <a:gd name="T47" fmla="*/ 2147483647 h 44"/>
                    <a:gd name="T48" fmla="*/ 2147483647 w 25"/>
                    <a:gd name="T49" fmla="*/ 2147483647 h 44"/>
                    <a:gd name="T50" fmla="*/ 2147483647 w 25"/>
                    <a:gd name="T51" fmla="*/ 2147483647 h 44"/>
                    <a:gd name="T52" fmla="*/ 2147483647 w 25"/>
                    <a:gd name="T53" fmla="*/ 2147483647 h 44"/>
                    <a:gd name="T54" fmla="*/ 2147483647 w 25"/>
                    <a:gd name="T55" fmla="*/ 2147483647 h 44"/>
                    <a:gd name="T56" fmla="*/ 2147483647 w 25"/>
                    <a:gd name="T57" fmla="*/ 2147483647 h 44"/>
                    <a:gd name="T58" fmla="*/ 2147483647 w 25"/>
                    <a:gd name="T59" fmla="*/ 2147483647 h 44"/>
                    <a:gd name="T60" fmla="*/ 2147483647 w 25"/>
                    <a:gd name="T61" fmla="*/ 2147483647 h 44"/>
                    <a:gd name="T62" fmla="*/ 2147483647 w 25"/>
                    <a:gd name="T63" fmla="*/ 2147483647 h 44"/>
                    <a:gd name="T64" fmla="*/ 2147483647 w 25"/>
                    <a:gd name="T65" fmla="*/ 2147483647 h 44"/>
                    <a:gd name="T66" fmla="*/ 2147483647 w 25"/>
                    <a:gd name="T67" fmla="*/ 2147483647 h 44"/>
                    <a:gd name="T68" fmla="*/ 2147483647 w 25"/>
                    <a:gd name="T69" fmla="*/ 2147483647 h 44"/>
                    <a:gd name="T70" fmla="*/ 2147483647 w 25"/>
                    <a:gd name="T71" fmla="*/ 2147483647 h 44"/>
                    <a:gd name="T72" fmla="*/ 2147483647 w 25"/>
                    <a:gd name="T73" fmla="*/ 2147483647 h 44"/>
                    <a:gd name="T74" fmla="*/ 2147483647 w 25"/>
                    <a:gd name="T75" fmla="*/ 2147483647 h 44"/>
                    <a:gd name="T76" fmla="*/ 2147483647 w 25"/>
                    <a:gd name="T77" fmla="*/ 2147483647 h 4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5"/>
                    <a:gd name="T118" fmla="*/ 0 h 44"/>
                    <a:gd name="T119" fmla="*/ 25 w 25"/>
                    <a:gd name="T120" fmla="*/ 44 h 4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5" h="44">
                      <a:moveTo>
                        <a:pt x="23" y="29"/>
                      </a:moveTo>
                      <a:lnTo>
                        <a:pt x="23" y="29"/>
                      </a:lnTo>
                      <a:lnTo>
                        <a:pt x="23" y="25"/>
                      </a:lnTo>
                      <a:lnTo>
                        <a:pt x="24" y="14"/>
                      </a:lnTo>
                      <a:lnTo>
                        <a:pt x="23" y="9"/>
                      </a:lnTo>
                      <a:lnTo>
                        <a:pt x="20" y="4"/>
                      </a:lnTo>
                      <a:lnTo>
                        <a:pt x="18" y="1"/>
                      </a:lnTo>
                      <a:lnTo>
                        <a:pt x="13" y="0"/>
                      </a:lnTo>
                      <a:lnTo>
                        <a:pt x="8" y="0"/>
                      </a:lnTo>
                      <a:lnTo>
                        <a:pt x="3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4" y="12"/>
                      </a:lnTo>
                      <a:lnTo>
                        <a:pt x="5" y="16"/>
                      </a:lnTo>
                      <a:lnTo>
                        <a:pt x="4" y="31"/>
                      </a:lnTo>
                      <a:lnTo>
                        <a:pt x="5" y="38"/>
                      </a:lnTo>
                      <a:lnTo>
                        <a:pt x="8" y="40"/>
                      </a:lnTo>
                      <a:lnTo>
                        <a:pt x="9" y="42"/>
                      </a:lnTo>
                      <a:lnTo>
                        <a:pt x="10" y="44"/>
                      </a:lnTo>
                      <a:lnTo>
                        <a:pt x="11" y="42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8" y="39"/>
                      </a:lnTo>
                      <a:lnTo>
                        <a:pt x="20" y="39"/>
                      </a:lnTo>
                      <a:lnTo>
                        <a:pt x="23" y="39"/>
                      </a:lnTo>
                      <a:lnTo>
                        <a:pt x="24" y="39"/>
                      </a:lnTo>
                      <a:lnTo>
                        <a:pt x="25" y="38"/>
                      </a:lnTo>
                      <a:lnTo>
                        <a:pt x="25" y="34"/>
                      </a:lnTo>
                      <a:lnTo>
                        <a:pt x="23" y="2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6" name="Freeform 1104">
                  <a:extLst>
                    <a:ext uri="{FF2B5EF4-FFF2-40B4-BE49-F238E27FC236}">
                      <a16:creationId xmlns:a16="http://schemas.microsoft.com/office/drawing/2014/main" id="{B9828DEE-D9D5-944C-BFF2-E60ADD7425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5056" y="2638293"/>
                  <a:ext cx="4439" cy="5919"/>
                </a:xfrm>
                <a:custGeom>
                  <a:avLst/>
                  <a:gdLst>
                    <a:gd name="T0" fmla="*/ 2147483647 w 4"/>
                    <a:gd name="T1" fmla="*/ 2147483647 h 4"/>
                    <a:gd name="T2" fmla="*/ 2147483647 w 4"/>
                    <a:gd name="T3" fmla="*/ 2147483647 h 4"/>
                    <a:gd name="T4" fmla="*/ 0 w 4"/>
                    <a:gd name="T5" fmla="*/ 2147483647 h 4"/>
                    <a:gd name="T6" fmla="*/ 2147483647 w 4"/>
                    <a:gd name="T7" fmla="*/ 0 h 4"/>
                    <a:gd name="T8" fmla="*/ 2147483647 w 4"/>
                    <a:gd name="T9" fmla="*/ 0 h 4"/>
                    <a:gd name="T10" fmla="*/ 2147483647 w 4"/>
                    <a:gd name="T11" fmla="*/ 2147483647 h 4"/>
                    <a:gd name="T12" fmla="*/ 2147483647 w 4"/>
                    <a:gd name="T13" fmla="*/ 2147483647 h 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"/>
                    <a:gd name="T22" fmla="*/ 0 h 4"/>
                    <a:gd name="T23" fmla="*/ 4 w 4"/>
                    <a:gd name="T24" fmla="*/ 4 h 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" h="4">
                      <a:moveTo>
                        <a:pt x="4" y="3"/>
                      </a:moveTo>
                      <a:lnTo>
                        <a:pt x="2" y="4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7" name="Freeform 1105">
                  <a:extLst>
                    <a:ext uri="{FF2B5EF4-FFF2-40B4-BE49-F238E27FC236}">
                      <a16:creationId xmlns:a16="http://schemas.microsoft.com/office/drawing/2014/main" id="{26A93338-3C67-354C-A489-6E681D1A95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3666" y="2882472"/>
                  <a:ext cx="103591" cy="140588"/>
                </a:xfrm>
                <a:custGeom>
                  <a:avLst/>
                  <a:gdLst>
                    <a:gd name="T0" fmla="*/ 2147483647 w 76"/>
                    <a:gd name="T1" fmla="*/ 2147483647 h 95"/>
                    <a:gd name="T2" fmla="*/ 2147483647 w 76"/>
                    <a:gd name="T3" fmla="*/ 2147483647 h 95"/>
                    <a:gd name="T4" fmla="*/ 2147483647 w 76"/>
                    <a:gd name="T5" fmla="*/ 2147483647 h 95"/>
                    <a:gd name="T6" fmla="*/ 2147483647 w 76"/>
                    <a:gd name="T7" fmla="*/ 2147483647 h 95"/>
                    <a:gd name="T8" fmla="*/ 2147483647 w 76"/>
                    <a:gd name="T9" fmla="*/ 2147483647 h 95"/>
                    <a:gd name="T10" fmla="*/ 2147483647 w 76"/>
                    <a:gd name="T11" fmla="*/ 2147483647 h 95"/>
                    <a:gd name="T12" fmla="*/ 2147483647 w 76"/>
                    <a:gd name="T13" fmla="*/ 2147483647 h 95"/>
                    <a:gd name="T14" fmla="*/ 2147483647 w 76"/>
                    <a:gd name="T15" fmla="*/ 2147483647 h 95"/>
                    <a:gd name="T16" fmla="*/ 2147483647 w 76"/>
                    <a:gd name="T17" fmla="*/ 0 h 95"/>
                    <a:gd name="T18" fmla="*/ 2147483647 w 76"/>
                    <a:gd name="T19" fmla="*/ 2147483647 h 95"/>
                    <a:gd name="T20" fmla="*/ 2147483647 w 76"/>
                    <a:gd name="T21" fmla="*/ 2147483647 h 95"/>
                    <a:gd name="T22" fmla="*/ 2147483647 w 76"/>
                    <a:gd name="T23" fmla="*/ 2147483647 h 95"/>
                    <a:gd name="T24" fmla="*/ 2147483647 w 76"/>
                    <a:gd name="T25" fmla="*/ 2147483647 h 95"/>
                    <a:gd name="T26" fmla="*/ 2147483647 w 76"/>
                    <a:gd name="T27" fmla="*/ 2147483647 h 95"/>
                    <a:gd name="T28" fmla="*/ 2147483647 w 76"/>
                    <a:gd name="T29" fmla="*/ 2147483647 h 95"/>
                    <a:gd name="T30" fmla="*/ 2147483647 w 76"/>
                    <a:gd name="T31" fmla="*/ 2147483647 h 95"/>
                    <a:gd name="T32" fmla="*/ 2147483647 w 76"/>
                    <a:gd name="T33" fmla="*/ 2147483647 h 95"/>
                    <a:gd name="T34" fmla="*/ 2147483647 w 76"/>
                    <a:gd name="T35" fmla="*/ 2147483647 h 95"/>
                    <a:gd name="T36" fmla="*/ 2147483647 w 76"/>
                    <a:gd name="T37" fmla="*/ 2147483647 h 95"/>
                    <a:gd name="T38" fmla="*/ 2147483647 w 76"/>
                    <a:gd name="T39" fmla="*/ 2147483647 h 95"/>
                    <a:gd name="T40" fmla="*/ 2147483647 w 76"/>
                    <a:gd name="T41" fmla="*/ 2147483647 h 95"/>
                    <a:gd name="T42" fmla="*/ 2147483647 w 76"/>
                    <a:gd name="T43" fmla="*/ 2147483647 h 95"/>
                    <a:gd name="T44" fmla="*/ 2147483647 w 76"/>
                    <a:gd name="T45" fmla="*/ 2147483647 h 95"/>
                    <a:gd name="T46" fmla="*/ 2147483647 w 76"/>
                    <a:gd name="T47" fmla="*/ 2147483647 h 95"/>
                    <a:gd name="T48" fmla="*/ 2147483647 w 76"/>
                    <a:gd name="T49" fmla="*/ 2147483647 h 95"/>
                    <a:gd name="T50" fmla="*/ 2147483647 w 76"/>
                    <a:gd name="T51" fmla="*/ 2147483647 h 95"/>
                    <a:gd name="T52" fmla="*/ 2147483647 w 76"/>
                    <a:gd name="T53" fmla="*/ 2147483647 h 95"/>
                    <a:gd name="T54" fmla="*/ 2147483647 w 76"/>
                    <a:gd name="T55" fmla="*/ 2147483647 h 95"/>
                    <a:gd name="T56" fmla="*/ 2147483647 w 76"/>
                    <a:gd name="T57" fmla="*/ 2147483647 h 95"/>
                    <a:gd name="T58" fmla="*/ 2147483647 w 76"/>
                    <a:gd name="T59" fmla="*/ 2147483647 h 95"/>
                    <a:gd name="T60" fmla="*/ 2147483647 w 76"/>
                    <a:gd name="T61" fmla="*/ 2147483647 h 95"/>
                    <a:gd name="T62" fmla="*/ 0 w 76"/>
                    <a:gd name="T63" fmla="*/ 2147483647 h 95"/>
                    <a:gd name="T64" fmla="*/ 2147483647 w 76"/>
                    <a:gd name="T65" fmla="*/ 2147483647 h 95"/>
                    <a:gd name="T66" fmla="*/ 2147483647 w 76"/>
                    <a:gd name="T67" fmla="*/ 2147483647 h 95"/>
                    <a:gd name="T68" fmla="*/ 2147483647 w 76"/>
                    <a:gd name="T69" fmla="*/ 2147483647 h 95"/>
                    <a:gd name="T70" fmla="*/ 2147483647 w 76"/>
                    <a:gd name="T71" fmla="*/ 2147483647 h 95"/>
                    <a:gd name="T72" fmla="*/ 2147483647 w 76"/>
                    <a:gd name="T73" fmla="*/ 2147483647 h 95"/>
                    <a:gd name="T74" fmla="*/ 2147483647 w 76"/>
                    <a:gd name="T75" fmla="*/ 2147483647 h 95"/>
                    <a:gd name="T76" fmla="*/ 2147483647 w 76"/>
                    <a:gd name="T77" fmla="*/ 2147483647 h 95"/>
                    <a:gd name="T78" fmla="*/ 2147483647 w 76"/>
                    <a:gd name="T79" fmla="*/ 2147483647 h 95"/>
                    <a:gd name="T80" fmla="*/ 2147483647 w 76"/>
                    <a:gd name="T81" fmla="*/ 2147483647 h 95"/>
                    <a:gd name="T82" fmla="*/ 2147483647 w 76"/>
                    <a:gd name="T83" fmla="*/ 2147483647 h 95"/>
                    <a:gd name="T84" fmla="*/ 2147483647 w 76"/>
                    <a:gd name="T85" fmla="*/ 2147483647 h 95"/>
                    <a:gd name="T86" fmla="*/ 2147483647 w 76"/>
                    <a:gd name="T87" fmla="*/ 2147483647 h 95"/>
                    <a:gd name="T88" fmla="*/ 2147483647 w 76"/>
                    <a:gd name="T89" fmla="*/ 2147483647 h 95"/>
                    <a:gd name="T90" fmla="*/ 2147483647 w 76"/>
                    <a:gd name="T91" fmla="*/ 2147483647 h 95"/>
                    <a:gd name="T92" fmla="*/ 2147483647 w 76"/>
                    <a:gd name="T93" fmla="*/ 2147483647 h 95"/>
                    <a:gd name="T94" fmla="*/ 2147483647 w 76"/>
                    <a:gd name="T95" fmla="*/ 2147483647 h 95"/>
                    <a:gd name="T96" fmla="*/ 2147483647 w 76"/>
                    <a:gd name="T97" fmla="*/ 2147483647 h 95"/>
                    <a:gd name="T98" fmla="*/ 2147483647 w 76"/>
                    <a:gd name="T99" fmla="*/ 2147483647 h 95"/>
                    <a:gd name="T100" fmla="*/ 2147483647 w 76"/>
                    <a:gd name="T101" fmla="*/ 2147483647 h 95"/>
                    <a:gd name="T102" fmla="*/ 2147483647 w 76"/>
                    <a:gd name="T103" fmla="*/ 2147483647 h 95"/>
                    <a:gd name="T104" fmla="*/ 2147483647 w 76"/>
                    <a:gd name="T105" fmla="*/ 2147483647 h 95"/>
                    <a:gd name="T106" fmla="*/ 2147483647 w 76"/>
                    <a:gd name="T107" fmla="*/ 2147483647 h 95"/>
                    <a:gd name="T108" fmla="*/ 2147483647 w 76"/>
                    <a:gd name="T109" fmla="*/ 2147483647 h 95"/>
                    <a:gd name="T110" fmla="*/ 2147483647 w 76"/>
                    <a:gd name="T111" fmla="*/ 2147483647 h 95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76"/>
                    <a:gd name="T169" fmla="*/ 0 h 95"/>
                    <a:gd name="T170" fmla="*/ 76 w 76"/>
                    <a:gd name="T171" fmla="*/ 95 h 95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76" h="95">
                      <a:moveTo>
                        <a:pt x="73" y="33"/>
                      </a:moveTo>
                      <a:lnTo>
                        <a:pt x="72" y="32"/>
                      </a:lnTo>
                      <a:lnTo>
                        <a:pt x="70" y="32"/>
                      </a:lnTo>
                      <a:lnTo>
                        <a:pt x="68" y="32"/>
                      </a:lnTo>
                      <a:lnTo>
                        <a:pt x="67" y="31"/>
                      </a:lnTo>
                      <a:lnTo>
                        <a:pt x="64" y="29"/>
                      </a:lnTo>
                      <a:lnTo>
                        <a:pt x="59" y="25"/>
                      </a:lnTo>
                      <a:lnTo>
                        <a:pt x="56" y="24"/>
                      </a:lnTo>
                      <a:lnTo>
                        <a:pt x="47" y="25"/>
                      </a:lnTo>
                      <a:lnTo>
                        <a:pt x="44" y="24"/>
                      </a:lnTo>
                      <a:lnTo>
                        <a:pt x="44" y="23"/>
                      </a:lnTo>
                      <a:lnTo>
                        <a:pt x="45" y="19"/>
                      </a:lnTo>
                      <a:lnTo>
                        <a:pt x="52" y="12"/>
                      </a:lnTo>
                      <a:lnTo>
                        <a:pt x="53" y="10"/>
                      </a:lnTo>
                      <a:lnTo>
                        <a:pt x="52" y="8"/>
                      </a:lnTo>
                      <a:lnTo>
                        <a:pt x="50" y="4"/>
                      </a:lnTo>
                      <a:lnTo>
                        <a:pt x="50" y="2"/>
                      </a:lnTo>
                      <a:lnTo>
                        <a:pt x="52" y="0"/>
                      </a:lnTo>
                      <a:lnTo>
                        <a:pt x="48" y="1"/>
                      </a:lnTo>
                      <a:lnTo>
                        <a:pt x="47" y="2"/>
                      </a:lnTo>
                      <a:lnTo>
                        <a:pt x="45" y="4"/>
                      </a:lnTo>
                      <a:lnTo>
                        <a:pt x="44" y="5"/>
                      </a:lnTo>
                      <a:lnTo>
                        <a:pt x="44" y="4"/>
                      </a:lnTo>
                      <a:lnTo>
                        <a:pt x="42" y="2"/>
                      </a:lnTo>
                      <a:lnTo>
                        <a:pt x="40" y="5"/>
                      </a:lnTo>
                      <a:lnTo>
                        <a:pt x="39" y="2"/>
                      </a:lnTo>
                      <a:lnTo>
                        <a:pt x="38" y="1"/>
                      </a:lnTo>
                      <a:lnTo>
                        <a:pt x="37" y="2"/>
                      </a:lnTo>
                      <a:lnTo>
                        <a:pt x="35" y="2"/>
                      </a:lnTo>
                      <a:lnTo>
                        <a:pt x="35" y="7"/>
                      </a:lnTo>
                      <a:lnTo>
                        <a:pt x="34" y="11"/>
                      </a:lnTo>
                      <a:lnTo>
                        <a:pt x="34" y="15"/>
                      </a:lnTo>
                      <a:lnTo>
                        <a:pt x="33" y="19"/>
                      </a:lnTo>
                      <a:lnTo>
                        <a:pt x="25" y="27"/>
                      </a:lnTo>
                      <a:lnTo>
                        <a:pt x="23" y="30"/>
                      </a:lnTo>
                      <a:lnTo>
                        <a:pt x="21" y="30"/>
                      </a:lnTo>
                      <a:lnTo>
                        <a:pt x="17" y="29"/>
                      </a:lnTo>
                      <a:lnTo>
                        <a:pt x="16" y="29"/>
                      </a:lnTo>
                      <a:lnTo>
                        <a:pt x="14" y="29"/>
                      </a:lnTo>
                      <a:lnTo>
                        <a:pt x="11" y="29"/>
                      </a:lnTo>
                      <a:lnTo>
                        <a:pt x="10" y="30"/>
                      </a:lnTo>
                      <a:lnTo>
                        <a:pt x="10" y="33"/>
                      </a:lnTo>
                      <a:lnTo>
                        <a:pt x="15" y="43"/>
                      </a:lnTo>
                      <a:lnTo>
                        <a:pt x="14" y="44"/>
                      </a:lnTo>
                      <a:lnTo>
                        <a:pt x="14" y="45"/>
                      </a:lnTo>
                      <a:lnTo>
                        <a:pt x="15" y="49"/>
                      </a:lnTo>
                      <a:lnTo>
                        <a:pt x="16" y="49"/>
                      </a:lnTo>
                      <a:lnTo>
                        <a:pt x="17" y="47"/>
                      </a:lnTo>
                      <a:lnTo>
                        <a:pt x="20" y="46"/>
                      </a:lnTo>
                      <a:lnTo>
                        <a:pt x="23" y="46"/>
                      </a:lnTo>
                      <a:lnTo>
                        <a:pt x="24" y="47"/>
                      </a:lnTo>
                      <a:lnTo>
                        <a:pt x="24" y="52"/>
                      </a:lnTo>
                      <a:lnTo>
                        <a:pt x="24" y="57"/>
                      </a:lnTo>
                      <a:lnTo>
                        <a:pt x="23" y="61"/>
                      </a:lnTo>
                      <a:lnTo>
                        <a:pt x="20" y="62"/>
                      </a:lnTo>
                      <a:lnTo>
                        <a:pt x="19" y="63"/>
                      </a:lnTo>
                      <a:lnTo>
                        <a:pt x="17" y="64"/>
                      </a:lnTo>
                      <a:lnTo>
                        <a:pt x="17" y="66"/>
                      </a:lnTo>
                      <a:lnTo>
                        <a:pt x="17" y="69"/>
                      </a:lnTo>
                      <a:lnTo>
                        <a:pt x="12" y="70"/>
                      </a:lnTo>
                      <a:lnTo>
                        <a:pt x="9" y="71"/>
                      </a:lnTo>
                      <a:lnTo>
                        <a:pt x="3" y="72"/>
                      </a:lnTo>
                      <a:lnTo>
                        <a:pt x="0" y="75"/>
                      </a:lnTo>
                      <a:lnTo>
                        <a:pt x="0" y="76"/>
                      </a:lnTo>
                      <a:lnTo>
                        <a:pt x="0" y="77"/>
                      </a:lnTo>
                      <a:lnTo>
                        <a:pt x="2" y="77"/>
                      </a:lnTo>
                      <a:lnTo>
                        <a:pt x="7" y="77"/>
                      </a:lnTo>
                      <a:lnTo>
                        <a:pt x="10" y="76"/>
                      </a:lnTo>
                      <a:lnTo>
                        <a:pt x="12" y="77"/>
                      </a:lnTo>
                      <a:lnTo>
                        <a:pt x="9" y="79"/>
                      </a:lnTo>
                      <a:lnTo>
                        <a:pt x="5" y="83"/>
                      </a:lnTo>
                      <a:lnTo>
                        <a:pt x="2" y="85"/>
                      </a:lnTo>
                      <a:lnTo>
                        <a:pt x="2" y="88"/>
                      </a:lnTo>
                      <a:lnTo>
                        <a:pt x="2" y="90"/>
                      </a:lnTo>
                      <a:lnTo>
                        <a:pt x="3" y="90"/>
                      </a:lnTo>
                      <a:lnTo>
                        <a:pt x="5" y="89"/>
                      </a:lnTo>
                      <a:lnTo>
                        <a:pt x="7" y="87"/>
                      </a:lnTo>
                      <a:lnTo>
                        <a:pt x="9" y="87"/>
                      </a:lnTo>
                      <a:lnTo>
                        <a:pt x="10" y="88"/>
                      </a:lnTo>
                      <a:lnTo>
                        <a:pt x="10" y="90"/>
                      </a:lnTo>
                      <a:lnTo>
                        <a:pt x="10" y="93"/>
                      </a:lnTo>
                      <a:lnTo>
                        <a:pt x="12" y="91"/>
                      </a:lnTo>
                      <a:lnTo>
                        <a:pt x="15" y="89"/>
                      </a:lnTo>
                      <a:lnTo>
                        <a:pt x="17" y="89"/>
                      </a:lnTo>
                      <a:lnTo>
                        <a:pt x="19" y="89"/>
                      </a:lnTo>
                      <a:lnTo>
                        <a:pt x="20" y="90"/>
                      </a:lnTo>
                      <a:lnTo>
                        <a:pt x="23" y="90"/>
                      </a:lnTo>
                      <a:lnTo>
                        <a:pt x="24" y="90"/>
                      </a:lnTo>
                      <a:lnTo>
                        <a:pt x="25" y="93"/>
                      </a:lnTo>
                      <a:lnTo>
                        <a:pt x="28" y="93"/>
                      </a:lnTo>
                      <a:lnTo>
                        <a:pt x="29" y="93"/>
                      </a:lnTo>
                      <a:lnTo>
                        <a:pt x="31" y="94"/>
                      </a:lnTo>
                      <a:lnTo>
                        <a:pt x="33" y="95"/>
                      </a:lnTo>
                      <a:lnTo>
                        <a:pt x="34" y="95"/>
                      </a:lnTo>
                      <a:lnTo>
                        <a:pt x="39" y="90"/>
                      </a:lnTo>
                      <a:lnTo>
                        <a:pt x="44" y="85"/>
                      </a:lnTo>
                      <a:lnTo>
                        <a:pt x="50" y="83"/>
                      </a:lnTo>
                      <a:lnTo>
                        <a:pt x="57" y="81"/>
                      </a:lnTo>
                      <a:lnTo>
                        <a:pt x="59" y="78"/>
                      </a:lnTo>
                      <a:lnTo>
                        <a:pt x="62" y="76"/>
                      </a:lnTo>
                      <a:lnTo>
                        <a:pt x="66" y="74"/>
                      </a:lnTo>
                      <a:lnTo>
                        <a:pt x="70" y="74"/>
                      </a:lnTo>
                      <a:lnTo>
                        <a:pt x="73" y="71"/>
                      </a:lnTo>
                      <a:lnTo>
                        <a:pt x="75" y="70"/>
                      </a:lnTo>
                      <a:lnTo>
                        <a:pt x="75" y="68"/>
                      </a:lnTo>
                      <a:lnTo>
                        <a:pt x="72" y="62"/>
                      </a:lnTo>
                      <a:lnTo>
                        <a:pt x="72" y="55"/>
                      </a:lnTo>
                      <a:lnTo>
                        <a:pt x="72" y="47"/>
                      </a:lnTo>
                      <a:lnTo>
                        <a:pt x="75" y="42"/>
                      </a:lnTo>
                      <a:lnTo>
                        <a:pt x="76" y="39"/>
                      </a:lnTo>
                      <a:lnTo>
                        <a:pt x="75" y="37"/>
                      </a:lnTo>
                      <a:lnTo>
                        <a:pt x="73" y="3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8" name="Freeform 1106">
                  <a:extLst>
                    <a:ext uri="{FF2B5EF4-FFF2-40B4-BE49-F238E27FC236}">
                      <a16:creationId xmlns:a16="http://schemas.microsoft.com/office/drawing/2014/main" id="{0B3AB8E4-9D1E-2C4B-B0D5-CAC961E61C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3575" y="2636813"/>
                  <a:ext cx="4440" cy="5919"/>
                </a:xfrm>
                <a:custGeom>
                  <a:avLst/>
                  <a:gdLst>
                    <a:gd name="T0" fmla="*/ 2147483647 w 4"/>
                    <a:gd name="T1" fmla="*/ 2147483647 h 4"/>
                    <a:gd name="T2" fmla="*/ 2147483647 w 4"/>
                    <a:gd name="T3" fmla="*/ 2147483647 h 4"/>
                    <a:gd name="T4" fmla="*/ 2147483647 w 4"/>
                    <a:gd name="T5" fmla="*/ 2147483647 h 4"/>
                    <a:gd name="T6" fmla="*/ 2147483647 w 4"/>
                    <a:gd name="T7" fmla="*/ 2147483647 h 4"/>
                    <a:gd name="T8" fmla="*/ 0 w 4"/>
                    <a:gd name="T9" fmla="*/ 2147483647 h 4"/>
                    <a:gd name="T10" fmla="*/ 0 w 4"/>
                    <a:gd name="T11" fmla="*/ 2147483647 h 4"/>
                    <a:gd name="T12" fmla="*/ 2147483647 w 4"/>
                    <a:gd name="T13" fmla="*/ 0 h 4"/>
                    <a:gd name="T14" fmla="*/ 2147483647 w 4"/>
                    <a:gd name="T15" fmla="*/ 0 h 4"/>
                    <a:gd name="T16" fmla="*/ 2147483647 w 4"/>
                    <a:gd name="T17" fmla="*/ 0 h 4"/>
                    <a:gd name="T18" fmla="*/ 2147483647 w 4"/>
                    <a:gd name="T19" fmla="*/ 2147483647 h 4"/>
                    <a:gd name="T20" fmla="*/ 2147483647 w 4"/>
                    <a:gd name="T21" fmla="*/ 2147483647 h 4"/>
                    <a:gd name="T22" fmla="*/ 2147483647 w 4"/>
                    <a:gd name="T23" fmla="*/ 2147483647 h 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"/>
                    <a:gd name="T37" fmla="*/ 0 h 4"/>
                    <a:gd name="T38" fmla="*/ 4 w 4"/>
                    <a:gd name="T39" fmla="*/ 4 h 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" h="4">
                      <a:moveTo>
                        <a:pt x="4" y="2"/>
                      </a:moveTo>
                      <a:lnTo>
                        <a:pt x="4" y="2"/>
                      </a:lnTo>
                      <a:lnTo>
                        <a:pt x="1" y="4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9" name="Freeform 1107">
                  <a:extLst>
                    <a:ext uri="{FF2B5EF4-FFF2-40B4-BE49-F238E27FC236}">
                      <a16:creationId xmlns:a16="http://schemas.microsoft.com/office/drawing/2014/main" id="{05992C19-47C6-2649-A51A-2EDD6417CF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0705" y="2880995"/>
                  <a:ext cx="105071" cy="140587"/>
                </a:xfrm>
                <a:custGeom>
                  <a:avLst/>
                  <a:gdLst>
                    <a:gd name="T0" fmla="*/ 2147483647 w 77"/>
                    <a:gd name="T1" fmla="*/ 2147483647 h 95"/>
                    <a:gd name="T2" fmla="*/ 2147483647 w 77"/>
                    <a:gd name="T3" fmla="*/ 2147483647 h 95"/>
                    <a:gd name="T4" fmla="*/ 2147483647 w 77"/>
                    <a:gd name="T5" fmla="*/ 2147483647 h 95"/>
                    <a:gd name="T6" fmla="*/ 2147483647 w 77"/>
                    <a:gd name="T7" fmla="*/ 2147483647 h 95"/>
                    <a:gd name="T8" fmla="*/ 2147483647 w 77"/>
                    <a:gd name="T9" fmla="*/ 2147483647 h 95"/>
                    <a:gd name="T10" fmla="*/ 2147483647 w 77"/>
                    <a:gd name="T11" fmla="*/ 2147483647 h 95"/>
                    <a:gd name="T12" fmla="*/ 2147483647 w 77"/>
                    <a:gd name="T13" fmla="*/ 2147483647 h 95"/>
                    <a:gd name="T14" fmla="*/ 2147483647 w 77"/>
                    <a:gd name="T15" fmla="*/ 0 h 95"/>
                    <a:gd name="T16" fmla="*/ 2147483647 w 77"/>
                    <a:gd name="T17" fmla="*/ 2147483647 h 95"/>
                    <a:gd name="T18" fmla="*/ 2147483647 w 77"/>
                    <a:gd name="T19" fmla="*/ 2147483647 h 95"/>
                    <a:gd name="T20" fmla="*/ 2147483647 w 77"/>
                    <a:gd name="T21" fmla="*/ 2147483647 h 95"/>
                    <a:gd name="T22" fmla="*/ 2147483647 w 77"/>
                    <a:gd name="T23" fmla="*/ 2147483647 h 95"/>
                    <a:gd name="T24" fmla="*/ 2147483647 w 77"/>
                    <a:gd name="T25" fmla="*/ 2147483647 h 95"/>
                    <a:gd name="T26" fmla="*/ 2147483647 w 77"/>
                    <a:gd name="T27" fmla="*/ 2147483647 h 95"/>
                    <a:gd name="T28" fmla="*/ 2147483647 w 77"/>
                    <a:gd name="T29" fmla="*/ 2147483647 h 95"/>
                    <a:gd name="T30" fmla="*/ 2147483647 w 77"/>
                    <a:gd name="T31" fmla="*/ 2147483647 h 95"/>
                    <a:gd name="T32" fmla="*/ 2147483647 w 77"/>
                    <a:gd name="T33" fmla="*/ 2147483647 h 95"/>
                    <a:gd name="T34" fmla="*/ 2147483647 w 77"/>
                    <a:gd name="T35" fmla="*/ 2147483647 h 95"/>
                    <a:gd name="T36" fmla="*/ 2147483647 w 77"/>
                    <a:gd name="T37" fmla="*/ 2147483647 h 95"/>
                    <a:gd name="T38" fmla="*/ 2147483647 w 77"/>
                    <a:gd name="T39" fmla="*/ 2147483647 h 95"/>
                    <a:gd name="T40" fmla="*/ 2147483647 w 77"/>
                    <a:gd name="T41" fmla="*/ 2147483647 h 95"/>
                    <a:gd name="T42" fmla="*/ 2147483647 w 77"/>
                    <a:gd name="T43" fmla="*/ 2147483647 h 95"/>
                    <a:gd name="T44" fmla="*/ 2147483647 w 77"/>
                    <a:gd name="T45" fmla="*/ 2147483647 h 95"/>
                    <a:gd name="T46" fmla="*/ 2147483647 w 77"/>
                    <a:gd name="T47" fmla="*/ 2147483647 h 95"/>
                    <a:gd name="T48" fmla="*/ 2147483647 w 77"/>
                    <a:gd name="T49" fmla="*/ 2147483647 h 95"/>
                    <a:gd name="T50" fmla="*/ 2147483647 w 77"/>
                    <a:gd name="T51" fmla="*/ 2147483647 h 95"/>
                    <a:gd name="T52" fmla="*/ 2147483647 w 77"/>
                    <a:gd name="T53" fmla="*/ 2147483647 h 95"/>
                    <a:gd name="T54" fmla="*/ 2147483647 w 77"/>
                    <a:gd name="T55" fmla="*/ 2147483647 h 95"/>
                    <a:gd name="T56" fmla="*/ 0 w 77"/>
                    <a:gd name="T57" fmla="*/ 2147483647 h 95"/>
                    <a:gd name="T58" fmla="*/ 2147483647 w 77"/>
                    <a:gd name="T59" fmla="*/ 2147483647 h 95"/>
                    <a:gd name="T60" fmla="*/ 2147483647 w 77"/>
                    <a:gd name="T61" fmla="*/ 2147483647 h 95"/>
                    <a:gd name="T62" fmla="*/ 2147483647 w 77"/>
                    <a:gd name="T63" fmla="*/ 2147483647 h 95"/>
                    <a:gd name="T64" fmla="*/ 2147483647 w 77"/>
                    <a:gd name="T65" fmla="*/ 2147483647 h 95"/>
                    <a:gd name="T66" fmla="*/ 2147483647 w 77"/>
                    <a:gd name="T67" fmla="*/ 2147483647 h 95"/>
                    <a:gd name="T68" fmla="*/ 2147483647 w 77"/>
                    <a:gd name="T69" fmla="*/ 2147483647 h 95"/>
                    <a:gd name="T70" fmla="*/ 2147483647 w 77"/>
                    <a:gd name="T71" fmla="*/ 2147483647 h 95"/>
                    <a:gd name="T72" fmla="*/ 2147483647 w 77"/>
                    <a:gd name="T73" fmla="*/ 2147483647 h 95"/>
                    <a:gd name="T74" fmla="*/ 2147483647 w 77"/>
                    <a:gd name="T75" fmla="*/ 2147483647 h 95"/>
                    <a:gd name="T76" fmla="*/ 2147483647 w 77"/>
                    <a:gd name="T77" fmla="*/ 2147483647 h 95"/>
                    <a:gd name="T78" fmla="*/ 2147483647 w 77"/>
                    <a:gd name="T79" fmla="*/ 2147483647 h 95"/>
                    <a:gd name="T80" fmla="*/ 2147483647 w 77"/>
                    <a:gd name="T81" fmla="*/ 2147483647 h 95"/>
                    <a:gd name="T82" fmla="*/ 2147483647 w 77"/>
                    <a:gd name="T83" fmla="*/ 2147483647 h 95"/>
                    <a:gd name="T84" fmla="*/ 2147483647 w 77"/>
                    <a:gd name="T85" fmla="*/ 2147483647 h 95"/>
                    <a:gd name="T86" fmla="*/ 2147483647 w 77"/>
                    <a:gd name="T87" fmla="*/ 2147483647 h 95"/>
                    <a:gd name="T88" fmla="*/ 2147483647 w 77"/>
                    <a:gd name="T89" fmla="*/ 2147483647 h 95"/>
                    <a:gd name="T90" fmla="*/ 2147483647 w 77"/>
                    <a:gd name="T91" fmla="*/ 2147483647 h 95"/>
                    <a:gd name="T92" fmla="*/ 2147483647 w 77"/>
                    <a:gd name="T93" fmla="*/ 2147483647 h 95"/>
                    <a:gd name="T94" fmla="*/ 2147483647 w 77"/>
                    <a:gd name="T95" fmla="*/ 2147483647 h 95"/>
                    <a:gd name="T96" fmla="*/ 2147483647 w 77"/>
                    <a:gd name="T97" fmla="*/ 2147483647 h 95"/>
                    <a:gd name="T98" fmla="*/ 2147483647 w 77"/>
                    <a:gd name="T99" fmla="*/ 2147483647 h 95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77"/>
                    <a:gd name="T151" fmla="*/ 0 h 95"/>
                    <a:gd name="T152" fmla="*/ 77 w 77"/>
                    <a:gd name="T153" fmla="*/ 95 h 95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77" h="95">
                      <a:moveTo>
                        <a:pt x="74" y="33"/>
                      </a:moveTo>
                      <a:lnTo>
                        <a:pt x="74" y="33"/>
                      </a:lnTo>
                      <a:lnTo>
                        <a:pt x="73" y="32"/>
                      </a:lnTo>
                      <a:lnTo>
                        <a:pt x="70" y="32"/>
                      </a:lnTo>
                      <a:lnTo>
                        <a:pt x="69" y="32"/>
                      </a:lnTo>
                      <a:lnTo>
                        <a:pt x="68" y="31"/>
                      </a:lnTo>
                      <a:lnTo>
                        <a:pt x="65" y="28"/>
                      </a:lnTo>
                      <a:lnTo>
                        <a:pt x="60" y="25"/>
                      </a:lnTo>
                      <a:lnTo>
                        <a:pt x="56" y="24"/>
                      </a:lnTo>
                      <a:lnTo>
                        <a:pt x="47" y="25"/>
                      </a:lnTo>
                      <a:lnTo>
                        <a:pt x="45" y="24"/>
                      </a:lnTo>
                      <a:lnTo>
                        <a:pt x="45" y="22"/>
                      </a:lnTo>
                      <a:lnTo>
                        <a:pt x="46" y="19"/>
                      </a:lnTo>
                      <a:lnTo>
                        <a:pt x="52" y="12"/>
                      </a:lnTo>
                      <a:lnTo>
                        <a:pt x="54" y="9"/>
                      </a:lnTo>
                      <a:lnTo>
                        <a:pt x="52" y="8"/>
                      </a:lnTo>
                      <a:lnTo>
                        <a:pt x="51" y="3"/>
                      </a:lnTo>
                      <a:lnTo>
                        <a:pt x="51" y="2"/>
                      </a:lnTo>
                      <a:lnTo>
                        <a:pt x="52" y="0"/>
                      </a:lnTo>
                      <a:lnTo>
                        <a:pt x="49" y="1"/>
                      </a:lnTo>
                      <a:lnTo>
                        <a:pt x="47" y="2"/>
                      </a:lnTo>
                      <a:lnTo>
                        <a:pt x="46" y="3"/>
                      </a:lnTo>
                      <a:lnTo>
                        <a:pt x="45" y="5"/>
                      </a:lnTo>
                      <a:lnTo>
                        <a:pt x="45" y="3"/>
                      </a:lnTo>
                      <a:lnTo>
                        <a:pt x="42" y="2"/>
                      </a:lnTo>
                      <a:lnTo>
                        <a:pt x="41" y="5"/>
                      </a:lnTo>
                      <a:lnTo>
                        <a:pt x="40" y="2"/>
                      </a:lnTo>
                      <a:lnTo>
                        <a:pt x="39" y="1"/>
                      </a:lnTo>
                      <a:lnTo>
                        <a:pt x="37" y="2"/>
                      </a:lnTo>
                      <a:lnTo>
                        <a:pt x="36" y="2"/>
                      </a:lnTo>
                      <a:lnTo>
                        <a:pt x="36" y="7"/>
                      </a:lnTo>
                      <a:lnTo>
                        <a:pt x="35" y="11"/>
                      </a:lnTo>
                      <a:lnTo>
                        <a:pt x="35" y="15"/>
                      </a:lnTo>
                      <a:lnTo>
                        <a:pt x="33" y="19"/>
                      </a:lnTo>
                      <a:lnTo>
                        <a:pt x="26" y="27"/>
                      </a:lnTo>
                      <a:lnTo>
                        <a:pt x="23" y="30"/>
                      </a:lnTo>
                      <a:lnTo>
                        <a:pt x="22" y="30"/>
                      </a:lnTo>
                      <a:lnTo>
                        <a:pt x="18" y="28"/>
                      </a:lnTo>
                      <a:lnTo>
                        <a:pt x="17" y="28"/>
                      </a:lnTo>
                      <a:lnTo>
                        <a:pt x="14" y="28"/>
                      </a:lnTo>
                      <a:lnTo>
                        <a:pt x="12" y="28"/>
                      </a:lnTo>
                      <a:lnTo>
                        <a:pt x="11" y="30"/>
                      </a:lnTo>
                      <a:lnTo>
                        <a:pt x="11" y="33"/>
                      </a:lnTo>
                      <a:lnTo>
                        <a:pt x="16" y="43"/>
                      </a:lnTo>
                      <a:lnTo>
                        <a:pt x="14" y="44"/>
                      </a:lnTo>
                      <a:lnTo>
                        <a:pt x="14" y="45"/>
                      </a:lnTo>
                      <a:lnTo>
                        <a:pt x="16" y="48"/>
                      </a:lnTo>
                      <a:lnTo>
                        <a:pt x="17" y="48"/>
                      </a:lnTo>
                      <a:lnTo>
                        <a:pt x="18" y="47"/>
                      </a:lnTo>
                      <a:lnTo>
                        <a:pt x="21" y="46"/>
                      </a:lnTo>
                      <a:lnTo>
                        <a:pt x="23" y="46"/>
                      </a:lnTo>
                      <a:lnTo>
                        <a:pt x="25" y="47"/>
                      </a:lnTo>
                      <a:lnTo>
                        <a:pt x="25" y="52"/>
                      </a:lnTo>
                      <a:lnTo>
                        <a:pt x="25" y="57"/>
                      </a:lnTo>
                      <a:lnTo>
                        <a:pt x="23" y="60"/>
                      </a:lnTo>
                      <a:lnTo>
                        <a:pt x="21" y="62"/>
                      </a:lnTo>
                      <a:lnTo>
                        <a:pt x="19" y="63"/>
                      </a:lnTo>
                      <a:lnTo>
                        <a:pt x="18" y="64"/>
                      </a:lnTo>
                      <a:lnTo>
                        <a:pt x="18" y="66"/>
                      </a:lnTo>
                      <a:lnTo>
                        <a:pt x="18" y="69"/>
                      </a:lnTo>
                      <a:lnTo>
                        <a:pt x="13" y="70"/>
                      </a:lnTo>
                      <a:lnTo>
                        <a:pt x="9" y="71"/>
                      </a:lnTo>
                      <a:lnTo>
                        <a:pt x="4" y="72"/>
                      </a:lnTo>
                      <a:lnTo>
                        <a:pt x="0" y="75"/>
                      </a:lnTo>
                      <a:lnTo>
                        <a:pt x="0" y="76"/>
                      </a:lnTo>
                      <a:lnTo>
                        <a:pt x="0" y="77"/>
                      </a:lnTo>
                      <a:lnTo>
                        <a:pt x="3" y="77"/>
                      </a:lnTo>
                      <a:lnTo>
                        <a:pt x="8" y="77"/>
                      </a:lnTo>
                      <a:lnTo>
                        <a:pt x="11" y="76"/>
                      </a:lnTo>
                      <a:lnTo>
                        <a:pt x="13" y="77"/>
                      </a:lnTo>
                      <a:lnTo>
                        <a:pt x="9" y="79"/>
                      </a:lnTo>
                      <a:lnTo>
                        <a:pt x="5" y="83"/>
                      </a:lnTo>
                      <a:lnTo>
                        <a:pt x="3" y="85"/>
                      </a:lnTo>
                      <a:lnTo>
                        <a:pt x="3" y="88"/>
                      </a:lnTo>
                      <a:lnTo>
                        <a:pt x="3" y="90"/>
                      </a:lnTo>
                      <a:lnTo>
                        <a:pt x="4" y="90"/>
                      </a:lnTo>
                      <a:lnTo>
                        <a:pt x="5" y="89"/>
                      </a:lnTo>
                      <a:lnTo>
                        <a:pt x="8" y="86"/>
                      </a:lnTo>
                      <a:lnTo>
                        <a:pt x="9" y="86"/>
                      </a:lnTo>
                      <a:lnTo>
                        <a:pt x="11" y="88"/>
                      </a:lnTo>
                      <a:lnTo>
                        <a:pt x="11" y="90"/>
                      </a:lnTo>
                      <a:lnTo>
                        <a:pt x="11" y="92"/>
                      </a:lnTo>
                      <a:lnTo>
                        <a:pt x="13" y="91"/>
                      </a:lnTo>
                      <a:lnTo>
                        <a:pt x="16" y="89"/>
                      </a:lnTo>
                      <a:lnTo>
                        <a:pt x="18" y="89"/>
                      </a:lnTo>
                      <a:lnTo>
                        <a:pt x="19" y="89"/>
                      </a:lnTo>
                      <a:lnTo>
                        <a:pt x="21" y="90"/>
                      </a:lnTo>
                      <a:lnTo>
                        <a:pt x="23" y="90"/>
                      </a:lnTo>
                      <a:lnTo>
                        <a:pt x="25" y="90"/>
                      </a:lnTo>
                      <a:lnTo>
                        <a:pt x="26" y="92"/>
                      </a:lnTo>
                      <a:lnTo>
                        <a:pt x="28" y="92"/>
                      </a:lnTo>
                      <a:lnTo>
                        <a:pt x="30" y="92"/>
                      </a:lnTo>
                      <a:lnTo>
                        <a:pt x="32" y="94"/>
                      </a:lnTo>
                      <a:lnTo>
                        <a:pt x="33" y="95"/>
                      </a:lnTo>
                      <a:lnTo>
                        <a:pt x="35" y="95"/>
                      </a:lnTo>
                      <a:lnTo>
                        <a:pt x="40" y="90"/>
                      </a:lnTo>
                      <a:lnTo>
                        <a:pt x="45" y="85"/>
                      </a:lnTo>
                      <a:lnTo>
                        <a:pt x="51" y="83"/>
                      </a:lnTo>
                      <a:lnTo>
                        <a:pt x="58" y="80"/>
                      </a:lnTo>
                      <a:lnTo>
                        <a:pt x="60" y="78"/>
                      </a:lnTo>
                      <a:lnTo>
                        <a:pt x="63" y="76"/>
                      </a:lnTo>
                      <a:lnTo>
                        <a:pt x="66" y="73"/>
                      </a:lnTo>
                      <a:lnTo>
                        <a:pt x="70" y="73"/>
                      </a:lnTo>
                      <a:lnTo>
                        <a:pt x="74" y="71"/>
                      </a:lnTo>
                      <a:lnTo>
                        <a:pt x="75" y="70"/>
                      </a:lnTo>
                      <a:lnTo>
                        <a:pt x="75" y="67"/>
                      </a:lnTo>
                      <a:lnTo>
                        <a:pt x="73" y="62"/>
                      </a:lnTo>
                      <a:lnTo>
                        <a:pt x="73" y="54"/>
                      </a:lnTo>
                      <a:lnTo>
                        <a:pt x="73" y="47"/>
                      </a:lnTo>
                      <a:lnTo>
                        <a:pt x="75" y="41"/>
                      </a:lnTo>
                      <a:lnTo>
                        <a:pt x="77" y="39"/>
                      </a:lnTo>
                      <a:lnTo>
                        <a:pt x="75" y="37"/>
                      </a:lnTo>
                      <a:lnTo>
                        <a:pt x="74" y="3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0" name="Freeform 1109">
                  <a:extLst>
                    <a:ext uri="{FF2B5EF4-FFF2-40B4-BE49-F238E27FC236}">
                      <a16:creationId xmlns:a16="http://schemas.microsoft.com/office/drawing/2014/main" id="{A7F2378C-1F45-8A41-8C24-9AAB82EE1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7615" y="2141057"/>
                  <a:ext cx="147987" cy="119869"/>
                </a:xfrm>
                <a:custGeom>
                  <a:avLst/>
                  <a:gdLst>
                    <a:gd name="T0" fmla="*/ 2147483647 w 108"/>
                    <a:gd name="T1" fmla="*/ 2147483647 h 81"/>
                    <a:gd name="T2" fmla="*/ 2147483647 w 108"/>
                    <a:gd name="T3" fmla="*/ 0 h 81"/>
                    <a:gd name="T4" fmla="*/ 2147483647 w 108"/>
                    <a:gd name="T5" fmla="*/ 2147483647 h 81"/>
                    <a:gd name="T6" fmla="*/ 2147483647 w 108"/>
                    <a:gd name="T7" fmla="*/ 2147483647 h 81"/>
                    <a:gd name="T8" fmla="*/ 2147483647 w 108"/>
                    <a:gd name="T9" fmla="*/ 2147483647 h 81"/>
                    <a:gd name="T10" fmla="*/ 2147483647 w 108"/>
                    <a:gd name="T11" fmla="*/ 2147483647 h 81"/>
                    <a:gd name="T12" fmla="*/ 2147483647 w 108"/>
                    <a:gd name="T13" fmla="*/ 2147483647 h 81"/>
                    <a:gd name="T14" fmla="*/ 2147483647 w 108"/>
                    <a:gd name="T15" fmla="*/ 2147483647 h 81"/>
                    <a:gd name="T16" fmla="*/ 2147483647 w 108"/>
                    <a:gd name="T17" fmla="*/ 2147483647 h 81"/>
                    <a:gd name="T18" fmla="*/ 2147483647 w 108"/>
                    <a:gd name="T19" fmla="*/ 2147483647 h 81"/>
                    <a:gd name="T20" fmla="*/ 2147483647 w 108"/>
                    <a:gd name="T21" fmla="*/ 2147483647 h 81"/>
                    <a:gd name="T22" fmla="*/ 2147483647 w 108"/>
                    <a:gd name="T23" fmla="*/ 2147483647 h 81"/>
                    <a:gd name="T24" fmla="*/ 2147483647 w 108"/>
                    <a:gd name="T25" fmla="*/ 2147483647 h 81"/>
                    <a:gd name="T26" fmla="*/ 2147483647 w 108"/>
                    <a:gd name="T27" fmla="*/ 2147483647 h 81"/>
                    <a:gd name="T28" fmla="*/ 2147483647 w 108"/>
                    <a:gd name="T29" fmla="*/ 2147483647 h 81"/>
                    <a:gd name="T30" fmla="*/ 2147483647 w 108"/>
                    <a:gd name="T31" fmla="*/ 2147483647 h 81"/>
                    <a:gd name="T32" fmla="*/ 2147483647 w 108"/>
                    <a:gd name="T33" fmla="*/ 2147483647 h 81"/>
                    <a:gd name="T34" fmla="*/ 2147483647 w 108"/>
                    <a:gd name="T35" fmla="*/ 2147483647 h 81"/>
                    <a:gd name="T36" fmla="*/ 2147483647 w 108"/>
                    <a:gd name="T37" fmla="*/ 2147483647 h 81"/>
                    <a:gd name="T38" fmla="*/ 2147483647 w 108"/>
                    <a:gd name="T39" fmla="*/ 2147483647 h 81"/>
                    <a:gd name="T40" fmla="*/ 2147483647 w 108"/>
                    <a:gd name="T41" fmla="*/ 2147483647 h 81"/>
                    <a:gd name="T42" fmla="*/ 2147483647 w 108"/>
                    <a:gd name="T43" fmla="*/ 2147483647 h 81"/>
                    <a:gd name="T44" fmla="*/ 2147483647 w 108"/>
                    <a:gd name="T45" fmla="*/ 2147483647 h 81"/>
                    <a:gd name="T46" fmla="*/ 2147483647 w 108"/>
                    <a:gd name="T47" fmla="*/ 2147483647 h 81"/>
                    <a:gd name="T48" fmla="*/ 2147483647 w 108"/>
                    <a:gd name="T49" fmla="*/ 2147483647 h 81"/>
                    <a:gd name="T50" fmla="*/ 2147483647 w 108"/>
                    <a:gd name="T51" fmla="*/ 2147483647 h 81"/>
                    <a:gd name="T52" fmla="*/ 2147483647 w 108"/>
                    <a:gd name="T53" fmla="*/ 2147483647 h 81"/>
                    <a:gd name="T54" fmla="*/ 2147483647 w 108"/>
                    <a:gd name="T55" fmla="*/ 2147483647 h 81"/>
                    <a:gd name="T56" fmla="*/ 2147483647 w 108"/>
                    <a:gd name="T57" fmla="*/ 2147483647 h 81"/>
                    <a:gd name="T58" fmla="*/ 2147483647 w 108"/>
                    <a:gd name="T59" fmla="*/ 2147483647 h 81"/>
                    <a:gd name="T60" fmla="*/ 2147483647 w 108"/>
                    <a:gd name="T61" fmla="*/ 2147483647 h 81"/>
                    <a:gd name="T62" fmla="*/ 2147483647 w 108"/>
                    <a:gd name="T63" fmla="*/ 2147483647 h 81"/>
                    <a:gd name="T64" fmla="*/ 2147483647 w 108"/>
                    <a:gd name="T65" fmla="*/ 2147483647 h 81"/>
                    <a:gd name="T66" fmla="*/ 2147483647 w 108"/>
                    <a:gd name="T67" fmla="*/ 2147483647 h 81"/>
                    <a:gd name="T68" fmla="*/ 2147483647 w 108"/>
                    <a:gd name="T69" fmla="*/ 2147483647 h 81"/>
                    <a:gd name="T70" fmla="*/ 2147483647 w 108"/>
                    <a:gd name="T71" fmla="*/ 2147483647 h 81"/>
                    <a:gd name="T72" fmla="*/ 2147483647 w 108"/>
                    <a:gd name="T73" fmla="*/ 2147483647 h 81"/>
                    <a:gd name="T74" fmla="*/ 2147483647 w 108"/>
                    <a:gd name="T75" fmla="*/ 2147483647 h 81"/>
                    <a:gd name="T76" fmla="*/ 2147483647 w 108"/>
                    <a:gd name="T77" fmla="*/ 2147483647 h 81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08"/>
                    <a:gd name="T118" fmla="*/ 0 h 81"/>
                    <a:gd name="T119" fmla="*/ 108 w 108"/>
                    <a:gd name="T120" fmla="*/ 81 h 81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08" h="81">
                      <a:moveTo>
                        <a:pt x="76" y="8"/>
                      </a:moveTo>
                      <a:lnTo>
                        <a:pt x="70" y="3"/>
                      </a:lnTo>
                      <a:lnTo>
                        <a:pt x="64" y="1"/>
                      </a:lnTo>
                      <a:lnTo>
                        <a:pt x="56" y="0"/>
                      </a:lnTo>
                      <a:lnTo>
                        <a:pt x="50" y="0"/>
                      </a:lnTo>
                      <a:lnTo>
                        <a:pt x="42" y="1"/>
                      </a:lnTo>
                      <a:lnTo>
                        <a:pt x="34" y="4"/>
                      </a:lnTo>
                      <a:lnTo>
                        <a:pt x="28" y="7"/>
                      </a:lnTo>
                      <a:lnTo>
                        <a:pt x="20" y="9"/>
                      </a:lnTo>
                      <a:lnTo>
                        <a:pt x="18" y="11"/>
                      </a:lnTo>
                      <a:lnTo>
                        <a:pt x="17" y="13"/>
                      </a:lnTo>
                      <a:lnTo>
                        <a:pt x="15" y="19"/>
                      </a:lnTo>
                      <a:lnTo>
                        <a:pt x="17" y="19"/>
                      </a:lnTo>
                      <a:lnTo>
                        <a:pt x="17" y="22"/>
                      </a:lnTo>
                      <a:lnTo>
                        <a:pt x="14" y="24"/>
                      </a:lnTo>
                      <a:lnTo>
                        <a:pt x="8" y="29"/>
                      </a:lnTo>
                      <a:lnTo>
                        <a:pt x="4" y="35"/>
                      </a:lnTo>
                      <a:lnTo>
                        <a:pt x="1" y="41"/>
                      </a:lnTo>
                      <a:lnTo>
                        <a:pt x="0" y="47"/>
                      </a:lnTo>
                      <a:lnTo>
                        <a:pt x="1" y="52"/>
                      </a:lnTo>
                      <a:lnTo>
                        <a:pt x="3" y="54"/>
                      </a:lnTo>
                      <a:lnTo>
                        <a:pt x="6" y="55"/>
                      </a:lnTo>
                      <a:lnTo>
                        <a:pt x="10" y="56"/>
                      </a:lnTo>
                      <a:lnTo>
                        <a:pt x="19" y="56"/>
                      </a:lnTo>
                      <a:lnTo>
                        <a:pt x="27" y="56"/>
                      </a:lnTo>
                      <a:lnTo>
                        <a:pt x="29" y="58"/>
                      </a:lnTo>
                      <a:lnTo>
                        <a:pt x="31" y="59"/>
                      </a:lnTo>
                      <a:lnTo>
                        <a:pt x="33" y="67"/>
                      </a:lnTo>
                      <a:lnTo>
                        <a:pt x="36" y="71"/>
                      </a:lnTo>
                      <a:lnTo>
                        <a:pt x="38" y="71"/>
                      </a:lnTo>
                      <a:lnTo>
                        <a:pt x="39" y="71"/>
                      </a:lnTo>
                      <a:lnTo>
                        <a:pt x="44" y="70"/>
                      </a:lnTo>
                      <a:lnTo>
                        <a:pt x="46" y="70"/>
                      </a:lnTo>
                      <a:lnTo>
                        <a:pt x="48" y="70"/>
                      </a:lnTo>
                      <a:lnTo>
                        <a:pt x="53" y="72"/>
                      </a:lnTo>
                      <a:lnTo>
                        <a:pt x="57" y="75"/>
                      </a:lnTo>
                      <a:lnTo>
                        <a:pt x="61" y="78"/>
                      </a:lnTo>
                      <a:lnTo>
                        <a:pt x="64" y="79"/>
                      </a:lnTo>
                      <a:lnTo>
                        <a:pt x="67" y="78"/>
                      </a:lnTo>
                      <a:lnTo>
                        <a:pt x="71" y="77"/>
                      </a:lnTo>
                      <a:lnTo>
                        <a:pt x="72" y="77"/>
                      </a:lnTo>
                      <a:lnTo>
                        <a:pt x="75" y="77"/>
                      </a:lnTo>
                      <a:lnTo>
                        <a:pt x="76" y="78"/>
                      </a:lnTo>
                      <a:lnTo>
                        <a:pt x="78" y="79"/>
                      </a:lnTo>
                      <a:lnTo>
                        <a:pt x="80" y="81"/>
                      </a:lnTo>
                      <a:lnTo>
                        <a:pt x="86" y="80"/>
                      </a:lnTo>
                      <a:lnTo>
                        <a:pt x="94" y="80"/>
                      </a:lnTo>
                      <a:lnTo>
                        <a:pt x="100" y="79"/>
                      </a:lnTo>
                      <a:lnTo>
                        <a:pt x="107" y="78"/>
                      </a:lnTo>
                      <a:lnTo>
                        <a:pt x="108" y="77"/>
                      </a:lnTo>
                      <a:lnTo>
                        <a:pt x="108" y="74"/>
                      </a:lnTo>
                      <a:lnTo>
                        <a:pt x="103" y="74"/>
                      </a:lnTo>
                      <a:lnTo>
                        <a:pt x="99" y="73"/>
                      </a:lnTo>
                      <a:lnTo>
                        <a:pt x="95" y="72"/>
                      </a:lnTo>
                      <a:lnTo>
                        <a:pt x="91" y="70"/>
                      </a:lnTo>
                      <a:lnTo>
                        <a:pt x="88" y="68"/>
                      </a:lnTo>
                      <a:lnTo>
                        <a:pt x="86" y="66"/>
                      </a:lnTo>
                      <a:lnTo>
                        <a:pt x="86" y="65"/>
                      </a:lnTo>
                      <a:lnTo>
                        <a:pt x="85" y="64"/>
                      </a:lnTo>
                      <a:lnTo>
                        <a:pt x="76" y="61"/>
                      </a:lnTo>
                      <a:lnTo>
                        <a:pt x="70" y="56"/>
                      </a:lnTo>
                      <a:lnTo>
                        <a:pt x="69" y="54"/>
                      </a:lnTo>
                      <a:lnTo>
                        <a:pt x="67" y="51"/>
                      </a:lnTo>
                      <a:lnTo>
                        <a:pt x="66" y="47"/>
                      </a:lnTo>
                      <a:lnTo>
                        <a:pt x="67" y="42"/>
                      </a:lnTo>
                      <a:lnTo>
                        <a:pt x="67" y="40"/>
                      </a:lnTo>
                      <a:lnTo>
                        <a:pt x="66" y="39"/>
                      </a:lnTo>
                      <a:lnTo>
                        <a:pt x="65" y="36"/>
                      </a:lnTo>
                      <a:lnTo>
                        <a:pt x="66" y="32"/>
                      </a:lnTo>
                      <a:lnTo>
                        <a:pt x="66" y="29"/>
                      </a:lnTo>
                      <a:lnTo>
                        <a:pt x="65" y="28"/>
                      </a:lnTo>
                      <a:lnTo>
                        <a:pt x="65" y="26"/>
                      </a:lnTo>
                      <a:lnTo>
                        <a:pt x="67" y="22"/>
                      </a:lnTo>
                      <a:lnTo>
                        <a:pt x="70" y="16"/>
                      </a:lnTo>
                      <a:lnTo>
                        <a:pt x="72" y="14"/>
                      </a:lnTo>
                      <a:lnTo>
                        <a:pt x="76" y="11"/>
                      </a:lnTo>
                      <a:lnTo>
                        <a:pt x="76" y="10"/>
                      </a:lnTo>
                      <a:lnTo>
                        <a:pt x="76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1" name="Freeform 1111">
                  <a:extLst>
                    <a:ext uri="{FF2B5EF4-FFF2-40B4-BE49-F238E27FC236}">
                      <a16:creationId xmlns:a16="http://schemas.microsoft.com/office/drawing/2014/main" id="{39BAFCC2-67D7-A44F-B2EA-37F970CBD6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6136" y="2138097"/>
                  <a:ext cx="147987" cy="121349"/>
                </a:xfrm>
                <a:custGeom>
                  <a:avLst/>
                  <a:gdLst>
                    <a:gd name="T0" fmla="*/ 2147483647 w 108"/>
                    <a:gd name="T1" fmla="*/ 2147483647 h 82"/>
                    <a:gd name="T2" fmla="*/ 2147483647 w 108"/>
                    <a:gd name="T3" fmla="*/ 2147483647 h 82"/>
                    <a:gd name="T4" fmla="*/ 2147483647 w 108"/>
                    <a:gd name="T5" fmla="*/ 0 h 82"/>
                    <a:gd name="T6" fmla="*/ 2147483647 w 108"/>
                    <a:gd name="T7" fmla="*/ 2147483647 h 82"/>
                    <a:gd name="T8" fmla="*/ 2147483647 w 108"/>
                    <a:gd name="T9" fmla="*/ 2147483647 h 82"/>
                    <a:gd name="T10" fmla="*/ 2147483647 w 108"/>
                    <a:gd name="T11" fmla="*/ 2147483647 h 82"/>
                    <a:gd name="T12" fmla="*/ 2147483647 w 108"/>
                    <a:gd name="T13" fmla="*/ 2147483647 h 82"/>
                    <a:gd name="T14" fmla="*/ 2147483647 w 108"/>
                    <a:gd name="T15" fmla="*/ 2147483647 h 82"/>
                    <a:gd name="T16" fmla="*/ 2147483647 w 108"/>
                    <a:gd name="T17" fmla="*/ 2147483647 h 82"/>
                    <a:gd name="T18" fmla="*/ 2147483647 w 108"/>
                    <a:gd name="T19" fmla="*/ 2147483647 h 82"/>
                    <a:gd name="T20" fmla="*/ 2147483647 w 108"/>
                    <a:gd name="T21" fmla="*/ 2147483647 h 82"/>
                    <a:gd name="T22" fmla="*/ 2147483647 w 108"/>
                    <a:gd name="T23" fmla="*/ 2147483647 h 82"/>
                    <a:gd name="T24" fmla="*/ 0 w 108"/>
                    <a:gd name="T25" fmla="*/ 2147483647 h 82"/>
                    <a:gd name="T26" fmla="*/ 2147483647 w 108"/>
                    <a:gd name="T27" fmla="*/ 2147483647 h 82"/>
                    <a:gd name="T28" fmla="*/ 2147483647 w 108"/>
                    <a:gd name="T29" fmla="*/ 2147483647 h 82"/>
                    <a:gd name="T30" fmla="*/ 2147483647 w 108"/>
                    <a:gd name="T31" fmla="*/ 2147483647 h 82"/>
                    <a:gd name="T32" fmla="*/ 2147483647 w 108"/>
                    <a:gd name="T33" fmla="*/ 2147483647 h 82"/>
                    <a:gd name="T34" fmla="*/ 2147483647 w 108"/>
                    <a:gd name="T35" fmla="*/ 2147483647 h 82"/>
                    <a:gd name="T36" fmla="*/ 2147483647 w 108"/>
                    <a:gd name="T37" fmla="*/ 2147483647 h 82"/>
                    <a:gd name="T38" fmla="*/ 2147483647 w 108"/>
                    <a:gd name="T39" fmla="*/ 2147483647 h 82"/>
                    <a:gd name="T40" fmla="*/ 2147483647 w 108"/>
                    <a:gd name="T41" fmla="*/ 2147483647 h 82"/>
                    <a:gd name="T42" fmla="*/ 2147483647 w 108"/>
                    <a:gd name="T43" fmla="*/ 2147483647 h 82"/>
                    <a:gd name="T44" fmla="*/ 2147483647 w 108"/>
                    <a:gd name="T45" fmla="*/ 2147483647 h 82"/>
                    <a:gd name="T46" fmla="*/ 2147483647 w 108"/>
                    <a:gd name="T47" fmla="*/ 2147483647 h 82"/>
                    <a:gd name="T48" fmla="*/ 2147483647 w 108"/>
                    <a:gd name="T49" fmla="*/ 2147483647 h 82"/>
                    <a:gd name="T50" fmla="*/ 2147483647 w 108"/>
                    <a:gd name="T51" fmla="*/ 2147483647 h 82"/>
                    <a:gd name="T52" fmla="*/ 2147483647 w 108"/>
                    <a:gd name="T53" fmla="*/ 2147483647 h 82"/>
                    <a:gd name="T54" fmla="*/ 2147483647 w 108"/>
                    <a:gd name="T55" fmla="*/ 2147483647 h 82"/>
                    <a:gd name="T56" fmla="*/ 2147483647 w 108"/>
                    <a:gd name="T57" fmla="*/ 2147483647 h 82"/>
                    <a:gd name="T58" fmla="*/ 2147483647 w 108"/>
                    <a:gd name="T59" fmla="*/ 2147483647 h 82"/>
                    <a:gd name="T60" fmla="*/ 2147483647 w 108"/>
                    <a:gd name="T61" fmla="*/ 2147483647 h 82"/>
                    <a:gd name="T62" fmla="*/ 2147483647 w 108"/>
                    <a:gd name="T63" fmla="*/ 2147483647 h 82"/>
                    <a:gd name="T64" fmla="*/ 2147483647 w 108"/>
                    <a:gd name="T65" fmla="*/ 2147483647 h 82"/>
                    <a:gd name="T66" fmla="*/ 2147483647 w 108"/>
                    <a:gd name="T67" fmla="*/ 2147483647 h 82"/>
                    <a:gd name="T68" fmla="*/ 2147483647 w 108"/>
                    <a:gd name="T69" fmla="*/ 2147483647 h 82"/>
                    <a:gd name="T70" fmla="*/ 2147483647 w 108"/>
                    <a:gd name="T71" fmla="*/ 2147483647 h 82"/>
                    <a:gd name="T72" fmla="*/ 2147483647 w 108"/>
                    <a:gd name="T73" fmla="*/ 2147483647 h 82"/>
                    <a:gd name="T74" fmla="*/ 2147483647 w 108"/>
                    <a:gd name="T75" fmla="*/ 2147483647 h 82"/>
                    <a:gd name="T76" fmla="*/ 2147483647 w 108"/>
                    <a:gd name="T77" fmla="*/ 2147483647 h 82"/>
                    <a:gd name="T78" fmla="*/ 2147483647 w 108"/>
                    <a:gd name="T79" fmla="*/ 2147483647 h 82"/>
                    <a:gd name="T80" fmla="*/ 2147483647 w 108"/>
                    <a:gd name="T81" fmla="*/ 2147483647 h 82"/>
                    <a:gd name="T82" fmla="*/ 2147483647 w 108"/>
                    <a:gd name="T83" fmla="*/ 2147483647 h 82"/>
                    <a:gd name="T84" fmla="*/ 2147483647 w 108"/>
                    <a:gd name="T85" fmla="*/ 2147483647 h 82"/>
                    <a:gd name="T86" fmla="*/ 2147483647 w 108"/>
                    <a:gd name="T87" fmla="*/ 2147483647 h 82"/>
                    <a:gd name="T88" fmla="*/ 2147483647 w 108"/>
                    <a:gd name="T89" fmla="*/ 2147483647 h 82"/>
                    <a:gd name="T90" fmla="*/ 2147483647 w 108"/>
                    <a:gd name="T91" fmla="*/ 2147483647 h 82"/>
                    <a:gd name="T92" fmla="*/ 2147483647 w 108"/>
                    <a:gd name="T93" fmla="*/ 2147483647 h 82"/>
                    <a:gd name="T94" fmla="*/ 2147483647 w 108"/>
                    <a:gd name="T95" fmla="*/ 2147483647 h 82"/>
                    <a:gd name="T96" fmla="*/ 2147483647 w 108"/>
                    <a:gd name="T97" fmla="*/ 2147483647 h 82"/>
                    <a:gd name="T98" fmla="*/ 2147483647 w 108"/>
                    <a:gd name="T99" fmla="*/ 2147483647 h 82"/>
                    <a:gd name="T100" fmla="*/ 2147483647 w 108"/>
                    <a:gd name="T101" fmla="*/ 2147483647 h 82"/>
                    <a:gd name="T102" fmla="*/ 2147483647 w 108"/>
                    <a:gd name="T103" fmla="*/ 2147483647 h 8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08"/>
                    <a:gd name="T157" fmla="*/ 0 h 82"/>
                    <a:gd name="T158" fmla="*/ 108 w 108"/>
                    <a:gd name="T159" fmla="*/ 82 h 8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08" h="82">
                      <a:moveTo>
                        <a:pt x="76" y="9"/>
                      </a:moveTo>
                      <a:lnTo>
                        <a:pt x="76" y="9"/>
                      </a:lnTo>
                      <a:lnTo>
                        <a:pt x="70" y="4"/>
                      </a:lnTo>
                      <a:lnTo>
                        <a:pt x="63" y="2"/>
                      </a:lnTo>
                      <a:lnTo>
                        <a:pt x="56" y="0"/>
                      </a:lnTo>
                      <a:lnTo>
                        <a:pt x="49" y="0"/>
                      </a:lnTo>
                      <a:lnTo>
                        <a:pt x="42" y="2"/>
                      </a:lnTo>
                      <a:lnTo>
                        <a:pt x="34" y="5"/>
                      </a:lnTo>
                      <a:lnTo>
                        <a:pt x="28" y="7"/>
                      </a:lnTo>
                      <a:lnTo>
                        <a:pt x="20" y="10"/>
                      </a:lnTo>
                      <a:lnTo>
                        <a:pt x="18" y="12"/>
                      </a:lnTo>
                      <a:lnTo>
                        <a:pt x="16" y="13"/>
                      </a:lnTo>
                      <a:lnTo>
                        <a:pt x="15" y="19"/>
                      </a:lnTo>
                      <a:lnTo>
                        <a:pt x="16" y="19"/>
                      </a:lnTo>
                      <a:lnTo>
                        <a:pt x="16" y="23"/>
                      </a:lnTo>
                      <a:lnTo>
                        <a:pt x="14" y="25"/>
                      </a:lnTo>
                      <a:lnTo>
                        <a:pt x="7" y="30"/>
                      </a:lnTo>
                      <a:lnTo>
                        <a:pt x="4" y="36"/>
                      </a:lnTo>
                      <a:lnTo>
                        <a:pt x="1" y="42"/>
                      </a:lnTo>
                      <a:lnTo>
                        <a:pt x="0" y="48"/>
                      </a:lnTo>
                      <a:lnTo>
                        <a:pt x="1" y="53"/>
                      </a:lnTo>
                      <a:lnTo>
                        <a:pt x="2" y="55"/>
                      </a:lnTo>
                      <a:lnTo>
                        <a:pt x="6" y="56"/>
                      </a:lnTo>
                      <a:lnTo>
                        <a:pt x="10" y="57"/>
                      </a:lnTo>
                      <a:lnTo>
                        <a:pt x="19" y="57"/>
                      </a:lnTo>
                      <a:lnTo>
                        <a:pt x="26" y="57"/>
                      </a:lnTo>
                      <a:lnTo>
                        <a:pt x="29" y="58"/>
                      </a:lnTo>
                      <a:lnTo>
                        <a:pt x="30" y="60"/>
                      </a:lnTo>
                      <a:lnTo>
                        <a:pt x="33" y="68"/>
                      </a:lnTo>
                      <a:lnTo>
                        <a:pt x="35" y="72"/>
                      </a:lnTo>
                      <a:lnTo>
                        <a:pt x="38" y="72"/>
                      </a:lnTo>
                      <a:lnTo>
                        <a:pt x="39" y="72"/>
                      </a:lnTo>
                      <a:lnTo>
                        <a:pt x="44" y="70"/>
                      </a:lnTo>
                      <a:lnTo>
                        <a:pt x="45" y="70"/>
                      </a:lnTo>
                      <a:lnTo>
                        <a:pt x="48" y="70"/>
                      </a:lnTo>
                      <a:lnTo>
                        <a:pt x="53" y="73"/>
                      </a:lnTo>
                      <a:lnTo>
                        <a:pt x="57" y="76"/>
                      </a:lnTo>
                      <a:lnTo>
                        <a:pt x="61" y="79"/>
                      </a:lnTo>
                      <a:lnTo>
                        <a:pt x="63" y="80"/>
                      </a:lnTo>
                      <a:lnTo>
                        <a:pt x="67" y="79"/>
                      </a:lnTo>
                      <a:lnTo>
                        <a:pt x="71" y="77"/>
                      </a:lnTo>
                      <a:lnTo>
                        <a:pt x="72" y="77"/>
                      </a:lnTo>
                      <a:lnTo>
                        <a:pt x="75" y="77"/>
                      </a:lnTo>
                      <a:lnTo>
                        <a:pt x="76" y="79"/>
                      </a:lnTo>
                      <a:lnTo>
                        <a:pt x="77" y="80"/>
                      </a:lnTo>
                      <a:lnTo>
                        <a:pt x="80" y="82"/>
                      </a:lnTo>
                      <a:lnTo>
                        <a:pt x="86" y="81"/>
                      </a:lnTo>
                      <a:lnTo>
                        <a:pt x="94" y="81"/>
                      </a:lnTo>
                      <a:lnTo>
                        <a:pt x="100" y="80"/>
                      </a:lnTo>
                      <a:lnTo>
                        <a:pt x="106" y="79"/>
                      </a:lnTo>
                      <a:lnTo>
                        <a:pt x="108" y="77"/>
                      </a:lnTo>
                      <a:lnTo>
                        <a:pt x="108" y="75"/>
                      </a:lnTo>
                      <a:lnTo>
                        <a:pt x="103" y="75"/>
                      </a:lnTo>
                      <a:lnTo>
                        <a:pt x="99" y="74"/>
                      </a:lnTo>
                      <a:lnTo>
                        <a:pt x="95" y="73"/>
                      </a:lnTo>
                      <a:lnTo>
                        <a:pt x="91" y="70"/>
                      </a:lnTo>
                      <a:lnTo>
                        <a:pt x="87" y="69"/>
                      </a:lnTo>
                      <a:lnTo>
                        <a:pt x="86" y="67"/>
                      </a:lnTo>
                      <a:lnTo>
                        <a:pt x="86" y="66"/>
                      </a:lnTo>
                      <a:lnTo>
                        <a:pt x="85" y="64"/>
                      </a:lnTo>
                      <a:lnTo>
                        <a:pt x="76" y="62"/>
                      </a:lnTo>
                      <a:lnTo>
                        <a:pt x="70" y="57"/>
                      </a:lnTo>
                      <a:lnTo>
                        <a:pt x="68" y="55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7" y="43"/>
                      </a:lnTo>
                      <a:lnTo>
                        <a:pt x="67" y="41"/>
                      </a:lnTo>
                      <a:lnTo>
                        <a:pt x="66" y="39"/>
                      </a:lnTo>
                      <a:lnTo>
                        <a:pt x="65" y="37"/>
                      </a:lnTo>
                      <a:lnTo>
                        <a:pt x="66" y="32"/>
                      </a:lnTo>
                      <a:lnTo>
                        <a:pt x="66" y="30"/>
                      </a:lnTo>
                      <a:lnTo>
                        <a:pt x="65" y="29"/>
                      </a:lnTo>
                      <a:lnTo>
                        <a:pt x="65" y="26"/>
                      </a:lnTo>
                      <a:lnTo>
                        <a:pt x="67" y="23"/>
                      </a:lnTo>
                      <a:lnTo>
                        <a:pt x="70" y="17"/>
                      </a:lnTo>
                      <a:lnTo>
                        <a:pt x="72" y="15"/>
                      </a:lnTo>
                      <a:lnTo>
                        <a:pt x="76" y="12"/>
                      </a:lnTo>
                      <a:lnTo>
                        <a:pt x="76" y="11"/>
                      </a:lnTo>
                      <a:lnTo>
                        <a:pt x="76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2" name="Freeform 1112">
                  <a:extLst>
                    <a:ext uri="{FF2B5EF4-FFF2-40B4-BE49-F238E27FC236}">
                      <a16:creationId xmlns:a16="http://schemas.microsoft.com/office/drawing/2014/main" id="{3EAA88FE-AEAC-894E-A8A5-E61EF024F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6222" y="2305322"/>
                  <a:ext cx="39956" cy="41436"/>
                </a:xfrm>
                <a:custGeom>
                  <a:avLst/>
                  <a:gdLst>
                    <a:gd name="T0" fmla="*/ 2147483647 w 30"/>
                    <a:gd name="T1" fmla="*/ 2147483647 h 28"/>
                    <a:gd name="T2" fmla="*/ 2147483647 w 30"/>
                    <a:gd name="T3" fmla="*/ 2147483647 h 28"/>
                    <a:gd name="T4" fmla="*/ 2147483647 w 30"/>
                    <a:gd name="T5" fmla="*/ 2147483647 h 28"/>
                    <a:gd name="T6" fmla="*/ 2147483647 w 30"/>
                    <a:gd name="T7" fmla="*/ 2147483647 h 28"/>
                    <a:gd name="T8" fmla="*/ 2147483647 w 30"/>
                    <a:gd name="T9" fmla="*/ 0 h 28"/>
                    <a:gd name="T10" fmla="*/ 2147483647 w 30"/>
                    <a:gd name="T11" fmla="*/ 0 h 28"/>
                    <a:gd name="T12" fmla="*/ 2147483647 w 30"/>
                    <a:gd name="T13" fmla="*/ 2147483647 h 28"/>
                    <a:gd name="T14" fmla="*/ 2147483647 w 30"/>
                    <a:gd name="T15" fmla="*/ 2147483647 h 28"/>
                    <a:gd name="T16" fmla="*/ 2147483647 w 30"/>
                    <a:gd name="T17" fmla="*/ 2147483647 h 28"/>
                    <a:gd name="T18" fmla="*/ 2147483647 w 30"/>
                    <a:gd name="T19" fmla="*/ 2147483647 h 28"/>
                    <a:gd name="T20" fmla="*/ 2147483647 w 30"/>
                    <a:gd name="T21" fmla="*/ 2147483647 h 28"/>
                    <a:gd name="T22" fmla="*/ 0 w 30"/>
                    <a:gd name="T23" fmla="*/ 2147483647 h 28"/>
                    <a:gd name="T24" fmla="*/ 0 w 30"/>
                    <a:gd name="T25" fmla="*/ 2147483647 h 28"/>
                    <a:gd name="T26" fmla="*/ 2147483647 w 30"/>
                    <a:gd name="T27" fmla="*/ 2147483647 h 28"/>
                    <a:gd name="T28" fmla="*/ 2147483647 w 30"/>
                    <a:gd name="T29" fmla="*/ 2147483647 h 28"/>
                    <a:gd name="T30" fmla="*/ 2147483647 w 30"/>
                    <a:gd name="T31" fmla="*/ 2147483647 h 28"/>
                    <a:gd name="T32" fmla="*/ 2147483647 w 30"/>
                    <a:gd name="T33" fmla="*/ 2147483647 h 28"/>
                    <a:gd name="T34" fmla="*/ 2147483647 w 30"/>
                    <a:gd name="T35" fmla="*/ 2147483647 h 28"/>
                    <a:gd name="T36" fmla="*/ 2147483647 w 30"/>
                    <a:gd name="T37" fmla="*/ 2147483647 h 28"/>
                    <a:gd name="T38" fmla="*/ 2147483647 w 30"/>
                    <a:gd name="T39" fmla="*/ 2147483647 h 28"/>
                    <a:gd name="T40" fmla="*/ 2147483647 w 30"/>
                    <a:gd name="T41" fmla="*/ 2147483647 h 28"/>
                    <a:gd name="T42" fmla="*/ 2147483647 w 30"/>
                    <a:gd name="T43" fmla="*/ 2147483647 h 28"/>
                    <a:gd name="T44" fmla="*/ 2147483647 w 30"/>
                    <a:gd name="T45" fmla="*/ 2147483647 h 28"/>
                    <a:gd name="T46" fmla="*/ 2147483647 w 30"/>
                    <a:gd name="T47" fmla="*/ 2147483647 h 28"/>
                    <a:gd name="T48" fmla="*/ 2147483647 w 30"/>
                    <a:gd name="T49" fmla="*/ 2147483647 h 28"/>
                    <a:gd name="T50" fmla="*/ 2147483647 w 30"/>
                    <a:gd name="T51" fmla="*/ 2147483647 h 28"/>
                    <a:gd name="T52" fmla="*/ 2147483647 w 30"/>
                    <a:gd name="T53" fmla="*/ 2147483647 h 28"/>
                    <a:gd name="T54" fmla="*/ 2147483647 w 30"/>
                    <a:gd name="T55" fmla="*/ 2147483647 h 28"/>
                    <a:gd name="T56" fmla="*/ 2147483647 w 30"/>
                    <a:gd name="T57" fmla="*/ 2147483647 h 28"/>
                    <a:gd name="T58" fmla="*/ 2147483647 w 30"/>
                    <a:gd name="T59" fmla="*/ 2147483647 h 28"/>
                    <a:gd name="T60" fmla="*/ 2147483647 w 30"/>
                    <a:gd name="T61" fmla="*/ 2147483647 h 28"/>
                    <a:gd name="T62" fmla="*/ 2147483647 w 30"/>
                    <a:gd name="T63" fmla="*/ 2147483647 h 28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0"/>
                    <a:gd name="T97" fmla="*/ 0 h 28"/>
                    <a:gd name="T98" fmla="*/ 30 w 30"/>
                    <a:gd name="T99" fmla="*/ 28 h 28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0" h="28">
                      <a:moveTo>
                        <a:pt x="27" y="11"/>
                      </a:moveTo>
                      <a:lnTo>
                        <a:pt x="23" y="8"/>
                      </a:lnTo>
                      <a:lnTo>
                        <a:pt x="19" y="7"/>
                      </a:lnTo>
                      <a:lnTo>
                        <a:pt x="16" y="5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3" y="1"/>
                      </a:lnTo>
                      <a:lnTo>
                        <a:pt x="12" y="5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3" y="7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2" y="21"/>
                      </a:lnTo>
                      <a:lnTo>
                        <a:pt x="4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5" y="25"/>
                      </a:lnTo>
                      <a:lnTo>
                        <a:pt x="5" y="27"/>
                      </a:lnTo>
                      <a:lnTo>
                        <a:pt x="5" y="28"/>
                      </a:lnTo>
                      <a:lnTo>
                        <a:pt x="7" y="28"/>
                      </a:lnTo>
                      <a:lnTo>
                        <a:pt x="11" y="28"/>
                      </a:lnTo>
                      <a:lnTo>
                        <a:pt x="13" y="27"/>
                      </a:lnTo>
                      <a:lnTo>
                        <a:pt x="18" y="24"/>
                      </a:lnTo>
                      <a:lnTo>
                        <a:pt x="19" y="24"/>
                      </a:lnTo>
                      <a:lnTo>
                        <a:pt x="22" y="24"/>
                      </a:lnTo>
                      <a:lnTo>
                        <a:pt x="26" y="21"/>
                      </a:lnTo>
                      <a:lnTo>
                        <a:pt x="28" y="18"/>
                      </a:lnTo>
                      <a:lnTo>
                        <a:pt x="30" y="15"/>
                      </a:lnTo>
                      <a:lnTo>
                        <a:pt x="30" y="14"/>
                      </a:lnTo>
                      <a:lnTo>
                        <a:pt x="28" y="12"/>
                      </a:lnTo>
                      <a:lnTo>
                        <a:pt x="27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3" name="Freeform 1113">
                  <a:extLst>
                    <a:ext uri="{FF2B5EF4-FFF2-40B4-BE49-F238E27FC236}">
                      <a16:creationId xmlns:a16="http://schemas.microsoft.com/office/drawing/2014/main" id="{221C2FCE-981A-C647-81BC-3B743C95D8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9991" y="2857315"/>
                  <a:ext cx="133188" cy="159826"/>
                </a:xfrm>
                <a:custGeom>
                  <a:avLst/>
                  <a:gdLst>
                    <a:gd name="T0" fmla="*/ 2147483647 w 97"/>
                    <a:gd name="T1" fmla="*/ 2147483647 h 108"/>
                    <a:gd name="T2" fmla="*/ 2147483647 w 97"/>
                    <a:gd name="T3" fmla="*/ 2147483647 h 108"/>
                    <a:gd name="T4" fmla="*/ 2147483647 w 97"/>
                    <a:gd name="T5" fmla="*/ 0 h 108"/>
                    <a:gd name="T6" fmla="*/ 2147483647 w 97"/>
                    <a:gd name="T7" fmla="*/ 0 h 108"/>
                    <a:gd name="T8" fmla="*/ 2147483647 w 97"/>
                    <a:gd name="T9" fmla="*/ 2147483647 h 108"/>
                    <a:gd name="T10" fmla="*/ 2147483647 w 97"/>
                    <a:gd name="T11" fmla="*/ 2147483647 h 108"/>
                    <a:gd name="T12" fmla="*/ 2147483647 w 97"/>
                    <a:gd name="T13" fmla="*/ 2147483647 h 108"/>
                    <a:gd name="T14" fmla="*/ 2147483647 w 97"/>
                    <a:gd name="T15" fmla="*/ 2147483647 h 108"/>
                    <a:gd name="T16" fmla="*/ 2147483647 w 97"/>
                    <a:gd name="T17" fmla="*/ 2147483647 h 108"/>
                    <a:gd name="T18" fmla="*/ 2147483647 w 97"/>
                    <a:gd name="T19" fmla="*/ 2147483647 h 108"/>
                    <a:gd name="T20" fmla="*/ 2147483647 w 97"/>
                    <a:gd name="T21" fmla="*/ 2147483647 h 108"/>
                    <a:gd name="T22" fmla="*/ 2147483647 w 97"/>
                    <a:gd name="T23" fmla="*/ 2147483647 h 108"/>
                    <a:gd name="T24" fmla="*/ 2147483647 w 97"/>
                    <a:gd name="T25" fmla="*/ 2147483647 h 108"/>
                    <a:gd name="T26" fmla="*/ 2147483647 w 97"/>
                    <a:gd name="T27" fmla="*/ 2147483647 h 108"/>
                    <a:gd name="T28" fmla="*/ 2147483647 w 97"/>
                    <a:gd name="T29" fmla="*/ 2147483647 h 108"/>
                    <a:gd name="T30" fmla="*/ 2147483647 w 97"/>
                    <a:gd name="T31" fmla="*/ 2147483647 h 108"/>
                    <a:gd name="T32" fmla="*/ 2147483647 w 97"/>
                    <a:gd name="T33" fmla="*/ 2147483647 h 108"/>
                    <a:gd name="T34" fmla="*/ 2147483647 w 97"/>
                    <a:gd name="T35" fmla="*/ 2147483647 h 108"/>
                    <a:gd name="T36" fmla="*/ 2147483647 w 97"/>
                    <a:gd name="T37" fmla="*/ 2147483647 h 108"/>
                    <a:gd name="T38" fmla="*/ 2147483647 w 97"/>
                    <a:gd name="T39" fmla="*/ 2147483647 h 108"/>
                    <a:gd name="T40" fmla="*/ 2147483647 w 97"/>
                    <a:gd name="T41" fmla="*/ 2147483647 h 108"/>
                    <a:gd name="T42" fmla="*/ 2147483647 w 97"/>
                    <a:gd name="T43" fmla="*/ 2147483647 h 108"/>
                    <a:gd name="T44" fmla="*/ 2147483647 w 97"/>
                    <a:gd name="T45" fmla="*/ 2147483647 h 108"/>
                    <a:gd name="T46" fmla="*/ 0 w 97"/>
                    <a:gd name="T47" fmla="*/ 2147483647 h 108"/>
                    <a:gd name="T48" fmla="*/ 2147483647 w 97"/>
                    <a:gd name="T49" fmla="*/ 2147483647 h 108"/>
                    <a:gd name="T50" fmla="*/ 2147483647 w 97"/>
                    <a:gd name="T51" fmla="*/ 2147483647 h 108"/>
                    <a:gd name="T52" fmla="*/ 2147483647 w 97"/>
                    <a:gd name="T53" fmla="*/ 2147483647 h 108"/>
                    <a:gd name="T54" fmla="*/ 2147483647 w 97"/>
                    <a:gd name="T55" fmla="*/ 2147483647 h 108"/>
                    <a:gd name="T56" fmla="*/ 2147483647 w 97"/>
                    <a:gd name="T57" fmla="*/ 2147483647 h 108"/>
                    <a:gd name="T58" fmla="*/ 2147483647 w 97"/>
                    <a:gd name="T59" fmla="*/ 2147483647 h 108"/>
                    <a:gd name="T60" fmla="*/ 2147483647 w 97"/>
                    <a:gd name="T61" fmla="*/ 2147483647 h 108"/>
                    <a:gd name="T62" fmla="*/ 2147483647 w 97"/>
                    <a:gd name="T63" fmla="*/ 2147483647 h 108"/>
                    <a:gd name="T64" fmla="*/ 2147483647 w 97"/>
                    <a:gd name="T65" fmla="*/ 2147483647 h 108"/>
                    <a:gd name="T66" fmla="*/ 2147483647 w 97"/>
                    <a:gd name="T67" fmla="*/ 2147483647 h 108"/>
                    <a:gd name="T68" fmla="*/ 2147483647 w 97"/>
                    <a:gd name="T69" fmla="*/ 2147483647 h 108"/>
                    <a:gd name="T70" fmla="*/ 2147483647 w 97"/>
                    <a:gd name="T71" fmla="*/ 2147483647 h 108"/>
                    <a:gd name="T72" fmla="*/ 2147483647 w 97"/>
                    <a:gd name="T73" fmla="*/ 2147483647 h 108"/>
                    <a:gd name="T74" fmla="*/ 2147483647 w 97"/>
                    <a:gd name="T75" fmla="*/ 2147483647 h 108"/>
                    <a:gd name="T76" fmla="*/ 2147483647 w 97"/>
                    <a:gd name="T77" fmla="*/ 2147483647 h 108"/>
                    <a:gd name="T78" fmla="*/ 2147483647 w 97"/>
                    <a:gd name="T79" fmla="*/ 2147483647 h 108"/>
                    <a:gd name="T80" fmla="*/ 2147483647 w 97"/>
                    <a:gd name="T81" fmla="*/ 2147483647 h 108"/>
                    <a:gd name="T82" fmla="*/ 2147483647 w 97"/>
                    <a:gd name="T83" fmla="*/ 2147483647 h 108"/>
                    <a:gd name="T84" fmla="*/ 2147483647 w 97"/>
                    <a:gd name="T85" fmla="*/ 2147483647 h 108"/>
                    <a:gd name="T86" fmla="*/ 2147483647 w 97"/>
                    <a:gd name="T87" fmla="*/ 2147483647 h 108"/>
                    <a:gd name="T88" fmla="*/ 2147483647 w 97"/>
                    <a:gd name="T89" fmla="*/ 2147483647 h 108"/>
                    <a:gd name="T90" fmla="*/ 2147483647 w 97"/>
                    <a:gd name="T91" fmla="*/ 2147483647 h 108"/>
                    <a:gd name="T92" fmla="*/ 2147483647 w 97"/>
                    <a:gd name="T93" fmla="*/ 2147483647 h 108"/>
                    <a:gd name="T94" fmla="*/ 2147483647 w 97"/>
                    <a:gd name="T95" fmla="*/ 2147483647 h 108"/>
                    <a:gd name="T96" fmla="*/ 2147483647 w 97"/>
                    <a:gd name="T97" fmla="*/ 2147483647 h 108"/>
                    <a:gd name="T98" fmla="*/ 2147483647 w 97"/>
                    <a:gd name="T99" fmla="*/ 2147483647 h 108"/>
                    <a:gd name="T100" fmla="*/ 2147483647 w 97"/>
                    <a:gd name="T101" fmla="*/ 2147483647 h 108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97"/>
                    <a:gd name="T154" fmla="*/ 0 h 108"/>
                    <a:gd name="T155" fmla="*/ 97 w 97"/>
                    <a:gd name="T156" fmla="*/ 108 h 108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97" h="108">
                      <a:moveTo>
                        <a:pt x="96" y="5"/>
                      </a:moveTo>
                      <a:lnTo>
                        <a:pt x="97" y="2"/>
                      </a:lnTo>
                      <a:lnTo>
                        <a:pt x="96" y="0"/>
                      </a:lnTo>
                      <a:lnTo>
                        <a:pt x="94" y="0"/>
                      </a:lnTo>
                      <a:lnTo>
                        <a:pt x="88" y="5"/>
                      </a:lnTo>
                      <a:lnTo>
                        <a:pt x="84" y="11"/>
                      </a:lnTo>
                      <a:lnTo>
                        <a:pt x="76" y="24"/>
                      </a:lnTo>
                      <a:lnTo>
                        <a:pt x="71" y="29"/>
                      </a:lnTo>
                      <a:lnTo>
                        <a:pt x="69" y="34"/>
                      </a:lnTo>
                      <a:lnTo>
                        <a:pt x="68" y="37"/>
                      </a:lnTo>
                      <a:lnTo>
                        <a:pt x="68" y="40"/>
                      </a:lnTo>
                      <a:lnTo>
                        <a:pt x="66" y="41"/>
                      </a:lnTo>
                      <a:lnTo>
                        <a:pt x="60" y="48"/>
                      </a:lnTo>
                      <a:lnTo>
                        <a:pt x="54" y="55"/>
                      </a:lnTo>
                      <a:lnTo>
                        <a:pt x="51" y="57"/>
                      </a:lnTo>
                      <a:lnTo>
                        <a:pt x="49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36" y="74"/>
                      </a:lnTo>
                      <a:lnTo>
                        <a:pt x="26" y="85"/>
                      </a:lnTo>
                      <a:lnTo>
                        <a:pt x="21" y="89"/>
                      </a:lnTo>
                      <a:lnTo>
                        <a:pt x="14" y="94"/>
                      </a:lnTo>
                      <a:lnTo>
                        <a:pt x="8" y="98"/>
                      </a:lnTo>
                      <a:lnTo>
                        <a:pt x="0" y="101"/>
                      </a:lnTo>
                      <a:lnTo>
                        <a:pt x="2" y="106"/>
                      </a:lnTo>
                      <a:lnTo>
                        <a:pt x="2" y="108"/>
                      </a:lnTo>
                      <a:lnTo>
                        <a:pt x="4" y="108"/>
                      </a:lnTo>
                      <a:lnTo>
                        <a:pt x="8" y="107"/>
                      </a:lnTo>
                      <a:lnTo>
                        <a:pt x="12" y="106"/>
                      </a:lnTo>
                      <a:lnTo>
                        <a:pt x="21" y="105"/>
                      </a:lnTo>
                      <a:lnTo>
                        <a:pt x="24" y="104"/>
                      </a:lnTo>
                      <a:lnTo>
                        <a:pt x="28" y="101"/>
                      </a:lnTo>
                      <a:lnTo>
                        <a:pt x="36" y="92"/>
                      </a:lnTo>
                      <a:lnTo>
                        <a:pt x="41" y="87"/>
                      </a:lnTo>
                      <a:lnTo>
                        <a:pt x="46" y="85"/>
                      </a:lnTo>
                      <a:lnTo>
                        <a:pt x="47" y="83"/>
                      </a:lnTo>
                      <a:lnTo>
                        <a:pt x="47" y="82"/>
                      </a:lnTo>
                      <a:lnTo>
                        <a:pt x="47" y="81"/>
                      </a:lnTo>
                      <a:lnTo>
                        <a:pt x="49" y="80"/>
                      </a:lnTo>
                      <a:lnTo>
                        <a:pt x="55" y="80"/>
                      </a:lnTo>
                      <a:lnTo>
                        <a:pt x="61" y="78"/>
                      </a:lnTo>
                      <a:lnTo>
                        <a:pt x="66" y="73"/>
                      </a:lnTo>
                      <a:lnTo>
                        <a:pt x="70" y="69"/>
                      </a:lnTo>
                      <a:lnTo>
                        <a:pt x="78" y="60"/>
                      </a:lnTo>
                      <a:lnTo>
                        <a:pt x="82" y="55"/>
                      </a:lnTo>
                      <a:lnTo>
                        <a:pt x="85" y="48"/>
                      </a:lnTo>
                      <a:lnTo>
                        <a:pt x="89" y="36"/>
                      </a:lnTo>
                      <a:lnTo>
                        <a:pt x="92" y="22"/>
                      </a:lnTo>
                      <a:lnTo>
                        <a:pt x="94" y="9"/>
                      </a:lnTo>
                      <a:lnTo>
                        <a:pt x="97" y="4"/>
                      </a:lnTo>
                      <a:lnTo>
                        <a:pt x="9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4" name="Freeform 1114">
                  <a:extLst>
                    <a:ext uri="{FF2B5EF4-FFF2-40B4-BE49-F238E27FC236}">
                      <a16:creationId xmlns:a16="http://schemas.microsoft.com/office/drawing/2014/main" id="{24BD827B-ED1B-B140-ACDF-8C2B79B2CE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4743" y="2303843"/>
                  <a:ext cx="39957" cy="41436"/>
                </a:xfrm>
                <a:custGeom>
                  <a:avLst/>
                  <a:gdLst>
                    <a:gd name="T0" fmla="*/ 2147483647 w 29"/>
                    <a:gd name="T1" fmla="*/ 2147483647 h 28"/>
                    <a:gd name="T2" fmla="*/ 2147483647 w 29"/>
                    <a:gd name="T3" fmla="*/ 2147483647 h 28"/>
                    <a:gd name="T4" fmla="*/ 2147483647 w 29"/>
                    <a:gd name="T5" fmla="*/ 2147483647 h 28"/>
                    <a:gd name="T6" fmla="*/ 2147483647 w 29"/>
                    <a:gd name="T7" fmla="*/ 2147483647 h 28"/>
                    <a:gd name="T8" fmla="*/ 2147483647 w 29"/>
                    <a:gd name="T9" fmla="*/ 2147483647 h 28"/>
                    <a:gd name="T10" fmla="*/ 2147483647 w 29"/>
                    <a:gd name="T11" fmla="*/ 0 h 28"/>
                    <a:gd name="T12" fmla="*/ 2147483647 w 29"/>
                    <a:gd name="T13" fmla="*/ 0 h 28"/>
                    <a:gd name="T14" fmla="*/ 2147483647 w 29"/>
                    <a:gd name="T15" fmla="*/ 0 h 28"/>
                    <a:gd name="T16" fmla="*/ 2147483647 w 29"/>
                    <a:gd name="T17" fmla="*/ 2147483647 h 28"/>
                    <a:gd name="T18" fmla="*/ 2147483647 w 29"/>
                    <a:gd name="T19" fmla="*/ 2147483647 h 28"/>
                    <a:gd name="T20" fmla="*/ 2147483647 w 29"/>
                    <a:gd name="T21" fmla="*/ 2147483647 h 28"/>
                    <a:gd name="T22" fmla="*/ 2147483647 w 29"/>
                    <a:gd name="T23" fmla="*/ 2147483647 h 28"/>
                    <a:gd name="T24" fmla="*/ 2147483647 w 29"/>
                    <a:gd name="T25" fmla="*/ 2147483647 h 28"/>
                    <a:gd name="T26" fmla="*/ 2147483647 w 29"/>
                    <a:gd name="T27" fmla="*/ 2147483647 h 28"/>
                    <a:gd name="T28" fmla="*/ 2147483647 w 29"/>
                    <a:gd name="T29" fmla="*/ 2147483647 h 28"/>
                    <a:gd name="T30" fmla="*/ 0 w 29"/>
                    <a:gd name="T31" fmla="*/ 2147483647 h 28"/>
                    <a:gd name="T32" fmla="*/ 0 w 29"/>
                    <a:gd name="T33" fmla="*/ 2147483647 h 28"/>
                    <a:gd name="T34" fmla="*/ 2147483647 w 29"/>
                    <a:gd name="T35" fmla="*/ 2147483647 h 28"/>
                    <a:gd name="T36" fmla="*/ 2147483647 w 29"/>
                    <a:gd name="T37" fmla="*/ 2147483647 h 28"/>
                    <a:gd name="T38" fmla="*/ 2147483647 w 29"/>
                    <a:gd name="T39" fmla="*/ 2147483647 h 28"/>
                    <a:gd name="T40" fmla="*/ 2147483647 w 29"/>
                    <a:gd name="T41" fmla="*/ 2147483647 h 28"/>
                    <a:gd name="T42" fmla="*/ 2147483647 w 29"/>
                    <a:gd name="T43" fmla="*/ 2147483647 h 28"/>
                    <a:gd name="T44" fmla="*/ 2147483647 w 29"/>
                    <a:gd name="T45" fmla="*/ 2147483647 h 28"/>
                    <a:gd name="T46" fmla="*/ 2147483647 w 29"/>
                    <a:gd name="T47" fmla="*/ 2147483647 h 28"/>
                    <a:gd name="T48" fmla="*/ 2147483647 w 29"/>
                    <a:gd name="T49" fmla="*/ 2147483647 h 28"/>
                    <a:gd name="T50" fmla="*/ 2147483647 w 29"/>
                    <a:gd name="T51" fmla="*/ 2147483647 h 28"/>
                    <a:gd name="T52" fmla="*/ 2147483647 w 29"/>
                    <a:gd name="T53" fmla="*/ 2147483647 h 28"/>
                    <a:gd name="T54" fmla="*/ 2147483647 w 29"/>
                    <a:gd name="T55" fmla="*/ 2147483647 h 28"/>
                    <a:gd name="T56" fmla="*/ 2147483647 w 29"/>
                    <a:gd name="T57" fmla="*/ 2147483647 h 28"/>
                    <a:gd name="T58" fmla="*/ 2147483647 w 29"/>
                    <a:gd name="T59" fmla="*/ 2147483647 h 28"/>
                    <a:gd name="T60" fmla="*/ 2147483647 w 29"/>
                    <a:gd name="T61" fmla="*/ 2147483647 h 28"/>
                    <a:gd name="T62" fmla="*/ 2147483647 w 29"/>
                    <a:gd name="T63" fmla="*/ 2147483647 h 28"/>
                    <a:gd name="T64" fmla="*/ 2147483647 w 29"/>
                    <a:gd name="T65" fmla="*/ 2147483647 h 28"/>
                    <a:gd name="T66" fmla="*/ 2147483647 w 29"/>
                    <a:gd name="T67" fmla="*/ 2147483647 h 28"/>
                    <a:gd name="T68" fmla="*/ 2147483647 w 29"/>
                    <a:gd name="T69" fmla="*/ 2147483647 h 28"/>
                    <a:gd name="T70" fmla="*/ 2147483647 w 29"/>
                    <a:gd name="T71" fmla="*/ 2147483647 h 28"/>
                    <a:gd name="T72" fmla="*/ 2147483647 w 29"/>
                    <a:gd name="T73" fmla="*/ 2147483647 h 28"/>
                    <a:gd name="T74" fmla="*/ 2147483647 w 29"/>
                    <a:gd name="T75" fmla="*/ 2147483647 h 28"/>
                    <a:gd name="T76" fmla="*/ 2147483647 w 29"/>
                    <a:gd name="T77" fmla="*/ 2147483647 h 28"/>
                    <a:gd name="T78" fmla="*/ 2147483647 w 29"/>
                    <a:gd name="T79" fmla="*/ 2147483647 h 28"/>
                    <a:gd name="T80" fmla="*/ 2147483647 w 29"/>
                    <a:gd name="T81" fmla="*/ 2147483647 h 28"/>
                    <a:gd name="T82" fmla="*/ 2147483647 w 29"/>
                    <a:gd name="T83" fmla="*/ 2147483647 h 28"/>
                    <a:gd name="T84" fmla="*/ 2147483647 w 29"/>
                    <a:gd name="T85" fmla="*/ 2147483647 h 2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9"/>
                    <a:gd name="T130" fmla="*/ 0 h 28"/>
                    <a:gd name="T131" fmla="*/ 29 w 29"/>
                    <a:gd name="T132" fmla="*/ 28 h 2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9" h="28">
                      <a:moveTo>
                        <a:pt x="27" y="10"/>
                      </a:moveTo>
                      <a:lnTo>
                        <a:pt x="27" y="10"/>
                      </a:lnTo>
                      <a:lnTo>
                        <a:pt x="23" y="8"/>
                      </a:lnTo>
                      <a:lnTo>
                        <a:pt x="19" y="7"/>
                      </a:lnTo>
                      <a:lnTo>
                        <a:pt x="15" y="5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3" y="1"/>
                      </a:lnTo>
                      <a:lnTo>
                        <a:pt x="12" y="5"/>
                      </a:lnTo>
                      <a:lnTo>
                        <a:pt x="9" y="7"/>
                      </a:lnTo>
                      <a:lnTo>
                        <a:pt x="6" y="7"/>
                      </a:lnTo>
                      <a:lnTo>
                        <a:pt x="3" y="7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4" y="22"/>
                      </a:lnTo>
                      <a:lnTo>
                        <a:pt x="5" y="22"/>
                      </a:lnTo>
                      <a:lnTo>
                        <a:pt x="5" y="24"/>
                      </a:lnTo>
                      <a:lnTo>
                        <a:pt x="5" y="25"/>
                      </a:lnTo>
                      <a:lnTo>
                        <a:pt x="5" y="27"/>
                      </a:lnTo>
                      <a:lnTo>
                        <a:pt x="5" y="28"/>
                      </a:lnTo>
                      <a:lnTo>
                        <a:pt x="6" y="28"/>
                      </a:lnTo>
                      <a:lnTo>
                        <a:pt x="10" y="28"/>
                      </a:lnTo>
                      <a:lnTo>
                        <a:pt x="13" y="27"/>
                      </a:lnTo>
                      <a:lnTo>
                        <a:pt x="18" y="24"/>
                      </a:lnTo>
                      <a:lnTo>
                        <a:pt x="19" y="24"/>
                      </a:lnTo>
                      <a:lnTo>
                        <a:pt x="22" y="24"/>
                      </a:lnTo>
                      <a:lnTo>
                        <a:pt x="25" y="21"/>
                      </a:lnTo>
                      <a:lnTo>
                        <a:pt x="28" y="18"/>
                      </a:lnTo>
                      <a:lnTo>
                        <a:pt x="29" y="15"/>
                      </a:lnTo>
                      <a:lnTo>
                        <a:pt x="29" y="14"/>
                      </a:lnTo>
                      <a:lnTo>
                        <a:pt x="28" y="12"/>
                      </a:lnTo>
                      <a:lnTo>
                        <a:pt x="27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5" name="Freeform 1115">
                  <a:extLst>
                    <a:ext uri="{FF2B5EF4-FFF2-40B4-BE49-F238E27FC236}">
                      <a16:creationId xmlns:a16="http://schemas.microsoft.com/office/drawing/2014/main" id="{816782D7-DD0D-F349-89CD-C4CE8D6C9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8510" y="2855835"/>
                  <a:ext cx="133188" cy="159826"/>
                </a:xfrm>
                <a:custGeom>
                  <a:avLst/>
                  <a:gdLst>
                    <a:gd name="T0" fmla="*/ 2147483647 w 97"/>
                    <a:gd name="T1" fmla="*/ 2147483647 h 108"/>
                    <a:gd name="T2" fmla="*/ 2147483647 w 97"/>
                    <a:gd name="T3" fmla="*/ 0 h 108"/>
                    <a:gd name="T4" fmla="*/ 2147483647 w 97"/>
                    <a:gd name="T5" fmla="*/ 0 h 108"/>
                    <a:gd name="T6" fmla="*/ 2147483647 w 97"/>
                    <a:gd name="T7" fmla="*/ 2147483647 h 108"/>
                    <a:gd name="T8" fmla="*/ 2147483647 w 97"/>
                    <a:gd name="T9" fmla="*/ 2147483647 h 108"/>
                    <a:gd name="T10" fmla="*/ 2147483647 w 97"/>
                    <a:gd name="T11" fmla="*/ 2147483647 h 108"/>
                    <a:gd name="T12" fmla="*/ 2147483647 w 97"/>
                    <a:gd name="T13" fmla="*/ 2147483647 h 108"/>
                    <a:gd name="T14" fmla="*/ 2147483647 w 97"/>
                    <a:gd name="T15" fmla="*/ 2147483647 h 108"/>
                    <a:gd name="T16" fmla="*/ 2147483647 w 97"/>
                    <a:gd name="T17" fmla="*/ 2147483647 h 108"/>
                    <a:gd name="T18" fmla="*/ 2147483647 w 97"/>
                    <a:gd name="T19" fmla="*/ 2147483647 h 108"/>
                    <a:gd name="T20" fmla="*/ 2147483647 w 97"/>
                    <a:gd name="T21" fmla="*/ 2147483647 h 108"/>
                    <a:gd name="T22" fmla="*/ 2147483647 w 97"/>
                    <a:gd name="T23" fmla="*/ 2147483647 h 108"/>
                    <a:gd name="T24" fmla="*/ 2147483647 w 97"/>
                    <a:gd name="T25" fmla="*/ 2147483647 h 108"/>
                    <a:gd name="T26" fmla="*/ 2147483647 w 97"/>
                    <a:gd name="T27" fmla="*/ 2147483647 h 108"/>
                    <a:gd name="T28" fmla="*/ 2147483647 w 97"/>
                    <a:gd name="T29" fmla="*/ 2147483647 h 108"/>
                    <a:gd name="T30" fmla="*/ 0 w 97"/>
                    <a:gd name="T31" fmla="*/ 2147483647 h 108"/>
                    <a:gd name="T32" fmla="*/ 2147483647 w 97"/>
                    <a:gd name="T33" fmla="*/ 2147483647 h 108"/>
                    <a:gd name="T34" fmla="*/ 2147483647 w 97"/>
                    <a:gd name="T35" fmla="*/ 2147483647 h 108"/>
                    <a:gd name="T36" fmla="*/ 2147483647 w 97"/>
                    <a:gd name="T37" fmla="*/ 2147483647 h 108"/>
                    <a:gd name="T38" fmla="*/ 2147483647 w 97"/>
                    <a:gd name="T39" fmla="*/ 2147483647 h 108"/>
                    <a:gd name="T40" fmla="*/ 2147483647 w 97"/>
                    <a:gd name="T41" fmla="*/ 2147483647 h 108"/>
                    <a:gd name="T42" fmla="*/ 2147483647 w 97"/>
                    <a:gd name="T43" fmla="*/ 2147483647 h 108"/>
                    <a:gd name="T44" fmla="*/ 2147483647 w 97"/>
                    <a:gd name="T45" fmla="*/ 2147483647 h 108"/>
                    <a:gd name="T46" fmla="*/ 2147483647 w 97"/>
                    <a:gd name="T47" fmla="*/ 2147483647 h 108"/>
                    <a:gd name="T48" fmla="*/ 2147483647 w 97"/>
                    <a:gd name="T49" fmla="*/ 2147483647 h 108"/>
                    <a:gd name="T50" fmla="*/ 2147483647 w 97"/>
                    <a:gd name="T51" fmla="*/ 2147483647 h 108"/>
                    <a:gd name="T52" fmla="*/ 2147483647 w 97"/>
                    <a:gd name="T53" fmla="*/ 2147483647 h 108"/>
                    <a:gd name="T54" fmla="*/ 2147483647 w 97"/>
                    <a:gd name="T55" fmla="*/ 2147483647 h 108"/>
                    <a:gd name="T56" fmla="*/ 2147483647 w 97"/>
                    <a:gd name="T57" fmla="*/ 2147483647 h 108"/>
                    <a:gd name="T58" fmla="*/ 2147483647 w 97"/>
                    <a:gd name="T59" fmla="*/ 2147483647 h 108"/>
                    <a:gd name="T60" fmla="*/ 2147483647 w 97"/>
                    <a:gd name="T61" fmla="*/ 2147483647 h 108"/>
                    <a:gd name="T62" fmla="*/ 2147483647 w 97"/>
                    <a:gd name="T63" fmla="*/ 2147483647 h 108"/>
                    <a:gd name="T64" fmla="*/ 2147483647 w 97"/>
                    <a:gd name="T65" fmla="*/ 2147483647 h 108"/>
                    <a:gd name="T66" fmla="*/ 2147483647 w 97"/>
                    <a:gd name="T67" fmla="*/ 2147483647 h 10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97"/>
                    <a:gd name="T103" fmla="*/ 0 h 108"/>
                    <a:gd name="T104" fmla="*/ 97 w 97"/>
                    <a:gd name="T105" fmla="*/ 108 h 10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97" h="108">
                      <a:moveTo>
                        <a:pt x="95" y="5"/>
                      </a:moveTo>
                      <a:lnTo>
                        <a:pt x="95" y="5"/>
                      </a:lnTo>
                      <a:lnTo>
                        <a:pt x="97" y="1"/>
                      </a:lnTo>
                      <a:lnTo>
                        <a:pt x="95" y="0"/>
                      </a:lnTo>
                      <a:lnTo>
                        <a:pt x="94" y="0"/>
                      </a:lnTo>
                      <a:lnTo>
                        <a:pt x="88" y="5"/>
                      </a:lnTo>
                      <a:lnTo>
                        <a:pt x="84" y="11"/>
                      </a:lnTo>
                      <a:lnTo>
                        <a:pt x="76" y="24"/>
                      </a:lnTo>
                      <a:lnTo>
                        <a:pt x="71" y="29"/>
                      </a:lnTo>
                      <a:lnTo>
                        <a:pt x="69" y="33"/>
                      </a:lnTo>
                      <a:lnTo>
                        <a:pt x="67" y="37"/>
                      </a:lnTo>
                      <a:lnTo>
                        <a:pt x="67" y="39"/>
                      </a:lnTo>
                      <a:lnTo>
                        <a:pt x="66" y="41"/>
                      </a:lnTo>
                      <a:lnTo>
                        <a:pt x="60" y="48"/>
                      </a:lnTo>
                      <a:lnTo>
                        <a:pt x="53" y="55"/>
                      </a:lnTo>
                      <a:lnTo>
                        <a:pt x="51" y="57"/>
                      </a:lnTo>
                      <a:lnTo>
                        <a:pt x="48" y="58"/>
                      </a:lnTo>
                      <a:lnTo>
                        <a:pt x="46" y="60"/>
                      </a:lnTo>
                      <a:lnTo>
                        <a:pt x="44" y="61"/>
                      </a:lnTo>
                      <a:lnTo>
                        <a:pt x="36" y="74"/>
                      </a:lnTo>
                      <a:lnTo>
                        <a:pt x="25" y="84"/>
                      </a:lnTo>
                      <a:lnTo>
                        <a:pt x="20" y="89"/>
                      </a:lnTo>
                      <a:lnTo>
                        <a:pt x="14" y="94"/>
                      </a:lnTo>
                      <a:lnTo>
                        <a:pt x="8" y="97"/>
                      </a:lnTo>
                      <a:lnTo>
                        <a:pt x="0" y="101"/>
                      </a:lnTo>
                      <a:lnTo>
                        <a:pt x="1" y="106"/>
                      </a:lnTo>
                      <a:lnTo>
                        <a:pt x="1" y="108"/>
                      </a:lnTo>
                      <a:lnTo>
                        <a:pt x="4" y="108"/>
                      </a:lnTo>
                      <a:lnTo>
                        <a:pt x="8" y="107"/>
                      </a:lnTo>
                      <a:lnTo>
                        <a:pt x="11" y="106"/>
                      </a:lnTo>
                      <a:lnTo>
                        <a:pt x="20" y="105"/>
                      </a:lnTo>
                      <a:lnTo>
                        <a:pt x="24" y="103"/>
                      </a:lnTo>
                      <a:lnTo>
                        <a:pt x="28" y="101"/>
                      </a:lnTo>
                      <a:lnTo>
                        <a:pt x="36" y="92"/>
                      </a:lnTo>
                      <a:lnTo>
                        <a:pt x="41" y="87"/>
                      </a:lnTo>
                      <a:lnTo>
                        <a:pt x="46" y="84"/>
                      </a:lnTo>
                      <a:lnTo>
                        <a:pt x="47" y="83"/>
                      </a:lnTo>
                      <a:lnTo>
                        <a:pt x="47" y="82"/>
                      </a:lnTo>
                      <a:lnTo>
                        <a:pt x="47" y="81"/>
                      </a:lnTo>
                      <a:lnTo>
                        <a:pt x="48" y="80"/>
                      </a:lnTo>
                      <a:lnTo>
                        <a:pt x="55" y="80"/>
                      </a:lnTo>
                      <a:lnTo>
                        <a:pt x="61" y="77"/>
                      </a:lnTo>
                      <a:lnTo>
                        <a:pt x="66" y="73"/>
                      </a:lnTo>
                      <a:lnTo>
                        <a:pt x="70" y="69"/>
                      </a:lnTo>
                      <a:lnTo>
                        <a:pt x="77" y="60"/>
                      </a:lnTo>
                      <a:lnTo>
                        <a:pt x="81" y="55"/>
                      </a:lnTo>
                      <a:lnTo>
                        <a:pt x="85" y="48"/>
                      </a:lnTo>
                      <a:lnTo>
                        <a:pt x="89" y="36"/>
                      </a:lnTo>
                      <a:lnTo>
                        <a:pt x="91" y="22"/>
                      </a:lnTo>
                      <a:lnTo>
                        <a:pt x="94" y="9"/>
                      </a:lnTo>
                      <a:lnTo>
                        <a:pt x="97" y="4"/>
                      </a:lnTo>
                      <a:lnTo>
                        <a:pt x="9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6" name="Freeform 1116">
                  <a:extLst>
                    <a:ext uri="{FF2B5EF4-FFF2-40B4-BE49-F238E27FC236}">
                      <a16:creationId xmlns:a16="http://schemas.microsoft.com/office/drawing/2014/main" id="{D3620ACF-84EA-A249-A877-5C0CDC1887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36705" y="2024147"/>
                  <a:ext cx="121350" cy="51796"/>
                </a:xfrm>
                <a:custGeom>
                  <a:avLst/>
                  <a:gdLst>
                    <a:gd name="T0" fmla="*/ 2147483647 w 88"/>
                    <a:gd name="T1" fmla="*/ 2147483647 h 35"/>
                    <a:gd name="T2" fmla="*/ 2147483647 w 88"/>
                    <a:gd name="T3" fmla="*/ 2147483647 h 35"/>
                    <a:gd name="T4" fmla="*/ 2147483647 w 88"/>
                    <a:gd name="T5" fmla="*/ 2147483647 h 35"/>
                    <a:gd name="T6" fmla="*/ 2147483647 w 88"/>
                    <a:gd name="T7" fmla="*/ 0 h 35"/>
                    <a:gd name="T8" fmla="*/ 0 w 88"/>
                    <a:gd name="T9" fmla="*/ 2147483647 h 35"/>
                    <a:gd name="T10" fmla="*/ 0 w 88"/>
                    <a:gd name="T11" fmla="*/ 2147483647 h 35"/>
                    <a:gd name="T12" fmla="*/ 2147483647 w 88"/>
                    <a:gd name="T13" fmla="*/ 2147483647 h 35"/>
                    <a:gd name="T14" fmla="*/ 2147483647 w 88"/>
                    <a:gd name="T15" fmla="*/ 2147483647 h 35"/>
                    <a:gd name="T16" fmla="*/ 2147483647 w 88"/>
                    <a:gd name="T17" fmla="*/ 2147483647 h 35"/>
                    <a:gd name="T18" fmla="*/ 2147483647 w 88"/>
                    <a:gd name="T19" fmla="*/ 2147483647 h 35"/>
                    <a:gd name="T20" fmla="*/ 2147483647 w 88"/>
                    <a:gd name="T21" fmla="*/ 2147483647 h 35"/>
                    <a:gd name="T22" fmla="*/ 2147483647 w 88"/>
                    <a:gd name="T23" fmla="*/ 2147483647 h 35"/>
                    <a:gd name="T24" fmla="*/ 2147483647 w 88"/>
                    <a:gd name="T25" fmla="*/ 2147483647 h 35"/>
                    <a:gd name="T26" fmla="*/ 2147483647 w 88"/>
                    <a:gd name="T27" fmla="*/ 2147483647 h 35"/>
                    <a:gd name="T28" fmla="*/ 2147483647 w 88"/>
                    <a:gd name="T29" fmla="*/ 2147483647 h 35"/>
                    <a:gd name="T30" fmla="*/ 2147483647 w 88"/>
                    <a:gd name="T31" fmla="*/ 2147483647 h 35"/>
                    <a:gd name="T32" fmla="*/ 2147483647 w 88"/>
                    <a:gd name="T33" fmla="*/ 2147483647 h 35"/>
                    <a:gd name="T34" fmla="*/ 2147483647 w 88"/>
                    <a:gd name="T35" fmla="*/ 2147483647 h 35"/>
                    <a:gd name="T36" fmla="*/ 2147483647 w 88"/>
                    <a:gd name="T37" fmla="*/ 2147483647 h 35"/>
                    <a:gd name="T38" fmla="*/ 2147483647 w 88"/>
                    <a:gd name="T39" fmla="*/ 2147483647 h 35"/>
                    <a:gd name="T40" fmla="*/ 2147483647 w 88"/>
                    <a:gd name="T41" fmla="*/ 2147483647 h 35"/>
                    <a:gd name="T42" fmla="*/ 2147483647 w 88"/>
                    <a:gd name="T43" fmla="*/ 2147483647 h 35"/>
                    <a:gd name="T44" fmla="*/ 2147483647 w 88"/>
                    <a:gd name="T45" fmla="*/ 2147483647 h 35"/>
                    <a:gd name="T46" fmla="*/ 2147483647 w 88"/>
                    <a:gd name="T47" fmla="*/ 2147483647 h 35"/>
                    <a:gd name="T48" fmla="*/ 2147483647 w 88"/>
                    <a:gd name="T49" fmla="*/ 2147483647 h 35"/>
                    <a:gd name="T50" fmla="*/ 2147483647 w 88"/>
                    <a:gd name="T51" fmla="*/ 2147483647 h 35"/>
                    <a:gd name="T52" fmla="*/ 2147483647 w 88"/>
                    <a:gd name="T53" fmla="*/ 2147483647 h 35"/>
                    <a:gd name="T54" fmla="*/ 2147483647 w 88"/>
                    <a:gd name="T55" fmla="*/ 2147483647 h 35"/>
                    <a:gd name="T56" fmla="*/ 2147483647 w 88"/>
                    <a:gd name="T57" fmla="*/ 2147483647 h 35"/>
                    <a:gd name="T58" fmla="*/ 2147483647 w 88"/>
                    <a:gd name="T59" fmla="*/ 2147483647 h 35"/>
                    <a:gd name="T60" fmla="*/ 2147483647 w 88"/>
                    <a:gd name="T61" fmla="*/ 2147483647 h 35"/>
                    <a:gd name="T62" fmla="*/ 2147483647 w 88"/>
                    <a:gd name="T63" fmla="*/ 2147483647 h 35"/>
                    <a:gd name="T64" fmla="*/ 2147483647 w 88"/>
                    <a:gd name="T65" fmla="*/ 2147483647 h 35"/>
                    <a:gd name="T66" fmla="*/ 2147483647 w 88"/>
                    <a:gd name="T67" fmla="*/ 2147483647 h 35"/>
                    <a:gd name="T68" fmla="*/ 2147483647 w 88"/>
                    <a:gd name="T69" fmla="*/ 2147483647 h 35"/>
                    <a:gd name="T70" fmla="*/ 2147483647 w 88"/>
                    <a:gd name="T71" fmla="*/ 2147483647 h 35"/>
                    <a:gd name="T72" fmla="*/ 2147483647 w 88"/>
                    <a:gd name="T73" fmla="*/ 2147483647 h 35"/>
                    <a:gd name="T74" fmla="*/ 2147483647 w 88"/>
                    <a:gd name="T75" fmla="*/ 2147483647 h 35"/>
                    <a:gd name="T76" fmla="*/ 2147483647 w 88"/>
                    <a:gd name="T77" fmla="*/ 2147483647 h 35"/>
                    <a:gd name="T78" fmla="*/ 2147483647 w 88"/>
                    <a:gd name="T79" fmla="*/ 2147483647 h 35"/>
                    <a:gd name="T80" fmla="*/ 2147483647 w 88"/>
                    <a:gd name="T81" fmla="*/ 0 h 35"/>
                    <a:gd name="T82" fmla="*/ 2147483647 w 88"/>
                    <a:gd name="T83" fmla="*/ 0 h 35"/>
                    <a:gd name="T84" fmla="*/ 2147483647 w 88"/>
                    <a:gd name="T85" fmla="*/ 2147483647 h 35"/>
                    <a:gd name="T86" fmla="*/ 2147483647 w 88"/>
                    <a:gd name="T87" fmla="*/ 2147483647 h 35"/>
                    <a:gd name="T88" fmla="*/ 2147483647 w 88"/>
                    <a:gd name="T89" fmla="*/ 2147483647 h 35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8"/>
                    <a:gd name="T136" fmla="*/ 0 h 35"/>
                    <a:gd name="T137" fmla="*/ 88 w 88"/>
                    <a:gd name="T138" fmla="*/ 35 h 35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8" h="35">
                      <a:moveTo>
                        <a:pt x="22" y="3"/>
                      </a:moveTo>
                      <a:lnTo>
                        <a:pt x="15" y="3"/>
                      </a:lnTo>
                      <a:lnTo>
                        <a:pt x="8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8" y="5"/>
                      </a:lnTo>
                      <a:lnTo>
                        <a:pt x="14" y="10"/>
                      </a:lnTo>
                      <a:lnTo>
                        <a:pt x="22" y="18"/>
                      </a:lnTo>
                      <a:lnTo>
                        <a:pt x="29" y="26"/>
                      </a:lnTo>
                      <a:lnTo>
                        <a:pt x="33" y="29"/>
                      </a:lnTo>
                      <a:lnTo>
                        <a:pt x="37" y="32"/>
                      </a:lnTo>
                      <a:lnTo>
                        <a:pt x="42" y="34"/>
                      </a:lnTo>
                      <a:lnTo>
                        <a:pt x="47" y="34"/>
                      </a:lnTo>
                      <a:lnTo>
                        <a:pt x="52" y="35"/>
                      </a:lnTo>
                      <a:lnTo>
                        <a:pt x="59" y="35"/>
                      </a:lnTo>
                      <a:lnTo>
                        <a:pt x="64" y="35"/>
                      </a:lnTo>
                      <a:lnTo>
                        <a:pt x="68" y="34"/>
                      </a:lnTo>
                      <a:lnTo>
                        <a:pt x="73" y="32"/>
                      </a:lnTo>
                      <a:lnTo>
                        <a:pt x="78" y="31"/>
                      </a:lnTo>
                      <a:lnTo>
                        <a:pt x="87" y="31"/>
                      </a:lnTo>
                      <a:lnTo>
                        <a:pt x="88" y="30"/>
                      </a:lnTo>
                      <a:lnTo>
                        <a:pt x="87" y="29"/>
                      </a:lnTo>
                      <a:lnTo>
                        <a:pt x="85" y="25"/>
                      </a:lnTo>
                      <a:lnTo>
                        <a:pt x="85" y="23"/>
                      </a:lnTo>
                      <a:lnTo>
                        <a:pt x="87" y="20"/>
                      </a:lnTo>
                      <a:lnTo>
                        <a:pt x="87" y="19"/>
                      </a:lnTo>
                      <a:lnTo>
                        <a:pt x="87" y="18"/>
                      </a:lnTo>
                      <a:lnTo>
                        <a:pt x="83" y="15"/>
                      </a:lnTo>
                      <a:lnTo>
                        <a:pt x="79" y="13"/>
                      </a:lnTo>
                      <a:lnTo>
                        <a:pt x="69" y="10"/>
                      </a:lnTo>
                      <a:lnTo>
                        <a:pt x="66" y="10"/>
                      </a:lnTo>
                      <a:lnTo>
                        <a:pt x="62" y="11"/>
                      </a:lnTo>
                      <a:lnTo>
                        <a:pt x="60" y="12"/>
                      </a:lnTo>
                      <a:lnTo>
                        <a:pt x="56" y="12"/>
                      </a:lnTo>
                      <a:lnTo>
                        <a:pt x="48" y="10"/>
                      </a:lnTo>
                      <a:lnTo>
                        <a:pt x="41" y="7"/>
                      </a:lnTo>
                      <a:lnTo>
                        <a:pt x="40" y="6"/>
                      </a:lnTo>
                      <a:lnTo>
                        <a:pt x="40" y="4"/>
                      </a:lnTo>
                      <a:lnTo>
                        <a:pt x="40" y="3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29" y="1"/>
                      </a:lnTo>
                      <a:lnTo>
                        <a:pt x="26" y="3"/>
                      </a:lnTo>
                      <a:lnTo>
                        <a:pt x="22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7" name="Freeform 1117">
                  <a:extLst>
                    <a:ext uri="{FF2B5EF4-FFF2-40B4-BE49-F238E27FC236}">
                      <a16:creationId xmlns:a16="http://schemas.microsoft.com/office/drawing/2014/main" id="{F049E4FD-F8A4-944C-9C82-E229442439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52354" y="2009349"/>
                  <a:ext cx="63634" cy="51796"/>
                </a:xfrm>
                <a:custGeom>
                  <a:avLst/>
                  <a:gdLst>
                    <a:gd name="T0" fmla="*/ 2147483647 w 47"/>
                    <a:gd name="T1" fmla="*/ 2147483647 h 35"/>
                    <a:gd name="T2" fmla="*/ 2147483647 w 47"/>
                    <a:gd name="T3" fmla="*/ 2147483647 h 35"/>
                    <a:gd name="T4" fmla="*/ 2147483647 w 47"/>
                    <a:gd name="T5" fmla="*/ 2147483647 h 35"/>
                    <a:gd name="T6" fmla="*/ 2147483647 w 47"/>
                    <a:gd name="T7" fmla="*/ 2147483647 h 35"/>
                    <a:gd name="T8" fmla="*/ 2147483647 w 47"/>
                    <a:gd name="T9" fmla="*/ 2147483647 h 35"/>
                    <a:gd name="T10" fmla="*/ 2147483647 w 47"/>
                    <a:gd name="T11" fmla="*/ 2147483647 h 35"/>
                    <a:gd name="T12" fmla="*/ 2147483647 w 47"/>
                    <a:gd name="T13" fmla="*/ 2147483647 h 35"/>
                    <a:gd name="T14" fmla="*/ 2147483647 w 47"/>
                    <a:gd name="T15" fmla="*/ 2147483647 h 35"/>
                    <a:gd name="T16" fmla="*/ 2147483647 w 47"/>
                    <a:gd name="T17" fmla="*/ 2147483647 h 35"/>
                    <a:gd name="T18" fmla="*/ 0 w 47"/>
                    <a:gd name="T19" fmla="*/ 0 h 35"/>
                    <a:gd name="T20" fmla="*/ 0 w 47"/>
                    <a:gd name="T21" fmla="*/ 2147483647 h 35"/>
                    <a:gd name="T22" fmla="*/ 2147483647 w 47"/>
                    <a:gd name="T23" fmla="*/ 2147483647 h 35"/>
                    <a:gd name="T24" fmla="*/ 2147483647 w 47"/>
                    <a:gd name="T25" fmla="*/ 2147483647 h 35"/>
                    <a:gd name="T26" fmla="*/ 2147483647 w 47"/>
                    <a:gd name="T27" fmla="*/ 2147483647 h 35"/>
                    <a:gd name="T28" fmla="*/ 2147483647 w 47"/>
                    <a:gd name="T29" fmla="*/ 2147483647 h 35"/>
                    <a:gd name="T30" fmla="*/ 2147483647 w 47"/>
                    <a:gd name="T31" fmla="*/ 2147483647 h 35"/>
                    <a:gd name="T32" fmla="*/ 2147483647 w 47"/>
                    <a:gd name="T33" fmla="*/ 2147483647 h 35"/>
                    <a:gd name="T34" fmla="*/ 2147483647 w 47"/>
                    <a:gd name="T35" fmla="*/ 2147483647 h 35"/>
                    <a:gd name="T36" fmla="*/ 2147483647 w 47"/>
                    <a:gd name="T37" fmla="*/ 2147483647 h 35"/>
                    <a:gd name="T38" fmla="*/ 2147483647 w 47"/>
                    <a:gd name="T39" fmla="*/ 2147483647 h 35"/>
                    <a:gd name="T40" fmla="*/ 2147483647 w 47"/>
                    <a:gd name="T41" fmla="*/ 2147483647 h 35"/>
                    <a:gd name="T42" fmla="*/ 2147483647 w 47"/>
                    <a:gd name="T43" fmla="*/ 2147483647 h 35"/>
                    <a:gd name="T44" fmla="*/ 2147483647 w 47"/>
                    <a:gd name="T45" fmla="*/ 2147483647 h 35"/>
                    <a:gd name="T46" fmla="*/ 2147483647 w 47"/>
                    <a:gd name="T47" fmla="*/ 2147483647 h 35"/>
                    <a:gd name="T48" fmla="*/ 2147483647 w 47"/>
                    <a:gd name="T49" fmla="*/ 2147483647 h 35"/>
                    <a:gd name="T50" fmla="*/ 2147483647 w 47"/>
                    <a:gd name="T51" fmla="*/ 2147483647 h 35"/>
                    <a:gd name="T52" fmla="*/ 2147483647 w 47"/>
                    <a:gd name="T53" fmla="*/ 2147483647 h 35"/>
                    <a:gd name="T54" fmla="*/ 2147483647 w 47"/>
                    <a:gd name="T55" fmla="*/ 2147483647 h 35"/>
                    <a:gd name="T56" fmla="*/ 2147483647 w 47"/>
                    <a:gd name="T57" fmla="*/ 2147483647 h 35"/>
                    <a:gd name="T58" fmla="*/ 2147483647 w 47"/>
                    <a:gd name="T59" fmla="*/ 2147483647 h 35"/>
                    <a:gd name="T60" fmla="*/ 2147483647 w 47"/>
                    <a:gd name="T61" fmla="*/ 2147483647 h 35"/>
                    <a:gd name="T62" fmla="*/ 2147483647 w 47"/>
                    <a:gd name="T63" fmla="*/ 2147483647 h 35"/>
                    <a:gd name="T64" fmla="*/ 2147483647 w 47"/>
                    <a:gd name="T65" fmla="*/ 2147483647 h 35"/>
                    <a:gd name="T66" fmla="*/ 2147483647 w 47"/>
                    <a:gd name="T67" fmla="*/ 2147483647 h 35"/>
                    <a:gd name="T68" fmla="*/ 2147483647 w 47"/>
                    <a:gd name="T69" fmla="*/ 2147483647 h 35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47"/>
                    <a:gd name="T106" fmla="*/ 0 h 35"/>
                    <a:gd name="T107" fmla="*/ 47 w 47"/>
                    <a:gd name="T108" fmla="*/ 35 h 35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47" h="35">
                      <a:moveTo>
                        <a:pt x="41" y="10"/>
                      </a:moveTo>
                      <a:lnTo>
                        <a:pt x="37" y="10"/>
                      </a:lnTo>
                      <a:lnTo>
                        <a:pt x="33" y="8"/>
                      </a:lnTo>
                      <a:lnTo>
                        <a:pt x="29" y="7"/>
                      </a:lnTo>
                      <a:lnTo>
                        <a:pt x="25" y="8"/>
                      </a:lnTo>
                      <a:lnTo>
                        <a:pt x="22" y="8"/>
                      </a:lnTo>
                      <a:lnTo>
                        <a:pt x="19" y="8"/>
                      </a:lnTo>
                      <a:lnTo>
                        <a:pt x="13" y="6"/>
                      </a:lnTo>
                      <a:lnTo>
                        <a:pt x="6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8" y="9"/>
                      </a:lnTo>
                      <a:lnTo>
                        <a:pt x="14" y="14"/>
                      </a:lnTo>
                      <a:lnTo>
                        <a:pt x="16" y="16"/>
                      </a:lnTo>
                      <a:lnTo>
                        <a:pt x="16" y="20"/>
                      </a:lnTo>
                      <a:lnTo>
                        <a:pt x="16" y="22"/>
                      </a:lnTo>
                      <a:lnTo>
                        <a:pt x="18" y="25"/>
                      </a:lnTo>
                      <a:lnTo>
                        <a:pt x="22" y="29"/>
                      </a:lnTo>
                      <a:lnTo>
                        <a:pt x="27" y="34"/>
                      </a:lnTo>
                      <a:lnTo>
                        <a:pt x="29" y="35"/>
                      </a:lnTo>
                      <a:lnTo>
                        <a:pt x="32" y="35"/>
                      </a:lnTo>
                      <a:lnTo>
                        <a:pt x="34" y="35"/>
                      </a:lnTo>
                      <a:lnTo>
                        <a:pt x="38" y="34"/>
                      </a:lnTo>
                      <a:lnTo>
                        <a:pt x="39" y="32"/>
                      </a:lnTo>
                      <a:lnTo>
                        <a:pt x="39" y="29"/>
                      </a:lnTo>
                      <a:lnTo>
                        <a:pt x="39" y="26"/>
                      </a:lnTo>
                      <a:lnTo>
                        <a:pt x="39" y="23"/>
                      </a:lnTo>
                      <a:lnTo>
                        <a:pt x="42" y="22"/>
                      </a:lnTo>
                      <a:lnTo>
                        <a:pt x="44" y="20"/>
                      </a:lnTo>
                      <a:lnTo>
                        <a:pt x="47" y="19"/>
                      </a:lnTo>
                      <a:lnTo>
                        <a:pt x="47" y="15"/>
                      </a:lnTo>
                      <a:lnTo>
                        <a:pt x="44" y="11"/>
                      </a:lnTo>
                      <a:lnTo>
                        <a:pt x="43" y="10"/>
                      </a:lnTo>
                      <a:lnTo>
                        <a:pt x="41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8" name="Freeform 1118">
                  <a:extLst>
                    <a:ext uri="{FF2B5EF4-FFF2-40B4-BE49-F238E27FC236}">
                      <a16:creationId xmlns:a16="http://schemas.microsoft.com/office/drawing/2014/main" id="{D69CBC2F-7445-034D-83F8-622AA8384E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35226" y="2022668"/>
                  <a:ext cx="121350" cy="51795"/>
                </a:xfrm>
                <a:custGeom>
                  <a:avLst/>
                  <a:gdLst>
                    <a:gd name="T0" fmla="*/ 2147483647 w 88"/>
                    <a:gd name="T1" fmla="*/ 2147483647 h 35"/>
                    <a:gd name="T2" fmla="*/ 2147483647 w 88"/>
                    <a:gd name="T3" fmla="*/ 2147483647 h 35"/>
                    <a:gd name="T4" fmla="*/ 2147483647 w 88"/>
                    <a:gd name="T5" fmla="*/ 2147483647 h 35"/>
                    <a:gd name="T6" fmla="*/ 2147483647 w 88"/>
                    <a:gd name="T7" fmla="*/ 2147483647 h 35"/>
                    <a:gd name="T8" fmla="*/ 2147483647 w 88"/>
                    <a:gd name="T9" fmla="*/ 2147483647 h 35"/>
                    <a:gd name="T10" fmla="*/ 2147483647 w 88"/>
                    <a:gd name="T11" fmla="*/ 0 h 35"/>
                    <a:gd name="T12" fmla="*/ 0 w 88"/>
                    <a:gd name="T13" fmla="*/ 2147483647 h 35"/>
                    <a:gd name="T14" fmla="*/ 0 w 88"/>
                    <a:gd name="T15" fmla="*/ 2147483647 h 35"/>
                    <a:gd name="T16" fmla="*/ 0 w 88"/>
                    <a:gd name="T17" fmla="*/ 2147483647 h 35"/>
                    <a:gd name="T18" fmla="*/ 0 w 88"/>
                    <a:gd name="T19" fmla="*/ 2147483647 h 35"/>
                    <a:gd name="T20" fmla="*/ 0 w 88"/>
                    <a:gd name="T21" fmla="*/ 2147483647 h 35"/>
                    <a:gd name="T22" fmla="*/ 0 w 88"/>
                    <a:gd name="T23" fmla="*/ 2147483647 h 35"/>
                    <a:gd name="T24" fmla="*/ 2147483647 w 88"/>
                    <a:gd name="T25" fmla="*/ 2147483647 h 35"/>
                    <a:gd name="T26" fmla="*/ 2147483647 w 88"/>
                    <a:gd name="T27" fmla="*/ 2147483647 h 35"/>
                    <a:gd name="T28" fmla="*/ 2147483647 w 88"/>
                    <a:gd name="T29" fmla="*/ 2147483647 h 35"/>
                    <a:gd name="T30" fmla="*/ 2147483647 w 88"/>
                    <a:gd name="T31" fmla="*/ 2147483647 h 35"/>
                    <a:gd name="T32" fmla="*/ 2147483647 w 88"/>
                    <a:gd name="T33" fmla="*/ 2147483647 h 35"/>
                    <a:gd name="T34" fmla="*/ 2147483647 w 88"/>
                    <a:gd name="T35" fmla="*/ 2147483647 h 35"/>
                    <a:gd name="T36" fmla="*/ 2147483647 w 88"/>
                    <a:gd name="T37" fmla="*/ 2147483647 h 35"/>
                    <a:gd name="T38" fmla="*/ 2147483647 w 88"/>
                    <a:gd name="T39" fmla="*/ 2147483647 h 35"/>
                    <a:gd name="T40" fmla="*/ 2147483647 w 88"/>
                    <a:gd name="T41" fmla="*/ 2147483647 h 35"/>
                    <a:gd name="T42" fmla="*/ 2147483647 w 88"/>
                    <a:gd name="T43" fmla="*/ 2147483647 h 35"/>
                    <a:gd name="T44" fmla="*/ 2147483647 w 88"/>
                    <a:gd name="T45" fmla="*/ 2147483647 h 35"/>
                    <a:gd name="T46" fmla="*/ 2147483647 w 88"/>
                    <a:gd name="T47" fmla="*/ 2147483647 h 35"/>
                    <a:gd name="T48" fmla="*/ 2147483647 w 88"/>
                    <a:gd name="T49" fmla="*/ 2147483647 h 35"/>
                    <a:gd name="T50" fmla="*/ 2147483647 w 88"/>
                    <a:gd name="T51" fmla="*/ 2147483647 h 35"/>
                    <a:gd name="T52" fmla="*/ 2147483647 w 88"/>
                    <a:gd name="T53" fmla="*/ 2147483647 h 35"/>
                    <a:gd name="T54" fmla="*/ 2147483647 w 88"/>
                    <a:gd name="T55" fmla="*/ 2147483647 h 35"/>
                    <a:gd name="T56" fmla="*/ 2147483647 w 88"/>
                    <a:gd name="T57" fmla="*/ 2147483647 h 35"/>
                    <a:gd name="T58" fmla="*/ 2147483647 w 88"/>
                    <a:gd name="T59" fmla="*/ 2147483647 h 35"/>
                    <a:gd name="T60" fmla="*/ 2147483647 w 88"/>
                    <a:gd name="T61" fmla="*/ 2147483647 h 35"/>
                    <a:gd name="T62" fmla="*/ 2147483647 w 88"/>
                    <a:gd name="T63" fmla="*/ 2147483647 h 35"/>
                    <a:gd name="T64" fmla="*/ 2147483647 w 88"/>
                    <a:gd name="T65" fmla="*/ 2147483647 h 35"/>
                    <a:gd name="T66" fmla="*/ 2147483647 w 88"/>
                    <a:gd name="T67" fmla="*/ 2147483647 h 35"/>
                    <a:gd name="T68" fmla="*/ 2147483647 w 88"/>
                    <a:gd name="T69" fmla="*/ 2147483647 h 35"/>
                    <a:gd name="T70" fmla="*/ 2147483647 w 88"/>
                    <a:gd name="T71" fmla="*/ 2147483647 h 35"/>
                    <a:gd name="T72" fmla="*/ 2147483647 w 88"/>
                    <a:gd name="T73" fmla="*/ 2147483647 h 35"/>
                    <a:gd name="T74" fmla="*/ 2147483647 w 88"/>
                    <a:gd name="T75" fmla="*/ 2147483647 h 35"/>
                    <a:gd name="T76" fmla="*/ 2147483647 w 88"/>
                    <a:gd name="T77" fmla="*/ 2147483647 h 35"/>
                    <a:gd name="T78" fmla="*/ 2147483647 w 88"/>
                    <a:gd name="T79" fmla="*/ 2147483647 h 35"/>
                    <a:gd name="T80" fmla="*/ 2147483647 w 88"/>
                    <a:gd name="T81" fmla="*/ 2147483647 h 35"/>
                    <a:gd name="T82" fmla="*/ 2147483647 w 88"/>
                    <a:gd name="T83" fmla="*/ 2147483647 h 35"/>
                    <a:gd name="T84" fmla="*/ 2147483647 w 88"/>
                    <a:gd name="T85" fmla="*/ 2147483647 h 35"/>
                    <a:gd name="T86" fmla="*/ 2147483647 w 88"/>
                    <a:gd name="T87" fmla="*/ 2147483647 h 35"/>
                    <a:gd name="T88" fmla="*/ 2147483647 w 88"/>
                    <a:gd name="T89" fmla="*/ 2147483647 h 35"/>
                    <a:gd name="T90" fmla="*/ 2147483647 w 88"/>
                    <a:gd name="T91" fmla="*/ 2147483647 h 35"/>
                    <a:gd name="T92" fmla="*/ 2147483647 w 88"/>
                    <a:gd name="T93" fmla="*/ 2147483647 h 35"/>
                    <a:gd name="T94" fmla="*/ 2147483647 w 88"/>
                    <a:gd name="T95" fmla="*/ 2147483647 h 35"/>
                    <a:gd name="T96" fmla="*/ 2147483647 w 88"/>
                    <a:gd name="T97" fmla="*/ 2147483647 h 35"/>
                    <a:gd name="T98" fmla="*/ 2147483647 w 88"/>
                    <a:gd name="T99" fmla="*/ 2147483647 h 35"/>
                    <a:gd name="T100" fmla="*/ 2147483647 w 88"/>
                    <a:gd name="T101" fmla="*/ 2147483647 h 35"/>
                    <a:gd name="T102" fmla="*/ 2147483647 w 88"/>
                    <a:gd name="T103" fmla="*/ 2147483647 h 35"/>
                    <a:gd name="T104" fmla="*/ 2147483647 w 88"/>
                    <a:gd name="T105" fmla="*/ 2147483647 h 35"/>
                    <a:gd name="T106" fmla="*/ 2147483647 w 88"/>
                    <a:gd name="T107" fmla="*/ 2147483647 h 35"/>
                    <a:gd name="T108" fmla="*/ 2147483647 w 88"/>
                    <a:gd name="T109" fmla="*/ 2147483647 h 35"/>
                    <a:gd name="T110" fmla="*/ 2147483647 w 88"/>
                    <a:gd name="T111" fmla="*/ 0 h 35"/>
                    <a:gd name="T112" fmla="*/ 2147483647 w 88"/>
                    <a:gd name="T113" fmla="*/ 0 h 35"/>
                    <a:gd name="T114" fmla="*/ 2147483647 w 88"/>
                    <a:gd name="T115" fmla="*/ 0 h 35"/>
                    <a:gd name="T116" fmla="*/ 2147483647 w 88"/>
                    <a:gd name="T117" fmla="*/ 2147483647 h 35"/>
                    <a:gd name="T118" fmla="*/ 2147483647 w 88"/>
                    <a:gd name="T119" fmla="*/ 2147483647 h 35"/>
                    <a:gd name="T120" fmla="*/ 2147483647 w 88"/>
                    <a:gd name="T121" fmla="*/ 2147483647 h 35"/>
                    <a:gd name="T122" fmla="*/ 2147483647 w 88"/>
                    <a:gd name="T123" fmla="*/ 2147483647 h 35"/>
                    <a:gd name="T124" fmla="*/ 2147483647 w 88"/>
                    <a:gd name="T125" fmla="*/ 2147483647 h 3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8"/>
                    <a:gd name="T190" fmla="*/ 0 h 35"/>
                    <a:gd name="T191" fmla="*/ 88 w 88"/>
                    <a:gd name="T192" fmla="*/ 35 h 3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8" h="35">
                      <a:moveTo>
                        <a:pt x="22" y="2"/>
                      </a:moveTo>
                      <a:lnTo>
                        <a:pt x="22" y="2"/>
                      </a:lnTo>
                      <a:lnTo>
                        <a:pt x="15" y="2"/>
                      </a:lnTo>
                      <a:lnTo>
                        <a:pt x="8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8" y="5"/>
                      </a:lnTo>
                      <a:lnTo>
                        <a:pt x="14" y="10"/>
                      </a:lnTo>
                      <a:lnTo>
                        <a:pt x="22" y="18"/>
                      </a:lnTo>
                      <a:lnTo>
                        <a:pt x="29" y="26"/>
                      </a:lnTo>
                      <a:lnTo>
                        <a:pt x="33" y="29"/>
                      </a:lnTo>
                      <a:lnTo>
                        <a:pt x="37" y="32"/>
                      </a:lnTo>
                      <a:lnTo>
                        <a:pt x="42" y="33"/>
                      </a:lnTo>
                      <a:lnTo>
                        <a:pt x="47" y="33"/>
                      </a:lnTo>
                      <a:lnTo>
                        <a:pt x="52" y="35"/>
                      </a:lnTo>
                      <a:lnTo>
                        <a:pt x="58" y="35"/>
                      </a:lnTo>
                      <a:lnTo>
                        <a:pt x="63" y="35"/>
                      </a:lnTo>
                      <a:lnTo>
                        <a:pt x="67" y="33"/>
                      </a:lnTo>
                      <a:lnTo>
                        <a:pt x="72" y="32"/>
                      </a:lnTo>
                      <a:lnTo>
                        <a:pt x="77" y="31"/>
                      </a:lnTo>
                      <a:lnTo>
                        <a:pt x="86" y="31"/>
                      </a:lnTo>
                      <a:lnTo>
                        <a:pt x="88" y="30"/>
                      </a:lnTo>
                      <a:lnTo>
                        <a:pt x="86" y="29"/>
                      </a:lnTo>
                      <a:lnTo>
                        <a:pt x="85" y="25"/>
                      </a:lnTo>
                      <a:lnTo>
                        <a:pt x="85" y="23"/>
                      </a:lnTo>
                      <a:lnTo>
                        <a:pt x="86" y="20"/>
                      </a:lnTo>
                      <a:lnTo>
                        <a:pt x="86" y="19"/>
                      </a:lnTo>
                      <a:lnTo>
                        <a:pt x="86" y="18"/>
                      </a:lnTo>
                      <a:lnTo>
                        <a:pt x="82" y="14"/>
                      </a:lnTo>
                      <a:lnTo>
                        <a:pt x="79" y="13"/>
                      </a:lnTo>
                      <a:lnTo>
                        <a:pt x="69" y="10"/>
                      </a:lnTo>
                      <a:lnTo>
                        <a:pt x="66" y="10"/>
                      </a:lnTo>
                      <a:lnTo>
                        <a:pt x="62" y="11"/>
                      </a:lnTo>
                      <a:lnTo>
                        <a:pt x="60" y="12"/>
                      </a:lnTo>
                      <a:lnTo>
                        <a:pt x="56" y="12"/>
                      </a:lnTo>
                      <a:lnTo>
                        <a:pt x="48" y="10"/>
                      </a:lnTo>
                      <a:lnTo>
                        <a:pt x="41" y="7"/>
                      </a:lnTo>
                      <a:lnTo>
                        <a:pt x="39" y="6"/>
                      </a:lnTo>
                      <a:lnTo>
                        <a:pt x="39" y="4"/>
                      </a:lnTo>
                      <a:lnTo>
                        <a:pt x="39" y="2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29" y="1"/>
                      </a:lnTo>
                      <a:lnTo>
                        <a:pt x="25" y="2"/>
                      </a:lnTo>
                      <a:lnTo>
                        <a:pt x="22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9" name="Freeform 1119">
                  <a:extLst>
                    <a:ext uri="{FF2B5EF4-FFF2-40B4-BE49-F238E27FC236}">
                      <a16:creationId xmlns:a16="http://schemas.microsoft.com/office/drawing/2014/main" id="{7F7B1DEB-C28C-5047-BD69-6A7BC326F0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50872" y="2006387"/>
                  <a:ext cx="65114" cy="53275"/>
                </a:xfrm>
                <a:custGeom>
                  <a:avLst/>
                  <a:gdLst>
                    <a:gd name="T0" fmla="*/ 2147483647 w 47"/>
                    <a:gd name="T1" fmla="*/ 2147483647 h 36"/>
                    <a:gd name="T2" fmla="*/ 2147483647 w 47"/>
                    <a:gd name="T3" fmla="*/ 2147483647 h 36"/>
                    <a:gd name="T4" fmla="*/ 2147483647 w 47"/>
                    <a:gd name="T5" fmla="*/ 2147483647 h 36"/>
                    <a:gd name="T6" fmla="*/ 2147483647 w 47"/>
                    <a:gd name="T7" fmla="*/ 2147483647 h 36"/>
                    <a:gd name="T8" fmla="*/ 2147483647 w 47"/>
                    <a:gd name="T9" fmla="*/ 2147483647 h 36"/>
                    <a:gd name="T10" fmla="*/ 2147483647 w 47"/>
                    <a:gd name="T11" fmla="*/ 2147483647 h 36"/>
                    <a:gd name="T12" fmla="*/ 2147483647 w 47"/>
                    <a:gd name="T13" fmla="*/ 2147483647 h 36"/>
                    <a:gd name="T14" fmla="*/ 2147483647 w 47"/>
                    <a:gd name="T15" fmla="*/ 2147483647 h 36"/>
                    <a:gd name="T16" fmla="*/ 2147483647 w 47"/>
                    <a:gd name="T17" fmla="*/ 2147483647 h 36"/>
                    <a:gd name="T18" fmla="*/ 2147483647 w 47"/>
                    <a:gd name="T19" fmla="*/ 2147483647 h 36"/>
                    <a:gd name="T20" fmla="*/ 2147483647 w 47"/>
                    <a:gd name="T21" fmla="*/ 2147483647 h 36"/>
                    <a:gd name="T22" fmla="*/ 0 w 47"/>
                    <a:gd name="T23" fmla="*/ 0 h 36"/>
                    <a:gd name="T24" fmla="*/ 0 w 47"/>
                    <a:gd name="T25" fmla="*/ 0 h 36"/>
                    <a:gd name="T26" fmla="*/ 0 w 47"/>
                    <a:gd name="T27" fmla="*/ 0 h 36"/>
                    <a:gd name="T28" fmla="*/ 0 w 47"/>
                    <a:gd name="T29" fmla="*/ 2147483647 h 36"/>
                    <a:gd name="T30" fmla="*/ 2147483647 w 47"/>
                    <a:gd name="T31" fmla="*/ 2147483647 h 36"/>
                    <a:gd name="T32" fmla="*/ 2147483647 w 47"/>
                    <a:gd name="T33" fmla="*/ 2147483647 h 36"/>
                    <a:gd name="T34" fmla="*/ 2147483647 w 47"/>
                    <a:gd name="T35" fmla="*/ 2147483647 h 36"/>
                    <a:gd name="T36" fmla="*/ 2147483647 w 47"/>
                    <a:gd name="T37" fmla="*/ 2147483647 h 36"/>
                    <a:gd name="T38" fmla="*/ 2147483647 w 47"/>
                    <a:gd name="T39" fmla="*/ 2147483647 h 36"/>
                    <a:gd name="T40" fmla="*/ 2147483647 w 47"/>
                    <a:gd name="T41" fmla="*/ 2147483647 h 36"/>
                    <a:gd name="T42" fmla="*/ 2147483647 w 47"/>
                    <a:gd name="T43" fmla="*/ 2147483647 h 36"/>
                    <a:gd name="T44" fmla="*/ 2147483647 w 47"/>
                    <a:gd name="T45" fmla="*/ 2147483647 h 36"/>
                    <a:gd name="T46" fmla="*/ 2147483647 w 47"/>
                    <a:gd name="T47" fmla="*/ 2147483647 h 36"/>
                    <a:gd name="T48" fmla="*/ 2147483647 w 47"/>
                    <a:gd name="T49" fmla="*/ 2147483647 h 36"/>
                    <a:gd name="T50" fmla="*/ 2147483647 w 47"/>
                    <a:gd name="T51" fmla="*/ 2147483647 h 36"/>
                    <a:gd name="T52" fmla="*/ 2147483647 w 47"/>
                    <a:gd name="T53" fmla="*/ 2147483647 h 36"/>
                    <a:gd name="T54" fmla="*/ 2147483647 w 47"/>
                    <a:gd name="T55" fmla="*/ 2147483647 h 36"/>
                    <a:gd name="T56" fmla="*/ 2147483647 w 47"/>
                    <a:gd name="T57" fmla="*/ 2147483647 h 36"/>
                    <a:gd name="T58" fmla="*/ 2147483647 w 47"/>
                    <a:gd name="T59" fmla="*/ 2147483647 h 36"/>
                    <a:gd name="T60" fmla="*/ 2147483647 w 47"/>
                    <a:gd name="T61" fmla="*/ 2147483647 h 36"/>
                    <a:gd name="T62" fmla="*/ 2147483647 w 47"/>
                    <a:gd name="T63" fmla="*/ 2147483647 h 36"/>
                    <a:gd name="T64" fmla="*/ 2147483647 w 47"/>
                    <a:gd name="T65" fmla="*/ 2147483647 h 36"/>
                    <a:gd name="T66" fmla="*/ 2147483647 w 47"/>
                    <a:gd name="T67" fmla="*/ 2147483647 h 36"/>
                    <a:gd name="T68" fmla="*/ 2147483647 w 47"/>
                    <a:gd name="T69" fmla="*/ 2147483647 h 36"/>
                    <a:gd name="T70" fmla="*/ 2147483647 w 47"/>
                    <a:gd name="T71" fmla="*/ 2147483647 h 36"/>
                    <a:gd name="T72" fmla="*/ 2147483647 w 47"/>
                    <a:gd name="T73" fmla="*/ 2147483647 h 36"/>
                    <a:gd name="T74" fmla="*/ 2147483647 w 47"/>
                    <a:gd name="T75" fmla="*/ 2147483647 h 36"/>
                    <a:gd name="T76" fmla="*/ 2147483647 w 47"/>
                    <a:gd name="T77" fmla="*/ 2147483647 h 36"/>
                    <a:gd name="T78" fmla="*/ 2147483647 w 47"/>
                    <a:gd name="T79" fmla="*/ 2147483647 h 36"/>
                    <a:gd name="T80" fmla="*/ 2147483647 w 47"/>
                    <a:gd name="T81" fmla="*/ 2147483647 h 36"/>
                    <a:gd name="T82" fmla="*/ 2147483647 w 47"/>
                    <a:gd name="T83" fmla="*/ 2147483647 h 36"/>
                    <a:gd name="T84" fmla="*/ 2147483647 w 47"/>
                    <a:gd name="T85" fmla="*/ 2147483647 h 36"/>
                    <a:gd name="T86" fmla="*/ 2147483647 w 47"/>
                    <a:gd name="T87" fmla="*/ 2147483647 h 36"/>
                    <a:gd name="T88" fmla="*/ 2147483647 w 47"/>
                    <a:gd name="T89" fmla="*/ 2147483647 h 36"/>
                    <a:gd name="T90" fmla="*/ 2147483647 w 47"/>
                    <a:gd name="T91" fmla="*/ 2147483647 h 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7"/>
                    <a:gd name="T139" fmla="*/ 0 h 36"/>
                    <a:gd name="T140" fmla="*/ 47 w 47"/>
                    <a:gd name="T141" fmla="*/ 36 h 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7" h="36">
                      <a:moveTo>
                        <a:pt x="40" y="11"/>
                      </a:moveTo>
                      <a:lnTo>
                        <a:pt x="40" y="11"/>
                      </a:lnTo>
                      <a:lnTo>
                        <a:pt x="37" y="11"/>
                      </a:lnTo>
                      <a:lnTo>
                        <a:pt x="33" y="9"/>
                      </a:lnTo>
                      <a:lnTo>
                        <a:pt x="29" y="8"/>
                      </a:lnTo>
                      <a:lnTo>
                        <a:pt x="25" y="9"/>
                      </a:lnTo>
                      <a:lnTo>
                        <a:pt x="21" y="9"/>
                      </a:lnTo>
                      <a:lnTo>
                        <a:pt x="19" y="9"/>
                      </a:lnTo>
                      <a:lnTo>
                        <a:pt x="12" y="6"/>
                      </a:lnTo>
                      <a:lnTo>
                        <a:pt x="6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7" y="10"/>
                      </a:lnTo>
                      <a:lnTo>
                        <a:pt x="14" y="15"/>
                      </a:lnTo>
                      <a:lnTo>
                        <a:pt x="16" y="17"/>
                      </a:lnTo>
                      <a:lnTo>
                        <a:pt x="16" y="21"/>
                      </a:lnTo>
                      <a:lnTo>
                        <a:pt x="16" y="23"/>
                      </a:lnTo>
                      <a:lnTo>
                        <a:pt x="17" y="25"/>
                      </a:lnTo>
                      <a:lnTo>
                        <a:pt x="21" y="30"/>
                      </a:lnTo>
                      <a:lnTo>
                        <a:pt x="26" y="35"/>
                      </a:lnTo>
                      <a:lnTo>
                        <a:pt x="29" y="36"/>
                      </a:lnTo>
                      <a:lnTo>
                        <a:pt x="31" y="36"/>
                      </a:lnTo>
                      <a:lnTo>
                        <a:pt x="34" y="36"/>
                      </a:lnTo>
                      <a:lnTo>
                        <a:pt x="38" y="35"/>
                      </a:lnTo>
                      <a:lnTo>
                        <a:pt x="39" y="32"/>
                      </a:lnTo>
                      <a:lnTo>
                        <a:pt x="39" y="30"/>
                      </a:lnTo>
                      <a:lnTo>
                        <a:pt x="39" y="27"/>
                      </a:lnTo>
                      <a:lnTo>
                        <a:pt x="39" y="24"/>
                      </a:lnTo>
                      <a:lnTo>
                        <a:pt x="42" y="23"/>
                      </a:lnTo>
                      <a:lnTo>
                        <a:pt x="44" y="21"/>
                      </a:lnTo>
                      <a:lnTo>
                        <a:pt x="47" y="19"/>
                      </a:lnTo>
                      <a:lnTo>
                        <a:pt x="47" y="16"/>
                      </a:lnTo>
                      <a:lnTo>
                        <a:pt x="44" y="12"/>
                      </a:lnTo>
                      <a:lnTo>
                        <a:pt x="43" y="11"/>
                      </a:lnTo>
                      <a:lnTo>
                        <a:pt x="40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0" name="Freeform 1120">
                  <a:extLst>
                    <a:ext uri="{FF2B5EF4-FFF2-40B4-BE49-F238E27FC236}">
                      <a16:creationId xmlns:a16="http://schemas.microsoft.com/office/drawing/2014/main" id="{BC7F55E1-C365-0C43-9738-204D71D898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7285" y="2001951"/>
                  <a:ext cx="127269" cy="78433"/>
                </a:xfrm>
                <a:custGeom>
                  <a:avLst/>
                  <a:gdLst>
                    <a:gd name="T0" fmla="*/ 2147483647 w 93"/>
                    <a:gd name="T1" fmla="*/ 2147483647 h 53"/>
                    <a:gd name="T2" fmla="*/ 2147483647 w 93"/>
                    <a:gd name="T3" fmla="*/ 2147483647 h 53"/>
                    <a:gd name="T4" fmla="*/ 2147483647 w 93"/>
                    <a:gd name="T5" fmla="*/ 2147483647 h 53"/>
                    <a:gd name="T6" fmla="*/ 2147483647 w 93"/>
                    <a:gd name="T7" fmla="*/ 2147483647 h 53"/>
                    <a:gd name="T8" fmla="*/ 2147483647 w 93"/>
                    <a:gd name="T9" fmla="*/ 2147483647 h 53"/>
                    <a:gd name="T10" fmla="*/ 2147483647 w 93"/>
                    <a:gd name="T11" fmla="*/ 2147483647 h 53"/>
                    <a:gd name="T12" fmla="*/ 2147483647 w 93"/>
                    <a:gd name="T13" fmla="*/ 2147483647 h 53"/>
                    <a:gd name="T14" fmla="*/ 2147483647 w 93"/>
                    <a:gd name="T15" fmla="*/ 2147483647 h 53"/>
                    <a:gd name="T16" fmla="*/ 2147483647 w 93"/>
                    <a:gd name="T17" fmla="*/ 2147483647 h 53"/>
                    <a:gd name="T18" fmla="*/ 2147483647 w 93"/>
                    <a:gd name="T19" fmla="*/ 2147483647 h 53"/>
                    <a:gd name="T20" fmla="*/ 2147483647 w 93"/>
                    <a:gd name="T21" fmla="*/ 2147483647 h 53"/>
                    <a:gd name="T22" fmla="*/ 0 w 93"/>
                    <a:gd name="T23" fmla="*/ 2147483647 h 53"/>
                    <a:gd name="T24" fmla="*/ 0 w 93"/>
                    <a:gd name="T25" fmla="*/ 2147483647 h 53"/>
                    <a:gd name="T26" fmla="*/ 2147483647 w 93"/>
                    <a:gd name="T27" fmla="*/ 2147483647 h 53"/>
                    <a:gd name="T28" fmla="*/ 2147483647 w 93"/>
                    <a:gd name="T29" fmla="*/ 2147483647 h 53"/>
                    <a:gd name="T30" fmla="*/ 2147483647 w 93"/>
                    <a:gd name="T31" fmla="*/ 2147483647 h 53"/>
                    <a:gd name="T32" fmla="*/ 2147483647 w 93"/>
                    <a:gd name="T33" fmla="*/ 2147483647 h 53"/>
                    <a:gd name="T34" fmla="*/ 2147483647 w 93"/>
                    <a:gd name="T35" fmla="*/ 2147483647 h 53"/>
                    <a:gd name="T36" fmla="*/ 2147483647 w 93"/>
                    <a:gd name="T37" fmla="*/ 2147483647 h 53"/>
                    <a:gd name="T38" fmla="*/ 2147483647 w 93"/>
                    <a:gd name="T39" fmla="*/ 2147483647 h 53"/>
                    <a:gd name="T40" fmla="*/ 2147483647 w 93"/>
                    <a:gd name="T41" fmla="*/ 2147483647 h 53"/>
                    <a:gd name="T42" fmla="*/ 2147483647 w 93"/>
                    <a:gd name="T43" fmla="*/ 2147483647 h 53"/>
                    <a:gd name="T44" fmla="*/ 2147483647 w 93"/>
                    <a:gd name="T45" fmla="*/ 2147483647 h 53"/>
                    <a:gd name="T46" fmla="*/ 2147483647 w 93"/>
                    <a:gd name="T47" fmla="*/ 2147483647 h 53"/>
                    <a:gd name="T48" fmla="*/ 2147483647 w 93"/>
                    <a:gd name="T49" fmla="*/ 2147483647 h 53"/>
                    <a:gd name="T50" fmla="*/ 2147483647 w 93"/>
                    <a:gd name="T51" fmla="*/ 2147483647 h 53"/>
                    <a:gd name="T52" fmla="*/ 2147483647 w 93"/>
                    <a:gd name="T53" fmla="*/ 2147483647 h 53"/>
                    <a:gd name="T54" fmla="*/ 2147483647 w 93"/>
                    <a:gd name="T55" fmla="*/ 2147483647 h 53"/>
                    <a:gd name="T56" fmla="*/ 2147483647 w 93"/>
                    <a:gd name="T57" fmla="*/ 2147483647 h 53"/>
                    <a:gd name="T58" fmla="*/ 2147483647 w 93"/>
                    <a:gd name="T59" fmla="*/ 2147483647 h 53"/>
                    <a:gd name="T60" fmla="*/ 2147483647 w 93"/>
                    <a:gd name="T61" fmla="*/ 2147483647 h 53"/>
                    <a:gd name="T62" fmla="*/ 2147483647 w 93"/>
                    <a:gd name="T63" fmla="*/ 2147483647 h 53"/>
                    <a:gd name="T64" fmla="*/ 2147483647 w 93"/>
                    <a:gd name="T65" fmla="*/ 2147483647 h 53"/>
                    <a:gd name="T66" fmla="*/ 2147483647 w 93"/>
                    <a:gd name="T67" fmla="*/ 2147483647 h 53"/>
                    <a:gd name="T68" fmla="*/ 2147483647 w 93"/>
                    <a:gd name="T69" fmla="*/ 2147483647 h 53"/>
                    <a:gd name="T70" fmla="*/ 2147483647 w 93"/>
                    <a:gd name="T71" fmla="*/ 2147483647 h 53"/>
                    <a:gd name="T72" fmla="*/ 2147483647 w 93"/>
                    <a:gd name="T73" fmla="*/ 2147483647 h 53"/>
                    <a:gd name="T74" fmla="*/ 2147483647 w 93"/>
                    <a:gd name="T75" fmla="*/ 2147483647 h 53"/>
                    <a:gd name="T76" fmla="*/ 2147483647 w 93"/>
                    <a:gd name="T77" fmla="*/ 2147483647 h 53"/>
                    <a:gd name="T78" fmla="*/ 2147483647 w 93"/>
                    <a:gd name="T79" fmla="*/ 2147483647 h 53"/>
                    <a:gd name="T80" fmla="*/ 2147483647 w 93"/>
                    <a:gd name="T81" fmla="*/ 2147483647 h 53"/>
                    <a:gd name="T82" fmla="*/ 2147483647 w 93"/>
                    <a:gd name="T83" fmla="*/ 2147483647 h 53"/>
                    <a:gd name="T84" fmla="*/ 2147483647 w 93"/>
                    <a:gd name="T85" fmla="*/ 2147483647 h 53"/>
                    <a:gd name="T86" fmla="*/ 2147483647 w 93"/>
                    <a:gd name="T87" fmla="*/ 0 h 53"/>
                    <a:gd name="T88" fmla="*/ 2147483647 w 93"/>
                    <a:gd name="T89" fmla="*/ 0 h 53"/>
                    <a:gd name="T90" fmla="*/ 2147483647 w 93"/>
                    <a:gd name="T91" fmla="*/ 2147483647 h 53"/>
                    <a:gd name="T92" fmla="*/ 2147483647 w 93"/>
                    <a:gd name="T93" fmla="*/ 2147483647 h 53"/>
                    <a:gd name="T94" fmla="*/ 2147483647 w 93"/>
                    <a:gd name="T95" fmla="*/ 2147483647 h 53"/>
                    <a:gd name="T96" fmla="*/ 2147483647 w 93"/>
                    <a:gd name="T97" fmla="*/ 2147483647 h 53"/>
                    <a:gd name="T98" fmla="*/ 2147483647 w 93"/>
                    <a:gd name="T99" fmla="*/ 2147483647 h 53"/>
                    <a:gd name="T100" fmla="*/ 2147483647 w 93"/>
                    <a:gd name="T101" fmla="*/ 2147483647 h 53"/>
                    <a:gd name="T102" fmla="*/ 2147483647 w 93"/>
                    <a:gd name="T103" fmla="*/ 2147483647 h 53"/>
                    <a:gd name="T104" fmla="*/ 2147483647 w 93"/>
                    <a:gd name="T105" fmla="*/ 2147483647 h 53"/>
                    <a:gd name="T106" fmla="*/ 2147483647 w 93"/>
                    <a:gd name="T107" fmla="*/ 2147483647 h 53"/>
                    <a:gd name="T108" fmla="*/ 2147483647 w 93"/>
                    <a:gd name="T109" fmla="*/ 2147483647 h 53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93"/>
                    <a:gd name="T166" fmla="*/ 0 h 53"/>
                    <a:gd name="T167" fmla="*/ 93 w 93"/>
                    <a:gd name="T168" fmla="*/ 53 h 53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93" h="53">
                      <a:moveTo>
                        <a:pt x="44" y="12"/>
                      </a:moveTo>
                      <a:lnTo>
                        <a:pt x="34" y="6"/>
                      </a:lnTo>
                      <a:lnTo>
                        <a:pt x="29" y="3"/>
                      </a:lnTo>
                      <a:lnTo>
                        <a:pt x="24" y="2"/>
                      </a:lnTo>
                      <a:lnTo>
                        <a:pt x="19" y="5"/>
                      </a:lnTo>
                      <a:lnTo>
                        <a:pt x="15" y="7"/>
                      </a:lnTo>
                      <a:lnTo>
                        <a:pt x="8" y="14"/>
                      </a:lnTo>
                      <a:lnTo>
                        <a:pt x="7" y="15"/>
                      </a:lnTo>
                      <a:lnTo>
                        <a:pt x="3" y="16"/>
                      </a:lnTo>
                      <a:lnTo>
                        <a:pt x="2" y="19"/>
                      </a:lnTo>
                      <a:lnTo>
                        <a:pt x="1" y="20"/>
                      </a:lnTo>
                      <a:lnTo>
                        <a:pt x="0" y="28"/>
                      </a:lnTo>
                      <a:lnTo>
                        <a:pt x="0" y="32"/>
                      </a:lnTo>
                      <a:lnTo>
                        <a:pt x="1" y="35"/>
                      </a:lnTo>
                      <a:lnTo>
                        <a:pt x="2" y="38"/>
                      </a:lnTo>
                      <a:lnTo>
                        <a:pt x="5" y="40"/>
                      </a:lnTo>
                      <a:lnTo>
                        <a:pt x="11" y="45"/>
                      </a:lnTo>
                      <a:lnTo>
                        <a:pt x="26" y="51"/>
                      </a:lnTo>
                      <a:lnTo>
                        <a:pt x="30" y="52"/>
                      </a:lnTo>
                      <a:lnTo>
                        <a:pt x="34" y="51"/>
                      </a:lnTo>
                      <a:lnTo>
                        <a:pt x="40" y="47"/>
                      </a:lnTo>
                      <a:lnTo>
                        <a:pt x="41" y="46"/>
                      </a:lnTo>
                      <a:lnTo>
                        <a:pt x="43" y="47"/>
                      </a:lnTo>
                      <a:lnTo>
                        <a:pt x="47" y="50"/>
                      </a:lnTo>
                      <a:lnTo>
                        <a:pt x="50" y="52"/>
                      </a:lnTo>
                      <a:lnTo>
                        <a:pt x="54" y="53"/>
                      </a:lnTo>
                      <a:lnTo>
                        <a:pt x="59" y="52"/>
                      </a:lnTo>
                      <a:lnTo>
                        <a:pt x="63" y="50"/>
                      </a:lnTo>
                      <a:lnTo>
                        <a:pt x="68" y="46"/>
                      </a:lnTo>
                      <a:lnTo>
                        <a:pt x="72" y="44"/>
                      </a:lnTo>
                      <a:lnTo>
                        <a:pt x="74" y="43"/>
                      </a:lnTo>
                      <a:lnTo>
                        <a:pt x="77" y="44"/>
                      </a:lnTo>
                      <a:lnTo>
                        <a:pt x="81" y="45"/>
                      </a:lnTo>
                      <a:lnTo>
                        <a:pt x="83" y="47"/>
                      </a:lnTo>
                      <a:lnTo>
                        <a:pt x="87" y="49"/>
                      </a:lnTo>
                      <a:lnTo>
                        <a:pt x="91" y="49"/>
                      </a:lnTo>
                      <a:lnTo>
                        <a:pt x="92" y="47"/>
                      </a:lnTo>
                      <a:lnTo>
                        <a:pt x="93" y="46"/>
                      </a:lnTo>
                      <a:lnTo>
                        <a:pt x="92" y="40"/>
                      </a:lnTo>
                      <a:lnTo>
                        <a:pt x="90" y="35"/>
                      </a:lnTo>
                      <a:lnTo>
                        <a:pt x="83" y="25"/>
                      </a:lnTo>
                      <a:lnTo>
                        <a:pt x="80" y="19"/>
                      </a:lnTo>
                      <a:lnTo>
                        <a:pt x="74" y="13"/>
                      </a:lnTo>
                      <a:lnTo>
                        <a:pt x="63" y="0"/>
                      </a:lnTo>
                      <a:lnTo>
                        <a:pt x="62" y="0"/>
                      </a:lnTo>
                      <a:lnTo>
                        <a:pt x="60" y="1"/>
                      </a:lnTo>
                      <a:lnTo>
                        <a:pt x="60" y="6"/>
                      </a:lnTo>
                      <a:lnTo>
                        <a:pt x="62" y="11"/>
                      </a:lnTo>
                      <a:lnTo>
                        <a:pt x="62" y="15"/>
                      </a:lnTo>
                      <a:lnTo>
                        <a:pt x="62" y="16"/>
                      </a:lnTo>
                      <a:lnTo>
                        <a:pt x="59" y="19"/>
                      </a:lnTo>
                      <a:lnTo>
                        <a:pt x="58" y="19"/>
                      </a:lnTo>
                      <a:lnTo>
                        <a:pt x="57" y="19"/>
                      </a:lnTo>
                      <a:lnTo>
                        <a:pt x="52" y="16"/>
                      </a:lnTo>
                      <a:lnTo>
                        <a:pt x="44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1" name="Freeform 1121">
                  <a:extLst>
                    <a:ext uri="{FF2B5EF4-FFF2-40B4-BE49-F238E27FC236}">
                      <a16:creationId xmlns:a16="http://schemas.microsoft.com/office/drawing/2014/main" id="{C763AE04-7CED-444F-A3B0-BBF41739B7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5355" y="2093701"/>
                  <a:ext cx="11839" cy="19238"/>
                </a:xfrm>
                <a:custGeom>
                  <a:avLst/>
                  <a:gdLst>
                    <a:gd name="T0" fmla="*/ 2147483647 w 9"/>
                    <a:gd name="T1" fmla="*/ 2147483647 h 13"/>
                    <a:gd name="T2" fmla="*/ 2147483647 w 9"/>
                    <a:gd name="T3" fmla="*/ 2147483647 h 13"/>
                    <a:gd name="T4" fmla="*/ 2147483647 w 9"/>
                    <a:gd name="T5" fmla="*/ 2147483647 h 13"/>
                    <a:gd name="T6" fmla="*/ 2147483647 w 9"/>
                    <a:gd name="T7" fmla="*/ 2147483647 h 13"/>
                    <a:gd name="T8" fmla="*/ 2147483647 w 9"/>
                    <a:gd name="T9" fmla="*/ 0 h 13"/>
                    <a:gd name="T10" fmla="*/ 2147483647 w 9"/>
                    <a:gd name="T11" fmla="*/ 2147483647 h 13"/>
                    <a:gd name="T12" fmla="*/ 0 w 9"/>
                    <a:gd name="T13" fmla="*/ 2147483647 h 13"/>
                    <a:gd name="T14" fmla="*/ 0 w 9"/>
                    <a:gd name="T15" fmla="*/ 2147483647 h 13"/>
                    <a:gd name="T16" fmla="*/ 0 w 9"/>
                    <a:gd name="T17" fmla="*/ 2147483647 h 13"/>
                    <a:gd name="T18" fmla="*/ 0 w 9"/>
                    <a:gd name="T19" fmla="*/ 2147483647 h 13"/>
                    <a:gd name="T20" fmla="*/ 2147483647 w 9"/>
                    <a:gd name="T21" fmla="*/ 2147483647 h 13"/>
                    <a:gd name="T22" fmla="*/ 2147483647 w 9"/>
                    <a:gd name="T23" fmla="*/ 2147483647 h 13"/>
                    <a:gd name="T24" fmla="*/ 2147483647 w 9"/>
                    <a:gd name="T25" fmla="*/ 2147483647 h 13"/>
                    <a:gd name="T26" fmla="*/ 2147483647 w 9"/>
                    <a:gd name="T27" fmla="*/ 2147483647 h 13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3"/>
                    <a:gd name="T44" fmla="*/ 9 w 9"/>
                    <a:gd name="T45" fmla="*/ 13 h 13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3">
                      <a:moveTo>
                        <a:pt x="8" y="9"/>
                      </a:moveTo>
                      <a:lnTo>
                        <a:pt x="9" y="5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2" y="13"/>
                      </a:lnTo>
                      <a:lnTo>
                        <a:pt x="5" y="11"/>
                      </a:lnTo>
                      <a:lnTo>
                        <a:pt x="7" y="11"/>
                      </a:lnTo>
                      <a:lnTo>
                        <a:pt x="8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2" name="Freeform 1122">
                  <a:extLst>
                    <a:ext uri="{FF2B5EF4-FFF2-40B4-BE49-F238E27FC236}">
                      <a16:creationId xmlns:a16="http://schemas.microsoft.com/office/drawing/2014/main" id="{1B81C29B-C2D8-F64B-A5C3-5E9456E3EA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4321" y="2000468"/>
                  <a:ext cx="128749" cy="78434"/>
                </a:xfrm>
                <a:custGeom>
                  <a:avLst/>
                  <a:gdLst>
                    <a:gd name="T0" fmla="*/ 2147483647 w 94"/>
                    <a:gd name="T1" fmla="*/ 2147483647 h 53"/>
                    <a:gd name="T2" fmla="*/ 2147483647 w 94"/>
                    <a:gd name="T3" fmla="*/ 2147483647 h 53"/>
                    <a:gd name="T4" fmla="*/ 2147483647 w 94"/>
                    <a:gd name="T5" fmla="*/ 2147483647 h 53"/>
                    <a:gd name="T6" fmla="*/ 2147483647 w 94"/>
                    <a:gd name="T7" fmla="*/ 2147483647 h 53"/>
                    <a:gd name="T8" fmla="*/ 2147483647 w 94"/>
                    <a:gd name="T9" fmla="*/ 2147483647 h 53"/>
                    <a:gd name="T10" fmla="*/ 2147483647 w 94"/>
                    <a:gd name="T11" fmla="*/ 2147483647 h 53"/>
                    <a:gd name="T12" fmla="*/ 2147483647 w 94"/>
                    <a:gd name="T13" fmla="*/ 2147483647 h 53"/>
                    <a:gd name="T14" fmla="*/ 0 w 94"/>
                    <a:gd name="T15" fmla="*/ 2147483647 h 53"/>
                    <a:gd name="T16" fmla="*/ 2147483647 w 94"/>
                    <a:gd name="T17" fmla="*/ 2147483647 h 53"/>
                    <a:gd name="T18" fmla="*/ 2147483647 w 94"/>
                    <a:gd name="T19" fmla="*/ 2147483647 h 53"/>
                    <a:gd name="T20" fmla="*/ 2147483647 w 94"/>
                    <a:gd name="T21" fmla="*/ 2147483647 h 53"/>
                    <a:gd name="T22" fmla="*/ 2147483647 w 94"/>
                    <a:gd name="T23" fmla="*/ 2147483647 h 53"/>
                    <a:gd name="T24" fmla="*/ 2147483647 w 94"/>
                    <a:gd name="T25" fmla="*/ 2147483647 h 53"/>
                    <a:gd name="T26" fmla="*/ 2147483647 w 94"/>
                    <a:gd name="T27" fmla="*/ 2147483647 h 53"/>
                    <a:gd name="T28" fmla="*/ 2147483647 w 94"/>
                    <a:gd name="T29" fmla="*/ 2147483647 h 53"/>
                    <a:gd name="T30" fmla="*/ 2147483647 w 94"/>
                    <a:gd name="T31" fmla="*/ 2147483647 h 53"/>
                    <a:gd name="T32" fmla="*/ 2147483647 w 94"/>
                    <a:gd name="T33" fmla="*/ 2147483647 h 53"/>
                    <a:gd name="T34" fmla="*/ 2147483647 w 94"/>
                    <a:gd name="T35" fmla="*/ 2147483647 h 53"/>
                    <a:gd name="T36" fmla="*/ 2147483647 w 94"/>
                    <a:gd name="T37" fmla="*/ 2147483647 h 53"/>
                    <a:gd name="T38" fmla="*/ 2147483647 w 94"/>
                    <a:gd name="T39" fmla="*/ 2147483647 h 53"/>
                    <a:gd name="T40" fmla="*/ 2147483647 w 94"/>
                    <a:gd name="T41" fmla="*/ 2147483647 h 53"/>
                    <a:gd name="T42" fmla="*/ 2147483647 w 94"/>
                    <a:gd name="T43" fmla="*/ 2147483647 h 53"/>
                    <a:gd name="T44" fmla="*/ 2147483647 w 94"/>
                    <a:gd name="T45" fmla="*/ 2147483647 h 53"/>
                    <a:gd name="T46" fmla="*/ 2147483647 w 94"/>
                    <a:gd name="T47" fmla="*/ 2147483647 h 53"/>
                    <a:gd name="T48" fmla="*/ 2147483647 w 94"/>
                    <a:gd name="T49" fmla="*/ 2147483647 h 53"/>
                    <a:gd name="T50" fmla="*/ 2147483647 w 94"/>
                    <a:gd name="T51" fmla="*/ 2147483647 h 53"/>
                    <a:gd name="T52" fmla="*/ 2147483647 w 94"/>
                    <a:gd name="T53" fmla="*/ 2147483647 h 53"/>
                    <a:gd name="T54" fmla="*/ 2147483647 w 94"/>
                    <a:gd name="T55" fmla="*/ 2147483647 h 53"/>
                    <a:gd name="T56" fmla="*/ 2147483647 w 94"/>
                    <a:gd name="T57" fmla="*/ 0 h 53"/>
                    <a:gd name="T58" fmla="*/ 2147483647 w 94"/>
                    <a:gd name="T59" fmla="*/ 2147483647 h 53"/>
                    <a:gd name="T60" fmla="*/ 2147483647 w 94"/>
                    <a:gd name="T61" fmla="*/ 2147483647 h 53"/>
                    <a:gd name="T62" fmla="*/ 2147483647 w 94"/>
                    <a:gd name="T63" fmla="*/ 2147483647 h 53"/>
                    <a:gd name="T64" fmla="*/ 2147483647 w 94"/>
                    <a:gd name="T65" fmla="*/ 2147483647 h 53"/>
                    <a:gd name="T66" fmla="*/ 2147483647 w 94"/>
                    <a:gd name="T67" fmla="*/ 2147483647 h 53"/>
                    <a:gd name="T68" fmla="*/ 2147483647 w 94"/>
                    <a:gd name="T69" fmla="*/ 2147483647 h 53"/>
                    <a:gd name="T70" fmla="*/ 2147483647 w 94"/>
                    <a:gd name="T71" fmla="*/ 2147483647 h 5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94"/>
                    <a:gd name="T109" fmla="*/ 0 h 53"/>
                    <a:gd name="T110" fmla="*/ 94 w 94"/>
                    <a:gd name="T111" fmla="*/ 53 h 5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94" h="53">
                      <a:moveTo>
                        <a:pt x="45" y="12"/>
                      </a:moveTo>
                      <a:lnTo>
                        <a:pt x="45" y="12"/>
                      </a:lnTo>
                      <a:lnTo>
                        <a:pt x="35" y="6"/>
                      </a:lnTo>
                      <a:lnTo>
                        <a:pt x="29" y="3"/>
                      </a:lnTo>
                      <a:lnTo>
                        <a:pt x="24" y="2"/>
                      </a:lnTo>
                      <a:lnTo>
                        <a:pt x="19" y="4"/>
                      </a:lnTo>
                      <a:lnTo>
                        <a:pt x="15" y="7"/>
                      </a:lnTo>
                      <a:lnTo>
                        <a:pt x="9" y="14"/>
                      </a:lnTo>
                      <a:lnTo>
                        <a:pt x="8" y="15"/>
                      </a:lnTo>
                      <a:lnTo>
                        <a:pt x="4" y="16"/>
                      </a:lnTo>
                      <a:lnTo>
                        <a:pt x="3" y="19"/>
                      </a:lnTo>
                      <a:lnTo>
                        <a:pt x="2" y="20"/>
                      </a:lnTo>
                      <a:lnTo>
                        <a:pt x="0" y="28"/>
                      </a:lnTo>
                      <a:lnTo>
                        <a:pt x="0" y="32"/>
                      </a:lnTo>
                      <a:lnTo>
                        <a:pt x="2" y="35"/>
                      </a:lnTo>
                      <a:lnTo>
                        <a:pt x="3" y="38"/>
                      </a:lnTo>
                      <a:lnTo>
                        <a:pt x="5" y="40"/>
                      </a:lnTo>
                      <a:lnTo>
                        <a:pt x="12" y="45"/>
                      </a:lnTo>
                      <a:lnTo>
                        <a:pt x="27" y="51"/>
                      </a:lnTo>
                      <a:lnTo>
                        <a:pt x="31" y="52"/>
                      </a:lnTo>
                      <a:lnTo>
                        <a:pt x="35" y="51"/>
                      </a:lnTo>
                      <a:lnTo>
                        <a:pt x="41" y="47"/>
                      </a:lnTo>
                      <a:lnTo>
                        <a:pt x="42" y="46"/>
                      </a:lnTo>
                      <a:lnTo>
                        <a:pt x="43" y="47"/>
                      </a:lnTo>
                      <a:lnTo>
                        <a:pt x="47" y="50"/>
                      </a:lnTo>
                      <a:lnTo>
                        <a:pt x="51" y="52"/>
                      </a:lnTo>
                      <a:lnTo>
                        <a:pt x="55" y="53"/>
                      </a:lnTo>
                      <a:lnTo>
                        <a:pt x="60" y="52"/>
                      </a:lnTo>
                      <a:lnTo>
                        <a:pt x="64" y="50"/>
                      </a:lnTo>
                      <a:lnTo>
                        <a:pt x="69" y="46"/>
                      </a:lnTo>
                      <a:lnTo>
                        <a:pt x="73" y="44"/>
                      </a:lnTo>
                      <a:lnTo>
                        <a:pt x="75" y="42"/>
                      </a:lnTo>
                      <a:lnTo>
                        <a:pt x="78" y="44"/>
                      </a:lnTo>
                      <a:lnTo>
                        <a:pt x="82" y="45"/>
                      </a:lnTo>
                      <a:lnTo>
                        <a:pt x="84" y="47"/>
                      </a:lnTo>
                      <a:lnTo>
                        <a:pt x="88" y="48"/>
                      </a:lnTo>
                      <a:lnTo>
                        <a:pt x="92" y="48"/>
                      </a:lnTo>
                      <a:lnTo>
                        <a:pt x="93" y="47"/>
                      </a:lnTo>
                      <a:lnTo>
                        <a:pt x="94" y="46"/>
                      </a:lnTo>
                      <a:lnTo>
                        <a:pt x="93" y="40"/>
                      </a:lnTo>
                      <a:lnTo>
                        <a:pt x="90" y="35"/>
                      </a:lnTo>
                      <a:lnTo>
                        <a:pt x="84" y="25"/>
                      </a:lnTo>
                      <a:lnTo>
                        <a:pt x="80" y="19"/>
                      </a:lnTo>
                      <a:lnTo>
                        <a:pt x="75" y="13"/>
                      </a:lnTo>
                      <a:lnTo>
                        <a:pt x="64" y="0"/>
                      </a:lnTo>
                      <a:lnTo>
                        <a:pt x="62" y="0"/>
                      </a:lnTo>
                      <a:lnTo>
                        <a:pt x="61" y="1"/>
                      </a:lnTo>
                      <a:lnTo>
                        <a:pt x="61" y="6"/>
                      </a:lnTo>
                      <a:lnTo>
                        <a:pt x="62" y="10"/>
                      </a:lnTo>
                      <a:lnTo>
                        <a:pt x="62" y="15"/>
                      </a:lnTo>
                      <a:lnTo>
                        <a:pt x="62" y="16"/>
                      </a:lnTo>
                      <a:lnTo>
                        <a:pt x="60" y="19"/>
                      </a:lnTo>
                      <a:lnTo>
                        <a:pt x="59" y="19"/>
                      </a:lnTo>
                      <a:lnTo>
                        <a:pt x="57" y="19"/>
                      </a:lnTo>
                      <a:lnTo>
                        <a:pt x="52" y="16"/>
                      </a:lnTo>
                      <a:lnTo>
                        <a:pt x="45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3" name="Freeform 1123">
                  <a:extLst>
                    <a:ext uri="{FF2B5EF4-FFF2-40B4-BE49-F238E27FC236}">
                      <a16:creationId xmlns:a16="http://schemas.microsoft.com/office/drawing/2014/main" id="{96A1C468-6C0B-6B47-A64A-6472610096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3879" y="2090744"/>
                  <a:ext cx="13318" cy="19238"/>
                </a:xfrm>
                <a:custGeom>
                  <a:avLst/>
                  <a:gdLst>
                    <a:gd name="T0" fmla="*/ 2147483647 w 9"/>
                    <a:gd name="T1" fmla="*/ 2147483647 h 13"/>
                    <a:gd name="T2" fmla="*/ 2147483647 w 9"/>
                    <a:gd name="T3" fmla="*/ 2147483647 h 13"/>
                    <a:gd name="T4" fmla="*/ 2147483647 w 9"/>
                    <a:gd name="T5" fmla="*/ 2147483647 h 13"/>
                    <a:gd name="T6" fmla="*/ 2147483647 w 9"/>
                    <a:gd name="T7" fmla="*/ 2147483647 h 13"/>
                    <a:gd name="T8" fmla="*/ 2147483647 w 9"/>
                    <a:gd name="T9" fmla="*/ 2147483647 h 13"/>
                    <a:gd name="T10" fmla="*/ 2147483647 w 9"/>
                    <a:gd name="T11" fmla="*/ 2147483647 h 13"/>
                    <a:gd name="T12" fmla="*/ 2147483647 w 9"/>
                    <a:gd name="T13" fmla="*/ 0 h 13"/>
                    <a:gd name="T14" fmla="*/ 2147483647 w 9"/>
                    <a:gd name="T15" fmla="*/ 0 h 13"/>
                    <a:gd name="T16" fmla="*/ 2147483647 w 9"/>
                    <a:gd name="T17" fmla="*/ 2147483647 h 13"/>
                    <a:gd name="T18" fmla="*/ 0 w 9"/>
                    <a:gd name="T19" fmla="*/ 2147483647 h 13"/>
                    <a:gd name="T20" fmla="*/ 0 w 9"/>
                    <a:gd name="T21" fmla="*/ 2147483647 h 13"/>
                    <a:gd name="T22" fmla="*/ 0 w 9"/>
                    <a:gd name="T23" fmla="*/ 2147483647 h 13"/>
                    <a:gd name="T24" fmla="*/ 0 w 9"/>
                    <a:gd name="T25" fmla="*/ 2147483647 h 13"/>
                    <a:gd name="T26" fmla="*/ 0 w 9"/>
                    <a:gd name="T27" fmla="*/ 2147483647 h 13"/>
                    <a:gd name="T28" fmla="*/ 0 w 9"/>
                    <a:gd name="T29" fmla="*/ 2147483647 h 13"/>
                    <a:gd name="T30" fmla="*/ 2147483647 w 9"/>
                    <a:gd name="T31" fmla="*/ 2147483647 h 13"/>
                    <a:gd name="T32" fmla="*/ 2147483647 w 9"/>
                    <a:gd name="T33" fmla="*/ 2147483647 h 13"/>
                    <a:gd name="T34" fmla="*/ 2147483647 w 9"/>
                    <a:gd name="T35" fmla="*/ 2147483647 h 13"/>
                    <a:gd name="T36" fmla="*/ 2147483647 w 9"/>
                    <a:gd name="T37" fmla="*/ 2147483647 h 13"/>
                    <a:gd name="T38" fmla="*/ 2147483647 w 9"/>
                    <a:gd name="T39" fmla="*/ 2147483647 h 13"/>
                    <a:gd name="T40" fmla="*/ 2147483647 w 9"/>
                    <a:gd name="T41" fmla="*/ 2147483647 h 13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9"/>
                    <a:gd name="T64" fmla="*/ 0 h 13"/>
                    <a:gd name="T65" fmla="*/ 9 w 9"/>
                    <a:gd name="T66" fmla="*/ 13 h 13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9" h="13"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9" y="6"/>
                      </a:lnTo>
                      <a:lnTo>
                        <a:pt x="9" y="4"/>
                      </a:lnTo>
                      <a:lnTo>
                        <a:pt x="6" y="2"/>
                      </a:ln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1" y="13"/>
                      </a:lnTo>
                      <a:lnTo>
                        <a:pt x="5" y="12"/>
                      </a:lnTo>
                      <a:lnTo>
                        <a:pt x="6" y="12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4" name="Freeform 1124">
                  <a:extLst>
                    <a:ext uri="{FF2B5EF4-FFF2-40B4-BE49-F238E27FC236}">
                      <a16:creationId xmlns:a16="http://schemas.microsoft.com/office/drawing/2014/main" id="{2138A997-C90E-024D-835A-D5057562D4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2397" y="2108500"/>
                  <a:ext cx="71034" cy="38477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2147483647 h 26"/>
                    <a:gd name="T6" fmla="*/ 2147483647 w 52"/>
                    <a:gd name="T7" fmla="*/ 2147483647 h 26"/>
                    <a:gd name="T8" fmla="*/ 2147483647 w 52"/>
                    <a:gd name="T9" fmla="*/ 0 h 26"/>
                    <a:gd name="T10" fmla="*/ 2147483647 w 52"/>
                    <a:gd name="T11" fmla="*/ 0 h 26"/>
                    <a:gd name="T12" fmla="*/ 2147483647 w 52"/>
                    <a:gd name="T13" fmla="*/ 0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2147483647 w 52"/>
                    <a:gd name="T19" fmla="*/ 2147483647 h 26"/>
                    <a:gd name="T20" fmla="*/ 2147483647 w 52"/>
                    <a:gd name="T21" fmla="*/ 2147483647 h 26"/>
                    <a:gd name="T22" fmla="*/ 2147483647 w 52"/>
                    <a:gd name="T23" fmla="*/ 2147483647 h 26"/>
                    <a:gd name="T24" fmla="*/ 2147483647 w 52"/>
                    <a:gd name="T25" fmla="*/ 2147483647 h 26"/>
                    <a:gd name="T26" fmla="*/ 2147483647 w 52"/>
                    <a:gd name="T27" fmla="*/ 2147483647 h 26"/>
                    <a:gd name="T28" fmla="*/ 2147483647 w 52"/>
                    <a:gd name="T29" fmla="*/ 2147483647 h 26"/>
                    <a:gd name="T30" fmla="*/ 2147483647 w 52"/>
                    <a:gd name="T31" fmla="*/ 2147483647 h 26"/>
                    <a:gd name="T32" fmla="*/ 0 w 52"/>
                    <a:gd name="T33" fmla="*/ 2147483647 h 26"/>
                    <a:gd name="T34" fmla="*/ 0 w 52"/>
                    <a:gd name="T35" fmla="*/ 2147483647 h 26"/>
                    <a:gd name="T36" fmla="*/ 2147483647 w 52"/>
                    <a:gd name="T37" fmla="*/ 2147483647 h 26"/>
                    <a:gd name="T38" fmla="*/ 2147483647 w 52"/>
                    <a:gd name="T39" fmla="*/ 2147483647 h 26"/>
                    <a:gd name="T40" fmla="*/ 2147483647 w 52"/>
                    <a:gd name="T41" fmla="*/ 2147483647 h 26"/>
                    <a:gd name="T42" fmla="*/ 2147483647 w 52"/>
                    <a:gd name="T43" fmla="*/ 2147483647 h 26"/>
                    <a:gd name="T44" fmla="*/ 2147483647 w 52"/>
                    <a:gd name="T45" fmla="*/ 2147483647 h 26"/>
                    <a:gd name="T46" fmla="*/ 2147483647 w 52"/>
                    <a:gd name="T47" fmla="*/ 2147483647 h 26"/>
                    <a:gd name="T48" fmla="*/ 2147483647 w 52"/>
                    <a:gd name="T49" fmla="*/ 2147483647 h 26"/>
                    <a:gd name="T50" fmla="*/ 2147483647 w 52"/>
                    <a:gd name="T51" fmla="*/ 2147483647 h 26"/>
                    <a:gd name="T52" fmla="*/ 2147483647 w 52"/>
                    <a:gd name="T53" fmla="*/ 2147483647 h 26"/>
                    <a:gd name="T54" fmla="*/ 2147483647 w 52"/>
                    <a:gd name="T55" fmla="*/ 2147483647 h 26"/>
                    <a:gd name="T56" fmla="*/ 2147483647 w 52"/>
                    <a:gd name="T57" fmla="*/ 2147483647 h 26"/>
                    <a:gd name="T58" fmla="*/ 2147483647 w 52"/>
                    <a:gd name="T59" fmla="*/ 2147483647 h 26"/>
                    <a:gd name="T60" fmla="*/ 2147483647 w 52"/>
                    <a:gd name="T61" fmla="*/ 2147483647 h 26"/>
                    <a:gd name="T62" fmla="*/ 2147483647 w 52"/>
                    <a:gd name="T63" fmla="*/ 2147483647 h 2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2"/>
                    <a:gd name="T97" fmla="*/ 0 h 26"/>
                    <a:gd name="T98" fmla="*/ 52 w 52"/>
                    <a:gd name="T99" fmla="*/ 26 h 2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2" h="26">
                      <a:moveTo>
                        <a:pt x="52" y="20"/>
                      </a:moveTo>
                      <a:lnTo>
                        <a:pt x="52" y="17"/>
                      </a:lnTo>
                      <a:lnTo>
                        <a:pt x="52" y="16"/>
                      </a:lnTo>
                      <a:lnTo>
                        <a:pt x="51" y="14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4"/>
                      </a:lnTo>
                      <a:lnTo>
                        <a:pt x="18" y="4"/>
                      </a:lnTo>
                      <a:lnTo>
                        <a:pt x="14" y="5"/>
                      </a:lnTo>
                      <a:lnTo>
                        <a:pt x="15" y="7"/>
                      </a:lnTo>
                      <a:lnTo>
                        <a:pt x="15" y="10"/>
                      </a:lnTo>
                      <a:lnTo>
                        <a:pt x="14" y="12"/>
                      </a:lnTo>
                      <a:lnTo>
                        <a:pt x="11" y="13"/>
                      </a:lnTo>
                      <a:lnTo>
                        <a:pt x="0" y="19"/>
                      </a:lnTo>
                      <a:lnTo>
                        <a:pt x="0" y="20"/>
                      </a:lnTo>
                      <a:lnTo>
                        <a:pt x="5" y="23"/>
                      </a:lnTo>
                      <a:lnTo>
                        <a:pt x="11" y="25"/>
                      </a:lnTo>
                      <a:lnTo>
                        <a:pt x="18" y="26"/>
                      </a:lnTo>
                      <a:lnTo>
                        <a:pt x="23" y="26"/>
                      </a:lnTo>
                      <a:lnTo>
                        <a:pt x="25" y="25"/>
                      </a:lnTo>
                      <a:lnTo>
                        <a:pt x="26" y="24"/>
                      </a:lnTo>
                      <a:lnTo>
                        <a:pt x="28" y="22"/>
                      </a:lnTo>
                      <a:lnTo>
                        <a:pt x="29" y="22"/>
                      </a:lnTo>
                      <a:lnTo>
                        <a:pt x="35" y="23"/>
                      </a:lnTo>
                      <a:lnTo>
                        <a:pt x="42" y="24"/>
                      </a:lnTo>
                      <a:lnTo>
                        <a:pt x="44" y="24"/>
                      </a:lnTo>
                      <a:lnTo>
                        <a:pt x="47" y="24"/>
                      </a:lnTo>
                      <a:lnTo>
                        <a:pt x="49" y="23"/>
                      </a:lnTo>
                      <a:lnTo>
                        <a:pt x="52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5" name="Freeform 1125">
                  <a:extLst>
                    <a:ext uri="{FF2B5EF4-FFF2-40B4-BE49-F238E27FC236}">
                      <a16:creationId xmlns:a16="http://schemas.microsoft.com/office/drawing/2014/main" id="{39A3C55B-C824-4048-91B6-0CD21D2E6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5382" y="2278685"/>
                  <a:ext cx="20718" cy="17758"/>
                </a:xfrm>
                <a:custGeom>
                  <a:avLst/>
                  <a:gdLst>
                    <a:gd name="T0" fmla="*/ 2147483647 w 15"/>
                    <a:gd name="T1" fmla="*/ 2147483647 h 12"/>
                    <a:gd name="T2" fmla="*/ 2147483647 w 15"/>
                    <a:gd name="T3" fmla="*/ 2147483647 h 12"/>
                    <a:gd name="T4" fmla="*/ 2147483647 w 15"/>
                    <a:gd name="T5" fmla="*/ 2147483647 h 12"/>
                    <a:gd name="T6" fmla="*/ 2147483647 w 15"/>
                    <a:gd name="T7" fmla="*/ 2147483647 h 12"/>
                    <a:gd name="T8" fmla="*/ 2147483647 w 15"/>
                    <a:gd name="T9" fmla="*/ 0 h 12"/>
                    <a:gd name="T10" fmla="*/ 2147483647 w 15"/>
                    <a:gd name="T11" fmla="*/ 2147483647 h 12"/>
                    <a:gd name="T12" fmla="*/ 0 w 15"/>
                    <a:gd name="T13" fmla="*/ 2147483647 h 12"/>
                    <a:gd name="T14" fmla="*/ 0 w 15"/>
                    <a:gd name="T15" fmla="*/ 2147483647 h 12"/>
                    <a:gd name="T16" fmla="*/ 2147483647 w 15"/>
                    <a:gd name="T17" fmla="*/ 2147483647 h 12"/>
                    <a:gd name="T18" fmla="*/ 2147483647 w 15"/>
                    <a:gd name="T19" fmla="*/ 2147483647 h 12"/>
                    <a:gd name="T20" fmla="*/ 2147483647 w 15"/>
                    <a:gd name="T21" fmla="*/ 2147483647 h 12"/>
                    <a:gd name="T22" fmla="*/ 2147483647 w 15"/>
                    <a:gd name="T23" fmla="*/ 2147483647 h 12"/>
                    <a:gd name="T24" fmla="*/ 2147483647 w 15"/>
                    <a:gd name="T25" fmla="*/ 2147483647 h 12"/>
                    <a:gd name="T26" fmla="*/ 2147483647 w 15"/>
                    <a:gd name="T27" fmla="*/ 2147483647 h 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5"/>
                    <a:gd name="T43" fmla="*/ 0 h 12"/>
                    <a:gd name="T44" fmla="*/ 15 w 15"/>
                    <a:gd name="T45" fmla="*/ 12 h 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5" h="12">
                      <a:moveTo>
                        <a:pt x="15" y="7"/>
                      </a:moveTo>
                      <a:lnTo>
                        <a:pt x="15" y="5"/>
                      </a:lnTo>
                      <a:lnTo>
                        <a:pt x="14" y="4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4" y="9"/>
                      </a:lnTo>
                      <a:lnTo>
                        <a:pt x="9" y="11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5" y="10"/>
                      </a:lnTo>
                      <a:lnTo>
                        <a:pt x="15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6" name="Freeform 1126">
                  <a:extLst>
                    <a:ext uri="{FF2B5EF4-FFF2-40B4-BE49-F238E27FC236}">
                      <a16:creationId xmlns:a16="http://schemas.microsoft.com/office/drawing/2014/main" id="{2A7BF3CA-E43A-EF48-8557-F9B3903A42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0917" y="2107022"/>
                  <a:ext cx="71034" cy="38477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2147483647 h 26"/>
                    <a:gd name="T6" fmla="*/ 2147483647 w 52"/>
                    <a:gd name="T7" fmla="*/ 2147483647 h 26"/>
                    <a:gd name="T8" fmla="*/ 2147483647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0 h 26"/>
                    <a:gd name="T14" fmla="*/ 2147483647 w 52"/>
                    <a:gd name="T15" fmla="*/ 0 h 26"/>
                    <a:gd name="T16" fmla="*/ 2147483647 w 52"/>
                    <a:gd name="T17" fmla="*/ 0 h 26"/>
                    <a:gd name="T18" fmla="*/ 2147483647 w 52"/>
                    <a:gd name="T19" fmla="*/ 0 h 26"/>
                    <a:gd name="T20" fmla="*/ 2147483647 w 52"/>
                    <a:gd name="T21" fmla="*/ 2147483647 h 26"/>
                    <a:gd name="T22" fmla="*/ 2147483647 w 52"/>
                    <a:gd name="T23" fmla="*/ 2147483647 h 26"/>
                    <a:gd name="T24" fmla="*/ 2147483647 w 52"/>
                    <a:gd name="T25" fmla="*/ 2147483647 h 26"/>
                    <a:gd name="T26" fmla="*/ 2147483647 w 52"/>
                    <a:gd name="T27" fmla="*/ 2147483647 h 26"/>
                    <a:gd name="T28" fmla="*/ 2147483647 w 52"/>
                    <a:gd name="T29" fmla="*/ 2147483647 h 26"/>
                    <a:gd name="T30" fmla="*/ 2147483647 w 52"/>
                    <a:gd name="T31" fmla="*/ 2147483647 h 26"/>
                    <a:gd name="T32" fmla="*/ 2147483647 w 52"/>
                    <a:gd name="T33" fmla="*/ 2147483647 h 26"/>
                    <a:gd name="T34" fmla="*/ 2147483647 w 52"/>
                    <a:gd name="T35" fmla="*/ 2147483647 h 26"/>
                    <a:gd name="T36" fmla="*/ 2147483647 w 52"/>
                    <a:gd name="T37" fmla="*/ 2147483647 h 26"/>
                    <a:gd name="T38" fmla="*/ 2147483647 w 52"/>
                    <a:gd name="T39" fmla="*/ 2147483647 h 26"/>
                    <a:gd name="T40" fmla="*/ 2147483647 w 52"/>
                    <a:gd name="T41" fmla="*/ 2147483647 h 26"/>
                    <a:gd name="T42" fmla="*/ 0 w 52"/>
                    <a:gd name="T43" fmla="*/ 2147483647 h 26"/>
                    <a:gd name="T44" fmla="*/ 0 w 52"/>
                    <a:gd name="T45" fmla="*/ 2147483647 h 26"/>
                    <a:gd name="T46" fmla="*/ 0 w 52"/>
                    <a:gd name="T47" fmla="*/ 2147483647 h 26"/>
                    <a:gd name="T48" fmla="*/ 0 w 52"/>
                    <a:gd name="T49" fmla="*/ 2147483647 h 26"/>
                    <a:gd name="T50" fmla="*/ 2147483647 w 52"/>
                    <a:gd name="T51" fmla="*/ 2147483647 h 26"/>
                    <a:gd name="T52" fmla="*/ 2147483647 w 52"/>
                    <a:gd name="T53" fmla="*/ 2147483647 h 26"/>
                    <a:gd name="T54" fmla="*/ 2147483647 w 52"/>
                    <a:gd name="T55" fmla="*/ 2147483647 h 26"/>
                    <a:gd name="T56" fmla="*/ 2147483647 w 52"/>
                    <a:gd name="T57" fmla="*/ 2147483647 h 26"/>
                    <a:gd name="T58" fmla="*/ 2147483647 w 52"/>
                    <a:gd name="T59" fmla="*/ 2147483647 h 26"/>
                    <a:gd name="T60" fmla="*/ 2147483647 w 52"/>
                    <a:gd name="T61" fmla="*/ 2147483647 h 26"/>
                    <a:gd name="T62" fmla="*/ 2147483647 w 52"/>
                    <a:gd name="T63" fmla="*/ 2147483647 h 26"/>
                    <a:gd name="T64" fmla="*/ 2147483647 w 52"/>
                    <a:gd name="T65" fmla="*/ 2147483647 h 26"/>
                    <a:gd name="T66" fmla="*/ 2147483647 w 52"/>
                    <a:gd name="T67" fmla="*/ 2147483647 h 26"/>
                    <a:gd name="T68" fmla="*/ 2147483647 w 52"/>
                    <a:gd name="T69" fmla="*/ 2147483647 h 26"/>
                    <a:gd name="T70" fmla="*/ 2147483647 w 52"/>
                    <a:gd name="T71" fmla="*/ 2147483647 h 26"/>
                    <a:gd name="T72" fmla="*/ 2147483647 w 52"/>
                    <a:gd name="T73" fmla="*/ 2147483647 h 26"/>
                    <a:gd name="T74" fmla="*/ 2147483647 w 52"/>
                    <a:gd name="T75" fmla="*/ 2147483647 h 26"/>
                    <a:gd name="T76" fmla="*/ 2147483647 w 52"/>
                    <a:gd name="T77" fmla="*/ 2147483647 h 26"/>
                    <a:gd name="T78" fmla="*/ 2147483647 w 52"/>
                    <a:gd name="T79" fmla="*/ 2147483647 h 26"/>
                    <a:gd name="T80" fmla="*/ 2147483647 w 52"/>
                    <a:gd name="T81" fmla="*/ 2147483647 h 26"/>
                    <a:gd name="T82" fmla="*/ 2147483647 w 52"/>
                    <a:gd name="T83" fmla="*/ 2147483647 h 2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2"/>
                    <a:gd name="T127" fmla="*/ 0 h 26"/>
                    <a:gd name="T128" fmla="*/ 52 w 52"/>
                    <a:gd name="T129" fmla="*/ 26 h 2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2" h="26">
                      <a:moveTo>
                        <a:pt x="52" y="20"/>
                      </a:moveTo>
                      <a:lnTo>
                        <a:pt x="52" y="20"/>
                      </a:lnTo>
                      <a:lnTo>
                        <a:pt x="52" y="17"/>
                      </a:lnTo>
                      <a:lnTo>
                        <a:pt x="52" y="15"/>
                      </a:lnTo>
                      <a:lnTo>
                        <a:pt x="50" y="14"/>
                      </a:lnTo>
                      <a:lnTo>
                        <a:pt x="33" y="0"/>
                      </a:lnTo>
                      <a:lnTo>
                        <a:pt x="31" y="0"/>
                      </a:lnTo>
                      <a:lnTo>
                        <a:pt x="30" y="0"/>
                      </a:lnTo>
                      <a:lnTo>
                        <a:pt x="27" y="2"/>
                      </a:lnTo>
                      <a:lnTo>
                        <a:pt x="24" y="4"/>
                      </a:lnTo>
                      <a:lnTo>
                        <a:pt x="20" y="4"/>
                      </a:lnTo>
                      <a:lnTo>
                        <a:pt x="17" y="4"/>
                      </a:lnTo>
                      <a:lnTo>
                        <a:pt x="13" y="5"/>
                      </a:lnTo>
                      <a:lnTo>
                        <a:pt x="15" y="7"/>
                      </a:lnTo>
                      <a:lnTo>
                        <a:pt x="15" y="10"/>
                      </a:lnTo>
                      <a:lnTo>
                        <a:pt x="13" y="12"/>
                      </a:lnTo>
                      <a:lnTo>
                        <a:pt x="11" y="13"/>
                      </a:lnTo>
                      <a:lnTo>
                        <a:pt x="0" y="19"/>
                      </a:lnTo>
                      <a:lnTo>
                        <a:pt x="0" y="20"/>
                      </a:lnTo>
                      <a:lnTo>
                        <a:pt x="5" y="23"/>
                      </a:lnTo>
                      <a:lnTo>
                        <a:pt x="11" y="25"/>
                      </a:lnTo>
                      <a:lnTo>
                        <a:pt x="17" y="26"/>
                      </a:lnTo>
                      <a:lnTo>
                        <a:pt x="22" y="26"/>
                      </a:lnTo>
                      <a:lnTo>
                        <a:pt x="25" y="25"/>
                      </a:lnTo>
                      <a:lnTo>
                        <a:pt x="26" y="24"/>
                      </a:lnTo>
                      <a:lnTo>
                        <a:pt x="27" y="21"/>
                      </a:lnTo>
                      <a:lnTo>
                        <a:pt x="29" y="21"/>
                      </a:lnTo>
                      <a:lnTo>
                        <a:pt x="35" y="23"/>
                      </a:lnTo>
                      <a:lnTo>
                        <a:pt x="41" y="24"/>
                      </a:lnTo>
                      <a:lnTo>
                        <a:pt x="44" y="24"/>
                      </a:lnTo>
                      <a:lnTo>
                        <a:pt x="46" y="24"/>
                      </a:lnTo>
                      <a:lnTo>
                        <a:pt x="49" y="23"/>
                      </a:lnTo>
                      <a:lnTo>
                        <a:pt x="52" y="2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7" name="Freeform 1127">
                  <a:extLst>
                    <a:ext uri="{FF2B5EF4-FFF2-40B4-BE49-F238E27FC236}">
                      <a16:creationId xmlns:a16="http://schemas.microsoft.com/office/drawing/2014/main" id="{7D3F620A-AC3B-ED44-9AED-23B4A5B413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3902" y="2277204"/>
                  <a:ext cx="20718" cy="17758"/>
                </a:xfrm>
                <a:custGeom>
                  <a:avLst/>
                  <a:gdLst>
                    <a:gd name="T0" fmla="*/ 2147483647 w 15"/>
                    <a:gd name="T1" fmla="*/ 2147483647 h 12"/>
                    <a:gd name="T2" fmla="*/ 2147483647 w 15"/>
                    <a:gd name="T3" fmla="*/ 2147483647 h 12"/>
                    <a:gd name="T4" fmla="*/ 2147483647 w 15"/>
                    <a:gd name="T5" fmla="*/ 2147483647 h 12"/>
                    <a:gd name="T6" fmla="*/ 2147483647 w 15"/>
                    <a:gd name="T7" fmla="*/ 2147483647 h 12"/>
                    <a:gd name="T8" fmla="*/ 2147483647 w 15"/>
                    <a:gd name="T9" fmla="*/ 2147483647 h 12"/>
                    <a:gd name="T10" fmla="*/ 2147483647 w 15"/>
                    <a:gd name="T11" fmla="*/ 2147483647 h 12"/>
                    <a:gd name="T12" fmla="*/ 2147483647 w 15"/>
                    <a:gd name="T13" fmla="*/ 0 h 12"/>
                    <a:gd name="T14" fmla="*/ 2147483647 w 15"/>
                    <a:gd name="T15" fmla="*/ 2147483647 h 12"/>
                    <a:gd name="T16" fmla="*/ 2147483647 w 15"/>
                    <a:gd name="T17" fmla="*/ 2147483647 h 12"/>
                    <a:gd name="T18" fmla="*/ 0 w 15"/>
                    <a:gd name="T19" fmla="*/ 2147483647 h 12"/>
                    <a:gd name="T20" fmla="*/ 0 w 15"/>
                    <a:gd name="T21" fmla="*/ 2147483647 h 12"/>
                    <a:gd name="T22" fmla="*/ 0 w 15"/>
                    <a:gd name="T23" fmla="*/ 2147483647 h 12"/>
                    <a:gd name="T24" fmla="*/ 2147483647 w 15"/>
                    <a:gd name="T25" fmla="*/ 2147483647 h 12"/>
                    <a:gd name="T26" fmla="*/ 2147483647 w 15"/>
                    <a:gd name="T27" fmla="*/ 2147483647 h 12"/>
                    <a:gd name="T28" fmla="*/ 2147483647 w 15"/>
                    <a:gd name="T29" fmla="*/ 2147483647 h 12"/>
                    <a:gd name="T30" fmla="*/ 2147483647 w 15"/>
                    <a:gd name="T31" fmla="*/ 2147483647 h 12"/>
                    <a:gd name="T32" fmla="*/ 2147483647 w 15"/>
                    <a:gd name="T33" fmla="*/ 2147483647 h 12"/>
                    <a:gd name="T34" fmla="*/ 2147483647 w 15"/>
                    <a:gd name="T35" fmla="*/ 2147483647 h 12"/>
                    <a:gd name="T36" fmla="*/ 2147483647 w 15"/>
                    <a:gd name="T37" fmla="*/ 2147483647 h 12"/>
                    <a:gd name="T38" fmla="*/ 2147483647 w 15"/>
                    <a:gd name="T39" fmla="*/ 2147483647 h 1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12"/>
                    <a:gd name="T62" fmla="*/ 15 w 15"/>
                    <a:gd name="T63" fmla="*/ 12 h 1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12">
                      <a:moveTo>
                        <a:pt x="15" y="7"/>
                      </a:moveTo>
                      <a:lnTo>
                        <a:pt x="15" y="7"/>
                      </a:lnTo>
                      <a:lnTo>
                        <a:pt x="15" y="5"/>
                      </a:lnTo>
                      <a:lnTo>
                        <a:pt x="14" y="4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3" y="8"/>
                      </a:lnTo>
                      <a:lnTo>
                        <a:pt x="8" y="11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5" y="10"/>
                      </a:lnTo>
                      <a:lnTo>
                        <a:pt x="15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8" name="Freeform 1128">
                  <a:extLst>
                    <a:ext uri="{FF2B5EF4-FFF2-40B4-BE49-F238E27FC236}">
                      <a16:creationId xmlns:a16="http://schemas.microsoft.com/office/drawing/2014/main" id="{821B8353-0AB3-5D48-95AE-3784C78953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31400" y="2216532"/>
                  <a:ext cx="79913" cy="32557"/>
                </a:xfrm>
                <a:custGeom>
                  <a:avLst/>
                  <a:gdLst>
                    <a:gd name="T0" fmla="*/ 2147483647 w 59"/>
                    <a:gd name="T1" fmla="*/ 2147483647 h 22"/>
                    <a:gd name="T2" fmla="*/ 2147483647 w 59"/>
                    <a:gd name="T3" fmla="*/ 2147483647 h 22"/>
                    <a:gd name="T4" fmla="*/ 2147483647 w 59"/>
                    <a:gd name="T5" fmla="*/ 2147483647 h 22"/>
                    <a:gd name="T6" fmla="*/ 2147483647 w 59"/>
                    <a:gd name="T7" fmla="*/ 0 h 22"/>
                    <a:gd name="T8" fmla="*/ 2147483647 w 59"/>
                    <a:gd name="T9" fmla="*/ 0 h 22"/>
                    <a:gd name="T10" fmla="*/ 2147483647 w 59"/>
                    <a:gd name="T11" fmla="*/ 2147483647 h 22"/>
                    <a:gd name="T12" fmla="*/ 2147483647 w 59"/>
                    <a:gd name="T13" fmla="*/ 2147483647 h 22"/>
                    <a:gd name="T14" fmla="*/ 2147483647 w 59"/>
                    <a:gd name="T15" fmla="*/ 2147483647 h 22"/>
                    <a:gd name="T16" fmla="*/ 2147483647 w 59"/>
                    <a:gd name="T17" fmla="*/ 2147483647 h 22"/>
                    <a:gd name="T18" fmla="*/ 0 w 59"/>
                    <a:gd name="T19" fmla="*/ 2147483647 h 22"/>
                    <a:gd name="T20" fmla="*/ 0 w 59"/>
                    <a:gd name="T21" fmla="*/ 2147483647 h 22"/>
                    <a:gd name="T22" fmla="*/ 2147483647 w 59"/>
                    <a:gd name="T23" fmla="*/ 2147483647 h 22"/>
                    <a:gd name="T24" fmla="*/ 2147483647 w 59"/>
                    <a:gd name="T25" fmla="*/ 2147483647 h 22"/>
                    <a:gd name="T26" fmla="*/ 2147483647 w 59"/>
                    <a:gd name="T27" fmla="*/ 2147483647 h 22"/>
                    <a:gd name="T28" fmla="*/ 2147483647 w 59"/>
                    <a:gd name="T29" fmla="*/ 2147483647 h 22"/>
                    <a:gd name="T30" fmla="*/ 2147483647 w 59"/>
                    <a:gd name="T31" fmla="*/ 2147483647 h 22"/>
                    <a:gd name="T32" fmla="*/ 2147483647 w 59"/>
                    <a:gd name="T33" fmla="*/ 2147483647 h 22"/>
                    <a:gd name="T34" fmla="*/ 2147483647 w 59"/>
                    <a:gd name="T35" fmla="*/ 2147483647 h 22"/>
                    <a:gd name="T36" fmla="*/ 2147483647 w 59"/>
                    <a:gd name="T37" fmla="*/ 2147483647 h 22"/>
                    <a:gd name="T38" fmla="*/ 2147483647 w 59"/>
                    <a:gd name="T39" fmla="*/ 2147483647 h 22"/>
                    <a:gd name="T40" fmla="*/ 2147483647 w 59"/>
                    <a:gd name="T41" fmla="*/ 2147483647 h 22"/>
                    <a:gd name="T42" fmla="*/ 2147483647 w 59"/>
                    <a:gd name="T43" fmla="*/ 2147483647 h 22"/>
                    <a:gd name="T44" fmla="*/ 2147483647 w 59"/>
                    <a:gd name="T45" fmla="*/ 2147483647 h 22"/>
                    <a:gd name="T46" fmla="*/ 2147483647 w 59"/>
                    <a:gd name="T47" fmla="*/ 2147483647 h 22"/>
                    <a:gd name="T48" fmla="*/ 2147483647 w 59"/>
                    <a:gd name="T49" fmla="*/ 2147483647 h 22"/>
                    <a:gd name="T50" fmla="*/ 2147483647 w 59"/>
                    <a:gd name="T51" fmla="*/ 2147483647 h 22"/>
                    <a:gd name="T52" fmla="*/ 2147483647 w 59"/>
                    <a:gd name="T53" fmla="*/ 2147483647 h 22"/>
                    <a:gd name="T54" fmla="*/ 2147483647 w 59"/>
                    <a:gd name="T55" fmla="*/ 2147483647 h 2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59"/>
                    <a:gd name="T85" fmla="*/ 0 h 22"/>
                    <a:gd name="T86" fmla="*/ 59 w 59"/>
                    <a:gd name="T87" fmla="*/ 22 h 22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59" h="22">
                      <a:moveTo>
                        <a:pt x="53" y="3"/>
                      </a:moveTo>
                      <a:lnTo>
                        <a:pt x="41" y="3"/>
                      </a:lnTo>
                      <a:lnTo>
                        <a:pt x="33" y="2"/>
                      </a:lnTo>
                      <a:lnTo>
                        <a:pt x="26" y="0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0" y="4"/>
                      </a:lnTo>
                      <a:lnTo>
                        <a:pt x="5" y="8"/>
                      </a:lnTo>
                      <a:lnTo>
                        <a:pt x="1" y="13"/>
                      </a:lnTo>
                      <a:lnTo>
                        <a:pt x="0" y="16"/>
                      </a:lnTo>
                      <a:lnTo>
                        <a:pt x="0" y="20"/>
                      </a:lnTo>
                      <a:lnTo>
                        <a:pt x="1" y="21"/>
                      </a:lnTo>
                      <a:lnTo>
                        <a:pt x="2" y="22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17" y="20"/>
                      </a:lnTo>
                      <a:lnTo>
                        <a:pt x="29" y="21"/>
                      </a:lnTo>
                      <a:lnTo>
                        <a:pt x="39" y="21"/>
                      </a:lnTo>
                      <a:lnTo>
                        <a:pt x="49" y="22"/>
                      </a:lnTo>
                      <a:lnTo>
                        <a:pt x="53" y="22"/>
                      </a:lnTo>
                      <a:lnTo>
                        <a:pt x="55" y="21"/>
                      </a:lnTo>
                      <a:lnTo>
                        <a:pt x="57" y="20"/>
                      </a:lnTo>
                      <a:lnTo>
                        <a:pt x="58" y="17"/>
                      </a:lnTo>
                      <a:lnTo>
                        <a:pt x="59" y="11"/>
                      </a:lnTo>
                      <a:lnTo>
                        <a:pt x="58" y="5"/>
                      </a:lnTo>
                      <a:lnTo>
                        <a:pt x="58" y="4"/>
                      </a:lnTo>
                      <a:lnTo>
                        <a:pt x="57" y="4"/>
                      </a:lnTo>
                      <a:lnTo>
                        <a:pt x="53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9" name="Freeform 1129">
                  <a:extLst>
                    <a:ext uri="{FF2B5EF4-FFF2-40B4-BE49-F238E27FC236}">
                      <a16:creationId xmlns:a16="http://schemas.microsoft.com/office/drawing/2014/main" id="{DB4B3786-84EB-9A45-81AC-4B4848EC6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8400" y="1729652"/>
                  <a:ext cx="26637" cy="17758"/>
                </a:xfrm>
                <a:custGeom>
                  <a:avLst/>
                  <a:gdLst>
                    <a:gd name="T0" fmla="*/ 2147483647 w 19"/>
                    <a:gd name="T1" fmla="*/ 2147483647 h 12"/>
                    <a:gd name="T2" fmla="*/ 2147483647 w 19"/>
                    <a:gd name="T3" fmla="*/ 2147483647 h 12"/>
                    <a:gd name="T4" fmla="*/ 2147483647 w 19"/>
                    <a:gd name="T5" fmla="*/ 2147483647 h 12"/>
                    <a:gd name="T6" fmla="*/ 2147483647 w 19"/>
                    <a:gd name="T7" fmla="*/ 2147483647 h 12"/>
                    <a:gd name="T8" fmla="*/ 2147483647 w 19"/>
                    <a:gd name="T9" fmla="*/ 0 h 12"/>
                    <a:gd name="T10" fmla="*/ 2147483647 w 19"/>
                    <a:gd name="T11" fmla="*/ 0 h 12"/>
                    <a:gd name="T12" fmla="*/ 2147483647 w 19"/>
                    <a:gd name="T13" fmla="*/ 0 h 12"/>
                    <a:gd name="T14" fmla="*/ 2147483647 w 19"/>
                    <a:gd name="T15" fmla="*/ 2147483647 h 12"/>
                    <a:gd name="T16" fmla="*/ 2147483647 w 19"/>
                    <a:gd name="T17" fmla="*/ 2147483647 h 12"/>
                    <a:gd name="T18" fmla="*/ 2147483647 w 19"/>
                    <a:gd name="T19" fmla="*/ 2147483647 h 12"/>
                    <a:gd name="T20" fmla="*/ 2147483647 w 19"/>
                    <a:gd name="T21" fmla="*/ 2147483647 h 12"/>
                    <a:gd name="T22" fmla="*/ 2147483647 w 19"/>
                    <a:gd name="T23" fmla="*/ 2147483647 h 12"/>
                    <a:gd name="T24" fmla="*/ 2147483647 w 19"/>
                    <a:gd name="T25" fmla="*/ 2147483647 h 12"/>
                    <a:gd name="T26" fmla="*/ 0 w 19"/>
                    <a:gd name="T27" fmla="*/ 2147483647 h 12"/>
                    <a:gd name="T28" fmla="*/ 2147483647 w 19"/>
                    <a:gd name="T29" fmla="*/ 2147483647 h 12"/>
                    <a:gd name="T30" fmla="*/ 2147483647 w 19"/>
                    <a:gd name="T31" fmla="*/ 2147483647 h 12"/>
                    <a:gd name="T32" fmla="*/ 2147483647 w 19"/>
                    <a:gd name="T33" fmla="*/ 2147483647 h 12"/>
                    <a:gd name="T34" fmla="*/ 2147483647 w 19"/>
                    <a:gd name="T35" fmla="*/ 2147483647 h 12"/>
                    <a:gd name="T36" fmla="*/ 2147483647 w 19"/>
                    <a:gd name="T37" fmla="*/ 2147483647 h 1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9"/>
                    <a:gd name="T58" fmla="*/ 0 h 12"/>
                    <a:gd name="T59" fmla="*/ 19 w 19"/>
                    <a:gd name="T60" fmla="*/ 12 h 1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9" h="12">
                      <a:moveTo>
                        <a:pt x="15" y="7"/>
                      </a:moveTo>
                      <a:lnTo>
                        <a:pt x="16" y="6"/>
                      </a:lnTo>
                      <a:lnTo>
                        <a:pt x="19" y="4"/>
                      </a:lnTo>
                      <a:lnTo>
                        <a:pt x="19" y="3"/>
                      </a:lnTo>
                      <a:lnTo>
                        <a:pt x="19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1" y="3"/>
                      </a:lnTo>
                      <a:lnTo>
                        <a:pt x="9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1" y="4"/>
                      </a:ln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3" y="12"/>
                      </a:lnTo>
                      <a:lnTo>
                        <a:pt x="6" y="12"/>
                      </a:lnTo>
                      <a:lnTo>
                        <a:pt x="9" y="11"/>
                      </a:lnTo>
                      <a:lnTo>
                        <a:pt x="15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0" name="Freeform 1130">
                  <a:extLst>
                    <a:ext uri="{FF2B5EF4-FFF2-40B4-BE49-F238E27FC236}">
                      <a16:creationId xmlns:a16="http://schemas.microsoft.com/office/drawing/2014/main" id="{CA4AEE35-431E-3B43-BE24-0A8C890DDB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28437" y="2213573"/>
                  <a:ext cx="81392" cy="34038"/>
                </a:xfrm>
                <a:custGeom>
                  <a:avLst/>
                  <a:gdLst>
                    <a:gd name="T0" fmla="*/ 2147483647 w 60"/>
                    <a:gd name="T1" fmla="*/ 2147483647 h 23"/>
                    <a:gd name="T2" fmla="*/ 2147483647 w 60"/>
                    <a:gd name="T3" fmla="*/ 2147483647 h 23"/>
                    <a:gd name="T4" fmla="*/ 2147483647 w 60"/>
                    <a:gd name="T5" fmla="*/ 2147483647 h 23"/>
                    <a:gd name="T6" fmla="*/ 2147483647 w 60"/>
                    <a:gd name="T7" fmla="*/ 2147483647 h 23"/>
                    <a:gd name="T8" fmla="*/ 2147483647 w 60"/>
                    <a:gd name="T9" fmla="*/ 0 h 23"/>
                    <a:gd name="T10" fmla="*/ 2147483647 w 60"/>
                    <a:gd name="T11" fmla="*/ 0 h 23"/>
                    <a:gd name="T12" fmla="*/ 2147483647 w 60"/>
                    <a:gd name="T13" fmla="*/ 0 h 23"/>
                    <a:gd name="T14" fmla="*/ 2147483647 w 60"/>
                    <a:gd name="T15" fmla="*/ 2147483647 h 23"/>
                    <a:gd name="T16" fmla="*/ 2147483647 w 60"/>
                    <a:gd name="T17" fmla="*/ 2147483647 h 23"/>
                    <a:gd name="T18" fmla="*/ 2147483647 w 60"/>
                    <a:gd name="T19" fmla="*/ 2147483647 h 23"/>
                    <a:gd name="T20" fmla="*/ 2147483647 w 60"/>
                    <a:gd name="T21" fmla="*/ 2147483647 h 23"/>
                    <a:gd name="T22" fmla="*/ 2147483647 w 60"/>
                    <a:gd name="T23" fmla="*/ 2147483647 h 23"/>
                    <a:gd name="T24" fmla="*/ 0 w 60"/>
                    <a:gd name="T25" fmla="*/ 2147483647 h 23"/>
                    <a:gd name="T26" fmla="*/ 0 w 60"/>
                    <a:gd name="T27" fmla="*/ 2147483647 h 23"/>
                    <a:gd name="T28" fmla="*/ 0 w 60"/>
                    <a:gd name="T29" fmla="*/ 2147483647 h 23"/>
                    <a:gd name="T30" fmla="*/ 2147483647 w 60"/>
                    <a:gd name="T31" fmla="*/ 2147483647 h 23"/>
                    <a:gd name="T32" fmla="*/ 2147483647 w 60"/>
                    <a:gd name="T33" fmla="*/ 2147483647 h 23"/>
                    <a:gd name="T34" fmla="*/ 2147483647 w 60"/>
                    <a:gd name="T35" fmla="*/ 2147483647 h 23"/>
                    <a:gd name="T36" fmla="*/ 2147483647 w 60"/>
                    <a:gd name="T37" fmla="*/ 2147483647 h 23"/>
                    <a:gd name="T38" fmla="*/ 2147483647 w 60"/>
                    <a:gd name="T39" fmla="*/ 2147483647 h 23"/>
                    <a:gd name="T40" fmla="*/ 2147483647 w 60"/>
                    <a:gd name="T41" fmla="*/ 2147483647 h 23"/>
                    <a:gd name="T42" fmla="*/ 2147483647 w 60"/>
                    <a:gd name="T43" fmla="*/ 2147483647 h 23"/>
                    <a:gd name="T44" fmla="*/ 2147483647 w 60"/>
                    <a:gd name="T45" fmla="*/ 2147483647 h 23"/>
                    <a:gd name="T46" fmla="*/ 2147483647 w 60"/>
                    <a:gd name="T47" fmla="*/ 2147483647 h 23"/>
                    <a:gd name="T48" fmla="*/ 2147483647 w 60"/>
                    <a:gd name="T49" fmla="*/ 2147483647 h 23"/>
                    <a:gd name="T50" fmla="*/ 2147483647 w 60"/>
                    <a:gd name="T51" fmla="*/ 2147483647 h 23"/>
                    <a:gd name="T52" fmla="*/ 2147483647 w 60"/>
                    <a:gd name="T53" fmla="*/ 2147483647 h 23"/>
                    <a:gd name="T54" fmla="*/ 2147483647 w 60"/>
                    <a:gd name="T55" fmla="*/ 2147483647 h 23"/>
                    <a:gd name="T56" fmla="*/ 2147483647 w 60"/>
                    <a:gd name="T57" fmla="*/ 2147483647 h 23"/>
                    <a:gd name="T58" fmla="*/ 2147483647 w 60"/>
                    <a:gd name="T59" fmla="*/ 2147483647 h 23"/>
                    <a:gd name="T60" fmla="*/ 2147483647 w 60"/>
                    <a:gd name="T61" fmla="*/ 2147483647 h 23"/>
                    <a:gd name="T62" fmla="*/ 2147483647 w 60"/>
                    <a:gd name="T63" fmla="*/ 2147483647 h 23"/>
                    <a:gd name="T64" fmla="*/ 2147483647 w 60"/>
                    <a:gd name="T65" fmla="*/ 2147483647 h 23"/>
                    <a:gd name="T66" fmla="*/ 2147483647 w 60"/>
                    <a:gd name="T67" fmla="*/ 2147483647 h 23"/>
                    <a:gd name="T68" fmla="*/ 2147483647 w 60"/>
                    <a:gd name="T69" fmla="*/ 2147483647 h 23"/>
                    <a:gd name="T70" fmla="*/ 2147483647 w 60"/>
                    <a:gd name="T71" fmla="*/ 2147483647 h 23"/>
                    <a:gd name="T72" fmla="*/ 2147483647 w 60"/>
                    <a:gd name="T73" fmla="*/ 2147483647 h 23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60"/>
                    <a:gd name="T112" fmla="*/ 0 h 23"/>
                    <a:gd name="T113" fmla="*/ 60 w 60"/>
                    <a:gd name="T114" fmla="*/ 23 h 23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60" h="23">
                      <a:moveTo>
                        <a:pt x="54" y="4"/>
                      </a:moveTo>
                      <a:lnTo>
                        <a:pt x="54" y="4"/>
                      </a:lnTo>
                      <a:lnTo>
                        <a:pt x="42" y="4"/>
                      </a:lnTo>
                      <a:lnTo>
                        <a:pt x="33" y="3"/>
                      </a:lnTo>
                      <a:lnTo>
                        <a:pt x="27" y="0"/>
                      </a:lnTo>
                      <a:lnTo>
                        <a:pt x="21" y="0"/>
                      </a:lnTo>
                      <a:lnTo>
                        <a:pt x="15" y="2"/>
                      </a:lnTo>
                      <a:lnTo>
                        <a:pt x="10" y="5"/>
                      </a:lnTo>
                      <a:lnTo>
                        <a:pt x="5" y="9"/>
                      </a:lnTo>
                      <a:lnTo>
                        <a:pt x="2" y="13"/>
                      </a:lnTo>
                      <a:lnTo>
                        <a:pt x="0" y="17"/>
                      </a:lnTo>
                      <a:lnTo>
                        <a:pt x="0" y="21"/>
                      </a:lnTo>
                      <a:lnTo>
                        <a:pt x="2" y="22"/>
                      </a:lnTo>
                      <a:lnTo>
                        <a:pt x="3" y="23"/>
                      </a:lnTo>
                      <a:lnTo>
                        <a:pt x="7" y="23"/>
                      </a:lnTo>
                      <a:lnTo>
                        <a:pt x="12" y="21"/>
                      </a:lnTo>
                      <a:lnTo>
                        <a:pt x="18" y="21"/>
                      </a:lnTo>
                      <a:lnTo>
                        <a:pt x="29" y="22"/>
                      </a:lnTo>
                      <a:lnTo>
                        <a:pt x="40" y="22"/>
                      </a:lnTo>
                      <a:lnTo>
                        <a:pt x="50" y="23"/>
                      </a:lnTo>
                      <a:lnTo>
                        <a:pt x="54" y="23"/>
                      </a:lnTo>
                      <a:lnTo>
                        <a:pt x="56" y="22"/>
                      </a:lnTo>
                      <a:lnTo>
                        <a:pt x="57" y="21"/>
                      </a:lnTo>
                      <a:lnTo>
                        <a:pt x="59" y="18"/>
                      </a:lnTo>
                      <a:lnTo>
                        <a:pt x="60" y="12"/>
                      </a:lnTo>
                      <a:lnTo>
                        <a:pt x="59" y="6"/>
                      </a:lnTo>
                      <a:lnTo>
                        <a:pt x="59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1" name="Freeform 1131">
                  <a:extLst>
                    <a:ext uri="{FF2B5EF4-FFF2-40B4-BE49-F238E27FC236}">
                      <a16:creationId xmlns:a16="http://schemas.microsoft.com/office/drawing/2014/main" id="{B0A528F2-2DBA-DD46-A80A-BAA65B8973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5441" y="1728172"/>
                  <a:ext cx="26637" cy="17758"/>
                </a:xfrm>
                <a:custGeom>
                  <a:avLst/>
                  <a:gdLst>
                    <a:gd name="T0" fmla="*/ 2147483647 w 19"/>
                    <a:gd name="T1" fmla="*/ 2147483647 h 12"/>
                    <a:gd name="T2" fmla="*/ 2147483647 w 19"/>
                    <a:gd name="T3" fmla="*/ 2147483647 h 12"/>
                    <a:gd name="T4" fmla="*/ 2147483647 w 19"/>
                    <a:gd name="T5" fmla="*/ 2147483647 h 12"/>
                    <a:gd name="T6" fmla="*/ 2147483647 w 19"/>
                    <a:gd name="T7" fmla="*/ 2147483647 h 12"/>
                    <a:gd name="T8" fmla="*/ 2147483647 w 19"/>
                    <a:gd name="T9" fmla="*/ 2147483647 h 12"/>
                    <a:gd name="T10" fmla="*/ 2147483647 w 19"/>
                    <a:gd name="T11" fmla="*/ 0 h 12"/>
                    <a:gd name="T12" fmla="*/ 2147483647 w 19"/>
                    <a:gd name="T13" fmla="*/ 0 h 12"/>
                    <a:gd name="T14" fmla="*/ 2147483647 w 19"/>
                    <a:gd name="T15" fmla="*/ 0 h 12"/>
                    <a:gd name="T16" fmla="*/ 2147483647 w 19"/>
                    <a:gd name="T17" fmla="*/ 0 h 12"/>
                    <a:gd name="T18" fmla="*/ 2147483647 w 19"/>
                    <a:gd name="T19" fmla="*/ 2147483647 h 12"/>
                    <a:gd name="T20" fmla="*/ 2147483647 w 19"/>
                    <a:gd name="T21" fmla="*/ 2147483647 h 12"/>
                    <a:gd name="T22" fmla="*/ 2147483647 w 19"/>
                    <a:gd name="T23" fmla="*/ 2147483647 h 12"/>
                    <a:gd name="T24" fmla="*/ 2147483647 w 19"/>
                    <a:gd name="T25" fmla="*/ 2147483647 h 12"/>
                    <a:gd name="T26" fmla="*/ 2147483647 w 19"/>
                    <a:gd name="T27" fmla="*/ 2147483647 h 12"/>
                    <a:gd name="T28" fmla="*/ 2147483647 w 19"/>
                    <a:gd name="T29" fmla="*/ 2147483647 h 12"/>
                    <a:gd name="T30" fmla="*/ 2147483647 w 19"/>
                    <a:gd name="T31" fmla="*/ 2147483647 h 12"/>
                    <a:gd name="T32" fmla="*/ 2147483647 w 19"/>
                    <a:gd name="T33" fmla="*/ 2147483647 h 12"/>
                    <a:gd name="T34" fmla="*/ 0 w 19"/>
                    <a:gd name="T35" fmla="*/ 2147483647 h 12"/>
                    <a:gd name="T36" fmla="*/ 2147483647 w 19"/>
                    <a:gd name="T37" fmla="*/ 2147483647 h 12"/>
                    <a:gd name="T38" fmla="*/ 2147483647 w 19"/>
                    <a:gd name="T39" fmla="*/ 2147483647 h 12"/>
                    <a:gd name="T40" fmla="*/ 2147483647 w 19"/>
                    <a:gd name="T41" fmla="*/ 2147483647 h 12"/>
                    <a:gd name="T42" fmla="*/ 2147483647 w 19"/>
                    <a:gd name="T43" fmla="*/ 2147483647 h 12"/>
                    <a:gd name="T44" fmla="*/ 2147483647 w 19"/>
                    <a:gd name="T45" fmla="*/ 2147483647 h 12"/>
                    <a:gd name="T46" fmla="*/ 2147483647 w 19"/>
                    <a:gd name="T47" fmla="*/ 2147483647 h 12"/>
                    <a:gd name="T48" fmla="*/ 2147483647 w 19"/>
                    <a:gd name="T49" fmla="*/ 2147483647 h 1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9"/>
                    <a:gd name="T76" fmla="*/ 0 h 12"/>
                    <a:gd name="T77" fmla="*/ 19 w 19"/>
                    <a:gd name="T78" fmla="*/ 12 h 1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9" h="12">
                      <a:moveTo>
                        <a:pt x="16" y="7"/>
                      </a:moveTo>
                      <a:lnTo>
                        <a:pt x="16" y="7"/>
                      </a:lnTo>
                      <a:lnTo>
                        <a:pt x="17" y="6"/>
                      </a:lnTo>
                      <a:lnTo>
                        <a:pt x="19" y="4"/>
                      </a:lnTo>
                      <a:lnTo>
                        <a:pt x="19" y="2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9" y="4"/>
                      </a:lnTo>
                      <a:lnTo>
                        <a:pt x="7" y="2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4" y="12"/>
                      </a:lnTo>
                      <a:lnTo>
                        <a:pt x="7" y="12"/>
                      </a:lnTo>
                      <a:lnTo>
                        <a:pt x="9" y="11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2" name="Freeform 1132">
                  <a:extLst>
                    <a:ext uri="{FF2B5EF4-FFF2-40B4-BE49-F238E27FC236}">
                      <a16:creationId xmlns:a16="http://schemas.microsoft.com/office/drawing/2014/main" id="{89101EF8-29D0-FB4C-9C1B-AAA4311031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3298" y="1697094"/>
                  <a:ext cx="25158" cy="16278"/>
                </a:xfrm>
                <a:custGeom>
                  <a:avLst/>
                  <a:gdLst>
                    <a:gd name="T0" fmla="*/ 2147483647 w 18"/>
                    <a:gd name="T1" fmla="*/ 2147483647 h 11"/>
                    <a:gd name="T2" fmla="*/ 2147483647 w 18"/>
                    <a:gd name="T3" fmla="*/ 2147483647 h 11"/>
                    <a:gd name="T4" fmla="*/ 2147483647 w 18"/>
                    <a:gd name="T5" fmla="*/ 2147483647 h 11"/>
                    <a:gd name="T6" fmla="*/ 2147483647 w 18"/>
                    <a:gd name="T7" fmla="*/ 2147483647 h 11"/>
                    <a:gd name="T8" fmla="*/ 2147483647 w 18"/>
                    <a:gd name="T9" fmla="*/ 2147483647 h 11"/>
                    <a:gd name="T10" fmla="*/ 2147483647 w 18"/>
                    <a:gd name="T11" fmla="*/ 2147483647 h 11"/>
                    <a:gd name="T12" fmla="*/ 2147483647 w 18"/>
                    <a:gd name="T13" fmla="*/ 2147483647 h 11"/>
                    <a:gd name="T14" fmla="*/ 2147483647 w 18"/>
                    <a:gd name="T15" fmla="*/ 2147483647 h 11"/>
                    <a:gd name="T16" fmla="*/ 0 w 18"/>
                    <a:gd name="T17" fmla="*/ 2147483647 h 11"/>
                    <a:gd name="T18" fmla="*/ 2147483647 w 18"/>
                    <a:gd name="T19" fmla="*/ 2147483647 h 11"/>
                    <a:gd name="T20" fmla="*/ 2147483647 w 18"/>
                    <a:gd name="T21" fmla="*/ 2147483647 h 11"/>
                    <a:gd name="T22" fmla="*/ 2147483647 w 18"/>
                    <a:gd name="T23" fmla="*/ 2147483647 h 11"/>
                    <a:gd name="T24" fmla="*/ 2147483647 w 18"/>
                    <a:gd name="T25" fmla="*/ 0 h 11"/>
                    <a:gd name="T26" fmla="*/ 2147483647 w 18"/>
                    <a:gd name="T27" fmla="*/ 0 h 11"/>
                    <a:gd name="T28" fmla="*/ 2147483647 w 18"/>
                    <a:gd name="T29" fmla="*/ 2147483647 h 11"/>
                    <a:gd name="T30" fmla="*/ 2147483647 w 18"/>
                    <a:gd name="T31" fmla="*/ 2147483647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"/>
                    <a:gd name="T49" fmla="*/ 0 h 11"/>
                    <a:gd name="T50" fmla="*/ 18 w 18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" h="11">
                      <a:moveTo>
                        <a:pt x="18" y="6"/>
                      </a:moveTo>
                      <a:lnTo>
                        <a:pt x="18" y="8"/>
                      </a:lnTo>
                      <a:lnTo>
                        <a:pt x="16" y="9"/>
                      </a:lnTo>
                      <a:lnTo>
                        <a:pt x="14" y="10"/>
                      </a:lnTo>
                      <a:lnTo>
                        <a:pt x="10" y="10"/>
                      </a:lnTo>
                      <a:lnTo>
                        <a:pt x="5" y="11"/>
                      </a:lnTo>
                      <a:lnTo>
                        <a:pt x="2" y="11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1" y="7"/>
                      </a:lnTo>
                      <a:lnTo>
                        <a:pt x="4" y="3"/>
                      </a:lnTo>
                      <a:lnTo>
                        <a:pt x="6" y="1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6" y="2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3" name="Freeform 1133">
                  <a:extLst>
                    <a:ext uri="{FF2B5EF4-FFF2-40B4-BE49-F238E27FC236}">
                      <a16:creationId xmlns:a16="http://schemas.microsoft.com/office/drawing/2014/main" id="{AB4AD138-4495-F043-A0CE-A5AF887F84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61055" y="1796249"/>
                  <a:ext cx="47356" cy="56235"/>
                </a:xfrm>
                <a:custGeom>
                  <a:avLst/>
                  <a:gdLst>
                    <a:gd name="T0" fmla="*/ 2147483647 w 34"/>
                    <a:gd name="T1" fmla="*/ 2147483647 h 38"/>
                    <a:gd name="T2" fmla="*/ 2147483647 w 34"/>
                    <a:gd name="T3" fmla="*/ 2147483647 h 38"/>
                    <a:gd name="T4" fmla="*/ 2147483647 w 34"/>
                    <a:gd name="T5" fmla="*/ 0 h 38"/>
                    <a:gd name="T6" fmla="*/ 2147483647 w 34"/>
                    <a:gd name="T7" fmla="*/ 2147483647 h 38"/>
                    <a:gd name="T8" fmla="*/ 0 w 34"/>
                    <a:gd name="T9" fmla="*/ 2147483647 h 38"/>
                    <a:gd name="T10" fmla="*/ 0 w 34"/>
                    <a:gd name="T11" fmla="*/ 2147483647 h 38"/>
                    <a:gd name="T12" fmla="*/ 2147483647 w 34"/>
                    <a:gd name="T13" fmla="*/ 2147483647 h 38"/>
                    <a:gd name="T14" fmla="*/ 2147483647 w 34"/>
                    <a:gd name="T15" fmla="*/ 2147483647 h 38"/>
                    <a:gd name="T16" fmla="*/ 2147483647 w 34"/>
                    <a:gd name="T17" fmla="*/ 2147483647 h 38"/>
                    <a:gd name="T18" fmla="*/ 2147483647 w 34"/>
                    <a:gd name="T19" fmla="*/ 2147483647 h 38"/>
                    <a:gd name="T20" fmla="*/ 2147483647 w 34"/>
                    <a:gd name="T21" fmla="*/ 2147483647 h 38"/>
                    <a:gd name="T22" fmla="*/ 2147483647 w 34"/>
                    <a:gd name="T23" fmla="*/ 2147483647 h 38"/>
                    <a:gd name="T24" fmla="*/ 2147483647 w 34"/>
                    <a:gd name="T25" fmla="*/ 2147483647 h 38"/>
                    <a:gd name="T26" fmla="*/ 2147483647 w 34"/>
                    <a:gd name="T27" fmla="*/ 2147483647 h 38"/>
                    <a:gd name="T28" fmla="*/ 2147483647 w 34"/>
                    <a:gd name="T29" fmla="*/ 2147483647 h 38"/>
                    <a:gd name="T30" fmla="*/ 2147483647 w 34"/>
                    <a:gd name="T31" fmla="*/ 2147483647 h 38"/>
                    <a:gd name="T32" fmla="*/ 2147483647 w 34"/>
                    <a:gd name="T33" fmla="*/ 2147483647 h 38"/>
                    <a:gd name="T34" fmla="*/ 2147483647 w 34"/>
                    <a:gd name="T35" fmla="*/ 2147483647 h 38"/>
                    <a:gd name="T36" fmla="*/ 2147483647 w 34"/>
                    <a:gd name="T37" fmla="*/ 2147483647 h 38"/>
                    <a:gd name="T38" fmla="*/ 2147483647 w 34"/>
                    <a:gd name="T39" fmla="*/ 2147483647 h 38"/>
                    <a:gd name="T40" fmla="*/ 2147483647 w 34"/>
                    <a:gd name="T41" fmla="*/ 2147483647 h 38"/>
                    <a:gd name="T42" fmla="*/ 2147483647 w 34"/>
                    <a:gd name="T43" fmla="*/ 2147483647 h 38"/>
                    <a:gd name="T44" fmla="*/ 2147483647 w 34"/>
                    <a:gd name="T45" fmla="*/ 2147483647 h 38"/>
                    <a:gd name="T46" fmla="*/ 2147483647 w 34"/>
                    <a:gd name="T47" fmla="*/ 2147483647 h 38"/>
                    <a:gd name="T48" fmla="*/ 2147483647 w 34"/>
                    <a:gd name="T49" fmla="*/ 2147483647 h 38"/>
                    <a:gd name="T50" fmla="*/ 2147483647 w 34"/>
                    <a:gd name="T51" fmla="*/ 2147483647 h 38"/>
                    <a:gd name="T52" fmla="*/ 2147483647 w 34"/>
                    <a:gd name="T53" fmla="*/ 2147483647 h 38"/>
                    <a:gd name="T54" fmla="*/ 2147483647 w 34"/>
                    <a:gd name="T55" fmla="*/ 2147483647 h 38"/>
                    <a:gd name="T56" fmla="*/ 2147483647 w 34"/>
                    <a:gd name="T57" fmla="*/ 2147483647 h 38"/>
                    <a:gd name="T58" fmla="*/ 2147483647 w 34"/>
                    <a:gd name="T59" fmla="*/ 2147483647 h 38"/>
                    <a:gd name="T60" fmla="*/ 2147483647 w 34"/>
                    <a:gd name="T61" fmla="*/ 2147483647 h 3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4"/>
                    <a:gd name="T94" fmla="*/ 0 h 38"/>
                    <a:gd name="T95" fmla="*/ 34 w 34"/>
                    <a:gd name="T96" fmla="*/ 38 h 3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4" h="38">
                      <a:moveTo>
                        <a:pt x="24" y="12"/>
                      </a:moveTo>
                      <a:lnTo>
                        <a:pt x="14" y="6"/>
                      </a:lnTo>
                      <a:lnTo>
                        <a:pt x="3" y="0"/>
                      </a:lnTo>
                      <a:lnTo>
                        <a:pt x="1" y="6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19"/>
                      </a:lnTo>
                      <a:lnTo>
                        <a:pt x="3" y="22"/>
                      </a:lnTo>
                      <a:lnTo>
                        <a:pt x="7" y="23"/>
                      </a:lnTo>
                      <a:lnTo>
                        <a:pt x="12" y="23"/>
                      </a:lnTo>
                      <a:lnTo>
                        <a:pt x="15" y="23"/>
                      </a:lnTo>
                      <a:lnTo>
                        <a:pt x="16" y="24"/>
                      </a:lnTo>
                      <a:lnTo>
                        <a:pt x="15" y="25"/>
                      </a:lnTo>
                      <a:lnTo>
                        <a:pt x="14" y="30"/>
                      </a:lnTo>
                      <a:lnTo>
                        <a:pt x="14" y="33"/>
                      </a:lnTo>
                      <a:lnTo>
                        <a:pt x="14" y="37"/>
                      </a:lnTo>
                      <a:lnTo>
                        <a:pt x="15" y="37"/>
                      </a:lnTo>
                      <a:lnTo>
                        <a:pt x="17" y="38"/>
                      </a:lnTo>
                      <a:lnTo>
                        <a:pt x="19" y="37"/>
                      </a:lnTo>
                      <a:lnTo>
                        <a:pt x="20" y="36"/>
                      </a:lnTo>
                      <a:lnTo>
                        <a:pt x="20" y="33"/>
                      </a:lnTo>
                      <a:lnTo>
                        <a:pt x="21" y="32"/>
                      </a:lnTo>
                      <a:lnTo>
                        <a:pt x="26" y="29"/>
                      </a:lnTo>
                      <a:lnTo>
                        <a:pt x="31" y="25"/>
                      </a:lnTo>
                      <a:lnTo>
                        <a:pt x="34" y="22"/>
                      </a:lnTo>
                      <a:lnTo>
                        <a:pt x="34" y="19"/>
                      </a:lnTo>
                      <a:lnTo>
                        <a:pt x="34" y="16"/>
                      </a:lnTo>
                      <a:lnTo>
                        <a:pt x="33" y="14"/>
                      </a:lnTo>
                      <a:lnTo>
                        <a:pt x="30" y="13"/>
                      </a:lnTo>
                      <a:lnTo>
                        <a:pt x="26" y="13"/>
                      </a:lnTo>
                      <a:lnTo>
                        <a:pt x="24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4" name="Freeform 1134">
                  <a:extLst>
                    <a:ext uri="{FF2B5EF4-FFF2-40B4-BE49-F238E27FC236}">
                      <a16:creationId xmlns:a16="http://schemas.microsoft.com/office/drawing/2014/main" id="{738B5E8B-8671-8640-B905-18F5CCAE1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1818" y="1694138"/>
                  <a:ext cx="23678" cy="17758"/>
                </a:xfrm>
                <a:custGeom>
                  <a:avLst/>
                  <a:gdLst>
                    <a:gd name="T0" fmla="*/ 2147483647 w 17"/>
                    <a:gd name="T1" fmla="*/ 2147483647 h 12"/>
                    <a:gd name="T2" fmla="*/ 2147483647 w 17"/>
                    <a:gd name="T3" fmla="*/ 2147483647 h 12"/>
                    <a:gd name="T4" fmla="*/ 2147483647 w 17"/>
                    <a:gd name="T5" fmla="*/ 2147483647 h 12"/>
                    <a:gd name="T6" fmla="*/ 2147483647 w 17"/>
                    <a:gd name="T7" fmla="*/ 2147483647 h 12"/>
                    <a:gd name="T8" fmla="*/ 2147483647 w 17"/>
                    <a:gd name="T9" fmla="*/ 2147483647 h 12"/>
                    <a:gd name="T10" fmla="*/ 2147483647 w 17"/>
                    <a:gd name="T11" fmla="*/ 2147483647 h 12"/>
                    <a:gd name="T12" fmla="*/ 2147483647 w 17"/>
                    <a:gd name="T13" fmla="*/ 2147483647 h 12"/>
                    <a:gd name="T14" fmla="*/ 2147483647 w 17"/>
                    <a:gd name="T15" fmla="*/ 2147483647 h 12"/>
                    <a:gd name="T16" fmla="*/ 2147483647 w 17"/>
                    <a:gd name="T17" fmla="*/ 2147483647 h 12"/>
                    <a:gd name="T18" fmla="*/ 2147483647 w 17"/>
                    <a:gd name="T19" fmla="*/ 2147483647 h 12"/>
                    <a:gd name="T20" fmla="*/ 2147483647 w 17"/>
                    <a:gd name="T21" fmla="*/ 2147483647 h 12"/>
                    <a:gd name="T22" fmla="*/ 0 w 17"/>
                    <a:gd name="T23" fmla="*/ 2147483647 h 12"/>
                    <a:gd name="T24" fmla="*/ 2147483647 w 17"/>
                    <a:gd name="T25" fmla="*/ 2147483647 h 12"/>
                    <a:gd name="T26" fmla="*/ 2147483647 w 17"/>
                    <a:gd name="T27" fmla="*/ 2147483647 h 12"/>
                    <a:gd name="T28" fmla="*/ 2147483647 w 17"/>
                    <a:gd name="T29" fmla="*/ 2147483647 h 12"/>
                    <a:gd name="T30" fmla="*/ 2147483647 w 17"/>
                    <a:gd name="T31" fmla="*/ 2147483647 h 12"/>
                    <a:gd name="T32" fmla="*/ 2147483647 w 17"/>
                    <a:gd name="T33" fmla="*/ 0 h 12"/>
                    <a:gd name="T34" fmla="*/ 2147483647 w 17"/>
                    <a:gd name="T35" fmla="*/ 0 h 12"/>
                    <a:gd name="T36" fmla="*/ 2147483647 w 17"/>
                    <a:gd name="T37" fmla="*/ 2147483647 h 12"/>
                    <a:gd name="T38" fmla="*/ 2147483647 w 17"/>
                    <a:gd name="T39" fmla="*/ 2147483647 h 12"/>
                    <a:gd name="T40" fmla="*/ 2147483647 w 17"/>
                    <a:gd name="T41" fmla="*/ 2147483647 h 1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7"/>
                    <a:gd name="T64" fmla="*/ 0 h 12"/>
                    <a:gd name="T65" fmla="*/ 17 w 17"/>
                    <a:gd name="T66" fmla="*/ 12 h 1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7" h="12">
                      <a:moveTo>
                        <a:pt x="17" y="6"/>
                      </a:moveTo>
                      <a:lnTo>
                        <a:pt x="17" y="6"/>
                      </a:lnTo>
                      <a:lnTo>
                        <a:pt x="17" y="9"/>
                      </a:lnTo>
                      <a:lnTo>
                        <a:pt x="16" y="10"/>
                      </a:lnTo>
                      <a:lnTo>
                        <a:pt x="14" y="11"/>
                      </a:lnTo>
                      <a:lnTo>
                        <a:pt x="10" y="11"/>
                      </a:lnTo>
                      <a:lnTo>
                        <a:pt x="5" y="12"/>
                      </a:lnTo>
                      <a:lnTo>
                        <a:pt x="2" y="12"/>
                      </a:lnTo>
                      <a:lnTo>
                        <a:pt x="1" y="12"/>
                      </a:lnTo>
                      <a:lnTo>
                        <a:pt x="0" y="10"/>
                      </a:lnTo>
                      <a:lnTo>
                        <a:pt x="1" y="8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6" y="3"/>
                      </a:lnTo>
                      <a:lnTo>
                        <a:pt x="17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5" name="Freeform 1135">
                  <a:extLst>
                    <a:ext uri="{FF2B5EF4-FFF2-40B4-BE49-F238E27FC236}">
                      <a16:creationId xmlns:a16="http://schemas.microsoft.com/office/drawing/2014/main" id="{8226BD4E-CC8D-454F-91A9-F384661AD0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8095" y="1794770"/>
                  <a:ext cx="48836" cy="56235"/>
                </a:xfrm>
                <a:custGeom>
                  <a:avLst/>
                  <a:gdLst>
                    <a:gd name="T0" fmla="*/ 2147483647 w 35"/>
                    <a:gd name="T1" fmla="*/ 2147483647 h 38"/>
                    <a:gd name="T2" fmla="*/ 2147483647 w 35"/>
                    <a:gd name="T3" fmla="*/ 2147483647 h 38"/>
                    <a:gd name="T4" fmla="*/ 2147483647 w 35"/>
                    <a:gd name="T5" fmla="*/ 2147483647 h 38"/>
                    <a:gd name="T6" fmla="*/ 2147483647 w 35"/>
                    <a:gd name="T7" fmla="*/ 0 h 38"/>
                    <a:gd name="T8" fmla="*/ 2147483647 w 35"/>
                    <a:gd name="T9" fmla="*/ 0 h 38"/>
                    <a:gd name="T10" fmla="*/ 2147483647 w 35"/>
                    <a:gd name="T11" fmla="*/ 2147483647 h 38"/>
                    <a:gd name="T12" fmla="*/ 0 w 35"/>
                    <a:gd name="T13" fmla="*/ 2147483647 h 38"/>
                    <a:gd name="T14" fmla="*/ 0 w 35"/>
                    <a:gd name="T15" fmla="*/ 2147483647 h 38"/>
                    <a:gd name="T16" fmla="*/ 2147483647 w 35"/>
                    <a:gd name="T17" fmla="*/ 2147483647 h 38"/>
                    <a:gd name="T18" fmla="*/ 2147483647 w 35"/>
                    <a:gd name="T19" fmla="*/ 2147483647 h 38"/>
                    <a:gd name="T20" fmla="*/ 2147483647 w 35"/>
                    <a:gd name="T21" fmla="*/ 2147483647 h 38"/>
                    <a:gd name="T22" fmla="*/ 2147483647 w 35"/>
                    <a:gd name="T23" fmla="*/ 2147483647 h 38"/>
                    <a:gd name="T24" fmla="*/ 2147483647 w 35"/>
                    <a:gd name="T25" fmla="*/ 2147483647 h 38"/>
                    <a:gd name="T26" fmla="*/ 2147483647 w 35"/>
                    <a:gd name="T27" fmla="*/ 2147483647 h 38"/>
                    <a:gd name="T28" fmla="*/ 2147483647 w 35"/>
                    <a:gd name="T29" fmla="*/ 2147483647 h 38"/>
                    <a:gd name="T30" fmla="*/ 2147483647 w 35"/>
                    <a:gd name="T31" fmla="*/ 2147483647 h 38"/>
                    <a:gd name="T32" fmla="*/ 2147483647 w 35"/>
                    <a:gd name="T33" fmla="*/ 2147483647 h 38"/>
                    <a:gd name="T34" fmla="*/ 2147483647 w 35"/>
                    <a:gd name="T35" fmla="*/ 2147483647 h 38"/>
                    <a:gd name="T36" fmla="*/ 2147483647 w 35"/>
                    <a:gd name="T37" fmla="*/ 2147483647 h 38"/>
                    <a:gd name="T38" fmla="*/ 2147483647 w 35"/>
                    <a:gd name="T39" fmla="*/ 2147483647 h 38"/>
                    <a:gd name="T40" fmla="*/ 2147483647 w 35"/>
                    <a:gd name="T41" fmla="*/ 2147483647 h 38"/>
                    <a:gd name="T42" fmla="*/ 2147483647 w 35"/>
                    <a:gd name="T43" fmla="*/ 2147483647 h 38"/>
                    <a:gd name="T44" fmla="*/ 2147483647 w 35"/>
                    <a:gd name="T45" fmla="*/ 2147483647 h 38"/>
                    <a:gd name="T46" fmla="*/ 2147483647 w 35"/>
                    <a:gd name="T47" fmla="*/ 2147483647 h 38"/>
                    <a:gd name="T48" fmla="*/ 2147483647 w 35"/>
                    <a:gd name="T49" fmla="*/ 2147483647 h 38"/>
                    <a:gd name="T50" fmla="*/ 2147483647 w 35"/>
                    <a:gd name="T51" fmla="*/ 2147483647 h 38"/>
                    <a:gd name="T52" fmla="*/ 2147483647 w 35"/>
                    <a:gd name="T53" fmla="*/ 2147483647 h 38"/>
                    <a:gd name="T54" fmla="*/ 2147483647 w 35"/>
                    <a:gd name="T55" fmla="*/ 2147483647 h 38"/>
                    <a:gd name="T56" fmla="*/ 2147483647 w 35"/>
                    <a:gd name="T57" fmla="*/ 2147483647 h 38"/>
                    <a:gd name="T58" fmla="*/ 2147483647 w 35"/>
                    <a:gd name="T59" fmla="*/ 2147483647 h 38"/>
                    <a:gd name="T60" fmla="*/ 2147483647 w 35"/>
                    <a:gd name="T61" fmla="*/ 2147483647 h 38"/>
                    <a:gd name="T62" fmla="*/ 2147483647 w 35"/>
                    <a:gd name="T63" fmla="*/ 2147483647 h 38"/>
                    <a:gd name="T64" fmla="*/ 2147483647 w 35"/>
                    <a:gd name="T65" fmla="*/ 2147483647 h 38"/>
                    <a:gd name="T66" fmla="*/ 2147483647 w 35"/>
                    <a:gd name="T67" fmla="*/ 2147483647 h 38"/>
                    <a:gd name="T68" fmla="*/ 2147483647 w 35"/>
                    <a:gd name="T69" fmla="*/ 2147483647 h 38"/>
                    <a:gd name="T70" fmla="*/ 2147483647 w 35"/>
                    <a:gd name="T71" fmla="*/ 2147483647 h 38"/>
                    <a:gd name="T72" fmla="*/ 2147483647 w 35"/>
                    <a:gd name="T73" fmla="*/ 2147483647 h 38"/>
                    <a:gd name="T74" fmla="*/ 2147483647 w 35"/>
                    <a:gd name="T75" fmla="*/ 2147483647 h 38"/>
                    <a:gd name="T76" fmla="*/ 2147483647 w 35"/>
                    <a:gd name="T77" fmla="*/ 2147483647 h 3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35"/>
                    <a:gd name="T118" fmla="*/ 0 h 38"/>
                    <a:gd name="T119" fmla="*/ 35 w 35"/>
                    <a:gd name="T120" fmla="*/ 38 h 3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35" h="38">
                      <a:moveTo>
                        <a:pt x="24" y="12"/>
                      </a:moveTo>
                      <a:lnTo>
                        <a:pt x="24" y="12"/>
                      </a:lnTo>
                      <a:lnTo>
                        <a:pt x="14" y="6"/>
                      </a:lnTo>
                      <a:lnTo>
                        <a:pt x="4" y="0"/>
                      </a:lnTo>
                      <a:lnTo>
                        <a:pt x="2" y="6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3" y="19"/>
                      </a:lnTo>
                      <a:lnTo>
                        <a:pt x="4" y="21"/>
                      </a:lnTo>
                      <a:lnTo>
                        <a:pt x="8" y="23"/>
                      </a:lnTo>
                      <a:lnTo>
                        <a:pt x="13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16" y="25"/>
                      </a:lnTo>
                      <a:lnTo>
                        <a:pt x="14" y="30"/>
                      </a:lnTo>
                      <a:lnTo>
                        <a:pt x="14" y="33"/>
                      </a:lnTo>
                      <a:lnTo>
                        <a:pt x="14" y="37"/>
                      </a:lnTo>
                      <a:lnTo>
                        <a:pt x="16" y="37"/>
                      </a:lnTo>
                      <a:lnTo>
                        <a:pt x="18" y="38"/>
                      </a:lnTo>
                      <a:lnTo>
                        <a:pt x="19" y="37"/>
                      </a:lnTo>
                      <a:lnTo>
                        <a:pt x="21" y="36"/>
                      </a:lnTo>
                      <a:lnTo>
                        <a:pt x="21" y="33"/>
                      </a:lnTo>
                      <a:lnTo>
                        <a:pt x="22" y="32"/>
                      </a:lnTo>
                      <a:lnTo>
                        <a:pt x="27" y="28"/>
                      </a:lnTo>
                      <a:lnTo>
                        <a:pt x="32" y="25"/>
                      </a:lnTo>
                      <a:lnTo>
                        <a:pt x="35" y="21"/>
                      </a:lnTo>
                      <a:lnTo>
                        <a:pt x="35" y="19"/>
                      </a:lnTo>
                      <a:lnTo>
                        <a:pt x="35" y="15"/>
                      </a:lnTo>
                      <a:lnTo>
                        <a:pt x="33" y="14"/>
                      </a:lnTo>
                      <a:lnTo>
                        <a:pt x="31" y="13"/>
                      </a:lnTo>
                      <a:lnTo>
                        <a:pt x="27" y="13"/>
                      </a:lnTo>
                      <a:lnTo>
                        <a:pt x="24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6" name="Freeform 1136">
                  <a:extLst>
                    <a:ext uri="{FF2B5EF4-FFF2-40B4-BE49-F238E27FC236}">
                      <a16:creationId xmlns:a16="http://schemas.microsoft.com/office/drawing/2014/main" id="{6CBBC59A-EE95-8940-BF08-0A8B7868A0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2896" y="1705974"/>
                  <a:ext cx="97672" cy="54755"/>
                </a:xfrm>
                <a:custGeom>
                  <a:avLst/>
                  <a:gdLst>
                    <a:gd name="T0" fmla="*/ 2147483647 w 72"/>
                    <a:gd name="T1" fmla="*/ 2147483647 h 37"/>
                    <a:gd name="T2" fmla="*/ 2147483647 w 72"/>
                    <a:gd name="T3" fmla="*/ 2147483647 h 37"/>
                    <a:gd name="T4" fmla="*/ 2147483647 w 72"/>
                    <a:gd name="T5" fmla="*/ 2147483647 h 37"/>
                    <a:gd name="T6" fmla="*/ 2147483647 w 72"/>
                    <a:gd name="T7" fmla="*/ 0 h 37"/>
                    <a:gd name="T8" fmla="*/ 2147483647 w 72"/>
                    <a:gd name="T9" fmla="*/ 0 h 37"/>
                    <a:gd name="T10" fmla="*/ 2147483647 w 72"/>
                    <a:gd name="T11" fmla="*/ 2147483647 h 37"/>
                    <a:gd name="T12" fmla="*/ 2147483647 w 72"/>
                    <a:gd name="T13" fmla="*/ 2147483647 h 37"/>
                    <a:gd name="T14" fmla="*/ 2147483647 w 72"/>
                    <a:gd name="T15" fmla="*/ 2147483647 h 37"/>
                    <a:gd name="T16" fmla="*/ 2147483647 w 72"/>
                    <a:gd name="T17" fmla="*/ 2147483647 h 37"/>
                    <a:gd name="T18" fmla="*/ 2147483647 w 72"/>
                    <a:gd name="T19" fmla="*/ 2147483647 h 37"/>
                    <a:gd name="T20" fmla="*/ 2147483647 w 72"/>
                    <a:gd name="T21" fmla="*/ 2147483647 h 37"/>
                    <a:gd name="T22" fmla="*/ 2147483647 w 72"/>
                    <a:gd name="T23" fmla="*/ 2147483647 h 37"/>
                    <a:gd name="T24" fmla="*/ 2147483647 w 72"/>
                    <a:gd name="T25" fmla="*/ 2147483647 h 37"/>
                    <a:gd name="T26" fmla="*/ 2147483647 w 72"/>
                    <a:gd name="T27" fmla="*/ 2147483647 h 37"/>
                    <a:gd name="T28" fmla="*/ 2147483647 w 72"/>
                    <a:gd name="T29" fmla="*/ 2147483647 h 37"/>
                    <a:gd name="T30" fmla="*/ 2147483647 w 72"/>
                    <a:gd name="T31" fmla="*/ 2147483647 h 37"/>
                    <a:gd name="T32" fmla="*/ 2147483647 w 72"/>
                    <a:gd name="T33" fmla="*/ 2147483647 h 37"/>
                    <a:gd name="T34" fmla="*/ 2147483647 w 72"/>
                    <a:gd name="T35" fmla="*/ 2147483647 h 37"/>
                    <a:gd name="T36" fmla="*/ 2147483647 w 72"/>
                    <a:gd name="T37" fmla="*/ 2147483647 h 37"/>
                    <a:gd name="T38" fmla="*/ 2147483647 w 72"/>
                    <a:gd name="T39" fmla="*/ 2147483647 h 37"/>
                    <a:gd name="T40" fmla="*/ 2147483647 w 72"/>
                    <a:gd name="T41" fmla="*/ 2147483647 h 37"/>
                    <a:gd name="T42" fmla="*/ 2147483647 w 72"/>
                    <a:gd name="T43" fmla="*/ 2147483647 h 37"/>
                    <a:gd name="T44" fmla="*/ 2147483647 w 72"/>
                    <a:gd name="T45" fmla="*/ 2147483647 h 37"/>
                    <a:gd name="T46" fmla="*/ 2147483647 w 72"/>
                    <a:gd name="T47" fmla="*/ 2147483647 h 37"/>
                    <a:gd name="T48" fmla="*/ 0 w 72"/>
                    <a:gd name="T49" fmla="*/ 2147483647 h 37"/>
                    <a:gd name="T50" fmla="*/ 2147483647 w 72"/>
                    <a:gd name="T51" fmla="*/ 2147483647 h 37"/>
                    <a:gd name="T52" fmla="*/ 2147483647 w 72"/>
                    <a:gd name="T53" fmla="*/ 2147483647 h 37"/>
                    <a:gd name="T54" fmla="*/ 2147483647 w 72"/>
                    <a:gd name="T55" fmla="*/ 2147483647 h 37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2"/>
                    <a:gd name="T85" fmla="*/ 0 h 37"/>
                    <a:gd name="T86" fmla="*/ 72 w 72"/>
                    <a:gd name="T87" fmla="*/ 37 h 37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2" h="37">
                      <a:moveTo>
                        <a:pt x="72" y="15"/>
                      </a:moveTo>
                      <a:lnTo>
                        <a:pt x="68" y="4"/>
                      </a:lnTo>
                      <a:lnTo>
                        <a:pt x="65" y="1"/>
                      </a:lnTo>
                      <a:lnTo>
                        <a:pt x="63" y="0"/>
                      </a:lnTo>
                      <a:lnTo>
                        <a:pt x="60" y="0"/>
                      </a:lnTo>
                      <a:lnTo>
                        <a:pt x="58" y="1"/>
                      </a:lnTo>
                      <a:lnTo>
                        <a:pt x="56" y="2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44" y="4"/>
                      </a:lnTo>
                      <a:lnTo>
                        <a:pt x="40" y="5"/>
                      </a:lnTo>
                      <a:lnTo>
                        <a:pt x="36" y="8"/>
                      </a:lnTo>
                      <a:lnTo>
                        <a:pt x="34" y="8"/>
                      </a:lnTo>
                      <a:lnTo>
                        <a:pt x="31" y="8"/>
                      </a:lnTo>
                      <a:lnTo>
                        <a:pt x="30" y="9"/>
                      </a:lnTo>
                      <a:lnTo>
                        <a:pt x="23" y="10"/>
                      </a:lnTo>
                      <a:lnTo>
                        <a:pt x="18" y="10"/>
                      </a:lnTo>
                      <a:lnTo>
                        <a:pt x="13" y="11"/>
                      </a:lnTo>
                      <a:lnTo>
                        <a:pt x="12" y="13"/>
                      </a:lnTo>
                      <a:lnTo>
                        <a:pt x="12" y="15"/>
                      </a:lnTo>
                      <a:lnTo>
                        <a:pt x="11" y="20"/>
                      </a:lnTo>
                      <a:lnTo>
                        <a:pt x="8" y="23"/>
                      </a:lnTo>
                      <a:lnTo>
                        <a:pt x="6" y="27"/>
                      </a:lnTo>
                      <a:lnTo>
                        <a:pt x="2" y="30"/>
                      </a:lnTo>
                      <a:lnTo>
                        <a:pt x="0" y="33"/>
                      </a:lnTo>
                      <a:lnTo>
                        <a:pt x="2" y="34"/>
                      </a:lnTo>
                      <a:lnTo>
                        <a:pt x="6" y="37"/>
                      </a:lnTo>
                      <a:lnTo>
                        <a:pt x="72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7" name="Freeform 1137">
                  <a:extLst>
                    <a:ext uri="{FF2B5EF4-FFF2-40B4-BE49-F238E27FC236}">
                      <a16:creationId xmlns:a16="http://schemas.microsoft.com/office/drawing/2014/main" id="{C36F1329-606E-4D49-B719-F3D47475C2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4378" y="1725211"/>
                  <a:ext cx="119869" cy="9027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0 w 87"/>
                    <a:gd name="T7" fmla="*/ 2147483647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2147483647 w 87"/>
                    <a:gd name="T29" fmla="*/ 2147483647 h 61"/>
                    <a:gd name="T30" fmla="*/ 2147483647 w 87"/>
                    <a:gd name="T31" fmla="*/ 2147483647 h 61"/>
                    <a:gd name="T32" fmla="*/ 2147483647 w 87"/>
                    <a:gd name="T33" fmla="*/ 2147483647 h 61"/>
                    <a:gd name="T34" fmla="*/ 2147483647 w 87"/>
                    <a:gd name="T35" fmla="*/ 2147483647 h 61"/>
                    <a:gd name="T36" fmla="*/ 2147483647 w 87"/>
                    <a:gd name="T37" fmla="*/ 2147483647 h 61"/>
                    <a:gd name="T38" fmla="*/ 2147483647 w 87"/>
                    <a:gd name="T39" fmla="*/ 2147483647 h 61"/>
                    <a:gd name="T40" fmla="*/ 2147483647 w 87"/>
                    <a:gd name="T41" fmla="*/ 2147483647 h 61"/>
                    <a:gd name="T42" fmla="*/ 2147483647 w 87"/>
                    <a:gd name="T43" fmla="*/ 2147483647 h 61"/>
                    <a:gd name="T44" fmla="*/ 2147483647 w 87"/>
                    <a:gd name="T45" fmla="*/ 2147483647 h 61"/>
                    <a:gd name="T46" fmla="*/ 2147483647 w 87"/>
                    <a:gd name="T47" fmla="*/ 2147483647 h 61"/>
                    <a:gd name="T48" fmla="*/ 2147483647 w 87"/>
                    <a:gd name="T49" fmla="*/ 2147483647 h 61"/>
                    <a:gd name="T50" fmla="*/ 2147483647 w 87"/>
                    <a:gd name="T51" fmla="*/ 2147483647 h 61"/>
                    <a:gd name="T52" fmla="*/ 2147483647 w 87"/>
                    <a:gd name="T53" fmla="*/ 2147483647 h 61"/>
                    <a:gd name="T54" fmla="*/ 2147483647 w 87"/>
                    <a:gd name="T55" fmla="*/ 2147483647 h 61"/>
                    <a:gd name="T56" fmla="*/ 2147483647 w 87"/>
                    <a:gd name="T57" fmla="*/ 2147483647 h 61"/>
                    <a:gd name="T58" fmla="*/ 2147483647 w 87"/>
                    <a:gd name="T59" fmla="*/ 2147483647 h 61"/>
                    <a:gd name="T60" fmla="*/ 2147483647 w 87"/>
                    <a:gd name="T61" fmla="*/ 2147483647 h 61"/>
                    <a:gd name="T62" fmla="*/ 2147483647 w 87"/>
                    <a:gd name="T63" fmla="*/ 2147483647 h 61"/>
                    <a:gd name="T64" fmla="*/ 2147483647 w 87"/>
                    <a:gd name="T65" fmla="*/ 2147483647 h 61"/>
                    <a:gd name="T66" fmla="*/ 2147483647 w 87"/>
                    <a:gd name="T67" fmla="*/ 2147483647 h 61"/>
                    <a:gd name="T68" fmla="*/ 2147483647 w 87"/>
                    <a:gd name="T69" fmla="*/ 2147483647 h 61"/>
                    <a:gd name="T70" fmla="*/ 2147483647 w 87"/>
                    <a:gd name="T71" fmla="*/ 2147483647 h 61"/>
                    <a:gd name="T72" fmla="*/ 2147483647 w 87"/>
                    <a:gd name="T73" fmla="*/ 2147483647 h 61"/>
                    <a:gd name="T74" fmla="*/ 2147483647 w 87"/>
                    <a:gd name="T75" fmla="*/ 2147483647 h 61"/>
                    <a:gd name="T76" fmla="*/ 2147483647 w 87"/>
                    <a:gd name="T77" fmla="*/ 2147483647 h 61"/>
                    <a:gd name="T78" fmla="*/ 2147483647 w 87"/>
                    <a:gd name="T79" fmla="*/ 2147483647 h 61"/>
                    <a:gd name="T80" fmla="*/ 2147483647 w 87"/>
                    <a:gd name="T81" fmla="*/ 2147483647 h 61"/>
                    <a:gd name="T82" fmla="*/ 2147483647 w 87"/>
                    <a:gd name="T83" fmla="*/ 2147483647 h 61"/>
                    <a:gd name="T84" fmla="*/ 2147483647 w 87"/>
                    <a:gd name="T85" fmla="*/ 0 h 61"/>
                    <a:gd name="T86" fmla="*/ 2147483647 w 87"/>
                    <a:gd name="T87" fmla="*/ 2147483647 h 61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87"/>
                    <a:gd name="T133" fmla="*/ 0 h 61"/>
                    <a:gd name="T134" fmla="*/ 87 w 87"/>
                    <a:gd name="T135" fmla="*/ 61 h 61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87" h="61">
                      <a:moveTo>
                        <a:pt x="4" y="26"/>
                      </a:moveTo>
                      <a:lnTo>
                        <a:pt x="4" y="29"/>
                      </a:lnTo>
                      <a:lnTo>
                        <a:pt x="1" y="32"/>
                      </a:lnTo>
                      <a:lnTo>
                        <a:pt x="0" y="35"/>
                      </a:lnTo>
                      <a:lnTo>
                        <a:pt x="1" y="36"/>
                      </a:lnTo>
                      <a:lnTo>
                        <a:pt x="2" y="38"/>
                      </a:lnTo>
                      <a:lnTo>
                        <a:pt x="16" y="46"/>
                      </a:lnTo>
                      <a:lnTo>
                        <a:pt x="23" y="51"/>
                      </a:lnTo>
                      <a:lnTo>
                        <a:pt x="28" y="55"/>
                      </a:lnTo>
                      <a:lnTo>
                        <a:pt x="34" y="60"/>
                      </a:lnTo>
                      <a:lnTo>
                        <a:pt x="37" y="61"/>
                      </a:lnTo>
                      <a:lnTo>
                        <a:pt x="38" y="61"/>
                      </a:lnTo>
                      <a:lnTo>
                        <a:pt x="39" y="59"/>
                      </a:lnTo>
                      <a:lnTo>
                        <a:pt x="43" y="55"/>
                      </a:lnTo>
                      <a:lnTo>
                        <a:pt x="48" y="53"/>
                      </a:lnTo>
                      <a:lnTo>
                        <a:pt x="53" y="52"/>
                      </a:lnTo>
                      <a:lnTo>
                        <a:pt x="58" y="52"/>
                      </a:lnTo>
                      <a:lnTo>
                        <a:pt x="59" y="49"/>
                      </a:lnTo>
                      <a:lnTo>
                        <a:pt x="62" y="49"/>
                      </a:lnTo>
                      <a:lnTo>
                        <a:pt x="65" y="48"/>
                      </a:lnTo>
                      <a:lnTo>
                        <a:pt x="68" y="46"/>
                      </a:lnTo>
                      <a:lnTo>
                        <a:pt x="72" y="45"/>
                      </a:lnTo>
                      <a:lnTo>
                        <a:pt x="77" y="43"/>
                      </a:lnTo>
                      <a:lnTo>
                        <a:pt x="81" y="42"/>
                      </a:lnTo>
                      <a:lnTo>
                        <a:pt x="82" y="40"/>
                      </a:lnTo>
                      <a:lnTo>
                        <a:pt x="81" y="39"/>
                      </a:lnTo>
                      <a:lnTo>
                        <a:pt x="78" y="32"/>
                      </a:lnTo>
                      <a:lnTo>
                        <a:pt x="77" y="28"/>
                      </a:lnTo>
                      <a:lnTo>
                        <a:pt x="78" y="26"/>
                      </a:lnTo>
                      <a:lnTo>
                        <a:pt x="80" y="24"/>
                      </a:lnTo>
                      <a:lnTo>
                        <a:pt x="82" y="24"/>
                      </a:lnTo>
                      <a:lnTo>
                        <a:pt x="85" y="24"/>
                      </a:lnTo>
                      <a:lnTo>
                        <a:pt x="87" y="24"/>
                      </a:lnTo>
                      <a:lnTo>
                        <a:pt x="87" y="22"/>
                      </a:lnTo>
                      <a:lnTo>
                        <a:pt x="86" y="21"/>
                      </a:lnTo>
                      <a:lnTo>
                        <a:pt x="84" y="20"/>
                      </a:lnTo>
                      <a:lnTo>
                        <a:pt x="80" y="19"/>
                      </a:lnTo>
                      <a:lnTo>
                        <a:pt x="77" y="17"/>
                      </a:lnTo>
                      <a:lnTo>
                        <a:pt x="76" y="16"/>
                      </a:lnTo>
                      <a:lnTo>
                        <a:pt x="75" y="14"/>
                      </a:lnTo>
                      <a:lnTo>
                        <a:pt x="73" y="7"/>
                      </a:lnTo>
                      <a:lnTo>
                        <a:pt x="72" y="3"/>
                      </a:lnTo>
                      <a:lnTo>
                        <a:pt x="70" y="0"/>
                      </a:lnTo>
                      <a:lnTo>
                        <a:pt x="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8" name="Freeform 1138">
                  <a:extLst>
                    <a:ext uri="{FF2B5EF4-FFF2-40B4-BE49-F238E27FC236}">
                      <a16:creationId xmlns:a16="http://schemas.microsoft.com/office/drawing/2014/main" id="{530368F6-4147-0D41-95DB-369C35DB1E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1418" y="1703018"/>
                  <a:ext cx="96191" cy="56235"/>
                </a:xfrm>
                <a:custGeom>
                  <a:avLst/>
                  <a:gdLst>
                    <a:gd name="T0" fmla="*/ 2147483647 w 71"/>
                    <a:gd name="T1" fmla="*/ 2147483647 h 38"/>
                    <a:gd name="T2" fmla="*/ 2147483647 w 71"/>
                    <a:gd name="T3" fmla="*/ 2147483647 h 38"/>
                    <a:gd name="T4" fmla="*/ 2147483647 w 71"/>
                    <a:gd name="T5" fmla="*/ 2147483647 h 38"/>
                    <a:gd name="T6" fmla="*/ 2147483647 w 71"/>
                    <a:gd name="T7" fmla="*/ 2147483647 h 38"/>
                    <a:gd name="T8" fmla="*/ 2147483647 w 71"/>
                    <a:gd name="T9" fmla="*/ 0 h 38"/>
                    <a:gd name="T10" fmla="*/ 2147483647 w 71"/>
                    <a:gd name="T11" fmla="*/ 0 h 38"/>
                    <a:gd name="T12" fmla="*/ 2147483647 w 71"/>
                    <a:gd name="T13" fmla="*/ 0 h 38"/>
                    <a:gd name="T14" fmla="*/ 2147483647 w 71"/>
                    <a:gd name="T15" fmla="*/ 2147483647 h 38"/>
                    <a:gd name="T16" fmla="*/ 2147483647 w 71"/>
                    <a:gd name="T17" fmla="*/ 2147483647 h 38"/>
                    <a:gd name="T18" fmla="*/ 2147483647 w 71"/>
                    <a:gd name="T19" fmla="*/ 2147483647 h 38"/>
                    <a:gd name="T20" fmla="*/ 2147483647 w 71"/>
                    <a:gd name="T21" fmla="*/ 2147483647 h 38"/>
                    <a:gd name="T22" fmla="*/ 2147483647 w 71"/>
                    <a:gd name="T23" fmla="*/ 2147483647 h 38"/>
                    <a:gd name="T24" fmla="*/ 2147483647 w 71"/>
                    <a:gd name="T25" fmla="*/ 2147483647 h 38"/>
                    <a:gd name="T26" fmla="*/ 2147483647 w 71"/>
                    <a:gd name="T27" fmla="*/ 2147483647 h 38"/>
                    <a:gd name="T28" fmla="*/ 2147483647 w 71"/>
                    <a:gd name="T29" fmla="*/ 2147483647 h 38"/>
                    <a:gd name="T30" fmla="*/ 2147483647 w 71"/>
                    <a:gd name="T31" fmla="*/ 2147483647 h 38"/>
                    <a:gd name="T32" fmla="*/ 2147483647 w 71"/>
                    <a:gd name="T33" fmla="*/ 2147483647 h 38"/>
                    <a:gd name="T34" fmla="*/ 2147483647 w 71"/>
                    <a:gd name="T35" fmla="*/ 2147483647 h 38"/>
                    <a:gd name="T36" fmla="*/ 2147483647 w 71"/>
                    <a:gd name="T37" fmla="*/ 2147483647 h 38"/>
                    <a:gd name="T38" fmla="*/ 2147483647 w 71"/>
                    <a:gd name="T39" fmla="*/ 2147483647 h 38"/>
                    <a:gd name="T40" fmla="*/ 2147483647 w 71"/>
                    <a:gd name="T41" fmla="*/ 2147483647 h 38"/>
                    <a:gd name="T42" fmla="*/ 2147483647 w 71"/>
                    <a:gd name="T43" fmla="*/ 2147483647 h 38"/>
                    <a:gd name="T44" fmla="*/ 2147483647 w 71"/>
                    <a:gd name="T45" fmla="*/ 2147483647 h 38"/>
                    <a:gd name="T46" fmla="*/ 2147483647 w 71"/>
                    <a:gd name="T47" fmla="*/ 2147483647 h 38"/>
                    <a:gd name="T48" fmla="*/ 2147483647 w 71"/>
                    <a:gd name="T49" fmla="*/ 2147483647 h 38"/>
                    <a:gd name="T50" fmla="*/ 2147483647 w 71"/>
                    <a:gd name="T51" fmla="*/ 2147483647 h 38"/>
                    <a:gd name="T52" fmla="*/ 2147483647 w 71"/>
                    <a:gd name="T53" fmla="*/ 2147483647 h 38"/>
                    <a:gd name="T54" fmla="*/ 2147483647 w 71"/>
                    <a:gd name="T55" fmla="*/ 2147483647 h 38"/>
                    <a:gd name="T56" fmla="*/ 2147483647 w 71"/>
                    <a:gd name="T57" fmla="*/ 2147483647 h 38"/>
                    <a:gd name="T58" fmla="*/ 2147483647 w 71"/>
                    <a:gd name="T59" fmla="*/ 2147483647 h 38"/>
                    <a:gd name="T60" fmla="*/ 2147483647 w 71"/>
                    <a:gd name="T61" fmla="*/ 2147483647 h 38"/>
                    <a:gd name="T62" fmla="*/ 2147483647 w 71"/>
                    <a:gd name="T63" fmla="*/ 2147483647 h 38"/>
                    <a:gd name="T64" fmla="*/ 2147483647 w 71"/>
                    <a:gd name="T65" fmla="*/ 2147483647 h 38"/>
                    <a:gd name="T66" fmla="*/ 2147483647 w 71"/>
                    <a:gd name="T67" fmla="*/ 2147483647 h 38"/>
                    <a:gd name="T68" fmla="*/ 0 w 71"/>
                    <a:gd name="T69" fmla="*/ 2147483647 h 38"/>
                    <a:gd name="T70" fmla="*/ 2147483647 w 71"/>
                    <a:gd name="T71" fmla="*/ 2147483647 h 38"/>
                    <a:gd name="T72" fmla="*/ 2147483647 w 71"/>
                    <a:gd name="T73" fmla="*/ 2147483647 h 38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71"/>
                    <a:gd name="T112" fmla="*/ 0 h 38"/>
                    <a:gd name="T113" fmla="*/ 71 w 71"/>
                    <a:gd name="T114" fmla="*/ 38 h 38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71" h="38">
                      <a:moveTo>
                        <a:pt x="71" y="16"/>
                      </a:moveTo>
                      <a:lnTo>
                        <a:pt x="71" y="16"/>
                      </a:lnTo>
                      <a:lnTo>
                        <a:pt x="68" y="5"/>
                      </a:lnTo>
                      <a:lnTo>
                        <a:pt x="65" y="2"/>
                      </a:lnTo>
                      <a:lnTo>
                        <a:pt x="62" y="0"/>
                      </a:lnTo>
                      <a:lnTo>
                        <a:pt x="60" y="0"/>
                      </a:lnTo>
                      <a:lnTo>
                        <a:pt x="57" y="2"/>
                      </a:lnTo>
                      <a:lnTo>
                        <a:pt x="56" y="3"/>
                      </a:lnTo>
                      <a:lnTo>
                        <a:pt x="54" y="5"/>
                      </a:lnTo>
                      <a:lnTo>
                        <a:pt x="52" y="5"/>
                      </a:lnTo>
                      <a:lnTo>
                        <a:pt x="43" y="5"/>
                      </a:lnTo>
                      <a:lnTo>
                        <a:pt x="40" y="6"/>
                      </a:lnTo>
                      <a:lnTo>
                        <a:pt x="36" y="9"/>
                      </a:lnTo>
                      <a:lnTo>
                        <a:pt x="33" y="9"/>
                      </a:lnTo>
                      <a:lnTo>
                        <a:pt x="31" y="9"/>
                      </a:lnTo>
                      <a:lnTo>
                        <a:pt x="29" y="10"/>
                      </a:lnTo>
                      <a:lnTo>
                        <a:pt x="23" y="11"/>
                      </a:lnTo>
                      <a:lnTo>
                        <a:pt x="18" y="11"/>
                      </a:lnTo>
                      <a:lnTo>
                        <a:pt x="13" y="12"/>
                      </a:lnTo>
                      <a:lnTo>
                        <a:pt x="12" y="13"/>
                      </a:lnTo>
                      <a:lnTo>
                        <a:pt x="12" y="16"/>
                      </a:lnTo>
                      <a:lnTo>
                        <a:pt x="10" y="21"/>
                      </a:lnTo>
                      <a:lnTo>
                        <a:pt x="8" y="24"/>
                      </a:lnTo>
                      <a:lnTo>
                        <a:pt x="5" y="28"/>
                      </a:lnTo>
                      <a:lnTo>
                        <a:pt x="1" y="31"/>
                      </a:lnTo>
                      <a:lnTo>
                        <a:pt x="0" y="34"/>
                      </a:lnTo>
                      <a:lnTo>
                        <a:pt x="1" y="35"/>
                      </a:lnTo>
                      <a:lnTo>
                        <a:pt x="5" y="38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9" name="Freeform 1139">
                  <a:extLst>
                    <a:ext uri="{FF2B5EF4-FFF2-40B4-BE49-F238E27FC236}">
                      <a16:creationId xmlns:a16="http://schemas.microsoft.com/office/drawing/2014/main" id="{F0240D6F-EB47-494F-ABD0-2AF9D3B36D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72895" y="1722253"/>
                  <a:ext cx="119870" cy="91752"/>
                </a:xfrm>
                <a:custGeom>
                  <a:avLst/>
                  <a:gdLst>
                    <a:gd name="T0" fmla="*/ 2147483647 w 88"/>
                    <a:gd name="T1" fmla="*/ 2147483647 h 62"/>
                    <a:gd name="T2" fmla="*/ 2147483647 w 88"/>
                    <a:gd name="T3" fmla="*/ 2147483647 h 62"/>
                    <a:gd name="T4" fmla="*/ 2147483647 w 88"/>
                    <a:gd name="T5" fmla="*/ 2147483647 h 62"/>
                    <a:gd name="T6" fmla="*/ 2147483647 w 88"/>
                    <a:gd name="T7" fmla="*/ 2147483647 h 62"/>
                    <a:gd name="T8" fmla="*/ 0 w 88"/>
                    <a:gd name="T9" fmla="*/ 2147483647 h 62"/>
                    <a:gd name="T10" fmla="*/ 2147483647 w 88"/>
                    <a:gd name="T11" fmla="*/ 2147483647 h 62"/>
                    <a:gd name="T12" fmla="*/ 2147483647 w 88"/>
                    <a:gd name="T13" fmla="*/ 2147483647 h 62"/>
                    <a:gd name="T14" fmla="*/ 2147483647 w 88"/>
                    <a:gd name="T15" fmla="*/ 2147483647 h 62"/>
                    <a:gd name="T16" fmla="*/ 2147483647 w 88"/>
                    <a:gd name="T17" fmla="*/ 2147483647 h 62"/>
                    <a:gd name="T18" fmla="*/ 2147483647 w 88"/>
                    <a:gd name="T19" fmla="*/ 2147483647 h 62"/>
                    <a:gd name="T20" fmla="*/ 2147483647 w 88"/>
                    <a:gd name="T21" fmla="*/ 2147483647 h 62"/>
                    <a:gd name="T22" fmla="*/ 2147483647 w 88"/>
                    <a:gd name="T23" fmla="*/ 2147483647 h 62"/>
                    <a:gd name="T24" fmla="*/ 2147483647 w 88"/>
                    <a:gd name="T25" fmla="*/ 2147483647 h 62"/>
                    <a:gd name="T26" fmla="*/ 2147483647 w 88"/>
                    <a:gd name="T27" fmla="*/ 2147483647 h 62"/>
                    <a:gd name="T28" fmla="*/ 2147483647 w 88"/>
                    <a:gd name="T29" fmla="*/ 2147483647 h 62"/>
                    <a:gd name="T30" fmla="*/ 2147483647 w 88"/>
                    <a:gd name="T31" fmla="*/ 2147483647 h 62"/>
                    <a:gd name="T32" fmla="*/ 2147483647 w 88"/>
                    <a:gd name="T33" fmla="*/ 2147483647 h 62"/>
                    <a:gd name="T34" fmla="*/ 2147483647 w 88"/>
                    <a:gd name="T35" fmla="*/ 2147483647 h 62"/>
                    <a:gd name="T36" fmla="*/ 2147483647 w 88"/>
                    <a:gd name="T37" fmla="*/ 2147483647 h 62"/>
                    <a:gd name="T38" fmla="*/ 2147483647 w 88"/>
                    <a:gd name="T39" fmla="*/ 2147483647 h 62"/>
                    <a:gd name="T40" fmla="*/ 2147483647 w 88"/>
                    <a:gd name="T41" fmla="*/ 2147483647 h 62"/>
                    <a:gd name="T42" fmla="*/ 2147483647 w 88"/>
                    <a:gd name="T43" fmla="*/ 2147483647 h 62"/>
                    <a:gd name="T44" fmla="*/ 2147483647 w 88"/>
                    <a:gd name="T45" fmla="*/ 2147483647 h 62"/>
                    <a:gd name="T46" fmla="*/ 2147483647 w 88"/>
                    <a:gd name="T47" fmla="*/ 2147483647 h 62"/>
                    <a:gd name="T48" fmla="*/ 2147483647 w 88"/>
                    <a:gd name="T49" fmla="*/ 2147483647 h 62"/>
                    <a:gd name="T50" fmla="*/ 2147483647 w 88"/>
                    <a:gd name="T51" fmla="*/ 2147483647 h 62"/>
                    <a:gd name="T52" fmla="*/ 2147483647 w 88"/>
                    <a:gd name="T53" fmla="*/ 2147483647 h 62"/>
                    <a:gd name="T54" fmla="*/ 2147483647 w 88"/>
                    <a:gd name="T55" fmla="*/ 2147483647 h 62"/>
                    <a:gd name="T56" fmla="*/ 2147483647 w 88"/>
                    <a:gd name="T57" fmla="*/ 2147483647 h 62"/>
                    <a:gd name="T58" fmla="*/ 2147483647 w 88"/>
                    <a:gd name="T59" fmla="*/ 2147483647 h 62"/>
                    <a:gd name="T60" fmla="*/ 2147483647 w 88"/>
                    <a:gd name="T61" fmla="*/ 2147483647 h 62"/>
                    <a:gd name="T62" fmla="*/ 2147483647 w 88"/>
                    <a:gd name="T63" fmla="*/ 2147483647 h 62"/>
                    <a:gd name="T64" fmla="*/ 2147483647 w 88"/>
                    <a:gd name="T65" fmla="*/ 2147483647 h 62"/>
                    <a:gd name="T66" fmla="*/ 2147483647 w 88"/>
                    <a:gd name="T67" fmla="*/ 2147483647 h 62"/>
                    <a:gd name="T68" fmla="*/ 2147483647 w 88"/>
                    <a:gd name="T69" fmla="*/ 2147483647 h 62"/>
                    <a:gd name="T70" fmla="*/ 2147483647 w 88"/>
                    <a:gd name="T71" fmla="*/ 2147483647 h 62"/>
                    <a:gd name="T72" fmla="*/ 2147483647 w 88"/>
                    <a:gd name="T73" fmla="*/ 2147483647 h 62"/>
                    <a:gd name="T74" fmla="*/ 2147483647 w 88"/>
                    <a:gd name="T75" fmla="*/ 2147483647 h 62"/>
                    <a:gd name="T76" fmla="*/ 2147483647 w 88"/>
                    <a:gd name="T77" fmla="*/ 2147483647 h 62"/>
                    <a:gd name="T78" fmla="*/ 2147483647 w 88"/>
                    <a:gd name="T79" fmla="*/ 2147483647 h 62"/>
                    <a:gd name="T80" fmla="*/ 2147483647 w 88"/>
                    <a:gd name="T81" fmla="*/ 2147483647 h 62"/>
                    <a:gd name="T82" fmla="*/ 2147483647 w 88"/>
                    <a:gd name="T83" fmla="*/ 2147483647 h 62"/>
                    <a:gd name="T84" fmla="*/ 2147483647 w 88"/>
                    <a:gd name="T85" fmla="*/ 2147483647 h 62"/>
                    <a:gd name="T86" fmla="*/ 2147483647 w 88"/>
                    <a:gd name="T87" fmla="*/ 2147483647 h 62"/>
                    <a:gd name="T88" fmla="*/ 2147483647 w 88"/>
                    <a:gd name="T89" fmla="*/ 2147483647 h 62"/>
                    <a:gd name="T90" fmla="*/ 2147483647 w 88"/>
                    <a:gd name="T91" fmla="*/ 2147483647 h 62"/>
                    <a:gd name="T92" fmla="*/ 2147483647 w 88"/>
                    <a:gd name="T93" fmla="*/ 2147483647 h 62"/>
                    <a:gd name="T94" fmla="*/ 2147483647 w 88"/>
                    <a:gd name="T95" fmla="*/ 2147483647 h 62"/>
                    <a:gd name="T96" fmla="*/ 2147483647 w 88"/>
                    <a:gd name="T97" fmla="*/ 2147483647 h 62"/>
                    <a:gd name="T98" fmla="*/ 2147483647 w 88"/>
                    <a:gd name="T99" fmla="*/ 2147483647 h 62"/>
                    <a:gd name="T100" fmla="*/ 2147483647 w 88"/>
                    <a:gd name="T101" fmla="*/ 2147483647 h 62"/>
                    <a:gd name="T102" fmla="*/ 2147483647 w 88"/>
                    <a:gd name="T103" fmla="*/ 2147483647 h 62"/>
                    <a:gd name="T104" fmla="*/ 2147483647 w 88"/>
                    <a:gd name="T105" fmla="*/ 2147483647 h 62"/>
                    <a:gd name="T106" fmla="*/ 2147483647 w 88"/>
                    <a:gd name="T107" fmla="*/ 2147483647 h 62"/>
                    <a:gd name="T108" fmla="*/ 2147483647 w 88"/>
                    <a:gd name="T109" fmla="*/ 2147483647 h 62"/>
                    <a:gd name="T110" fmla="*/ 2147483647 w 88"/>
                    <a:gd name="T111" fmla="*/ 2147483647 h 62"/>
                    <a:gd name="T112" fmla="*/ 2147483647 w 88"/>
                    <a:gd name="T113" fmla="*/ 2147483647 h 62"/>
                    <a:gd name="T114" fmla="*/ 2147483647 w 88"/>
                    <a:gd name="T115" fmla="*/ 2147483647 h 62"/>
                    <a:gd name="T116" fmla="*/ 2147483647 w 88"/>
                    <a:gd name="T117" fmla="*/ 0 h 6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88"/>
                    <a:gd name="T178" fmla="*/ 0 h 62"/>
                    <a:gd name="T179" fmla="*/ 88 w 88"/>
                    <a:gd name="T180" fmla="*/ 62 h 6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88" h="62">
                      <a:moveTo>
                        <a:pt x="4" y="26"/>
                      </a:moveTo>
                      <a:lnTo>
                        <a:pt x="4" y="26"/>
                      </a:lnTo>
                      <a:lnTo>
                        <a:pt x="4" y="30"/>
                      </a:lnTo>
                      <a:lnTo>
                        <a:pt x="2" y="32"/>
                      </a:lnTo>
                      <a:lnTo>
                        <a:pt x="0" y="36"/>
                      </a:lnTo>
                      <a:lnTo>
                        <a:pt x="2" y="37"/>
                      </a:lnTo>
                      <a:lnTo>
                        <a:pt x="3" y="38"/>
                      </a:lnTo>
                      <a:lnTo>
                        <a:pt x="17" y="47"/>
                      </a:lnTo>
                      <a:lnTo>
                        <a:pt x="23" y="51"/>
                      </a:lnTo>
                      <a:lnTo>
                        <a:pt x="28" y="56"/>
                      </a:lnTo>
                      <a:lnTo>
                        <a:pt x="35" y="61"/>
                      </a:lnTo>
                      <a:lnTo>
                        <a:pt x="37" y="62"/>
                      </a:lnTo>
                      <a:lnTo>
                        <a:pt x="39" y="62"/>
                      </a:lnTo>
                      <a:lnTo>
                        <a:pt x="40" y="60"/>
                      </a:lnTo>
                      <a:lnTo>
                        <a:pt x="44" y="56"/>
                      </a:lnTo>
                      <a:lnTo>
                        <a:pt x="49" y="54"/>
                      </a:lnTo>
                      <a:lnTo>
                        <a:pt x="54" y="53"/>
                      </a:lnTo>
                      <a:lnTo>
                        <a:pt x="59" y="53"/>
                      </a:lnTo>
                      <a:lnTo>
                        <a:pt x="60" y="50"/>
                      </a:lnTo>
                      <a:lnTo>
                        <a:pt x="63" y="50"/>
                      </a:lnTo>
                      <a:lnTo>
                        <a:pt x="65" y="49"/>
                      </a:lnTo>
                      <a:lnTo>
                        <a:pt x="69" y="47"/>
                      </a:lnTo>
                      <a:lnTo>
                        <a:pt x="73" y="45"/>
                      </a:lnTo>
                      <a:lnTo>
                        <a:pt x="78" y="44"/>
                      </a:lnTo>
                      <a:lnTo>
                        <a:pt x="82" y="43"/>
                      </a:lnTo>
                      <a:lnTo>
                        <a:pt x="83" y="41"/>
                      </a:lnTo>
                      <a:lnTo>
                        <a:pt x="82" y="40"/>
                      </a:lnTo>
                      <a:lnTo>
                        <a:pt x="79" y="32"/>
                      </a:lnTo>
                      <a:lnTo>
                        <a:pt x="78" y="29"/>
                      </a:lnTo>
                      <a:lnTo>
                        <a:pt x="79" y="26"/>
                      </a:lnTo>
                      <a:lnTo>
                        <a:pt x="80" y="25"/>
                      </a:lnTo>
                      <a:lnTo>
                        <a:pt x="83" y="25"/>
                      </a:lnTo>
                      <a:lnTo>
                        <a:pt x="86" y="25"/>
                      </a:lnTo>
                      <a:lnTo>
                        <a:pt x="88" y="25"/>
                      </a:lnTo>
                      <a:lnTo>
                        <a:pt x="88" y="23"/>
                      </a:lnTo>
                      <a:lnTo>
                        <a:pt x="87" y="22"/>
                      </a:lnTo>
                      <a:lnTo>
                        <a:pt x="84" y="21"/>
                      </a:lnTo>
                      <a:lnTo>
                        <a:pt x="80" y="19"/>
                      </a:lnTo>
                      <a:lnTo>
                        <a:pt x="78" y="18"/>
                      </a:lnTo>
                      <a:lnTo>
                        <a:pt x="77" y="17"/>
                      </a:lnTo>
                      <a:lnTo>
                        <a:pt x="75" y="15"/>
                      </a:lnTo>
                      <a:lnTo>
                        <a:pt x="74" y="8"/>
                      </a:lnTo>
                      <a:lnTo>
                        <a:pt x="73" y="4"/>
                      </a:lnTo>
                      <a:lnTo>
                        <a:pt x="70" y="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0" name="Freeform 1140">
                  <a:extLst>
                    <a:ext uri="{FF2B5EF4-FFF2-40B4-BE49-F238E27FC236}">
                      <a16:creationId xmlns:a16="http://schemas.microsoft.com/office/drawing/2014/main" id="{784D44BF-DD51-C54E-BF48-81248F6D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8770" y="1797729"/>
                  <a:ext cx="158346" cy="109511"/>
                </a:xfrm>
                <a:custGeom>
                  <a:avLst/>
                  <a:gdLst>
                    <a:gd name="T0" fmla="*/ 2147483647 w 116"/>
                    <a:gd name="T1" fmla="*/ 2147483647 h 74"/>
                    <a:gd name="T2" fmla="*/ 2147483647 w 116"/>
                    <a:gd name="T3" fmla="*/ 2147483647 h 74"/>
                    <a:gd name="T4" fmla="*/ 2147483647 w 116"/>
                    <a:gd name="T5" fmla="*/ 2147483647 h 74"/>
                    <a:gd name="T6" fmla="*/ 2147483647 w 116"/>
                    <a:gd name="T7" fmla="*/ 2147483647 h 74"/>
                    <a:gd name="T8" fmla="*/ 2147483647 w 116"/>
                    <a:gd name="T9" fmla="*/ 2147483647 h 74"/>
                    <a:gd name="T10" fmla="*/ 2147483647 w 116"/>
                    <a:gd name="T11" fmla="*/ 2147483647 h 74"/>
                    <a:gd name="T12" fmla="*/ 2147483647 w 116"/>
                    <a:gd name="T13" fmla="*/ 2147483647 h 74"/>
                    <a:gd name="T14" fmla="*/ 2147483647 w 116"/>
                    <a:gd name="T15" fmla="*/ 2147483647 h 74"/>
                    <a:gd name="T16" fmla="*/ 2147483647 w 116"/>
                    <a:gd name="T17" fmla="*/ 2147483647 h 74"/>
                    <a:gd name="T18" fmla="*/ 2147483647 w 116"/>
                    <a:gd name="T19" fmla="*/ 2147483647 h 74"/>
                    <a:gd name="T20" fmla="*/ 2147483647 w 116"/>
                    <a:gd name="T21" fmla="*/ 0 h 74"/>
                    <a:gd name="T22" fmla="*/ 2147483647 w 116"/>
                    <a:gd name="T23" fmla="*/ 2147483647 h 74"/>
                    <a:gd name="T24" fmla="*/ 2147483647 w 116"/>
                    <a:gd name="T25" fmla="*/ 2147483647 h 74"/>
                    <a:gd name="T26" fmla="*/ 0 w 116"/>
                    <a:gd name="T27" fmla="*/ 2147483647 h 74"/>
                    <a:gd name="T28" fmla="*/ 0 w 116"/>
                    <a:gd name="T29" fmla="*/ 2147483647 h 74"/>
                    <a:gd name="T30" fmla="*/ 2147483647 w 116"/>
                    <a:gd name="T31" fmla="*/ 2147483647 h 74"/>
                    <a:gd name="T32" fmla="*/ 2147483647 w 116"/>
                    <a:gd name="T33" fmla="*/ 2147483647 h 74"/>
                    <a:gd name="T34" fmla="*/ 2147483647 w 116"/>
                    <a:gd name="T35" fmla="*/ 2147483647 h 74"/>
                    <a:gd name="T36" fmla="*/ 2147483647 w 116"/>
                    <a:gd name="T37" fmla="*/ 2147483647 h 74"/>
                    <a:gd name="T38" fmla="*/ 2147483647 w 116"/>
                    <a:gd name="T39" fmla="*/ 2147483647 h 74"/>
                    <a:gd name="T40" fmla="*/ 2147483647 w 116"/>
                    <a:gd name="T41" fmla="*/ 2147483647 h 74"/>
                    <a:gd name="T42" fmla="*/ 2147483647 w 116"/>
                    <a:gd name="T43" fmla="*/ 2147483647 h 74"/>
                    <a:gd name="T44" fmla="*/ 2147483647 w 116"/>
                    <a:gd name="T45" fmla="*/ 2147483647 h 74"/>
                    <a:gd name="T46" fmla="*/ 2147483647 w 116"/>
                    <a:gd name="T47" fmla="*/ 2147483647 h 74"/>
                    <a:gd name="T48" fmla="*/ 2147483647 w 116"/>
                    <a:gd name="T49" fmla="*/ 2147483647 h 74"/>
                    <a:gd name="T50" fmla="*/ 2147483647 w 116"/>
                    <a:gd name="T51" fmla="*/ 2147483647 h 74"/>
                    <a:gd name="T52" fmla="*/ 2147483647 w 116"/>
                    <a:gd name="T53" fmla="*/ 2147483647 h 74"/>
                    <a:gd name="T54" fmla="*/ 2147483647 w 116"/>
                    <a:gd name="T55" fmla="*/ 2147483647 h 74"/>
                    <a:gd name="T56" fmla="*/ 2147483647 w 116"/>
                    <a:gd name="T57" fmla="*/ 2147483647 h 74"/>
                    <a:gd name="T58" fmla="*/ 2147483647 w 116"/>
                    <a:gd name="T59" fmla="*/ 2147483647 h 74"/>
                    <a:gd name="T60" fmla="*/ 2147483647 w 116"/>
                    <a:gd name="T61" fmla="*/ 2147483647 h 74"/>
                    <a:gd name="T62" fmla="*/ 2147483647 w 116"/>
                    <a:gd name="T63" fmla="*/ 2147483647 h 74"/>
                    <a:gd name="T64" fmla="*/ 2147483647 w 116"/>
                    <a:gd name="T65" fmla="*/ 2147483647 h 74"/>
                    <a:gd name="T66" fmla="*/ 2147483647 w 116"/>
                    <a:gd name="T67" fmla="*/ 2147483647 h 74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16"/>
                    <a:gd name="T103" fmla="*/ 0 h 74"/>
                    <a:gd name="T104" fmla="*/ 116 w 116"/>
                    <a:gd name="T105" fmla="*/ 74 h 74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16" h="74">
                      <a:moveTo>
                        <a:pt x="116" y="18"/>
                      </a:moveTo>
                      <a:lnTo>
                        <a:pt x="114" y="13"/>
                      </a:lnTo>
                      <a:lnTo>
                        <a:pt x="110" y="10"/>
                      </a:lnTo>
                      <a:lnTo>
                        <a:pt x="100" y="3"/>
                      </a:lnTo>
                      <a:lnTo>
                        <a:pt x="97" y="3"/>
                      </a:lnTo>
                      <a:lnTo>
                        <a:pt x="95" y="2"/>
                      </a:lnTo>
                      <a:lnTo>
                        <a:pt x="92" y="3"/>
                      </a:lnTo>
                      <a:lnTo>
                        <a:pt x="90" y="4"/>
                      </a:lnTo>
                      <a:lnTo>
                        <a:pt x="88" y="9"/>
                      </a:lnTo>
                      <a:lnTo>
                        <a:pt x="87" y="13"/>
                      </a:lnTo>
                      <a:lnTo>
                        <a:pt x="85" y="17"/>
                      </a:lnTo>
                      <a:lnTo>
                        <a:pt x="83" y="19"/>
                      </a:lnTo>
                      <a:lnTo>
                        <a:pt x="81" y="21"/>
                      </a:lnTo>
                      <a:lnTo>
                        <a:pt x="80" y="19"/>
                      </a:lnTo>
                      <a:lnTo>
                        <a:pt x="80" y="18"/>
                      </a:lnTo>
                      <a:lnTo>
                        <a:pt x="80" y="16"/>
                      </a:lnTo>
                      <a:lnTo>
                        <a:pt x="82" y="13"/>
                      </a:lnTo>
                      <a:lnTo>
                        <a:pt x="82" y="11"/>
                      </a:lnTo>
                      <a:lnTo>
                        <a:pt x="82" y="9"/>
                      </a:lnTo>
                      <a:lnTo>
                        <a:pt x="81" y="6"/>
                      </a:lnTo>
                      <a:lnTo>
                        <a:pt x="81" y="4"/>
                      </a:lnTo>
                      <a:lnTo>
                        <a:pt x="82" y="0"/>
                      </a:lnTo>
                      <a:lnTo>
                        <a:pt x="60" y="3"/>
                      </a:lnTo>
                      <a:lnTo>
                        <a:pt x="39" y="9"/>
                      </a:lnTo>
                      <a:lnTo>
                        <a:pt x="29" y="12"/>
                      </a:lnTo>
                      <a:lnTo>
                        <a:pt x="19" y="17"/>
                      </a:lnTo>
                      <a:lnTo>
                        <a:pt x="8" y="22"/>
                      </a:lnTo>
                      <a:lnTo>
                        <a:pt x="0" y="28"/>
                      </a:lnTo>
                      <a:lnTo>
                        <a:pt x="0" y="29"/>
                      </a:lnTo>
                      <a:lnTo>
                        <a:pt x="0" y="30"/>
                      </a:lnTo>
                      <a:lnTo>
                        <a:pt x="0" y="35"/>
                      </a:lnTo>
                      <a:lnTo>
                        <a:pt x="2" y="38"/>
                      </a:lnTo>
                      <a:lnTo>
                        <a:pt x="6" y="42"/>
                      </a:lnTo>
                      <a:lnTo>
                        <a:pt x="13" y="45"/>
                      </a:lnTo>
                      <a:lnTo>
                        <a:pt x="20" y="51"/>
                      </a:lnTo>
                      <a:lnTo>
                        <a:pt x="26" y="57"/>
                      </a:lnTo>
                      <a:lnTo>
                        <a:pt x="34" y="62"/>
                      </a:lnTo>
                      <a:lnTo>
                        <a:pt x="35" y="63"/>
                      </a:lnTo>
                      <a:lnTo>
                        <a:pt x="38" y="62"/>
                      </a:lnTo>
                      <a:lnTo>
                        <a:pt x="41" y="58"/>
                      </a:lnTo>
                      <a:lnTo>
                        <a:pt x="43" y="58"/>
                      </a:lnTo>
                      <a:lnTo>
                        <a:pt x="45" y="58"/>
                      </a:lnTo>
                      <a:lnTo>
                        <a:pt x="52" y="61"/>
                      </a:lnTo>
                      <a:lnTo>
                        <a:pt x="57" y="63"/>
                      </a:lnTo>
                      <a:lnTo>
                        <a:pt x="58" y="64"/>
                      </a:lnTo>
                      <a:lnTo>
                        <a:pt x="60" y="66"/>
                      </a:lnTo>
                      <a:lnTo>
                        <a:pt x="63" y="68"/>
                      </a:lnTo>
                      <a:lnTo>
                        <a:pt x="64" y="70"/>
                      </a:lnTo>
                      <a:lnTo>
                        <a:pt x="67" y="72"/>
                      </a:lnTo>
                      <a:lnTo>
                        <a:pt x="68" y="73"/>
                      </a:lnTo>
                      <a:lnTo>
                        <a:pt x="78" y="74"/>
                      </a:lnTo>
                      <a:lnTo>
                        <a:pt x="88" y="74"/>
                      </a:lnTo>
                      <a:lnTo>
                        <a:pt x="91" y="73"/>
                      </a:lnTo>
                      <a:lnTo>
                        <a:pt x="92" y="70"/>
                      </a:lnTo>
                      <a:lnTo>
                        <a:pt x="99" y="67"/>
                      </a:lnTo>
                      <a:lnTo>
                        <a:pt x="105" y="63"/>
                      </a:lnTo>
                      <a:lnTo>
                        <a:pt x="109" y="62"/>
                      </a:lnTo>
                      <a:lnTo>
                        <a:pt x="110" y="60"/>
                      </a:lnTo>
                      <a:lnTo>
                        <a:pt x="111" y="56"/>
                      </a:lnTo>
                      <a:lnTo>
                        <a:pt x="111" y="54"/>
                      </a:lnTo>
                      <a:lnTo>
                        <a:pt x="109" y="50"/>
                      </a:lnTo>
                      <a:lnTo>
                        <a:pt x="106" y="47"/>
                      </a:lnTo>
                      <a:lnTo>
                        <a:pt x="104" y="43"/>
                      </a:lnTo>
                      <a:lnTo>
                        <a:pt x="104" y="41"/>
                      </a:lnTo>
                      <a:lnTo>
                        <a:pt x="105" y="39"/>
                      </a:lnTo>
                      <a:lnTo>
                        <a:pt x="110" y="35"/>
                      </a:lnTo>
                      <a:lnTo>
                        <a:pt x="113" y="30"/>
                      </a:lnTo>
                      <a:lnTo>
                        <a:pt x="115" y="24"/>
                      </a:lnTo>
                      <a:lnTo>
                        <a:pt x="11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1" name="Freeform 1141">
                  <a:extLst>
                    <a:ext uri="{FF2B5EF4-FFF2-40B4-BE49-F238E27FC236}">
                      <a16:creationId xmlns:a16="http://schemas.microsoft.com/office/drawing/2014/main" id="{1B36116A-3BA2-F949-B459-980E1364ED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19184" y="1905757"/>
                  <a:ext cx="29597" cy="17758"/>
                </a:xfrm>
                <a:custGeom>
                  <a:avLst/>
                  <a:gdLst>
                    <a:gd name="T0" fmla="*/ 2147483647 w 22"/>
                    <a:gd name="T1" fmla="*/ 0 h 12"/>
                    <a:gd name="T2" fmla="*/ 2147483647 w 22"/>
                    <a:gd name="T3" fmla="*/ 0 h 12"/>
                    <a:gd name="T4" fmla="*/ 2147483647 w 22"/>
                    <a:gd name="T5" fmla="*/ 2147483647 h 12"/>
                    <a:gd name="T6" fmla="*/ 2147483647 w 22"/>
                    <a:gd name="T7" fmla="*/ 2147483647 h 12"/>
                    <a:gd name="T8" fmla="*/ 2147483647 w 22"/>
                    <a:gd name="T9" fmla="*/ 2147483647 h 12"/>
                    <a:gd name="T10" fmla="*/ 2147483647 w 22"/>
                    <a:gd name="T11" fmla="*/ 2147483647 h 12"/>
                    <a:gd name="T12" fmla="*/ 2147483647 w 22"/>
                    <a:gd name="T13" fmla="*/ 2147483647 h 12"/>
                    <a:gd name="T14" fmla="*/ 2147483647 w 22"/>
                    <a:gd name="T15" fmla="*/ 2147483647 h 12"/>
                    <a:gd name="T16" fmla="*/ 2147483647 w 22"/>
                    <a:gd name="T17" fmla="*/ 2147483647 h 12"/>
                    <a:gd name="T18" fmla="*/ 2147483647 w 22"/>
                    <a:gd name="T19" fmla="*/ 2147483647 h 12"/>
                    <a:gd name="T20" fmla="*/ 2147483647 w 22"/>
                    <a:gd name="T21" fmla="*/ 2147483647 h 12"/>
                    <a:gd name="T22" fmla="*/ 2147483647 w 22"/>
                    <a:gd name="T23" fmla="*/ 2147483647 h 12"/>
                    <a:gd name="T24" fmla="*/ 0 w 22"/>
                    <a:gd name="T25" fmla="*/ 2147483647 h 12"/>
                    <a:gd name="T26" fmla="*/ 2147483647 w 22"/>
                    <a:gd name="T27" fmla="*/ 2147483647 h 12"/>
                    <a:gd name="T28" fmla="*/ 2147483647 w 22"/>
                    <a:gd name="T29" fmla="*/ 2147483647 h 12"/>
                    <a:gd name="T30" fmla="*/ 2147483647 w 22"/>
                    <a:gd name="T31" fmla="*/ 0 h 12"/>
                    <a:gd name="T32" fmla="*/ 2147483647 w 22"/>
                    <a:gd name="T33" fmla="*/ 0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12"/>
                    <a:gd name="T53" fmla="*/ 22 w 22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12">
                      <a:moveTo>
                        <a:pt x="13" y="0"/>
                      </a:moveTo>
                      <a:lnTo>
                        <a:pt x="17" y="0"/>
                      </a:lnTo>
                      <a:lnTo>
                        <a:pt x="20" y="2"/>
                      </a:lnTo>
                      <a:lnTo>
                        <a:pt x="21" y="3"/>
                      </a:lnTo>
                      <a:lnTo>
                        <a:pt x="22" y="6"/>
                      </a:lnTo>
                      <a:lnTo>
                        <a:pt x="22" y="9"/>
                      </a:lnTo>
                      <a:lnTo>
                        <a:pt x="21" y="10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3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2" name="Freeform 1142">
                  <a:extLst>
                    <a:ext uri="{FF2B5EF4-FFF2-40B4-BE49-F238E27FC236}">
                      <a16:creationId xmlns:a16="http://schemas.microsoft.com/office/drawing/2014/main" id="{12A3859F-F4B1-B54A-A140-2289106335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5811" y="1796248"/>
                  <a:ext cx="159826" cy="109511"/>
                </a:xfrm>
                <a:custGeom>
                  <a:avLst/>
                  <a:gdLst>
                    <a:gd name="T0" fmla="*/ 2147483647 w 117"/>
                    <a:gd name="T1" fmla="*/ 2147483647 h 74"/>
                    <a:gd name="T2" fmla="*/ 2147483647 w 117"/>
                    <a:gd name="T3" fmla="*/ 2147483647 h 74"/>
                    <a:gd name="T4" fmla="*/ 2147483647 w 117"/>
                    <a:gd name="T5" fmla="*/ 2147483647 h 74"/>
                    <a:gd name="T6" fmla="*/ 2147483647 w 117"/>
                    <a:gd name="T7" fmla="*/ 2147483647 h 74"/>
                    <a:gd name="T8" fmla="*/ 2147483647 w 117"/>
                    <a:gd name="T9" fmla="*/ 2147483647 h 74"/>
                    <a:gd name="T10" fmla="*/ 2147483647 w 117"/>
                    <a:gd name="T11" fmla="*/ 2147483647 h 74"/>
                    <a:gd name="T12" fmla="*/ 2147483647 w 117"/>
                    <a:gd name="T13" fmla="*/ 2147483647 h 74"/>
                    <a:gd name="T14" fmla="*/ 2147483647 w 117"/>
                    <a:gd name="T15" fmla="*/ 2147483647 h 74"/>
                    <a:gd name="T16" fmla="*/ 2147483647 w 117"/>
                    <a:gd name="T17" fmla="*/ 2147483647 h 74"/>
                    <a:gd name="T18" fmla="*/ 2147483647 w 117"/>
                    <a:gd name="T19" fmla="*/ 2147483647 h 74"/>
                    <a:gd name="T20" fmla="*/ 2147483647 w 117"/>
                    <a:gd name="T21" fmla="*/ 2147483647 h 74"/>
                    <a:gd name="T22" fmla="*/ 2147483647 w 117"/>
                    <a:gd name="T23" fmla="*/ 2147483647 h 74"/>
                    <a:gd name="T24" fmla="*/ 2147483647 w 117"/>
                    <a:gd name="T25" fmla="*/ 2147483647 h 74"/>
                    <a:gd name="T26" fmla="*/ 2147483647 w 117"/>
                    <a:gd name="T27" fmla="*/ 0 h 74"/>
                    <a:gd name="T28" fmla="*/ 2147483647 w 117"/>
                    <a:gd name="T29" fmla="*/ 2147483647 h 74"/>
                    <a:gd name="T30" fmla="*/ 2147483647 w 117"/>
                    <a:gd name="T31" fmla="*/ 2147483647 h 74"/>
                    <a:gd name="T32" fmla="*/ 2147483647 w 117"/>
                    <a:gd name="T33" fmla="*/ 2147483647 h 74"/>
                    <a:gd name="T34" fmla="*/ 0 w 117"/>
                    <a:gd name="T35" fmla="*/ 2147483647 h 74"/>
                    <a:gd name="T36" fmla="*/ 0 w 117"/>
                    <a:gd name="T37" fmla="*/ 2147483647 h 74"/>
                    <a:gd name="T38" fmla="*/ 2147483647 w 117"/>
                    <a:gd name="T39" fmla="*/ 2147483647 h 74"/>
                    <a:gd name="T40" fmla="*/ 2147483647 w 117"/>
                    <a:gd name="T41" fmla="*/ 2147483647 h 74"/>
                    <a:gd name="T42" fmla="*/ 2147483647 w 117"/>
                    <a:gd name="T43" fmla="*/ 2147483647 h 74"/>
                    <a:gd name="T44" fmla="*/ 2147483647 w 117"/>
                    <a:gd name="T45" fmla="*/ 2147483647 h 74"/>
                    <a:gd name="T46" fmla="*/ 2147483647 w 117"/>
                    <a:gd name="T47" fmla="*/ 2147483647 h 74"/>
                    <a:gd name="T48" fmla="*/ 2147483647 w 117"/>
                    <a:gd name="T49" fmla="*/ 2147483647 h 74"/>
                    <a:gd name="T50" fmla="*/ 2147483647 w 117"/>
                    <a:gd name="T51" fmla="*/ 2147483647 h 74"/>
                    <a:gd name="T52" fmla="*/ 2147483647 w 117"/>
                    <a:gd name="T53" fmla="*/ 2147483647 h 74"/>
                    <a:gd name="T54" fmla="*/ 2147483647 w 117"/>
                    <a:gd name="T55" fmla="*/ 2147483647 h 74"/>
                    <a:gd name="T56" fmla="*/ 2147483647 w 117"/>
                    <a:gd name="T57" fmla="*/ 2147483647 h 74"/>
                    <a:gd name="T58" fmla="*/ 2147483647 w 117"/>
                    <a:gd name="T59" fmla="*/ 2147483647 h 74"/>
                    <a:gd name="T60" fmla="*/ 2147483647 w 117"/>
                    <a:gd name="T61" fmla="*/ 2147483647 h 74"/>
                    <a:gd name="T62" fmla="*/ 2147483647 w 117"/>
                    <a:gd name="T63" fmla="*/ 2147483647 h 74"/>
                    <a:gd name="T64" fmla="*/ 2147483647 w 117"/>
                    <a:gd name="T65" fmla="*/ 2147483647 h 74"/>
                    <a:gd name="T66" fmla="*/ 2147483647 w 117"/>
                    <a:gd name="T67" fmla="*/ 2147483647 h 74"/>
                    <a:gd name="T68" fmla="*/ 2147483647 w 117"/>
                    <a:gd name="T69" fmla="*/ 2147483647 h 74"/>
                    <a:gd name="T70" fmla="*/ 2147483647 w 117"/>
                    <a:gd name="T71" fmla="*/ 2147483647 h 74"/>
                    <a:gd name="T72" fmla="*/ 2147483647 w 117"/>
                    <a:gd name="T73" fmla="*/ 2147483647 h 74"/>
                    <a:gd name="T74" fmla="*/ 2147483647 w 117"/>
                    <a:gd name="T75" fmla="*/ 2147483647 h 74"/>
                    <a:gd name="T76" fmla="*/ 2147483647 w 117"/>
                    <a:gd name="T77" fmla="*/ 2147483647 h 74"/>
                    <a:gd name="T78" fmla="*/ 2147483647 w 117"/>
                    <a:gd name="T79" fmla="*/ 2147483647 h 74"/>
                    <a:gd name="T80" fmla="*/ 2147483647 w 117"/>
                    <a:gd name="T81" fmla="*/ 2147483647 h 74"/>
                    <a:gd name="T82" fmla="*/ 2147483647 w 117"/>
                    <a:gd name="T83" fmla="*/ 2147483647 h 74"/>
                    <a:gd name="T84" fmla="*/ 2147483647 w 117"/>
                    <a:gd name="T85" fmla="*/ 2147483647 h 74"/>
                    <a:gd name="T86" fmla="*/ 2147483647 w 117"/>
                    <a:gd name="T87" fmla="*/ 2147483647 h 7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17"/>
                    <a:gd name="T133" fmla="*/ 0 h 74"/>
                    <a:gd name="T134" fmla="*/ 117 w 117"/>
                    <a:gd name="T135" fmla="*/ 74 h 7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17" h="74">
                      <a:moveTo>
                        <a:pt x="117" y="18"/>
                      </a:moveTo>
                      <a:lnTo>
                        <a:pt x="117" y="18"/>
                      </a:lnTo>
                      <a:lnTo>
                        <a:pt x="115" y="13"/>
                      </a:lnTo>
                      <a:lnTo>
                        <a:pt x="111" y="10"/>
                      </a:lnTo>
                      <a:lnTo>
                        <a:pt x="101" y="3"/>
                      </a:lnTo>
                      <a:lnTo>
                        <a:pt x="98" y="3"/>
                      </a:lnTo>
                      <a:lnTo>
                        <a:pt x="95" y="1"/>
                      </a:lnTo>
                      <a:lnTo>
                        <a:pt x="93" y="3"/>
                      </a:lnTo>
                      <a:lnTo>
                        <a:pt x="90" y="4"/>
                      </a:lnTo>
                      <a:lnTo>
                        <a:pt x="89" y="8"/>
                      </a:lnTo>
                      <a:lnTo>
                        <a:pt x="88" y="13"/>
                      </a:lnTo>
                      <a:lnTo>
                        <a:pt x="85" y="17"/>
                      </a:lnTo>
                      <a:lnTo>
                        <a:pt x="84" y="19"/>
                      </a:lnTo>
                      <a:lnTo>
                        <a:pt x="82" y="20"/>
                      </a:lnTo>
                      <a:lnTo>
                        <a:pt x="80" y="19"/>
                      </a:lnTo>
                      <a:lnTo>
                        <a:pt x="80" y="18"/>
                      </a:lnTo>
                      <a:lnTo>
                        <a:pt x="80" y="16"/>
                      </a:lnTo>
                      <a:lnTo>
                        <a:pt x="83" y="13"/>
                      </a:lnTo>
                      <a:lnTo>
                        <a:pt x="83" y="11"/>
                      </a:lnTo>
                      <a:lnTo>
                        <a:pt x="83" y="8"/>
                      </a:lnTo>
                      <a:lnTo>
                        <a:pt x="82" y="6"/>
                      </a:lnTo>
                      <a:lnTo>
                        <a:pt x="82" y="4"/>
                      </a:lnTo>
                      <a:lnTo>
                        <a:pt x="83" y="0"/>
                      </a:lnTo>
                      <a:lnTo>
                        <a:pt x="61" y="3"/>
                      </a:lnTo>
                      <a:lnTo>
                        <a:pt x="40" y="8"/>
                      </a:lnTo>
                      <a:lnTo>
                        <a:pt x="29" y="12"/>
                      </a:lnTo>
                      <a:lnTo>
                        <a:pt x="19" y="17"/>
                      </a:lnTo>
                      <a:lnTo>
                        <a:pt x="9" y="22"/>
                      </a:lnTo>
                      <a:lnTo>
                        <a:pt x="0" y="27"/>
                      </a:lnTo>
                      <a:lnTo>
                        <a:pt x="0" y="29"/>
                      </a:lnTo>
                      <a:lnTo>
                        <a:pt x="0" y="30"/>
                      </a:lnTo>
                      <a:lnTo>
                        <a:pt x="0" y="35"/>
                      </a:lnTo>
                      <a:lnTo>
                        <a:pt x="3" y="38"/>
                      </a:lnTo>
                      <a:lnTo>
                        <a:pt x="7" y="42"/>
                      </a:lnTo>
                      <a:lnTo>
                        <a:pt x="14" y="45"/>
                      </a:lnTo>
                      <a:lnTo>
                        <a:pt x="21" y="51"/>
                      </a:lnTo>
                      <a:lnTo>
                        <a:pt x="27" y="57"/>
                      </a:lnTo>
                      <a:lnTo>
                        <a:pt x="35" y="62"/>
                      </a:lnTo>
                      <a:lnTo>
                        <a:pt x="36" y="63"/>
                      </a:lnTo>
                      <a:lnTo>
                        <a:pt x="38" y="62"/>
                      </a:lnTo>
                      <a:lnTo>
                        <a:pt x="42" y="58"/>
                      </a:lnTo>
                      <a:lnTo>
                        <a:pt x="43" y="58"/>
                      </a:lnTo>
                      <a:lnTo>
                        <a:pt x="46" y="58"/>
                      </a:lnTo>
                      <a:lnTo>
                        <a:pt x="52" y="61"/>
                      </a:lnTo>
                      <a:lnTo>
                        <a:pt x="57" y="63"/>
                      </a:lnTo>
                      <a:lnTo>
                        <a:pt x="59" y="64"/>
                      </a:lnTo>
                      <a:lnTo>
                        <a:pt x="61" y="65"/>
                      </a:lnTo>
                      <a:lnTo>
                        <a:pt x="64" y="68"/>
                      </a:lnTo>
                      <a:lnTo>
                        <a:pt x="65" y="70"/>
                      </a:lnTo>
                      <a:lnTo>
                        <a:pt x="68" y="71"/>
                      </a:lnTo>
                      <a:lnTo>
                        <a:pt x="69" y="73"/>
                      </a:lnTo>
                      <a:lnTo>
                        <a:pt x="79" y="74"/>
                      </a:lnTo>
                      <a:lnTo>
                        <a:pt x="89" y="74"/>
                      </a:lnTo>
                      <a:lnTo>
                        <a:pt x="92" y="73"/>
                      </a:lnTo>
                      <a:lnTo>
                        <a:pt x="93" y="70"/>
                      </a:lnTo>
                      <a:lnTo>
                        <a:pt x="99" y="67"/>
                      </a:lnTo>
                      <a:lnTo>
                        <a:pt x="106" y="63"/>
                      </a:lnTo>
                      <a:lnTo>
                        <a:pt x="109" y="62"/>
                      </a:lnTo>
                      <a:lnTo>
                        <a:pt x="111" y="59"/>
                      </a:lnTo>
                      <a:lnTo>
                        <a:pt x="112" y="56"/>
                      </a:lnTo>
                      <a:lnTo>
                        <a:pt x="112" y="54"/>
                      </a:lnTo>
                      <a:lnTo>
                        <a:pt x="109" y="50"/>
                      </a:lnTo>
                      <a:lnTo>
                        <a:pt x="107" y="46"/>
                      </a:lnTo>
                      <a:lnTo>
                        <a:pt x="104" y="43"/>
                      </a:lnTo>
                      <a:lnTo>
                        <a:pt x="104" y="40"/>
                      </a:lnTo>
                      <a:lnTo>
                        <a:pt x="106" y="39"/>
                      </a:lnTo>
                      <a:lnTo>
                        <a:pt x="111" y="35"/>
                      </a:lnTo>
                      <a:lnTo>
                        <a:pt x="113" y="30"/>
                      </a:lnTo>
                      <a:lnTo>
                        <a:pt x="116" y="24"/>
                      </a:lnTo>
                      <a:lnTo>
                        <a:pt x="117" y="1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3" name="Freeform 1143">
                  <a:extLst>
                    <a:ext uri="{FF2B5EF4-FFF2-40B4-BE49-F238E27FC236}">
                      <a16:creationId xmlns:a16="http://schemas.microsoft.com/office/drawing/2014/main" id="{CB9521A7-6A41-6844-8F67-794B2FA77F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17706" y="1904276"/>
                  <a:ext cx="29597" cy="16278"/>
                </a:xfrm>
                <a:custGeom>
                  <a:avLst/>
                  <a:gdLst>
                    <a:gd name="T0" fmla="*/ 2147483647 w 22"/>
                    <a:gd name="T1" fmla="*/ 0 h 11"/>
                    <a:gd name="T2" fmla="*/ 2147483647 w 22"/>
                    <a:gd name="T3" fmla="*/ 0 h 11"/>
                    <a:gd name="T4" fmla="*/ 2147483647 w 22"/>
                    <a:gd name="T5" fmla="*/ 0 h 11"/>
                    <a:gd name="T6" fmla="*/ 2147483647 w 22"/>
                    <a:gd name="T7" fmla="*/ 2147483647 h 11"/>
                    <a:gd name="T8" fmla="*/ 2147483647 w 22"/>
                    <a:gd name="T9" fmla="*/ 2147483647 h 11"/>
                    <a:gd name="T10" fmla="*/ 2147483647 w 22"/>
                    <a:gd name="T11" fmla="*/ 2147483647 h 11"/>
                    <a:gd name="T12" fmla="*/ 2147483647 w 22"/>
                    <a:gd name="T13" fmla="*/ 2147483647 h 11"/>
                    <a:gd name="T14" fmla="*/ 2147483647 w 22"/>
                    <a:gd name="T15" fmla="*/ 2147483647 h 11"/>
                    <a:gd name="T16" fmla="*/ 2147483647 w 22"/>
                    <a:gd name="T17" fmla="*/ 2147483647 h 11"/>
                    <a:gd name="T18" fmla="*/ 2147483647 w 22"/>
                    <a:gd name="T19" fmla="*/ 2147483647 h 11"/>
                    <a:gd name="T20" fmla="*/ 2147483647 w 22"/>
                    <a:gd name="T21" fmla="*/ 2147483647 h 11"/>
                    <a:gd name="T22" fmla="*/ 2147483647 w 22"/>
                    <a:gd name="T23" fmla="*/ 2147483647 h 11"/>
                    <a:gd name="T24" fmla="*/ 2147483647 w 22"/>
                    <a:gd name="T25" fmla="*/ 2147483647 h 11"/>
                    <a:gd name="T26" fmla="*/ 2147483647 w 22"/>
                    <a:gd name="T27" fmla="*/ 2147483647 h 11"/>
                    <a:gd name="T28" fmla="*/ 2147483647 w 22"/>
                    <a:gd name="T29" fmla="*/ 2147483647 h 11"/>
                    <a:gd name="T30" fmla="*/ 2147483647 w 22"/>
                    <a:gd name="T31" fmla="*/ 2147483647 h 11"/>
                    <a:gd name="T32" fmla="*/ 0 w 22"/>
                    <a:gd name="T33" fmla="*/ 2147483647 h 11"/>
                    <a:gd name="T34" fmla="*/ 0 w 22"/>
                    <a:gd name="T35" fmla="*/ 2147483647 h 11"/>
                    <a:gd name="T36" fmla="*/ 2147483647 w 22"/>
                    <a:gd name="T37" fmla="*/ 2147483647 h 11"/>
                    <a:gd name="T38" fmla="*/ 2147483647 w 22"/>
                    <a:gd name="T39" fmla="*/ 2147483647 h 11"/>
                    <a:gd name="T40" fmla="*/ 2147483647 w 22"/>
                    <a:gd name="T41" fmla="*/ 0 h 11"/>
                    <a:gd name="T42" fmla="*/ 2147483647 w 22"/>
                    <a:gd name="T43" fmla="*/ 0 h 11"/>
                    <a:gd name="T44" fmla="*/ 2147483647 w 22"/>
                    <a:gd name="T45" fmla="*/ 0 h 1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2"/>
                    <a:gd name="T70" fmla="*/ 0 h 11"/>
                    <a:gd name="T71" fmla="*/ 22 w 22"/>
                    <a:gd name="T72" fmla="*/ 11 h 1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2" h="11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17" y="0"/>
                      </a:lnTo>
                      <a:lnTo>
                        <a:pt x="19" y="2"/>
                      </a:lnTo>
                      <a:lnTo>
                        <a:pt x="21" y="3"/>
                      </a:lnTo>
                      <a:lnTo>
                        <a:pt x="22" y="5"/>
                      </a:lnTo>
                      <a:lnTo>
                        <a:pt x="22" y="9"/>
                      </a:lnTo>
                      <a:lnTo>
                        <a:pt x="21" y="10"/>
                      </a:lnTo>
                      <a:lnTo>
                        <a:pt x="18" y="11"/>
                      </a:lnTo>
                      <a:lnTo>
                        <a:pt x="12" y="11"/>
                      </a:lnTo>
                      <a:lnTo>
                        <a:pt x="4" y="10"/>
                      </a:lnTo>
                      <a:lnTo>
                        <a:pt x="1" y="10"/>
                      </a:lnTo>
                      <a:lnTo>
                        <a:pt x="1" y="9"/>
                      </a:lnTo>
                      <a:lnTo>
                        <a:pt x="0" y="5"/>
                      </a:lnTo>
                      <a:lnTo>
                        <a:pt x="3" y="2"/>
                      </a:lnTo>
                      <a:lnTo>
                        <a:pt x="5" y="1"/>
                      </a:lnTo>
                      <a:lnTo>
                        <a:pt x="9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4" name="Freeform 1144">
                  <a:extLst>
                    <a:ext uri="{FF2B5EF4-FFF2-40B4-BE49-F238E27FC236}">
                      <a16:creationId xmlns:a16="http://schemas.microsoft.com/office/drawing/2014/main" id="{2931CA59-096C-9744-A7D5-7A1EC2FB07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2807" y="1978270"/>
                  <a:ext cx="36997" cy="16278"/>
                </a:xfrm>
                <a:custGeom>
                  <a:avLst/>
                  <a:gdLst>
                    <a:gd name="T0" fmla="*/ 2147483647 w 27"/>
                    <a:gd name="T1" fmla="*/ 2147483647 h 11"/>
                    <a:gd name="T2" fmla="*/ 2147483647 w 27"/>
                    <a:gd name="T3" fmla="*/ 2147483647 h 11"/>
                    <a:gd name="T4" fmla="*/ 2147483647 w 27"/>
                    <a:gd name="T5" fmla="*/ 2147483647 h 11"/>
                    <a:gd name="T6" fmla="*/ 2147483647 w 27"/>
                    <a:gd name="T7" fmla="*/ 2147483647 h 11"/>
                    <a:gd name="T8" fmla="*/ 2147483647 w 27"/>
                    <a:gd name="T9" fmla="*/ 2147483647 h 11"/>
                    <a:gd name="T10" fmla="*/ 2147483647 w 27"/>
                    <a:gd name="T11" fmla="*/ 2147483647 h 11"/>
                    <a:gd name="T12" fmla="*/ 2147483647 w 27"/>
                    <a:gd name="T13" fmla="*/ 2147483647 h 11"/>
                    <a:gd name="T14" fmla="*/ 2147483647 w 27"/>
                    <a:gd name="T15" fmla="*/ 2147483647 h 11"/>
                    <a:gd name="T16" fmla="*/ 0 w 27"/>
                    <a:gd name="T17" fmla="*/ 2147483647 h 11"/>
                    <a:gd name="T18" fmla="*/ 0 w 27"/>
                    <a:gd name="T19" fmla="*/ 2147483647 h 11"/>
                    <a:gd name="T20" fmla="*/ 2147483647 w 27"/>
                    <a:gd name="T21" fmla="*/ 2147483647 h 11"/>
                    <a:gd name="T22" fmla="*/ 2147483647 w 27"/>
                    <a:gd name="T23" fmla="*/ 2147483647 h 11"/>
                    <a:gd name="T24" fmla="*/ 2147483647 w 27"/>
                    <a:gd name="T25" fmla="*/ 0 h 11"/>
                    <a:gd name="T26" fmla="*/ 2147483647 w 27"/>
                    <a:gd name="T27" fmla="*/ 0 h 11"/>
                    <a:gd name="T28" fmla="*/ 2147483647 w 27"/>
                    <a:gd name="T29" fmla="*/ 2147483647 h 11"/>
                    <a:gd name="T30" fmla="*/ 2147483647 w 27"/>
                    <a:gd name="T31" fmla="*/ 2147483647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7"/>
                    <a:gd name="T49" fmla="*/ 0 h 11"/>
                    <a:gd name="T50" fmla="*/ 27 w 27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7" h="11">
                      <a:moveTo>
                        <a:pt x="27" y="4"/>
                      </a:moveTo>
                      <a:lnTo>
                        <a:pt x="27" y="6"/>
                      </a:lnTo>
                      <a:lnTo>
                        <a:pt x="25" y="9"/>
                      </a:lnTo>
                      <a:lnTo>
                        <a:pt x="21" y="10"/>
                      </a:lnTo>
                      <a:lnTo>
                        <a:pt x="19" y="11"/>
                      </a:lnTo>
                      <a:lnTo>
                        <a:pt x="10" y="11"/>
                      </a:lnTo>
                      <a:lnTo>
                        <a:pt x="2" y="11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8" y="5"/>
                      </a:lnTo>
                      <a:lnTo>
                        <a:pt x="16" y="2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5" y="2"/>
                      </a:lnTo>
                      <a:lnTo>
                        <a:pt x="27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5" name="Freeform 1145">
                  <a:extLst>
                    <a:ext uri="{FF2B5EF4-FFF2-40B4-BE49-F238E27FC236}">
                      <a16:creationId xmlns:a16="http://schemas.microsoft.com/office/drawing/2014/main" id="{68054442-FD0D-DD4A-8959-0E5269C6E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2677" y="1831763"/>
                  <a:ext cx="106551" cy="105071"/>
                </a:xfrm>
                <a:custGeom>
                  <a:avLst/>
                  <a:gdLst>
                    <a:gd name="T0" fmla="*/ 2147483647 w 78"/>
                    <a:gd name="T1" fmla="*/ 2147483647 h 71"/>
                    <a:gd name="T2" fmla="*/ 2147483647 w 78"/>
                    <a:gd name="T3" fmla="*/ 2147483647 h 71"/>
                    <a:gd name="T4" fmla="*/ 2147483647 w 78"/>
                    <a:gd name="T5" fmla="*/ 2147483647 h 71"/>
                    <a:gd name="T6" fmla="*/ 2147483647 w 78"/>
                    <a:gd name="T7" fmla="*/ 2147483647 h 71"/>
                    <a:gd name="T8" fmla="*/ 2147483647 w 78"/>
                    <a:gd name="T9" fmla="*/ 2147483647 h 71"/>
                    <a:gd name="T10" fmla="*/ 2147483647 w 78"/>
                    <a:gd name="T11" fmla="*/ 2147483647 h 71"/>
                    <a:gd name="T12" fmla="*/ 2147483647 w 78"/>
                    <a:gd name="T13" fmla="*/ 2147483647 h 71"/>
                    <a:gd name="T14" fmla="*/ 2147483647 w 78"/>
                    <a:gd name="T15" fmla="*/ 2147483647 h 71"/>
                    <a:gd name="T16" fmla="*/ 2147483647 w 78"/>
                    <a:gd name="T17" fmla="*/ 2147483647 h 71"/>
                    <a:gd name="T18" fmla="*/ 2147483647 w 78"/>
                    <a:gd name="T19" fmla="*/ 2147483647 h 71"/>
                    <a:gd name="T20" fmla="*/ 2147483647 w 78"/>
                    <a:gd name="T21" fmla="*/ 2147483647 h 71"/>
                    <a:gd name="T22" fmla="*/ 2147483647 w 78"/>
                    <a:gd name="T23" fmla="*/ 2147483647 h 71"/>
                    <a:gd name="T24" fmla="*/ 2147483647 w 78"/>
                    <a:gd name="T25" fmla="*/ 2147483647 h 71"/>
                    <a:gd name="T26" fmla="*/ 2147483647 w 78"/>
                    <a:gd name="T27" fmla="*/ 2147483647 h 71"/>
                    <a:gd name="T28" fmla="*/ 2147483647 w 78"/>
                    <a:gd name="T29" fmla="*/ 2147483647 h 71"/>
                    <a:gd name="T30" fmla="*/ 2147483647 w 78"/>
                    <a:gd name="T31" fmla="*/ 2147483647 h 71"/>
                    <a:gd name="T32" fmla="*/ 2147483647 w 78"/>
                    <a:gd name="T33" fmla="*/ 2147483647 h 71"/>
                    <a:gd name="T34" fmla="*/ 2147483647 w 78"/>
                    <a:gd name="T35" fmla="*/ 2147483647 h 71"/>
                    <a:gd name="T36" fmla="*/ 2147483647 w 78"/>
                    <a:gd name="T37" fmla="*/ 2147483647 h 71"/>
                    <a:gd name="T38" fmla="*/ 2147483647 w 78"/>
                    <a:gd name="T39" fmla="*/ 2147483647 h 71"/>
                    <a:gd name="T40" fmla="*/ 2147483647 w 78"/>
                    <a:gd name="T41" fmla="*/ 2147483647 h 71"/>
                    <a:gd name="T42" fmla="*/ 2147483647 w 78"/>
                    <a:gd name="T43" fmla="*/ 2147483647 h 71"/>
                    <a:gd name="T44" fmla="*/ 2147483647 w 78"/>
                    <a:gd name="T45" fmla="*/ 0 h 71"/>
                    <a:gd name="T46" fmla="*/ 2147483647 w 78"/>
                    <a:gd name="T47" fmla="*/ 2147483647 h 71"/>
                    <a:gd name="T48" fmla="*/ 2147483647 w 78"/>
                    <a:gd name="T49" fmla="*/ 2147483647 h 71"/>
                    <a:gd name="T50" fmla="*/ 2147483647 w 78"/>
                    <a:gd name="T51" fmla="*/ 2147483647 h 71"/>
                    <a:gd name="T52" fmla="*/ 2147483647 w 78"/>
                    <a:gd name="T53" fmla="*/ 2147483647 h 71"/>
                    <a:gd name="T54" fmla="*/ 2147483647 w 78"/>
                    <a:gd name="T55" fmla="*/ 2147483647 h 71"/>
                    <a:gd name="T56" fmla="*/ 2147483647 w 78"/>
                    <a:gd name="T57" fmla="*/ 2147483647 h 71"/>
                    <a:gd name="T58" fmla="*/ 2147483647 w 78"/>
                    <a:gd name="T59" fmla="*/ 2147483647 h 71"/>
                    <a:gd name="T60" fmla="*/ 2147483647 w 78"/>
                    <a:gd name="T61" fmla="*/ 2147483647 h 71"/>
                    <a:gd name="T62" fmla="*/ 2147483647 w 78"/>
                    <a:gd name="T63" fmla="*/ 2147483647 h 71"/>
                    <a:gd name="T64" fmla="*/ 2147483647 w 78"/>
                    <a:gd name="T65" fmla="*/ 2147483647 h 71"/>
                    <a:gd name="T66" fmla="*/ 2147483647 w 78"/>
                    <a:gd name="T67" fmla="*/ 2147483647 h 71"/>
                    <a:gd name="T68" fmla="*/ 2147483647 w 78"/>
                    <a:gd name="T69" fmla="*/ 2147483647 h 71"/>
                    <a:gd name="T70" fmla="*/ 0 w 78"/>
                    <a:gd name="T71" fmla="*/ 2147483647 h 71"/>
                    <a:gd name="T72" fmla="*/ 0 w 78"/>
                    <a:gd name="T73" fmla="*/ 2147483647 h 71"/>
                    <a:gd name="T74" fmla="*/ 0 w 78"/>
                    <a:gd name="T75" fmla="*/ 2147483647 h 71"/>
                    <a:gd name="T76" fmla="*/ 2147483647 w 78"/>
                    <a:gd name="T77" fmla="*/ 2147483647 h 71"/>
                    <a:gd name="T78" fmla="*/ 2147483647 w 78"/>
                    <a:gd name="T79" fmla="*/ 2147483647 h 71"/>
                    <a:gd name="T80" fmla="*/ 2147483647 w 78"/>
                    <a:gd name="T81" fmla="*/ 2147483647 h 71"/>
                    <a:gd name="T82" fmla="*/ 2147483647 w 78"/>
                    <a:gd name="T83" fmla="*/ 2147483647 h 71"/>
                    <a:gd name="T84" fmla="*/ 2147483647 w 78"/>
                    <a:gd name="T85" fmla="*/ 2147483647 h 71"/>
                    <a:gd name="T86" fmla="*/ 2147483647 w 78"/>
                    <a:gd name="T87" fmla="*/ 2147483647 h 71"/>
                    <a:gd name="T88" fmla="*/ 2147483647 w 78"/>
                    <a:gd name="T89" fmla="*/ 2147483647 h 71"/>
                    <a:gd name="T90" fmla="*/ 2147483647 w 78"/>
                    <a:gd name="T91" fmla="*/ 2147483647 h 71"/>
                    <a:gd name="T92" fmla="*/ 2147483647 w 78"/>
                    <a:gd name="T93" fmla="*/ 2147483647 h 71"/>
                    <a:gd name="T94" fmla="*/ 2147483647 w 78"/>
                    <a:gd name="T95" fmla="*/ 2147483647 h 71"/>
                    <a:gd name="T96" fmla="*/ 2147483647 w 78"/>
                    <a:gd name="T97" fmla="*/ 2147483647 h 71"/>
                    <a:gd name="T98" fmla="*/ 2147483647 w 78"/>
                    <a:gd name="T99" fmla="*/ 2147483647 h 71"/>
                    <a:gd name="T100" fmla="*/ 2147483647 w 78"/>
                    <a:gd name="T101" fmla="*/ 2147483647 h 71"/>
                    <a:gd name="T102" fmla="*/ 2147483647 w 78"/>
                    <a:gd name="T103" fmla="*/ 2147483647 h 71"/>
                    <a:gd name="T104" fmla="*/ 2147483647 w 78"/>
                    <a:gd name="T105" fmla="*/ 2147483647 h 71"/>
                    <a:gd name="T106" fmla="*/ 2147483647 w 78"/>
                    <a:gd name="T107" fmla="*/ 2147483647 h 71"/>
                    <a:gd name="T108" fmla="*/ 2147483647 w 78"/>
                    <a:gd name="T109" fmla="*/ 2147483647 h 71"/>
                    <a:gd name="T110" fmla="*/ 2147483647 w 78"/>
                    <a:gd name="T111" fmla="*/ 2147483647 h 71"/>
                    <a:gd name="T112" fmla="*/ 2147483647 w 78"/>
                    <a:gd name="T113" fmla="*/ 2147483647 h 71"/>
                    <a:gd name="T114" fmla="*/ 2147483647 w 78"/>
                    <a:gd name="T115" fmla="*/ 2147483647 h 71"/>
                    <a:gd name="T116" fmla="*/ 2147483647 w 78"/>
                    <a:gd name="T117" fmla="*/ 2147483647 h 71"/>
                    <a:gd name="T118" fmla="*/ 2147483647 w 78"/>
                    <a:gd name="T119" fmla="*/ 2147483647 h 71"/>
                    <a:gd name="T120" fmla="*/ 2147483647 w 78"/>
                    <a:gd name="T121" fmla="*/ 2147483647 h 7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78"/>
                    <a:gd name="T184" fmla="*/ 0 h 71"/>
                    <a:gd name="T185" fmla="*/ 78 w 78"/>
                    <a:gd name="T186" fmla="*/ 71 h 7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78" h="71">
                      <a:moveTo>
                        <a:pt x="77" y="28"/>
                      </a:moveTo>
                      <a:lnTo>
                        <a:pt x="77" y="25"/>
                      </a:lnTo>
                      <a:lnTo>
                        <a:pt x="76" y="24"/>
                      </a:lnTo>
                      <a:lnTo>
                        <a:pt x="73" y="21"/>
                      </a:lnTo>
                      <a:lnTo>
                        <a:pt x="69" y="21"/>
                      </a:lnTo>
                      <a:lnTo>
                        <a:pt x="68" y="20"/>
                      </a:lnTo>
                      <a:lnTo>
                        <a:pt x="67" y="19"/>
                      </a:lnTo>
                      <a:lnTo>
                        <a:pt x="66" y="15"/>
                      </a:lnTo>
                      <a:lnTo>
                        <a:pt x="64" y="13"/>
                      </a:lnTo>
                      <a:lnTo>
                        <a:pt x="62" y="12"/>
                      </a:lnTo>
                      <a:lnTo>
                        <a:pt x="59" y="11"/>
                      </a:lnTo>
                      <a:lnTo>
                        <a:pt x="55" y="11"/>
                      </a:lnTo>
                      <a:lnTo>
                        <a:pt x="53" y="13"/>
                      </a:lnTo>
                      <a:lnTo>
                        <a:pt x="49" y="15"/>
                      </a:lnTo>
                      <a:lnTo>
                        <a:pt x="45" y="18"/>
                      </a:lnTo>
                      <a:lnTo>
                        <a:pt x="44" y="18"/>
                      </a:lnTo>
                      <a:lnTo>
                        <a:pt x="41" y="18"/>
                      </a:lnTo>
                      <a:lnTo>
                        <a:pt x="40" y="15"/>
                      </a:lnTo>
                      <a:lnTo>
                        <a:pt x="39" y="13"/>
                      </a:lnTo>
                      <a:lnTo>
                        <a:pt x="38" y="6"/>
                      </a:lnTo>
                      <a:lnTo>
                        <a:pt x="35" y="3"/>
                      </a:lnTo>
                      <a:lnTo>
                        <a:pt x="33" y="1"/>
                      </a:lnTo>
                      <a:lnTo>
                        <a:pt x="30" y="0"/>
                      </a:lnTo>
                      <a:lnTo>
                        <a:pt x="27" y="1"/>
                      </a:lnTo>
                      <a:lnTo>
                        <a:pt x="25" y="3"/>
                      </a:lnTo>
                      <a:lnTo>
                        <a:pt x="24" y="6"/>
                      </a:lnTo>
                      <a:lnTo>
                        <a:pt x="22" y="12"/>
                      </a:lnTo>
                      <a:lnTo>
                        <a:pt x="20" y="14"/>
                      </a:lnTo>
                      <a:lnTo>
                        <a:pt x="20" y="16"/>
                      </a:lnTo>
                      <a:lnTo>
                        <a:pt x="20" y="19"/>
                      </a:lnTo>
                      <a:lnTo>
                        <a:pt x="21" y="22"/>
                      </a:lnTo>
                      <a:lnTo>
                        <a:pt x="20" y="25"/>
                      </a:lnTo>
                      <a:lnTo>
                        <a:pt x="13" y="39"/>
                      </a:lnTo>
                      <a:lnTo>
                        <a:pt x="7" y="51"/>
                      </a:lnTo>
                      <a:lnTo>
                        <a:pt x="1" y="62"/>
                      </a:lnTo>
                      <a:lnTo>
                        <a:pt x="0" y="65"/>
                      </a:lnTo>
                      <a:lnTo>
                        <a:pt x="0" y="69"/>
                      </a:lnTo>
                      <a:lnTo>
                        <a:pt x="0" y="70"/>
                      </a:lnTo>
                      <a:lnTo>
                        <a:pt x="2" y="71"/>
                      </a:lnTo>
                      <a:lnTo>
                        <a:pt x="3" y="70"/>
                      </a:lnTo>
                      <a:lnTo>
                        <a:pt x="5" y="69"/>
                      </a:lnTo>
                      <a:lnTo>
                        <a:pt x="6" y="66"/>
                      </a:lnTo>
                      <a:lnTo>
                        <a:pt x="8" y="64"/>
                      </a:lnTo>
                      <a:lnTo>
                        <a:pt x="13" y="62"/>
                      </a:lnTo>
                      <a:lnTo>
                        <a:pt x="24" y="59"/>
                      </a:lnTo>
                      <a:lnTo>
                        <a:pt x="30" y="56"/>
                      </a:lnTo>
                      <a:lnTo>
                        <a:pt x="38" y="53"/>
                      </a:lnTo>
                      <a:lnTo>
                        <a:pt x="44" y="53"/>
                      </a:lnTo>
                      <a:lnTo>
                        <a:pt x="52" y="56"/>
                      </a:lnTo>
                      <a:lnTo>
                        <a:pt x="54" y="57"/>
                      </a:lnTo>
                      <a:lnTo>
                        <a:pt x="55" y="57"/>
                      </a:lnTo>
                      <a:lnTo>
                        <a:pt x="57" y="57"/>
                      </a:lnTo>
                      <a:lnTo>
                        <a:pt x="62" y="54"/>
                      </a:lnTo>
                      <a:lnTo>
                        <a:pt x="66" y="53"/>
                      </a:lnTo>
                      <a:lnTo>
                        <a:pt x="71" y="52"/>
                      </a:lnTo>
                      <a:lnTo>
                        <a:pt x="76" y="51"/>
                      </a:lnTo>
                      <a:lnTo>
                        <a:pt x="77" y="49"/>
                      </a:lnTo>
                      <a:lnTo>
                        <a:pt x="78" y="46"/>
                      </a:lnTo>
                      <a:lnTo>
                        <a:pt x="78" y="40"/>
                      </a:lnTo>
                      <a:lnTo>
                        <a:pt x="77" y="34"/>
                      </a:lnTo>
                      <a:lnTo>
                        <a:pt x="77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6" name="Freeform 1146">
                  <a:extLst>
                    <a:ext uri="{FF2B5EF4-FFF2-40B4-BE49-F238E27FC236}">
                      <a16:creationId xmlns:a16="http://schemas.microsoft.com/office/drawing/2014/main" id="{C6F4C842-FE7B-084F-9ED9-3BEB04B74D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1327" y="1976793"/>
                  <a:ext cx="35517" cy="16279"/>
                </a:xfrm>
                <a:custGeom>
                  <a:avLst/>
                  <a:gdLst>
                    <a:gd name="T0" fmla="*/ 2147483647 w 26"/>
                    <a:gd name="T1" fmla="*/ 2147483647 h 11"/>
                    <a:gd name="T2" fmla="*/ 2147483647 w 26"/>
                    <a:gd name="T3" fmla="*/ 2147483647 h 11"/>
                    <a:gd name="T4" fmla="*/ 2147483647 w 26"/>
                    <a:gd name="T5" fmla="*/ 2147483647 h 11"/>
                    <a:gd name="T6" fmla="*/ 2147483647 w 26"/>
                    <a:gd name="T7" fmla="*/ 2147483647 h 11"/>
                    <a:gd name="T8" fmla="*/ 2147483647 w 26"/>
                    <a:gd name="T9" fmla="*/ 2147483647 h 11"/>
                    <a:gd name="T10" fmla="*/ 2147483647 w 26"/>
                    <a:gd name="T11" fmla="*/ 2147483647 h 11"/>
                    <a:gd name="T12" fmla="*/ 2147483647 w 26"/>
                    <a:gd name="T13" fmla="*/ 2147483647 h 11"/>
                    <a:gd name="T14" fmla="*/ 2147483647 w 26"/>
                    <a:gd name="T15" fmla="*/ 2147483647 h 11"/>
                    <a:gd name="T16" fmla="*/ 2147483647 w 26"/>
                    <a:gd name="T17" fmla="*/ 2147483647 h 11"/>
                    <a:gd name="T18" fmla="*/ 2147483647 w 26"/>
                    <a:gd name="T19" fmla="*/ 2147483647 h 11"/>
                    <a:gd name="T20" fmla="*/ 0 w 26"/>
                    <a:gd name="T21" fmla="*/ 2147483647 h 11"/>
                    <a:gd name="T22" fmla="*/ 0 w 26"/>
                    <a:gd name="T23" fmla="*/ 2147483647 h 11"/>
                    <a:gd name="T24" fmla="*/ 0 w 26"/>
                    <a:gd name="T25" fmla="*/ 2147483647 h 11"/>
                    <a:gd name="T26" fmla="*/ 2147483647 w 26"/>
                    <a:gd name="T27" fmla="*/ 2147483647 h 11"/>
                    <a:gd name="T28" fmla="*/ 2147483647 w 26"/>
                    <a:gd name="T29" fmla="*/ 2147483647 h 11"/>
                    <a:gd name="T30" fmla="*/ 2147483647 w 26"/>
                    <a:gd name="T31" fmla="*/ 0 h 11"/>
                    <a:gd name="T32" fmla="*/ 2147483647 w 26"/>
                    <a:gd name="T33" fmla="*/ 0 h 11"/>
                    <a:gd name="T34" fmla="*/ 2147483647 w 26"/>
                    <a:gd name="T35" fmla="*/ 2147483647 h 11"/>
                    <a:gd name="T36" fmla="*/ 2147483647 w 26"/>
                    <a:gd name="T37" fmla="*/ 2147483647 h 11"/>
                    <a:gd name="T38" fmla="*/ 2147483647 w 26"/>
                    <a:gd name="T39" fmla="*/ 2147483647 h 1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6"/>
                    <a:gd name="T61" fmla="*/ 0 h 11"/>
                    <a:gd name="T62" fmla="*/ 26 w 26"/>
                    <a:gd name="T63" fmla="*/ 11 h 1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6" h="11">
                      <a:moveTo>
                        <a:pt x="26" y="4"/>
                      </a:moveTo>
                      <a:lnTo>
                        <a:pt x="26" y="4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1" y="10"/>
                      </a:lnTo>
                      <a:lnTo>
                        <a:pt x="19" y="11"/>
                      </a:lnTo>
                      <a:lnTo>
                        <a:pt x="10" y="11"/>
                      </a:lnTo>
                      <a:lnTo>
                        <a:pt x="2" y="11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7" y="5"/>
                      </a:lnTo>
                      <a:lnTo>
                        <a:pt x="16" y="1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5" y="1"/>
                      </a:lnTo>
                      <a:lnTo>
                        <a:pt x="2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7" name="Freeform 1147">
                  <a:extLst>
                    <a:ext uri="{FF2B5EF4-FFF2-40B4-BE49-F238E27FC236}">
                      <a16:creationId xmlns:a16="http://schemas.microsoft.com/office/drawing/2014/main" id="{659B35B4-E81E-3944-B40F-6293E08172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9718" y="1830286"/>
                  <a:ext cx="108030" cy="105070"/>
                </a:xfrm>
                <a:custGeom>
                  <a:avLst/>
                  <a:gdLst>
                    <a:gd name="T0" fmla="*/ 2147483647 w 79"/>
                    <a:gd name="T1" fmla="*/ 2147483647 h 71"/>
                    <a:gd name="T2" fmla="*/ 2147483647 w 79"/>
                    <a:gd name="T3" fmla="*/ 2147483647 h 71"/>
                    <a:gd name="T4" fmla="*/ 2147483647 w 79"/>
                    <a:gd name="T5" fmla="*/ 2147483647 h 71"/>
                    <a:gd name="T6" fmla="*/ 2147483647 w 79"/>
                    <a:gd name="T7" fmla="*/ 2147483647 h 71"/>
                    <a:gd name="T8" fmla="*/ 2147483647 w 79"/>
                    <a:gd name="T9" fmla="*/ 2147483647 h 71"/>
                    <a:gd name="T10" fmla="*/ 2147483647 w 79"/>
                    <a:gd name="T11" fmla="*/ 2147483647 h 71"/>
                    <a:gd name="T12" fmla="*/ 2147483647 w 79"/>
                    <a:gd name="T13" fmla="*/ 2147483647 h 71"/>
                    <a:gd name="T14" fmla="*/ 2147483647 w 79"/>
                    <a:gd name="T15" fmla="*/ 2147483647 h 71"/>
                    <a:gd name="T16" fmla="*/ 2147483647 w 79"/>
                    <a:gd name="T17" fmla="*/ 2147483647 h 71"/>
                    <a:gd name="T18" fmla="*/ 2147483647 w 79"/>
                    <a:gd name="T19" fmla="*/ 2147483647 h 71"/>
                    <a:gd name="T20" fmla="*/ 2147483647 w 79"/>
                    <a:gd name="T21" fmla="*/ 2147483647 h 71"/>
                    <a:gd name="T22" fmla="*/ 2147483647 w 79"/>
                    <a:gd name="T23" fmla="*/ 2147483647 h 71"/>
                    <a:gd name="T24" fmla="*/ 2147483647 w 79"/>
                    <a:gd name="T25" fmla="*/ 2147483647 h 71"/>
                    <a:gd name="T26" fmla="*/ 2147483647 w 79"/>
                    <a:gd name="T27" fmla="*/ 2147483647 h 71"/>
                    <a:gd name="T28" fmla="*/ 2147483647 w 79"/>
                    <a:gd name="T29" fmla="*/ 2147483647 h 71"/>
                    <a:gd name="T30" fmla="*/ 2147483647 w 79"/>
                    <a:gd name="T31" fmla="*/ 2147483647 h 71"/>
                    <a:gd name="T32" fmla="*/ 2147483647 w 79"/>
                    <a:gd name="T33" fmla="*/ 2147483647 h 71"/>
                    <a:gd name="T34" fmla="*/ 2147483647 w 79"/>
                    <a:gd name="T35" fmla="*/ 2147483647 h 71"/>
                    <a:gd name="T36" fmla="*/ 2147483647 w 79"/>
                    <a:gd name="T37" fmla="*/ 2147483647 h 71"/>
                    <a:gd name="T38" fmla="*/ 2147483647 w 79"/>
                    <a:gd name="T39" fmla="*/ 2147483647 h 71"/>
                    <a:gd name="T40" fmla="*/ 2147483647 w 79"/>
                    <a:gd name="T41" fmla="*/ 2147483647 h 71"/>
                    <a:gd name="T42" fmla="*/ 2147483647 w 79"/>
                    <a:gd name="T43" fmla="*/ 2147483647 h 71"/>
                    <a:gd name="T44" fmla="*/ 2147483647 w 79"/>
                    <a:gd name="T45" fmla="*/ 2147483647 h 71"/>
                    <a:gd name="T46" fmla="*/ 0 w 79"/>
                    <a:gd name="T47" fmla="*/ 2147483647 h 71"/>
                    <a:gd name="T48" fmla="*/ 0 w 79"/>
                    <a:gd name="T49" fmla="*/ 2147483647 h 71"/>
                    <a:gd name="T50" fmla="*/ 2147483647 w 79"/>
                    <a:gd name="T51" fmla="*/ 2147483647 h 71"/>
                    <a:gd name="T52" fmla="*/ 2147483647 w 79"/>
                    <a:gd name="T53" fmla="*/ 2147483647 h 71"/>
                    <a:gd name="T54" fmla="*/ 2147483647 w 79"/>
                    <a:gd name="T55" fmla="*/ 2147483647 h 71"/>
                    <a:gd name="T56" fmla="*/ 2147483647 w 79"/>
                    <a:gd name="T57" fmla="*/ 2147483647 h 71"/>
                    <a:gd name="T58" fmla="*/ 2147483647 w 79"/>
                    <a:gd name="T59" fmla="*/ 2147483647 h 71"/>
                    <a:gd name="T60" fmla="*/ 2147483647 w 79"/>
                    <a:gd name="T61" fmla="*/ 2147483647 h 71"/>
                    <a:gd name="T62" fmla="*/ 2147483647 w 79"/>
                    <a:gd name="T63" fmla="*/ 2147483647 h 71"/>
                    <a:gd name="T64" fmla="*/ 2147483647 w 79"/>
                    <a:gd name="T65" fmla="*/ 2147483647 h 71"/>
                    <a:gd name="T66" fmla="*/ 2147483647 w 79"/>
                    <a:gd name="T67" fmla="*/ 2147483647 h 71"/>
                    <a:gd name="T68" fmla="*/ 2147483647 w 79"/>
                    <a:gd name="T69" fmla="*/ 2147483647 h 71"/>
                    <a:gd name="T70" fmla="*/ 2147483647 w 79"/>
                    <a:gd name="T71" fmla="*/ 2147483647 h 71"/>
                    <a:gd name="T72" fmla="*/ 2147483647 w 79"/>
                    <a:gd name="T73" fmla="*/ 2147483647 h 71"/>
                    <a:gd name="T74" fmla="*/ 2147483647 w 79"/>
                    <a:gd name="T75" fmla="*/ 2147483647 h 71"/>
                    <a:gd name="T76" fmla="*/ 2147483647 w 79"/>
                    <a:gd name="T77" fmla="*/ 2147483647 h 71"/>
                    <a:gd name="T78" fmla="*/ 2147483647 w 79"/>
                    <a:gd name="T79" fmla="*/ 2147483647 h 7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79"/>
                    <a:gd name="T121" fmla="*/ 0 h 71"/>
                    <a:gd name="T122" fmla="*/ 79 w 79"/>
                    <a:gd name="T123" fmla="*/ 71 h 7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79" h="71">
                      <a:moveTo>
                        <a:pt x="78" y="28"/>
                      </a:moveTo>
                      <a:lnTo>
                        <a:pt x="78" y="28"/>
                      </a:lnTo>
                      <a:lnTo>
                        <a:pt x="78" y="25"/>
                      </a:lnTo>
                      <a:lnTo>
                        <a:pt x="76" y="23"/>
                      </a:lnTo>
                      <a:lnTo>
                        <a:pt x="74" y="21"/>
                      </a:lnTo>
                      <a:lnTo>
                        <a:pt x="70" y="21"/>
                      </a:lnTo>
                      <a:lnTo>
                        <a:pt x="69" y="20"/>
                      </a:lnTo>
                      <a:lnTo>
                        <a:pt x="68" y="19"/>
                      </a:lnTo>
                      <a:lnTo>
                        <a:pt x="66" y="15"/>
                      </a:lnTo>
                      <a:lnTo>
                        <a:pt x="65" y="13"/>
                      </a:lnTo>
                      <a:lnTo>
                        <a:pt x="62" y="12"/>
                      </a:lnTo>
                      <a:lnTo>
                        <a:pt x="60" y="10"/>
                      </a:lnTo>
                      <a:lnTo>
                        <a:pt x="56" y="10"/>
                      </a:lnTo>
                      <a:lnTo>
                        <a:pt x="54" y="13"/>
                      </a:lnTo>
                      <a:lnTo>
                        <a:pt x="50" y="15"/>
                      </a:lnTo>
                      <a:lnTo>
                        <a:pt x="46" y="17"/>
                      </a:lnTo>
                      <a:lnTo>
                        <a:pt x="45" y="17"/>
                      </a:lnTo>
                      <a:lnTo>
                        <a:pt x="42" y="17"/>
                      </a:lnTo>
                      <a:lnTo>
                        <a:pt x="41" y="15"/>
                      </a:lnTo>
                      <a:lnTo>
                        <a:pt x="40" y="13"/>
                      </a:lnTo>
                      <a:lnTo>
                        <a:pt x="38" y="6"/>
                      </a:lnTo>
                      <a:lnTo>
                        <a:pt x="36" y="3"/>
                      </a:lnTo>
                      <a:lnTo>
                        <a:pt x="33" y="1"/>
                      </a:lnTo>
                      <a:lnTo>
                        <a:pt x="31" y="0"/>
                      </a:lnTo>
                      <a:lnTo>
                        <a:pt x="28" y="1"/>
                      </a:lnTo>
                      <a:lnTo>
                        <a:pt x="26" y="3"/>
                      </a:lnTo>
                      <a:lnTo>
                        <a:pt x="24" y="6"/>
                      </a:lnTo>
                      <a:lnTo>
                        <a:pt x="23" y="12"/>
                      </a:lnTo>
                      <a:lnTo>
                        <a:pt x="21" y="14"/>
                      </a:lnTo>
                      <a:lnTo>
                        <a:pt x="21" y="16"/>
                      </a:lnTo>
                      <a:lnTo>
                        <a:pt x="21" y="19"/>
                      </a:lnTo>
                      <a:lnTo>
                        <a:pt x="22" y="22"/>
                      </a:lnTo>
                      <a:lnTo>
                        <a:pt x="21" y="25"/>
                      </a:lnTo>
                      <a:lnTo>
                        <a:pt x="14" y="39"/>
                      </a:lnTo>
                      <a:lnTo>
                        <a:pt x="8" y="51"/>
                      </a:lnTo>
                      <a:lnTo>
                        <a:pt x="2" y="61"/>
                      </a:lnTo>
                      <a:lnTo>
                        <a:pt x="0" y="65"/>
                      </a:lnTo>
                      <a:lnTo>
                        <a:pt x="0" y="68"/>
                      </a:lnTo>
                      <a:lnTo>
                        <a:pt x="0" y="70"/>
                      </a:lnTo>
                      <a:lnTo>
                        <a:pt x="3" y="71"/>
                      </a:lnTo>
                      <a:lnTo>
                        <a:pt x="4" y="70"/>
                      </a:lnTo>
                      <a:lnTo>
                        <a:pt x="5" y="68"/>
                      </a:lnTo>
                      <a:lnTo>
                        <a:pt x="7" y="66"/>
                      </a:lnTo>
                      <a:lnTo>
                        <a:pt x="9" y="64"/>
                      </a:lnTo>
                      <a:lnTo>
                        <a:pt x="14" y="61"/>
                      </a:lnTo>
                      <a:lnTo>
                        <a:pt x="24" y="59"/>
                      </a:lnTo>
                      <a:lnTo>
                        <a:pt x="31" y="55"/>
                      </a:lnTo>
                      <a:lnTo>
                        <a:pt x="38" y="53"/>
                      </a:lnTo>
                      <a:lnTo>
                        <a:pt x="45" y="53"/>
                      </a:lnTo>
                      <a:lnTo>
                        <a:pt x="52" y="55"/>
                      </a:lnTo>
                      <a:lnTo>
                        <a:pt x="55" y="57"/>
                      </a:lnTo>
                      <a:lnTo>
                        <a:pt x="56" y="57"/>
                      </a:lnTo>
                      <a:lnTo>
                        <a:pt x="57" y="57"/>
                      </a:lnTo>
                      <a:lnTo>
                        <a:pt x="62" y="54"/>
                      </a:lnTo>
                      <a:lnTo>
                        <a:pt x="66" y="53"/>
                      </a:lnTo>
                      <a:lnTo>
                        <a:pt x="71" y="52"/>
                      </a:lnTo>
                      <a:lnTo>
                        <a:pt x="76" y="51"/>
                      </a:lnTo>
                      <a:lnTo>
                        <a:pt x="78" y="48"/>
                      </a:lnTo>
                      <a:lnTo>
                        <a:pt x="79" y="46"/>
                      </a:lnTo>
                      <a:lnTo>
                        <a:pt x="79" y="40"/>
                      </a:lnTo>
                      <a:lnTo>
                        <a:pt x="78" y="34"/>
                      </a:lnTo>
                      <a:lnTo>
                        <a:pt x="78" y="2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8" name="Freeform 1148">
                  <a:extLst>
                    <a:ext uri="{FF2B5EF4-FFF2-40B4-BE49-F238E27FC236}">
                      <a16:creationId xmlns:a16="http://schemas.microsoft.com/office/drawing/2014/main" id="{FEA87C37-D1CF-8F4B-82B4-9DD824CE2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9880" y="2129217"/>
                  <a:ext cx="14799" cy="26638"/>
                </a:xfrm>
                <a:custGeom>
                  <a:avLst/>
                  <a:gdLst>
                    <a:gd name="T0" fmla="*/ 2147483647 w 11"/>
                    <a:gd name="T1" fmla="*/ 2147483647 h 18"/>
                    <a:gd name="T2" fmla="*/ 2147483647 w 11"/>
                    <a:gd name="T3" fmla="*/ 2147483647 h 18"/>
                    <a:gd name="T4" fmla="*/ 2147483647 w 11"/>
                    <a:gd name="T5" fmla="*/ 2147483647 h 18"/>
                    <a:gd name="T6" fmla="*/ 2147483647 w 11"/>
                    <a:gd name="T7" fmla="*/ 0 h 18"/>
                    <a:gd name="T8" fmla="*/ 2147483647 w 11"/>
                    <a:gd name="T9" fmla="*/ 0 h 18"/>
                    <a:gd name="T10" fmla="*/ 2147483647 w 11"/>
                    <a:gd name="T11" fmla="*/ 2147483647 h 18"/>
                    <a:gd name="T12" fmla="*/ 2147483647 w 11"/>
                    <a:gd name="T13" fmla="*/ 2147483647 h 18"/>
                    <a:gd name="T14" fmla="*/ 0 w 11"/>
                    <a:gd name="T15" fmla="*/ 2147483647 h 18"/>
                    <a:gd name="T16" fmla="*/ 0 w 11"/>
                    <a:gd name="T17" fmla="*/ 2147483647 h 18"/>
                    <a:gd name="T18" fmla="*/ 2147483647 w 11"/>
                    <a:gd name="T19" fmla="*/ 2147483647 h 18"/>
                    <a:gd name="T20" fmla="*/ 2147483647 w 11"/>
                    <a:gd name="T21" fmla="*/ 2147483647 h 18"/>
                    <a:gd name="T22" fmla="*/ 2147483647 w 11"/>
                    <a:gd name="T23" fmla="*/ 2147483647 h 18"/>
                    <a:gd name="T24" fmla="*/ 2147483647 w 11"/>
                    <a:gd name="T25" fmla="*/ 2147483647 h 18"/>
                    <a:gd name="T26" fmla="*/ 2147483647 w 11"/>
                    <a:gd name="T27" fmla="*/ 2147483647 h 18"/>
                    <a:gd name="T28" fmla="*/ 2147483647 w 11"/>
                    <a:gd name="T29" fmla="*/ 2147483647 h 18"/>
                    <a:gd name="T30" fmla="*/ 2147483647 w 11"/>
                    <a:gd name="T31" fmla="*/ 2147483647 h 18"/>
                    <a:gd name="T32" fmla="*/ 2147483647 w 11"/>
                    <a:gd name="T33" fmla="*/ 2147483647 h 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1"/>
                    <a:gd name="T52" fmla="*/ 0 h 18"/>
                    <a:gd name="T53" fmla="*/ 11 w 11"/>
                    <a:gd name="T54" fmla="*/ 18 h 1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1" h="18">
                      <a:moveTo>
                        <a:pt x="11" y="5"/>
                      </a:moveTo>
                      <a:lnTo>
                        <a:pt x="11" y="4"/>
                      </a:lnTo>
                      <a:lnTo>
                        <a:pt x="11" y="2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5" y="3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0" y="13"/>
                      </a:lnTo>
                      <a:lnTo>
                        <a:pt x="1" y="15"/>
                      </a:lnTo>
                      <a:lnTo>
                        <a:pt x="5" y="17"/>
                      </a:lnTo>
                      <a:lnTo>
                        <a:pt x="8" y="18"/>
                      </a:lnTo>
                      <a:lnTo>
                        <a:pt x="10" y="17"/>
                      </a:lnTo>
                      <a:lnTo>
                        <a:pt x="11" y="15"/>
                      </a:lnTo>
                      <a:lnTo>
                        <a:pt x="10" y="11"/>
                      </a:lnTo>
                      <a:lnTo>
                        <a:pt x="10" y="9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9" name="Freeform 1149">
                  <a:extLst>
                    <a:ext uri="{FF2B5EF4-FFF2-40B4-BE49-F238E27FC236}">
                      <a16:creationId xmlns:a16="http://schemas.microsoft.com/office/drawing/2014/main" id="{2CB831C4-1045-1341-B94C-0B21A6DF75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6604" y="2144019"/>
                  <a:ext cx="36997" cy="26638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2147483647 h 18"/>
                    <a:gd name="T6" fmla="*/ 2147483647 w 27"/>
                    <a:gd name="T7" fmla="*/ 2147483647 h 18"/>
                    <a:gd name="T8" fmla="*/ 2147483647 w 27"/>
                    <a:gd name="T9" fmla="*/ 2147483647 h 18"/>
                    <a:gd name="T10" fmla="*/ 2147483647 w 27"/>
                    <a:gd name="T11" fmla="*/ 0 h 18"/>
                    <a:gd name="T12" fmla="*/ 2147483647 w 27"/>
                    <a:gd name="T13" fmla="*/ 2147483647 h 18"/>
                    <a:gd name="T14" fmla="*/ 2147483647 w 27"/>
                    <a:gd name="T15" fmla="*/ 2147483647 h 18"/>
                    <a:gd name="T16" fmla="*/ 2147483647 w 27"/>
                    <a:gd name="T17" fmla="*/ 2147483647 h 18"/>
                    <a:gd name="T18" fmla="*/ 2147483647 w 27"/>
                    <a:gd name="T19" fmla="*/ 2147483647 h 18"/>
                    <a:gd name="T20" fmla="*/ 2147483647 w 27"/>
                    <a:gd name="T21" fmla="*/ 2147483647 h 18"/>
                    <a:gd name="T22" fmla="*/ 0 w 27"/>
                    <a:gd name="T23" fmla="*/ 2147483647 h 18"/>
                    <a:gd name="T24" fmla="*/ 0 w 27"/>
                    <a:gd name="T25" fmla="*/ 2147483647 h 18"/>
                    <a:gd name="T26" fmla="*/ 2147483647 w 27"/>
                    <a:gd name="T27" fmla="*/ 2147483647 h 18"/>
                    <a:gd name="T28" fmla="*/ 2147483647 w 27"/>
                    <a:gd name="T29" fmla="*/ 2147483647 h 18"/>
                    <a:gd name="T30" fmla="*/ 2147483647 w 27"/>
                    <a:gd name="T31" fmla="*/ 2147483647 h 18"/>
                    <a:gd name="T32" fmla="*/ 2147483647 w 27"/>
                    <a:gd name="T33" fmla="*/ 2147483647 h 18"/>
                    <a:gd name="T34" fmla="*/ 2147483647 w 27"/>
                    <a:gd name="T35" fmla="*/ 2147483647 h 18"/>
                    <a:gd name="T36" fmla="*/ 2147483647 w 27"/>
                    <a:gd name="T37" fmla="*/ 2147483647 h 18"/>
                    <a:gd name="T38" fmla="*/ 2147483647 w 27"/>
                    <a:gd name="T39" fmla="*/ 2147483647 h 18"/>
                    <a:gd name="T40" fmla="*/ 2147483647 w 27"/>
                    <a:gd name="T41" fmla="*/ 2147483647 h 18"/>
                    <a:gd name="T42" fmla="*/ 2147483647 w 27"/>
                    <a:gd name="T43" fmla="*/ 2147483647 h 1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7"/>
                    <a:gd name="T67" fmla="*/ 0 h 18"/>
                    <a:gd name="T68" fmla="*/ 27 w 27"/>
                    <a:gd name="T69" fmla="*/ 18 h 1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7" h="18">
                      <a:moveTo>
                        <a:pt x="25" y="8"/>
                      </a:moveTo>
                      <a:lnTo>
                        <a:pt x="27" y="7"/>
                      </a:lnTo>
                      <a:lnTo>
                        <a:pt x="27" y="6"/>
                      </a:lnTo>
                      <a:lnTo>
                        <a:pt x="27" y="5"/>
                      </a:lnTo>
                      <a:lnTo>
                        <a:pt x="22" y="1"/>
                      </a:lnTo>
                      <a:lnTo>
                        <a:pt x="20" y="0"/>
                      </a:lnTo>
                      <a:lnTo>
                        <a:pt x="16" y="1"/>
                      </a:lnTo>
                      <a:lnTo>
                        <a:pt x="10" y="5"/>
                      </a:lnTo>
                      <a:lnTo>
                        <a:pt x="6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9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2" y="15"/>
                      </a:lnTo>
                      <a:lnTo>
                        <a:pt x="5" y="15"/>
                      </a:lnTo>
                      <a:lnTo>
                        <a:pt x="7" y="15"/>
                      </a:lnTo>
                      <a:lnTo>
                        <a:pt x="8" y="18"/>
                      </a:lnTo>
                      <a:lnTo>
                        <a:pt x="10" y="18"/>
                      </a:lnTo>
                      <a:lnTo>
                        <a:pt x="11" y="18"/>
                      </a:lnTo>
                      <a:lnTo>
                        <a:pt x="17" y="12"/>
                      </a:lnTo>
                      <a:lnTo>
                        <a:pt x="25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0" name="Freeform 1150">
                  <a:extLst>
                    <a:ext uri="{FF2B5EF4-FFF2-40B4-BE49-F238E27FC236}">
                      <a16:creationId xmlns:a16="http://schemas.microsoft.com/office/drawing/2014/main" id="{28748C8A-34A2-AD4E-8EFE-D293F70BD7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78400" y="2127740"/>
                  <a:ext cx="14799" cy="26638"/>
                </a:xfrm>
                <a:custGeom>
                  <a:avLst/>
                  <a:gdLst>
                    <a:gd name="T0" fmla="*/ 2147483647 w 11"/>
                    <a:gd name="T1" fmla="*/ 2147483647 h 18"/>
                    <a:gd name="T2" fmla="*/ 2147483647 w 11"/>
                    <a:gd name="T3" fmla="*/ 2147483647 h 18"/>
                    <a:gd name="T4" fmla="*/ 2147483647 w 11"/>
                    <a:gd name="T5" fmla="*/ 2147483647 h 18"/>
                    <a:gd name="T6" fmla="*/ 2147483647 w 11"/>
                    <a:gd name="T7" fmla="*/ 2147483647 h 18"/>
                    <a:gd name="T8" fmla="*/ 2147483647 w 11"/>
                    <a:gd name="T9" fmla="*/ 0 h 18"/>
                    <a:gd name="T10" fmla="*/ 2147483647 w 11"/>
                    <a:gd name="T11" fmla="*/ 0 h 18"/>
                    <a:gd name="T12" fmla="*/ 2147483647 w 11"/>
                    <a:gd name="T13" fmla="*/ 0 h 18"/>
                    <a:gd name="T14" fmla="*/ 2147483647 w 11"/>
                    <a:gd name="T15" fmla="*/ 2147483647 h 18"/>
                    <a:gd name="T16" fmla="*/ 2147483647 w 11"/>
                    <a:gd name="T17" fmla="*/ 2147483647 h 18"/>
                    <a:gd name="T18" fmla="*/ 0 w 11"/>
                    <a:gd name="T19" fmla="*/ 2147483647 h 18"/>
                    <a:gd name="T20" fmla="*/ 0 w 11"/>
                    <a:gd name="T21" fmla="*/ 2147483647 h 18"/>
                    <a:gd name="T22" fmla="*/ 0 w 11"/>
                    <a:gd name="T23" fmla="*/ 2147483647 h 18"/>
                    <a:gd name="T24" fmla="*/ 2147483647 w 11"/>
                    <a:gd name="T25" fmla="*/ 2147483647 h 18"/>
                    <a:gd name="T26" fmla="*/ 2147483647 w 11"/>
                    <a:gd name="T27" fmla="*/ 2147483647 h 18"/>
                    <a:gd name="T28" fmla="*/ 2147483647 w 11"/>
                    <a:gd name="T29" fmla="*/ 2147483647 h 18"/>
                    <a:gd name="T30" fmla="*/ 2147483647 w 11"/>
                    <a:gd name="T31" fmla="*/ 2147483647 h 18"/>
                    <a:gd name="T32" fmla="*/ 2147483647 w 11"/>
                    <a:gd name="T33" fmla="*/ 2147483647 h 18"/>
                    <a:gd name="T34" fmla="*/ 2147483647 w 11"/>
                    <a:gd name="T35" fmla="*/ 2147483647 h 18"/>
                    <a:gd name="T36" fmla="*/ 2147483647 w 11"/>
                    <a:gd name="T37" fmla="*/ 2147483647 h 18"/>
                    <a:gd name="T38" fmla="*/ 2147483647 w 11"/>
                    <a:gd name="T39" fmla="*/ 2147483647 h 18"/>
                    <a:gd name="T40" fmla="*/ 2147483647 w 11"/>
                    <a:gd name="T41" fmla="*/ 2147483647 h 18"/>
                    <a:gd name="T42" fmla="*/ 2147483647 w 11"/>
                    <a:gd name="T43" fmla="*/ 2147483647 h 1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1"/>
                    <a:gd name="T67" fmla="*/ 0 h 18"/>
                    <a:gd name="T68" fmla="*/ 11 w 11"/>
                    <a:gd name="T69" fmla="*/ 18 h 1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1" h="18">
                      <a:moveTo>
                        <a:pt x="11" y="5"/>
                      </a:moveTo>
                      <a:lnTo>
                        <a:pt x="11" y="5"/>
                      </a:lnTo>
                      <a:lnTo>
                        <a:pt x="11" y="4"/>
                      </a:lnTo>
                      <a:lnTo>
                        <a:pt x="11" y="1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5" y="3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5" y="17"/>
                      </a:lnTo>
                      <a:lnTo>
                        <a:pt x="7" y="18"/>
                      </a:lnTo>
                      <a:lnTo>
                        <a:pt x="10" y="17"/>
                      </a:lnTo>
                      <a:lnTo>
                        <a:pt x="11" y="14"/>
                      </a:lnTo>
                      <a:lnTo>
                        <a:pt x="10" y="11"/>
                      </a:lnTo>
                      <a:lnTo>
                        <a:pt x="10" y="9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1" name="Freeform 1151">
                  <a:extLst>
                    <a:ext uri="{FF2B5EF4-FFF2-40B4-BE49-F238E27FC236}">
                      <a16:creationId xmlns:a16="http://schemas.microsoft.com/office/drawing/2014/main" id="{B8BF67A4-35EF-814E-80C5-AA66D0C43A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3648" y="2142537"/>
                  <a:ext cx="38477" cy="26638"/>
                </a:xfrm>
                <a:custGeom>
                  <a:avLst/>
                  <a:gdLst>
                    <a:gd name="T0" fmla="*/ 2147483647 w 28"/>
                    <a:gd name="T1" fmla="*/ 2147483647 h 18"/>
                    <a:gd name="T2" fmla="*/ 2147483647 w 28"/>
                    <a:gd name="T3" fmla="*/ 2147483647 h 18"/>
                    <a:gd name="T4" fmla="*/ 2147483647 w 28"/>
                    <a:gd name="T5" fmla="*/ 2147483647 h 18"/>
                    <a:gd name="T6" fmla="*/ 2147483647 w 28"/>
                    <a:gd name="T7" fmla="*/ 2147483647 h 18"/>
                    <a:gd name="T8" fmla="*/ 2147483647 w 28"/>
                    <a:gd name="T9" fmla="*/ 2147483647 h 18"/>
                    <a:gd name="T10" fmla="*/ 2147483647 w 28"/>
                    <a:gd name="T11" fmla="*/ 2147483647 h 18"/>
                    <a:gd name="T12" fmla="*/ 2147483647 w 28"/>
                    <a:gd name="T13" fmla="*/ 2147483647 h 18"/>
                    <a:gd name="T14" fmla="*/ 2147483647 w 28"/>
                    <a:gd name="T15" fmla="*/ 0 h 18"/>
                    <a:gd name="T16" fmla="*/ 2147483647 w 28"/>
                    <a:gd name="T17" fmla="*/ 2147483647 h 18"/>
                    <a:gd name="T18" fmla="*/ 2147483647 w 28"/>
                    <a:gd name="T19" fmla="*/ 2147483647 h 18"/>
                    <a:gd name="T20" fmla="*/ 2147483647 w 28"/>
                    <a:gd name="T21" fmla="*/ 2147483647 h 18"/>
                    <a:gd name="T22" fmla="*/ 2147483647 w 28"/>
                    <a:gd name="T23" fmla="*/ 2147483647 h 18"/>
                    <a:gd name="T24" fmla="*/ 2147483647 w 28"/>
                    <a:gd name="T25" fmla="*/ 2147483647 h 18"/>
                    <a:gd name="T26" fmla="*/ 2147483647 w 28"/>
                    <a:gd name="T27" fmla="*/ 2147483647 h 18"/>
                    <a:gd name="T28" fmla="*/ 2147483647 w 28"/>
                    <a:gd name="T29" fmla="*/ 2147483647 h 18"/>
                    <a:gd name="T30" fmla="*/ 0 w 28"/>
                    <a:gd name="T31" fmla="*/ 2147483647 h 18"/>
                    <a:gd name="T32" fmla="*/ 0 w 28"/>
                    <a:gd name="T33" fmla="*/ 2147483647 h 18"/>
                    <a:gd name="T34" fmla="*/ 0 w 28"/>
                    <a:gd name="T35" fmla="*/ 2147483647 h 18"/>
                    <a:gd name="T36" fmla="*/ 2147483647 w 28"/>
                    <a:gd name="T37" fmla="*/ 2147483647 h 18"/>
                    <a:gd name="T38" fmla="*/ 2147483647 w 28"/>
                    <a:gd name="T39" fmla="*/ 2147483647 h 18"/>
                    <a:gd name="T40" fmla="*/ 2147483647 w 28"/>
                    <a:gd name="T41" fmla="*/ 2147483647 h 18"/>
                    <a:gd name="T42" fmla="*/ 2147483647 w 28"/>
                    <a:gd name="T43" fmla="*/ 2147483647 h 18"/>
                    <a:gd name="T44" fmla="*/ 2147483647 w 28"/>
                    <a:gd name="T45" fmla="*/ 2147483647 h 18"/>
                    <a:gd name="T46" fmla="*/ 2147483647 w 28"/>
                    <a:gd name="T47" fmla="*/ 2147483647 h 18"/>
                    <a:gd name="T48" fmla="*/ 2147483647 w 28"/>
                    <a:gd name="T49" fmla="*/ 2147483647 h 18"/>
                    <a:gd name="T50" fmla="*/ 2147483647 w 28"/>
                    <a:gd name="T51" fmla="*/ 2147483647 h 18"/>
                    <a:gd name="T52" fmla="*/ 2147483647 w 28"/>
                    <a:gd name="T53" fmla="*/ 2147483647 h 18"/>
                    <a:gd name="T54" fmla="*/ 2147483647 w 28"/>
                    <a:gd name="T55" fmla="*/ 2147483647 h 18"/>
                    <a:gd name="T56" fmla="*/ 2147483647 w 28"/>
                    <a:gd name="T57" fmla="*/ 2147483647 h 18"/>
                    <a:gd name="T58" fmla="*/ 2147483647 w 28"/>
                    <a:gd name="T59" fmla="*/ 2147483647 h 1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8"/>
                    <a:gd name="T91" fmla="*/ 0 h 18"/>
                    <a:gd name="T92" fmla="*/ 28 w 28"/>
                    <a:gd name="T93" fmla="*/ 18 h 1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8" h="18">
                      <a:moveTo>
                        <a:pt x="26" y="8"/>
                      </a:moveTo>
                      <a:lnTo>
                        <a:pt x="26" y="8"/>
                      </a:lnTo>
                      <a:lnTo>
                        <a:pt x="28" y="7"/>
                      </a:lnTo>
                      <a:lnTo>
                        <a:pt x="28" y="6"/>
                      </a:lnTo>
                      <a:lnTo>
                        <a:pt x="28" y="4"/>
                      </a:lnTo>
                      <a:lnTo>
                        <a:pt x="23" y="1"/>
                      </a:lnTo>
                      <a:lnTo>
                        <a:pt x="21" y="0"/>
                      </a:lnTo>
                      <a:lnTo>
                        <a:pt x="17" y="1"/>
                      </a:lnTo>
                      <a:lnTo>
                        <a:pt x="10" y="4"/>
                      </a:lnTo>
                      <a:lnTo>
                        <a:pt x="7" y="6"/>
                      </a:lnTo>
                      <a:lnTo>
                        <a:pt x="3" y="7"/>
                      </a:lnTo>
                      <a:lnTo>
                        <a:pt x="2" y="8"/>
                      </a:lnTo>
                      <a:lnTo>
                        <a:pt x="0" y="9"/>
                      </a:lnTo>
                      <a:lnTo>
                        <a:pt x="0" y="13"/>
                      </a:lnTo>
                      <a:lnTo>
                        <a:pt x="2" y="14"/>
                      </a:lnTo>
                      <a:lnTo>
                        <a:pt x="3" y="15"/>
                      </a:lnTo>
                      <a:lnTo>
                        <a:pt x="5" y="15"/>
                      </a:lnTo>
                      <a:lnTo>
                        <a:pt x="8" y="15"/>
                      </a:lnTo>
                      <a:lnTo>
                        <a:pt x="9" y="18"/>
                      </a:lnTo>
                      <a:lnTo>
                        <a:pt x="10" y="18"/>
                      </a:lnTo>
                      <a:lnTo>
                        <a:pt x="12" y="18"/>
                      </a:lnTo>
                      <a:lnTo>
                        <a:pt x="18" y="12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2" name="Freeform 1152">
                  <a:extLst>
                    <a:ext uri="{FF2B5EF4-FFF2-40B4-BE49-F238E27FC236}">
                      <a16:creationId xmlns:a16="http://schemas.microsoft.com/office/drawing/2014/main" id="{CE08BCDC-6510-9A4B-B727-2A9C968BEE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1134" y="3175490"/>
                  <a:ext cx="131708" cy="73994"/>
                </a:xfrm>
                <a:custGeom>
                  <a:avLst/>
                  <a:gdLst>
                    <a:gd name="T0" fmla="*/ 2147483647 w 96"/>
                    <a:gd name="T1" fmla="*/ 2147483647 h 50"/>
                    <a:gd name="T2" fmla="*/ 2147483647 w 96"/>
                    <a:gd name="T3" fmla="*/ 0 h 50"/>
                    <a:gd name="T4" fmla="*/ 2147483647 w 96"/>
                    <a:gd name="T5" fmla="*/ 2147483647 h 50"/>
                    <a:gd name="T6" fmla="*/ 2147483647 w 96"/>
                    <a:gd name="T7" fmla="*/ 2147483647 h 50"/>
                    <a:gd name="T8" fmla="*/ 2147483647 w 96"/>
                    <a:gd name="T9" fmla="*/ 2147483647 h 50"/>
                    <a:gd name="T10" fmla="*/ 2147483647 w 96"/>
                    <a:gd name="T11" fmla="*/ 2147483647 h 50"/>
                    <a:gd name="T12" fmla="*/ 2147483647 w 96"/>
                    <a:gd name="T13" fmla="*/ 2147483647 h 50"/>
                    <a:gd name="T14" fmla="*/ 2147483647 w 96"/>
                    <a:gd name="T15" fmla="*/ 2147483647 h 50"/>
                    <a:gd name="T16" fmla="*/ 2147483647 w 96"/>
                    <a:gd name="T17" fmla="*/ 2147483647 h 50"/>
                    <a:gd name="T18" fmla="*/ 2147483647 w 96"/>
                    <a:gd name="T19" fmla="*/ 2147483647 h 50"/>
                    <a:gd name="T20" fmla="*/ 2147483647 w 96"/>
                    <a:gd name="T21" fmla="*/ 2147483647 h 50"/>
                    <a:gd name="T22" fmla="*/ 2147483647 w 96"/>
                    <a:gd name="T23" fmla="*/ 2147483647 h 50"/>
                    <a:gd name="T24" fmla="*/ 2147483647 w 96"/>
                    <a:gd name="T25" fmla="*/ 2147483647 h 50"/>
                    <a:gd name="T26" fmla="*/ 2147483647 w 96"/>
                    <a:gd name="T27" fmla="*/ 2147483647 h 50"/>
                    <a:gd name="T28" fmla="*/ 0 w 96"/>
                    <a:gd name="T29" fmla="*/ 2147483647 h 50"/>
                    <a:gd name="T30" fmla="*/ 2147483647 w 96"/>
                    <a:gd name="T31" fmla="*/ 2147483647 h 50"/>
                    <a:gd name="T32" fmla="*/ 2147483647 w 96"/>
                    <a:gd name="T33" fmla="*/ 2147483647 h 50"/>
                    <a:gd name="T34" fmla="*/ 2147483647 w 96"/>
                    <a:gd name="T35" fmla="*/ 2147483647 h 50"/>
                    <a:gd name="T36" fmla="*/ 2147483647 w 96"/>
                    <a:gd name="T37" fmla="*/ 2147483647 h 50"/>
                    <a:gd name="T38" fmla="*/ 2147483647 w 96"/>
                    <a:gd name="T39" fmla="*/ 2147483647 h 50"/>
                    <a:gd name="T40" fmla="*/ 2147483647 w 96"/>
                    <a:gd name="T41" fmla="*/ 2147483647 h 50"/>
                    <a:gd name="T42" fmla="*/ 2147483647 w 96"/>
                    <a:gd name="T43" fmla="*/ 2147483647 h 50"/>
                    <a:gd name="T44" fmla="*/ 2147483647 w 96"/>
                    <a:gd name="T45" fmla="*/ 2147483647 h 50"/>
                    <a:gd name="T46" fmla="*/ 2147483647 w 96"/>
                    <a:gd name="T47" fmla="*/ 2147483647 h 50"/>
                    <a:gd name="T48" fmla="*/ 2147483647 w 96"/>
                    <a:gd name="T49" fmla="*/ 2147483647 h 50"/>
                    <a:gd name="T50" fmla="*/ 2147483647 w 96"/>
                    <a:gd name="T51" fmla="*/ 2147483647 h 50"/>
                    <a:gd name="T52" fmla="*/ 2147483647 w 96"/>
                    <a:gd name="T53" fmla="*/ 2147483647 h 50"/>
                    <a:gd name="T54" fmla="*/ 2147483647 w 96"/>
                    <a:gd name="T55" fmla="*/ 2147483647 h 50"/>
                    <a:gd name="T56" fmla="*/ 2147483647 w 96"/>
                    <a:gd name="T57" fmla="*/ 2147483647 h 50"/>
                    <a:gd name="T58" fmla="*/ 2147483647 w 96"/>
                    <a:gd name="T59" fmla="*/ 2147483647 h 50"/>
                    <a:gd name="T60" fmla="*/ 2147483647 w 96"/>
                    <a:gd name="T61" fmla="*/ 2147483647 h 50"/>
                    <a:gd name="T62" fmla="*/ 2147483647 w 96"/>
                    <a:gd name="T63" fmla="*/ 2147483647 h 50"/>
                    <a:gd name="T64" fmla="*/ 2147483647 w 96"/>
                    <a:gd name="T65" fmla="*/ 2147483647 h 5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6"/>
                    <a:gd name="T100" fmla="*/ 0 h 50"/>
                    <a:gd name="T101" fmla="*/ 96 w 96"/>
                    <a:gd name="T102" fmla="*/ 50 h 5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6" h="50">
                      <a:moveTo>
                        <a:pt x="96" y="7"/>
                      </a:moveTo>
                      <a:lnTo>
                        <a:pt x="96" y="4"/>
                      </a:lnTo>
                      <a:lnTo>
                        <a:pt x="96" y="1"/>
                      </a:lnTo>
                      <a:lnTo>
                        <a:pt x="94" y="0"/>
                      </a:lnTo>
                      <a:lnTo>
                        <a:pt x="91" y="0"/>
                      </a:lnTo>
                      <a:lnTo>
                        <a:pt x="90" y="1"/>
                      </a:lnTo>
                      <a:lnTo>
                        <a:pt x="88" y="4"/>
                      </a:lnTo>
                      <a:lnTo>
                        <a:pt x="85" y="6"/>
                      </a:lnTo>
                      <a:lnTo>
                        <a:pt x="82" y="6"/>
                      </a:lnTo>
                      <a:lnTo>
                        <a:pt x="79" y="5"/>
                      </a:lnTo>
                      <a:lnTo>
                        <a:pt x="76" y="5"/>
                      </a:lnTo>
                      <a:lnTo>
                        <a:pt x="74" y="5"/>
                      </a:lnTo>
                      <a:lnTo>
                        <a:pt x="63" y="6"/>
                      </a:lnTo>
                      <a:lnTo>
                        <a:pt x="60" y="6"/>
                      </a:lnTo>
                      <a:lnTo>
                        <a:pt x="55" y="6"/>
                      </a:lnTo>
                      <a:lnTo>
                        <a:pt x="55" y="4"/>
                      </a:lnTo>
                      <a:lnTo>
                        <a:pt x="47" y="4"/>
                      </a:lnTo>
                      <a:lnTo>
                        <a:pt x="41" y="4"/>
                      </a:lnTo>
                      <a:lnTo>
                        <a:pt x="34" y="5"/>
                      </a:lnTo>
                      <a:lnTo>
                        <a:pt x="28" y="5"/>
                      </a:lnTo>
                      <a:lnTo>
                        <a:pt x="19" y="5"/>
                      </a:lnTo>
                      <a:lnTo>
                        <a:pt x="14" y="6"/>
                      </a:lnTo>
                      <a:lnTo>
                        <a:pt x="11" y="8"/>
                      </a:lnTo>
                      <a:lnTo>
                        <a:pt x="9" y="12"/>
                      </a:lnTo>
                      <a:lnTo>
                        <a:pt x="8" y="15"/>
                      </a:lnTo>
                      <a:lnTo>
                        <a:pt x="6" y="19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7"/>
                      </a:lnTo>
                      <a:lnTo>
                        <a:pt x="0" y="31"/>
                      </a:lnTo>
                      <a:lnTo>
                        <a:pt x="1" y="36"/>
                      </a:lnTo>
                      <a:lnTo>
                        <a:pt x="4" y="40"/>
                      </a:lnTo>
                      <a:lnTo>
                        <a:pt x="8" y="45"/>
                      </a:lnTo>
                      <a:lnTo>
                        <a:pt x="11" y="49"/>
                      </a:lnTo>
                      <a:lnTo>
                        <a:pt x="13" y="50"/>
                      </a:lnTo>
                      <a:lnTo>
                        <a:pt x="15" y="50"/>
                      </a:lnTo>
                      <a:lnTo>
                        <a:pt x="19" y="49"/>
                      </a:lnTo>
                      <a:lnTo>
                        <a:pt x="20" y="46"/>
                      </a:lnTo>
                      <a:lnTo>
                        <a:pt x="22" y="44"/>
                      </a:lnTo>
                      <a:lnTo>
                        <a:pt x="20" y="42"/>
                      </a:lnTo>
                      <a:lnTo>
                        <a:pt x="18" y="38"/>
                      </a:lnTo>
                      <a:lnTo>
                        <a:pt x="16" y="33"/>
                      </a:lnTo>
                      <a:lnTo>
                        <a:pt x="18" y="28"/>
                      </a:lnTo>
                      <a:lnTo>
                        <a:pt x="20" y="24"/>
                      </a:lnTo>
                      <a:lnTo>
                        <a:pt x="22" y="24"/>
                      </a:lnTo>
                      <a:lnTo>
                        <a:pt x="24" y="25"/>
                      </a:lnTo>
                      <a:lnTo>
                        <a:pt x="24" y="23"/>
                      </a:lnTo>
                      <a:lnTo>
                        <a:pt x="24" y="21"/>
                      </a:lnTo>
                      <a:lnTo>
                        <a:pt x="24" y="19"/>
                      </a:lnTo>
                      <a:lnTo>
                        <a:pt x="25" y="17"/>
                      </a:lnTo>
                      <a:lnTo>
                        <a:pt x="27" y="17"/>
                      </a:lnTo>
                      <a:lnTo>
                        <a:pt x="28" y="17"/>
                      </a:lnTo>
                      <a:lnTo>
                        <a:pt x="30" y="17"/>
                      </a:lnTo>
                      <a:lnTo>
                        <a:pt x="32" y="17"/>
                      </a:lnTo>
                      <a:lnTo>
                        <a:pt x="35" y="17"/>
                      </a:lnTo>
                      <a:lnTo>
                        <a:pt x="39" y="17"/>
                      </a:lnTo>
                      <a:lnTo>
                        <a:pt x="47" y="18"/>
                      </a:lnTo>
                      <a:lnTo>
                        <a:pt x="52" y="17"/>
                      </a:lnTo>
                      <a:lnTo>
                        <a:pt x="56" y="15"/>
                      </a:lnTo>
                      <a:lnTo>
                        <a:pt x="61" y="15"/>
                      </a:lnTo>
                      <a:lnTo>
                        <a:pt x="67" y="15"/>
                      </a:lnTo>
                      <a:lnTo>
                        <a:pt x="79" y="17"/>
                      </a:lnTo>
                      <a:lnTo>
                        <a:pt x="85" y="15"/>
                      </a:lnTo>
                      <a:lnTo>
                        <a:pt x="89" y="14"/>
                      </a:lnTo>
                      <a:lnTo>
                        <a:pt x="94" y="12"/>
                      </a:lnTo>
                      <a:lnTo>
                        <a:pt x="9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3" name="Freeform 1153">
                  <a:extLst>
                    <a:ext uri="{FF2B5EF4-FFF2-40B4-BE49-F238E27FC236}">
                      <a16:creationId xmlns:a16="http://schemas.microsoft.com/office/drawing/2014/main" id="{913708F1-8ABA-8B4E-AF20-93A2F4BFEC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0890" y="1963474"/>
                  <a:ext cx="349250" cy="177585"/>
                </a:xfrm>
                <a:custGeom>
                  <a:avLst/>
                  <a:gdLst>
                    <a:gd name="T0" fmla="*/ 2147483647 w 256"/>
                    <a:gd name="T1" fmla="*/ 2147483647 h 120"/>
                    <a:gd name="T2" fmla="*/ 2147483647 w 256"/>
                    <a:gd name="T3" fmla="*/ 0 h 120"/>
                    <a:gd name="T4" fmla="*/ 2147483647 w 256"/>
                    <a:gd name="T5" fmla="*/ 0 h 120"/>
                    <a:gd name="T6" fmla="*/ 2147483647 w 256"/>
                    <a:gd name="T7" fmla="*/ 2147483647 h 120"/>
                    <a:gd name="T8" fmla="*/ 2147483647 w 256"/>
                    <a:gd name="T9" fmla="*/ 2147483647 h 120"/>
                    <a:gd name="T10" fmla="*/ 2147483647 w 256"/>
                    <a:gd name="T11" fmla="*/ 2147483647 h 120"/>
                    <a:gd name="T12" fmla="*/ 2147483647 w 256"/>
                    <a:gd name="T13" fmla="*/ 2147483647 h 120"/>
                    <a:gd name="T14" fmla="*/ 2147483647 w 256"/>
                    <a:gd name="T15" fmla="*/ 2147483647 h 120"/>
                    <a:gd name="T16" fmla="*/ 2147483647 w 256"/>
                    <a:gd name="T17" fmla="*/ 2147483647 h 120"/>
                    <a:gd name="T18" fmla="*/ 2147483647 w 256"/>
                    <a:gd name="T19" fmla="*/ 2147483647 h 120"/>
                    <a:gd name="T20" fmla="*/ 2147483647 w 256"/>
                    <a:gd name="T21" fmla="*/ 2147483647 h 120"/>
                    <a:gd name="T22" fmla="*/ 2147483647 w 256"/>
                    <a:gd name="T23" fmla="*/ 2147483647 h 120"/>
                    <a:gd name="T24" fmla="*/ 2147483647 w 256"/>
                    <a:gd name="T25" fmla="*/ 2147483647 h 120"/>
                    <a:gd name="T26" fmla="*/ 2147483647 w 256"/>
                    <a:gd name="T27" fmla="*/ 2147483647 h 120"/>
                    <a:gd name="T28" fmla="*/ 2147483647 w 256"/>
                    <a:gd name="T29" fmla="*/ 2147483647 h 120"/>
                    <a:gd name="T30" fmla="*/ 2147483647 w 256"/>
                    <a:gd name="T31" fmla="*/ 2147483647 h 120"/>
                    <a:gd name="T32" fmla="*/ 2147483647 w 256"/>
                    <a:gd name="T33" fmla="*/ 2147483647 h 120"/>
                    <a:gd name="T34" fmla="*/ 2147483647 w 256"/>
                    <a:gd name="T35" fmla="*/ 2147483647 h 120"/>
                    <a:gd name="T36" fmla="*/ 2147483647 w 256"/>
                    <a:gd name="T37" fmla="*/ 2147483647 h 120"/>
                    <a:gd name="T38" fmla="*/ 2147483647 w 256"/>
                    <a:gd name="T39" fmla="*/ 2147483647 h 120"/>
                    <a:gd name="T40" fmla="*/ 0 w 256"/>
                    <a:gd name="T41" fmla="*/ 2147483647 h 120"/>
                    <a:gd name="T42" fmla="*/ 2147483647 w 256"/>
                    <a:gd name="T43" fmla="*/ 2147483647 h 120"/>
                    <a:gd name="T44" fmla="*/ 2147483647 w 256"/>
                    <a:gd name="T45" fmla="*/ 2147483647 h 120"/>
                    <a:gd name="T46" fmla="*/ 2147483647 w 256"/>
                    <a:gd name="T47" fmla="*/ 2147483647 h 120"/>
                    <a:gd name="T48" fmla="*/ 2147483647 w 256"/>
                    <a:gd name="T49" fmla="*/ 2147483647 h 120"/>
                    <a:gd name="T50" fmla="*/ 2147483647 w 256"/>
                    <a:gd name="T51" fmla="*/ 2147483647 h 120"/>
                    <a:gd name="T52" fmla="*/ 2147483647 w 256"/>
                    <a:gd name="T53" fmla="*/ 2147483647 h 120"/>
                    <a:gd name="T54" fmla="*/ 2147483647 w 256"/>
                    <a:gd name="T55" fmla="*/ 2147483647 h 120"/>
                    <a:gd name="T56" fmla="*/ 2147483647 w 256"/>
                    <a:gd name="T57" fmla="*/ 2147483647 h 120"/>
                    <a:gd name="T58" fmla="*/ 2147483647 w 256"/>
                    <a:gd name="T59" fmla="*/ 2147483647 h 120"/>
                    <a:gd name="T60" fmla="*/ 2147483647 w 256"/>
                    <a:gd name="T61" fmla="*/ 2147483647 h 120"/>
                    <a:gd name="T62" fmla="*/ 2147483647 w 256"/>
                    <a:gd name="T63" fmla="*/ 2147483647 h 120"/>
                    <a:gd name="T64" fmla="*/ 2147483647 w 256"/>
                    <a:gd name="T65" fmla="*/ 2147483647 h 120"/>
                    <a:gd name="T66" fmla="*/ 2147483647 w 256"/>
                    <a:gd name="T67" fmla="*/ 2147483647 h 120"/>
                    <a:gd name="T68" fmla="*/ 2147483647 w 256"/>
                    <a:gd name="T69" fmla="*/ 2147483647 h 120"/>
                    <a:gd name="T70" fmla="*/ 2147483647 w 256"/>
                    <a:gd name="T71" fmla="*/ 2147483647 h 120"/>
                    <a:gd name="T72" fmla="*/ 2147483647 w 256"/>
                    <a:gd name="T73" fmla="*/ 2147483647 h 120"/>
                    <a:gd name="T74" fmla="*/ 2147483647 w 256"/>
                    <a:gd name="T75" fmla="*/ 2147483647 h 120"/>
                    <a:gd name="T76" fmla="*/ 2147483647 w 256"/>
                    <a:gd name="T77" fmla="*/ 2147483647 h 120"/>
                    <a:gd name="T78" fmla="*/ 2147483647 w 256"/>
                    <a:gd name="T79" fmla="*/ 2147483647 h 120"/>
                    <a:gd name="T80" fmla="*/ 2147483647 w 256"/>
                    <a:gd name="T81" fmla="*/ 2147483647 h 120"/>
                    <a:gd name="T82" fmla="*/ 2147483647 w 256"/>
                    <a:gd name="T83" fmla="*/ 2147483647 h 120"/>
                    <a:gd name="T84" fmla="*/ 2147483647 w 256"/>
                    <a:gd name="T85" fmla="*/ 2147483647 h 12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56"/>
                    <a:gd name="T130" fmla="*/ 0 h 120"/>
                    <a:gd name="T131" fmla="*/ 256 w 256"/>
                    <a:gd name="T132" fmla="*/ 120 h 12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56" h="120">
                      <a:moveTo>
                        <a:pt x="253" y="0"/>
                      </a:moveTo>
                      <a:lnTo>
                        <a:pt x="251" y="1"/>
                      </a:lnTo>
                      <a:lnTo>
                        <a:pt x="247" y="2"/>
                      </a:lnTo>
                      <a:lnTo>
                        <a:pt x="240" y="2"/>
                      </a:lnTo>
                      <a:lnTo>
                        <a:pt x="235" y="2"/>
                      </a:lnTo>
                      <a:lnTo>
                        <a:pt x="230" y="0"/>
                      </a:lnTo>
                      <a:lnTo>
                        <a:pt x="228" y="0"/>
                      </a:lnTo>
                      <a:lnTo>
                        <a:pt x="225" y="0"/>
                      </a:lnTo>
                      <a:lnTo>
                        <a:pt x="224" y="0"/>
                      </a:lnTo>
                      <a:lnTo>
                        <a:pt x="218" y="7"/>
                      </a:lnTo>
                      <a:lnTo>
                        <a:pt x="214" y="9"/>
                      </a:lnTo>
                      <a:lnTo>
                        <a:pt x="210" y="12"/>
                      </a:lnTo>
                      <a:lnTo>
                        <a:pt x="200" y="15"/>
                      </a:lnTo>
                      <a:lnTo>
                        <a:pt x="190" y="19"/>
                      </a:lnTo>
                      <a:lnTo>
                        <a:pt x="179" y="21"/>
                      </a:lnTo>
                      <a:lnTo>
                        <a:pt x="169" y="25"/>
                      </a:lnTo>
                      <a:lnTo>
                        <a:pt x="164" y="26"/>
                      </a:lnTo>
                      <a:lnTo>
                        <a:pt x="162" y="26"/>
                      </a:lnTo>
                      <a:lnTo>
                        <a:pt x="159" y="25"/>
                      </a:lnTo>
                      <a:lnTo>
                        <a:pt x="159" y="24"/>
                      </a:lnTo>
                      <a:lnTo>
                        <a:pt x="158" y="18"/>
                      </a:lnTo>
                      <a:lnTo>
                        <a:pt x="158" y="16"/>
                      </a:lnTo>
                      <a:lnTo>
                        <a:pt x="158" y="15"/>
                      </a:lnTo>
                      <a:lnTo>
                        <a:pt x="152" y="15"/>
                      </a:lnTo>
                      <a:lnTo>
                        <a:pt x="144" y="15"/>
                      </a:lnTo>
                      <a:lnTo>
                        <a:pt x="138" y="18"/>
                      </a:lnTo>
                      <a:lnTo>
                        <a:pt x="130" y="20"/>
                      </a:lnTo>
                      <a:lnTo>
                        <a:pt x="129" y="22"/>
                      </a:lnTo>
                      <a:lnTo>
                        <a:pt x="127" y="25"/>
                      </a:lnTo>
                      <a:lnTo>
                        <a:pt x="125" y="27"/>
                      </a:lnTo>
                      <a:lnTo>
                        <a:pt x="122" y="29"/>
                      </a:lnTo>
                      <a:lnTo>
                        <a:pt x="113" y="29"/>
                      </a:lnTo>
                      <a:lnTo>
                        <a:pt x="106" y="32"/>
                      </a:lnTo>
                      <a:lnTo>
                        <a:pt x="101" y="34"/>
                      </a:lnTo>
                      <a:lnTo>
                        <a:pt x="97" y="38"/>
                      </a:lnTo>
                      <a:lnTo>
                        <a:pt x="93" y="39"/>
                      </a:lnTo>
                      <a:lnTo>
                        <a:pt x="89" y="40"/>
                      </a:lnTo>
                      <a:lnTo>
                        <a:pt x="83" y="42"/>
                      </a:lnTo>
                      <a:lnTo>
                        <a:pt x="78" y="45"/>
                      </a:lnTo>
                      <a:lnTo>
                        <a:pt x="73" y="46"/>
                      </a:lnTo>
                      <a:lnTo>
                        <a:pt x="66" y="48"/>
                      </a:lnTo>
                      <a:lnTo>
                        <a:pt x="65" y="51"/>
                      </a:lnTo>
                      <a:lnTo>
                        <a:pt x="64" y="53"/>
                      </a:lnTo>
                      <a:lnTo>
                        <a:pt x="60" y="57"/>
                      </a:lnTo>
                      <a:lnTo>
                        <a:pt x="55" y="59"/>
                      </a:lnTo>
                      <a:lnTo>
                        <a:pt x="50" y="60"/>
                      </a:lnTo>
                      <a:lnTo>
                        <a:pt x="44" y="60"/>
                      </a:lnTo>
                      <a:lnTo>
                        <a:pt x="41" y="60"/>
                      </a:lnTo>
                      <a:lnTo>
                        <a:pt x="39" y="63"/>
                      </a:lnTo>
                      <a:lnTo>
                        <a:pt x="33" y="77"/>
                      </a:lnTo>
                      <a:lnTo>
                        <a:pt x="30" y="83"/>
                      </a:lnTo>
                      <a:lnTo>
                        <a:pt x="27" y="86"/>
                      </a:lnTo>
                      <a:lnTo>
                        <a:pt x="23" y="89"/>
                      </a:lnTo>
                      <a:lnTo>
                        <a:pt x="22" y="89"/>
                      </a:lnTo>
                      <a:lnTo>
                        <a:pt x="23" y="91"/>
                      </a:lnTo>
                      <a:lnTo>
                        <a:pt x="22" y="93"/>
                      </a:lnTo>
                      <a:lnTo>
                        <a:pt x="19" y="96"/>
                      </a:lnTo>
                      <a:lnTo>
                        <a:pt x="14" y="98"/>
                      </a:lnTo>
                      <a:lnTo>
                        <a:pt x="7" y="102"/>
                      </a:lnTo>
                      <a:lnTo>
                        <a:pt x="4" y="103"/>
                      </a:lnTo>
                      <a:lnTo>
                        <a:pt x="2" y="103"/>
                      </a:lnTo>
                      <a:lnTo>
                        <a:pt x="0" y="105"/>
                      </a:lnTo>
                      <a:lnTo>
                        <a:pt x="0" y="108"/>
                      </a:lnTo>
                      <a:lnTo>
                        <a:pt x="0" y="112"/>
                      </a:lnTo>
                      <a:lnTo>
                        <a:pt x="2" y="112"/>
                      </a:lnTo>
                      <a:lnTo>
                        <a:pt x="3" y="112"/>
                      </a:lnTo>
                      <a:lnTo>
                        <a:pt x="8" y="111"/>
                      </a:lnTo>
                      <a:lnTo>
                        <a:pt x="14" y="111"/>
                      </a:lnTo>
                      <a:lnTo>
                        <a:pt x="21" y="112"/>
                      </a:lnTo>
                      <a:lnTo>
                        <a:pt x="26" y="115"/>
                      </a:lnTo>
                      <a:lnTo>
                        <a:pt x="39" y="118"/>
                      </a:lnTo>
                      <a:lnTo>
                        <a:pt x="45" y="120"/>
                      </a:lnTo>
                      <a:lnTo>
                        <a:pt x="51" y="120"/>
                      </a:lnTo>
                      <a:lnTo>
                        <a:pt x="54" y="118"/>
                      </a:lnTo>
                      <a:lnTo>
                        <a:pt x="55" y="117"/>
                      </a:lnTo>
                      <a:lnTo>
                        <a:pt x="55" y="116"/>
                      </a:lnTo>
                      <a:lnTo>
                        <a:pt x="56" y="111"/>
                      </a:lnTo>
                      <a:lnTo>
                        <a:pt x="58" y="108"/>
                      </a:lnTo>
                      <a:lnTo>
                        <a:pt x="58" y="103"/>
                      </a:lnTo>
                      <a:lnTo>
                        <a:pt x="58" y="99"/>
                      </a:lnTo>
                      <a:lnTo>
                        <a:pt x="56" y="96"/>
                      </a:lnTo>
                      <a:lnTo>
                        <a:pt x="58" y="92"/>
                      </a:lnTo>
                      <a:lnTo>
                        <a:pt x="63" y="88"/>
                      </a:lnTo>
                      <a:lnTo>
                        <a:pt x="68" y="83"/>
                      </a:lnTo>
                      <a:lnTo>
                        <a:pt x="75" y="79"/>
                      </a:lnTo>
                      <a:lnTo>
                        <a:pt x="79" y="79"/>
                      </a:lnTo>
                      <a:lnTo>
                        <a:pt x="83" y="79"/>
                      </a:lnTo>
                      <a:lnTo>
                        <a:pt x="85" y="78"/>
                      </a:lnTo>
                      <a:lnTo>
                        <a:pt x="88" y="77"/>
                      </a:lnTo>
                      <a:lnTo>
                        <a:pt x="89" y="73"/>
                      </a:lnTo>
                      <a:lnTo>
                        <a:pt x="93" y="72"/>
                      </a:lnTo>
                      <a:lnTo>
                        <a:pt x="96" y="72"/>
                      </a:lnTo>
                      <a:lnTo>
                        <a:pt x="99" y="72"/>
                      </a:lnTo>
                      <a:lnTo>
                        <a:pt x="102" y="73"/>
                      </a:lnTo>
                      <a:lnTo>
                        <a:pt x="105" y="73"/>
                      </a:lnTo>
                      <a:lnTo>
                        <a:pt x="106" y="71"/>
                      </a:lnTo>
                      <a:lnTo>
                        <a:pt x="106" y="69"/>
                      </a:lnTo>
                      <a:lnTo>
                        <a:pt x="106" y="66"/>
                      </a:lnTo>
                      <a:lnTo>
                        <a:pt x="107" y="66"/>
                      </a:lnTo>
                      <a:lnTo>
                        <a:pt x="117" y="64"/>
                      </a:lnTo>
                      <a:lnTo>
                        <a:pt x="126" y="60"/>
                      </a:lnTo>
                      <a:lnTo>
                        <a:pt x="144" y="52"/>
                      </a:lnTo>
                      <a:lnTo>
                        <a:pt x="150" y="50"/>
                      </a:lnTo>
                      <a:lnTo>
                        <a:pt x="153" y="50"/>
                      </a:lnTo>
                      <a:lnTo>
                        <a:pt x="157" y="50"/>
                      </a:lnTo>
                      <a:lnTo>
                        <a:pt x="159" y="50"/>
                      </a:lnTo>
                      <a:lnTo>
                        <a:pt x="163" y="50"/>
                      </a:lnTo>
                      <a:lnTo>
                        <a:pt x="168" y="46"/>
                      </a:lnTo>
                      <a:lnTo>
                        <a:pt x="174" y="42"/>
                      </a:lnTo>
                      <a:lnTo>
                        <a:pt x="177" y="41"/>
                      </a:lnTo>
                      <a:lnTo>
                        <a:pt x="181" y="41"/>
                      </a:lnTo>
                      <a:lnTo>
                        <a:pt x="191" y="41"/>
                      </a:lnTo>
                      <a:lnTo>
                        <a:pt x="199" y="40"/>
                      </a:lnTo>
                      <a:lnTo>
                        <a:pt x="206" y="39"/>
                      </a:lnTo>
                      <a:lnTo>
                        <a:pt x="214" y="35"/>
                      </a:lnTo>
                      <a:lnTo>
                        <a:pt x="221" y="33"/>
                      </a:lnTo>
                      <a:lnTo>
                        <a:pt x="229" y="32"/>
                      </a:lnTo>
                      <a:lnTo>
                        <a:pt x="243" y="32"/>
                      </a:lnTo>
                      <a:lnTo>
                        <a:pt x="244" y="31"/>
                      </a:lnTo>
                      <a:lnTo>
                        <a:pt x="244" y="29"/>
                      </a:lnTo>
                      <a:lnTo>
                        <a:pt x="244" y="27"/>
                      </a:lnTo>
                      <a:lnTo>
                        <a:pt x="244" y="22"/>
                      </a:lnTo>
                      <a:lnTo>
                        <a:pt x="247" y="20"/>
                      </a:lnTo>
                      <a:lnTo>
                        <a:pt x="251" y="16"/>
                      </a:lnTo>
                      <a:lnTo>
                        <a:pt x="253" y="13"/>
                      </a:lnTo>
                      <a:lnTo>
                        <a:pt x="254" y="8"/>
                      </a:lnTo>
                      <a:lnTo>
                        <a:pt x="254" y="5"/>
                      </a:lnTo>
                      <a:lnTo>
                        <a:pt x="256" y="2"/>
                      </a:lnTo>
                      <a:lnTo>
                        <a:pt x="256" y="1"/>
                      </a:lnTo>
                      <a:lnTo>
                        <a:pt x="254" y="1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4" name="Freeform 1154">
                  <a:extLst>
                    <a:ext uri="{FF2B5EF4-FFF2-40B4-BE49-F238E27FC236}">
                      <a16:creationId xmlns:a16="http://schemas.microsoft.com/office/drawing/2014/main" id="{C3D550B4-E65F-0743-A423-61B3337EE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9651" y="3174010"/>
                  <a:ext cx="131709" cy="73994"/>
                </a:xfrm>
                <a:custGeom>
                  <a:avLst/>
                  <a:gdLst>
                    <a:gd name="T0" fmla="*/ 2147483647 w 96"/>
                    <a:gd name="T1" fmla="*/ 2147483647 h 50"/>
                    <a:gd name="T2" fmla="*/ 2147483647 w 96"/>
                    <a:gd name="T3" fmla="*/ 2147483647 h 50"/>
                    <a:gd name="T4" fmla="*/ 2147483647 w 96"/>
                    <a:gd name="T5" fmla="*/ 0 h 50"/>
                    <a:gd name="T6" fmla="*/ 2147483647 w 96"/>
                    <a:gd name="T7" fmla="*/ 2147483647 h 50"/>
                    <a:gd name="T8" fmla="*/ 2147483647 w 96"/>
                    <a:gd name="T9" fmla="*/ 2147483647 h 50"/>
                    <a:gd name="T10" fmla="*/ 2147483647 w 96"/>
                    <a:gd name="T11" fmla="*/ 2147483647 h 50"/>
                    <a:gd name="T12" fmla="*/ 2147483647 w 96"/>
                    <a:gd name="T13" fmla="*/ 2147483647 h 50"/>
                    <a:gd name="T14" fmla="*/ 2147483647 w 96"/>
                    <a:gd name="T15" fmla="*/ 2147483647 h 50"/>
                    <a:gd name="T16" fmla="*/ 2147483647 w 96"/>
                    <a:gd name="T17" fmla="*/ 2147483647 h 50"/>
                    <a:gd name="T18" fmla="*/ 2147483647 w 96"/>
                    <a:gd name="T19" fmla="*/ 2147483647 h 50"/>
                    <a:gd name="T20" fmla="*/ 2147483647 w 96"/>
                    <a:gd name="T21" fmla="*/ 2147483647 h 50"/>
                    <a:gd name="T22" fmla="*/ 2147483647 w 96"/>
                    <a:gd name="T23" fmla="*/ 2147483647 h 50"/>
                    <a:gd name="T24" fmla="*/ 2147483647 w 96"/>
                    <a:gd name="T25" fmla="*/ 2147483647 h 50"/>
                    <a:gd name="T26" fmla="*/ 2147483647 w 96"/>
                    <a:gd name="T27" fmla="*/ 2147483647 h 50"/>
                    <a:gd name="T28" fmla="*/ 2147483647 w 96"/>
                    <a:gd name="T29" fmla="*/ 2147483647 h 50"/>
                    <a:gd name="T30" fmla="*/ 2147483647 w 96"/>
                    <a:gd name="T31" fmla="*/ 2147483647 h 50"/>
                    <a:gd name="T32" fmla="*/ 2147483647 w 96"/>
                    <a:gd name="T33" fmla="*/ 2147483647 h 50"/>
                    <a:gd name="T34" fmla="*/ 2147483647 w 96"/>
                    <a:gd name="T35" fmla="*/ 2147483647 h 50"/>
                    <a:gd name="T36" fmla="*/ 2147483647 w 96"/>
                    <a:gd name="T37" fmla="*/ 2147483647 h 50"/>
                    <a:gd name="T38" fmla="*/ 0 w 96"/>
                    <a:gd name="T39" fmla="*/ 2147483647 h 50"/>
                    <a:gd name="T40" fmla="*/ 0 w 96"/>
                    <a:gd name="T41" fmla="*/ 2147483647 h 50"/>
                    <a:gd name="T42" fmla="*/ 2147483647 w 96"/>
                    <a:gd name="T43" fmla="*/ 2147483647 h 50"/>
                    <a:gd name="T44" fmla="*/ 2147483647 w 96"/>
                    <a:gd name="T45" fmla="*/ 2147483647 h 50"/>
                    <a:gd name="T46" fmla="*/ 2147483647 w 96"/>
                    <a:gd name="T47" fmla="*/ 2147483647 h 50"/>
                    <a:gd name="T48" fmla="*/ 2147483647 w 96"/>
                    <a:gd name="T49" fmla="*/ 2147483647 h 50"/>
                    <a:gd name="T50" fmla="*/ 2147483647 w 96"/>
                    <a:gd name="T51" fmla="*/ 2147483647 h 50"/>
                    <a:gd name="T52" fmla="*/ 2147483647 w 96"/>
                    <a:gd name="T53" fmla="*/ 2147483647 h 50"/>
                    <a:gd name="T54" fmla="*/ 2147483647 w 96"/>
                    <a:gd name="T55" fmla="*/ 2147483647 h 50"/>
                    <a:gd name="T56" fmla="*/ 2147483647 w 96"/>
                    <a:gd name="T57" fmla="*/ 2147483647 h 50"/>
                    <a:gd name="T58" fmla="*/ 2147483647 w 96"/>
                    <a:gd name="T59" fmla="*/ 2147483647 h 50"/>
                    <a:gd name="T60" fmla="*/ 2147483647 w 96"/>
                    <a:gd name="T61" fmla="*/ 2147483647 h 50"/>
                    <a:gd name="T62" fmla="*/ 2147483647 w 96"/>
                    <a:gd name="T63" fmla="*/ 2147483647 h 50"/>
                    <a:gd name="T64" fmla="*/ 2147483647 w 96"/>
                    <a:gd name="T65" fmla="*/ 2147483647 h 50"/>
                    <a:gd name="T66" fmla="*/ 2147483647 w 96"/>
                    <a:gd name="T67" fmla="*/ 2147483647 h 50"/>
                    <a:gd name="T68" fmla="*/ 2147483647 w 96"/>
                    <a:gd name="T69" fmla="*/ 2147483647 h 50"/>
                    <a:gd name="T70" fmla="*/ 2147483647 w 96"/>
                    <a:gd name="T71" fmla="*/ 2147483647 h 50"/>
                    <a:gd name="T72" fmla="*/ 2147483647 w 96"/>
                    <a:gd name="T73" fmla="*/ 2147483647 h 50"/>
                    <a:gd name="T74" fmla="*/ 2147483647 w 96"/>
                    <a:gd name="T75" fmla="*/ 2147483647 h 50"/>
                    <a:gd name="T76" fmla="*/ 2147483647 w 96"/>
                    <a:gd name="T77" fmla="*/ 2147483647 h 50"/>
                    <a:gd name="T78" fmla="*/ 2147483647 w 96"/>
                    <a:gd name="T79" fmla="*/ 2147483647 h 50"/>
                    <a:gd name="T80" fmla="*/ 2147483647 w 96"/>
                    <a:gd name="T81" fmla="*/ 2147483647 h 50"/>
                    <a:gd name="T82" fmla="*/ 2147483647 w 96"/>
                    <a:gd name="T83" fmla="*/ 2147483647 h 50"/>
                    <a:gd name="T84" fmla="*/ 2147483647 w 96"/>
                    <a:gd name="T85" fmla="*/ 2147483647 h 50"/>
                    <a:gd name="T86" fmla="*/ 2147483647 w 96"/>
                    <a:gd name="T87" fmla="*/ 2147483647 h 5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96"/>
                    <a:gd name="T133" fmla="*/ 0 h 50"/>
                    <a:gd name="T134" fmla="*/ 96 w 96"/>
                    <a:gd name="T135" fmla="*/ 50 h 5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96" h="50">
                      <a:moveTo>
                        <a:pt x="96" y="7"/>
                      </a:moveTo>
                      <a:lnTo>
                        <a:pt x="96" y="7"/>
                      </a:lnTo>
                      <a:lnTo>
                        <a:pt x="96" y="3"/>
                      </a:lnTo>
                      <a:lnTo>
                        <a:pt x="96" y="1"/>
                      </a:lnTo>
                      <a:lnTo>
                        <a:pt x="94" y="0"/>
                      </a:lnTo>
                      <a:lnTo>
                        <a:pt x="91" y="0"/>
                      </a:lnTo>
                      <a:lnTo>
                        <a:pt x="90" y="1"/>
                      </a:lnTo>
                      <a:lnTo>
                        <a:pt x="87" y="3"/>
                      </a:lnTo>
                      <a:lnTo>
                        <a:pt x="85" y="6"/>
                      </a:lnTo>
                      <a:lnTo>
                        <a:pt x="82" y="6"/>
                      </a:lnTo>
                      <a:lnTo>
                        <a:pt x="78" y="5"/>
                      </a:lnTo>
                      <a:lnTo>
                        <a:pt x="76" y="5"/>
                      </a:lnTo>
                      <a:lnTo>
                        <a:pt x="73" y="5"/>
                      </a:lnTo>
                      <a:lnTo>
                        <a:pt x="63" y="6"/>
                      </a:lnTo>
                      <a:lnTo>
                        <a:pt x="59" y="6"/>
                      </a:lnTo>
                      <a:lnTo>
                        <a:pt x="54" y="6"/>
                      </a:lnTo>
                      <a:lnTo>
                        <a:pt x="54" y="3"/>
                      </a:lnTo>
                      <a:lnTo>
                        <a:pt x="47" y="3"/>
                      </a:lnTo>
                      <a:lnTo>
                        <a:pt x="40" y="3"/>
                      </a:lnTo>
                      <a:lnTo>
                        <a:pt x="34" y="5"/>
                      </a:lnTo>
                      <a:lnTo>
                        <a:pt x="28" y="5"/>
                      </a:lnTo>
                      <a:lnTo>
                        <a:pt x="19" y="5"/>
                      </a:lnTo>
                      <a:lnTo>
                        <a:pt x="14" y="6"/>
                      </a:lnTo>
                      <a:lnTo>
                        <a:pt x="11" y="8"/>
                      </a:lnTo>
                      <a:lnTo>
                        <a:pt x="9" y="12"/>
                      </a:lnTo>
                      <a:lnTo>
                        <a:pt x="7" y="15"/>
                      </a:lnTo>
                      <a:lnTo>
                        <a:pt x="6" y="19"/>
                      </a:lnTo>
                      <a:lnTo>
                        <a:pt x="5" y="22"/>
                      </a:lnTo>
                      <a:lnTo>
                        <a:pt x="2" y="25"/>
                      </a:lnTo>
                      <a:lnTo>
                        <a:pt x="0" y="27"/>
                      </a:lnTo>
                      <a:lnTo>
                        <a:pt x="0" y="31"/>
                      </a:lnTo>
                      <a:lnTo>
                        <a:pt x="1" y="35"/>
                      </a:lnTo>
                      <a:lnTo>
                        <a:pt x="3" y="40"/>
                      </a:lnTo>
                      <a:lnTo>
                        <a:pt x="7" y="45"/>
                      </a:lnTo>
                      <a:lnTo>
                        <a:pt x="11" y="48"/>
                      </a:lnTo>
                      <a:lnTo>
                        <a:pt x="12" y="50"/>
                      </a:lnTo>
                      <a:lnTo>
                        <a:pt x="15" y="50"/>
                      </a:lnTo>
                      <a:lnTo>
                        <a:pt x="19" y="48"/>
                      </a:lnTo>
                      <a:lnTo>
                        <a:pt x="20" y="46"/>
                      </a:lnTo>
                      <a:lnTo>
                        <a:pt x="21" y="44"/>
                      </a:lnTo>
                      <a:lnTo>
                        <a:pt x="20" y="41"/>
                      </a:lnTo>
                      <a:lnTo>
                        <a:pt x="17" y="38"/>
                      </a:lnTo>
                      <a:lnTo>
                        <a:pt x="16" y="33"/>
                      </a:lnTo>
                      <a:lnTo>
                        <a:pt x="17" y="28"/>
                      </a:lnTo>
                      <a:lnTo>
                        <a:pt x="20" y="24"/>
                      </a:lnTo>
                      <a:lnTo>
                        <a:pt x="21" y="24"/>
                      </a:lnTo>
                      <a:lnTo>
                        <a:pt x="24" y="25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4" y="19"/>
                      </a:lnTo>
                      <a:lnTo>
                        <a:pt x="25" y="16"/>
                      </a:lnTo>
                      <a:lnTo>
                        <a:pt x="26" y="16"/>
                      </a:lnTo>
                      <a:lnTo>
                        <a:pt x="28" y="16"/>
                      </a:lnTo>
                      <a:lnTo>
                        <a:pt x="30" y="16"/>
                      </a:lnTo>
                      <a:lnTo>
                        <a:pt x="31" y="16"/>
                      </a:lnTo>
                      <a:lnTo>
                        <a:pt x="35" y="16"/>
                      </a:lnTo>
                      <a:lnTo>
                        <a:pt x="39" y="16"/>
                      </a:lnTo>
                      <a:lnTo>
                        <a:pt x="47" y="18"/>
                      </a:lnTo>
                      <a:lnTo>
                        <a:pt x="52" y="16"/>
                      </a:lnTo>
                      <a:lnTo>
                        <a:pt x="56" y="15"/>
                      </a:lnTo>
                      <a:lnTo>
                        <a:pt x="61" y="15"/>
                      </a:lnTo>
                      <a:lnTo>
                        <a:pt x="67" y="15"/>
                      </a:lnTo>
                      <a:lnTo>
                        <a:pt x="78" y="16"/>
                      </a:lnTo>
                      <a:lnTo>
                        <a:pt x="85" y="15"/>
                      </a:lnTo>
                      <a:lnTo>
                        <a:pt x="89" y="14"/>
                      </a:lnTo>
                      <a:lnTo>
                        <a:pt x="94" y="12"/>
                      </a:lnTo>
                      <a:lnTo>
                        <a:pt x="9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5" name="Freeform 1155">
                  <a:extLst>
                    <a:ext uri="{FF2B5EF4-FFF2-40B4-BE49-F238E27FC236}">
                      <a16:creationId xmlns:a16="http://schemas.microsoft.com/office/drawing/2014/main" id="{07898252-7C50-8748-B4D8-7AC80194C4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9410" y="1961994"/>
                  <a:ext cx="349250" cy="176105"/>
                </a:xfrm>
                <a:custGeom>
                  <a:avLst/>
                  <a:gdLst>
                    <a:gd name="T0" fmla="*/ 2147483647 w 255"/>
                    <a:gd name="T1" fmla="*/ 2147483647 h 119"/>
                    <a:gd name="T2" fmla="*/ 2147483647 w 255"/>
                    <a:gd name="T3" fmla="*/ 2147483647 h 119"/>
                    <a:gd name="T4" fmla="*/ 2147483647 w 255"/>
                    <a:gd name="T5" fmla="*/ 0 h 119"/>
                    <a:gd name="T6" fmla="*/ 2147483647 w 255"/>
                    <a:gd name="T7" fmla="*/ 0 h 119"/>
                    <a:gd name="T8" fmla="*/ 2147483647 w 255"/>
                    <a:gd name="T9" fmla="*/ 2147483647 h 119"/>
                    <a:gd name="T10" fmla="*/ 2147483647 w 255"/>
                    <a:gd name="T11" fmla="*/ 2147483647 h 119"/>
                    <a:gd name="T12" fmla="*/ 2147483647 w 255"/>
                    <a:gd name="T13" fmla="*/ 2147483647 h 119"/>
                    <a:gd name="T14" fmla="*/ 2147483647 w 255"/>
                    <a:gd name="T15" fmla="*/ 2147483647 h 119"/>
                    <a:gd name="T16" fmla="*/ 2147483647 w 255"/>
                    <a:gd name="T17" fmla="*/ 2147483647 h 119"/>
                    <a:gd name="T18" fmla="*/ 2147483647 w 255"/>
                    <a:gd name="T19" fmla="*/ 2147483647 h 119"/>
                    <a:gd name="T20" fmla="*/ 2147483647 w 255"/>
                    <a:gd name="T21" fmla="*/ 2147483647 h 119"/>
                    <a:gd name="T22" fmla="*/ 2147483647 w 255"/>
                    <a:gd name="T23" fmla="*/ 2147483647 h 119"/>
                    <a:gd name="T24" fmla="*/ 2147483647 w 255"/>
                    <a:gd name="T25" fmla="*/ 2147483647 h 119"/>
                    <a:gd name="T26" fmla="*/ 2147483647 w 255"/>
                    <a:gd name="T27" fmla="*/ 2147483647 h 119"/>
                    <a:gd name="T28" fmla="*/ 2147483647 w 255"/>
                    <a:gd name="T29" fmla="*/ 2147483647 h 119"/>
                    <a:gd name="T30" fmla="*/ 2147483647 w 255"/>
                    <a:gd name="T31" fmla="*/ 2147483647 h 119"/>
                    <a:gd name="T32" fmla="*/ 2147483647 w 255"/>
                    <a:gd name="T33" fmla="*/ 2147483647 h 119"/>
                    <a:gd name="T34" fmla="*/ 2147483647 w 255"/>
                    <a:gd name="T35" fmla="*/ 2147483647 h 119"/>
                    <a:gd name="T36" fmla="*/ 2147483647 w 255"/>
                    <a:gd name="T37" fmla="*/ 2147483647 h 119"/>
                    <a:gd name="T38" fmla="*/ 2147483647 w 255"/>
                    <a:gd name="T39" fmla="*/ 2147483647 h 119"/>
                    <a:gd name="T40" fmla="*/ 2147483647 w 255"/>
                    <a:gd name="T41" fmla="*/ 2147483647 h 119"/>
                    <a:gd name="T42" fmla="*/ 2147483647 w 255"/>
                    <a:gd name="T43" fmla="*/ 2147483647 h 119"/>
                    <a:gd name="T44" fmla="*/ 2147483647 w 255"/>
                    <a:gd name="T45" fmla="*/ 2147483647 h 119"/>
                    <a:gd name="T46" fmla="*/ 2147483647 w 255"/>
                    <a:gd name="T47" fmla="*/ 2147483647 h 119"/>
                    <a:gd name="T48" fmla="*/ 2147483647 w 255"/>
                    <a:gd name="T49" fmla="*/ 2147483647 h 119"/>
                    <a:gd name="T50" fmla="*/ 2147483647 w 255"/>
                    <a:gd name="T51" fmla="*/ 2147483647 h 119"/>
                    <a:gd name="T52" fmla="*/ 0 w 255"/>
                    <a:gd name="T53" fmla="*/ 2147483647 h 119"/>
                    <a:gd name="T54" fmla="*/ 0 w 255"/>
                    <a:gd name="T55" fmla="*/ 2147483647 h 119"/>
                    <a:gd name="T56" fmla="*/ 2147483647 w 255"/>
                    <a:gd name="T57" fmla="*/ 2147483647 h 119"/>
                    <a:gd name="T58" fmla="*/ 2147483647 w 255"/>
                    <a:gd name="T59" fmla="*/ 2147483647 h 119"/>
                    <a:gd name="T60" fmla="*/ 2147483647 w 255"/>
                    <a:gd name="T61" fmla="*/ 2147483647 h 119"/>
                    <a:gd name="T62" fmla="*/ 2147483647 w 255"/>
                    <a:gd name="T63" fmla="*/ 2147483647 h 119"/>
                    <a:gd name="T64" fmla="*/ 2147483647 w 255"/>
                    <a:gd name="T65" fmla="*/ 2147483647 h 119"/>
                    <a:gd name="T66" fmla="*/ 2147483647 w 255"/>
                    <a:gd name="T67" fmla="*/ 2147483647 h 119"/>
                    <a:gd name="T68" fmla="*/ 2147483647 w 255"/>
                    <a:gd name="T69" fmla="*/ 2147483647 h 119"/>
                    <a:gd name="T70" fmla="*/ 2147483647 w 255"/>
                    <a:gd name="T71" fmla="*/ 2147483647 h 119"/>
                    <a:gd name="T72" fmla="*/ 2147483647 w 255"/>
                    <a:gd name="T73" fmla="*/ 2147483647 h 119"/>
                    <a:gd name="T74" fmla="*/ 2147483647 w 255"/>
                    <a:gd name="T75" fmla="*/ 2147483647 h 119"/>
                    <a:gd name="T76" fmla="*/ 2147483647 w 255"/>
                    <a:gd name="T77" fmla="*/ 2147483647 h 119"/>
                    <a:gd name="T78" fmla="*/ 2147483647 w 255"/>
                    <a:gd name="T79" fmla="*/ 2147483647 h 119"/>
                    <a:gd name="T80" fmla="*/ 2147483647 w 255"/>
                    <a:gd name="T81" fmla="*/ 2147483647 h 119"/>
                    <a:gd name="T82" fmla="*/ 2147483647 w 255"/>
                    <a:gd name="T83" fmla="*/ 2147483647 h 119"/>
                    <a:gd name="T84" fmla="*/ 2147483647 w 255"/>
                    <a:gd name="T85" fmla="*/ 2147483647 h 119"/>
                    <a:gd name="T86" fmla="*/ 2147483647 w 255"/>
                    <a:gd name="T87" fmla="*/ 2147483647 h 119"/>
                    <a:gd name="T88" fmla="*/ 2147483647 w 255"/>
                    <a:gd name="T89" fmla="*/ 2147483647 h 119"/>
                    <a:gd name="T90" fmla="*/ 2147483647 w 255"/>
                    <a:gd name="T91" fmla="*/ 2147483647 h 119"/>
                    <a:gd name="T92" fmla="*/ 2147483647 w 255"/>
                    <a:gd name="T93" fmla="*/ 2147483647 h 119"/>
                    <a:gd name="T94" fmla="*/ 2147483647 w 255"/>
                    <a:gd name="T95" fmla="*/ 2147483647 h 119"/>
                    <a:gd name="T96" fmla="*/ 2147483647 w 255"/>
                    <a:gd name="T97" fmla="*/ 2147483647 h 119"/>
                    <a:gd name="T98" fmla="*/ 2147483647 w 255"/>
                    <a:gd name="T99" fmla="*/ 2147483647 h 119"/>
                    <a:gd name="T100" fmla="*/ 2147483647 w 255"/>
                    <a:gd name="T101" fmla="*/ 2147483647 h 119"/>
                    <a:gd name="T102" fmla="*/ 2147483647 w 255"/>
                    <a:gd name="T103" fmla="*/ 2147483647 h 119"/>
                    <a:gd name="T104" fmla="*/ 2147483647 w 255"/>
                    <a:gd name="T105" fmla="*/ 2147483647 h 119"/>
                    <a:gd name="T106" fmla="*/ 2147483647 w 255"/>
                    <a:gd name="T107" fmla="*/ 2147483647 h 119"/>
                    <a:gd name="T108" fmla="*/ 2147483647 w 255"/>
                    <a:gd name="T109" fmla="*/ 2147483647 h 119"/>
                    <a:gd name="T110" fmla="*/ 2147483647 w 255"/>
                    <a:gd name="T111" fmla="*/ 2147483647 h 119"/>
                    <a:gd name="T112" fmla="*/ 2147483647 w 255"/>
                    <a:gd name="T113" fmla="*/ 0 h 119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55"/>
                    <a:gd name="T172" fmla="*/ 0 h 119"/>
                    <a:gd name="T173" fmla="*/ 255 w 255"/>
                    <a:gd name="T174" fmla="*/ 119 h 119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55" h="119">
                      <a:moveTo>
                        <a:pt x="253" y="0"/>
                      </a:moveTo>
                      <a:lnTo>
                        <a:pt x="253" y="0"/>
                      </a:lnTo>
                      <a:lnTo>
                        <a:pt x="250" y="1"/>
                      </a:lnTo>
                      <a:lnTo>
                        <a:pt x="246" y="2"/>
                      </a:lnTo>
                      <a:lnTo>
                        <a:pt x="240" y="2"/>
                      </a:lnTo>
                      <a:lnTo>
                        <a:pt x="235" y="2"/>
                      </a:lnTo>
                      <a:lnTo>
                        <a:pt x="230" y="0"/>
                      </a:lnTo>
                      <a:lnTo>
                        <a:pt x="227" y="0"/>
                      </a:lnTo>
                      <a:lnTo>
                        <a:pt x="225" y="0"/>
                      </a:lnTo>
                      <a:lnTo>
                        <a:pt x="224" y="0"/>
                      </a:lnTo>
                      <a:lnTo>
                        <a:pt x="217" y="7"/>
                      </a:lnTo>
                      <a:lnTo>
                        <a:pt x="213" y="9"/>
                      </a:lnTo>
                      <a:lnTo>
                        <a:pt x="210" y="11"/>
                      </a:lnTo>
                      <a:lnTo>
                        <a:pt x="200" y="15"/>
                      </a:lnTo>
                      <a:lnTo>
                        <a:pt x="189" y="19"/>
                      </a:lnTo>
                      <a:lnTo>
                        <a:pt x="179" y="21"/>
                      </a:lnTo>
                      <a:lnTo>
                        <a:pt x="169" y="25"/>
                      </a:lnTo>
                      <a:lnTo>
                        <a:pt x="164" y="26"/>
                      </a:lnTo>
                      <a:lnTo>
                        <a:pt x="161" y="26"/>
                      </a:lnTo>
                      <a:lnTo>
                        <a:pt x="159" y="25"/>
                      </a:lnTo>
                      <a:lnTo>
                        <a:pt x="159" y="23"/>
                      </a:lnTo>
                      <a:lnTo>
                        <a:pt x="158" y="17"/>
                      </a:lnTo>
                      <a:lnTo>
                        <a:pt x="158" y="16"/>
                      </a:lnTo>
                      <a:lnTo>
                        <a:pt x="158" y="15"/>
                      </a:lnTo>
                      <a:lnTo>
                        <a:pt x="151" y="15"/>
                      </a:lnTo>
                      <a:lnTo>
                        <a:pt x="144" y="15"/>
                      </a:lnTo>
                      <a:lnTo>
                        <a:pt x="137" y="17"/>
                      </a:lnTo>
                      <a:lnTo>
                        <a:pt x="130" y="20"/>
                      </a:lnTo>
                      <a:lnTo>
                        <a:pt x="128" y="22"/>
                      </a:lnTo>
                      <a:lnTo>
                        <a:pt x="127" y="25"/>
                      </a:lnTo>
                      <a:lnTo>
                        <a:pt x="125" y="27"/>
                      </a:lnTo>
                      <a:lnTo>
                        <a:pt x="122" y="29"/>
                      </a:lnTo>
                      <a:lnTo>
                        <a:pt x="113" y="29"/>
                      </a:lnTo>
                      <a:lnTo>
                        <a:pt x="106" y="32"/>
                      </a:lnTo>
                      <a:lnTo>
                        <a:pt x="100" y="34"/>
                      </a:lnTo>
                      <a:lnTo>
                        <a:pt x="97" y="38"/>
                      </a:lnTo>
                      <a:lnTo>
                        <a:pt x="93" y="39"/>
                      </a:lnTo>
                      <a:lnTo>
                        <a:pt x="89" y="40"/>
                      </a:lnTo>
                      <a:lnTo>
                        <a:pt x="83" y="42"/>
                      </a:lnTo>
                      <a:lnTo>
                        <a:pt x="78" y="45"/>
                      </a:lnTo>
                      <a:lnTo>
                        <a:pt x="73" y="46"/>
                      </a:lnTo>
                      <a:lnTo>
                        <a:pt x="66" y="48"/>
                      </a:lnTo>
                      <a:lnTo>
                        <a:pt x="65" y="51"/>
                      </a:lnTo>
                      <a:lnTo>
                        <a:pt x="64" y="53"/>
                      </a:lnTo>
                      <a:lnTo>
                        <a:pt x="60" y="57"/>
                      </a:lnTo>
                      <a:lnTo>
                        <a:pt x="55" y="59"/>
                      </a:lnTo>
                      <a:lnTo>
                        <a:pt x="50" y="60"/>
                      </a:lnTo>
                      <a:lnTo>
                        <a:pt x="43" y="60"/>
                      </a:lnTo>
                      <a:lnTo>
                        <a:pt x="41" y="60"/>
                      </a:lnTo>
                      <a:lnTo>
                        <a:pt x="38" y="62"/>
                      </a:lnTo>
                      <a:lnTo>
                        <a:pt x="33" y="77"/>
                      </a:lnTo>
                      <a:lnTo>
                        <a:pt x="29" y="83"/>
                      </a:lnTo>
                      <a:lnTo>
                        <a:pt x="27" y="86"/>
                      </a:lnTo>
                      <a:lnTo>
                        <a:pt x="23" y="89"/>
                      </a:lnTo>
                      <a:lnTo>
                        <a:pt x="22" y="89"/>
                      </a:lnTo>
                      <a:lnTo>
                        <a:pt x="23" y="91"/>
                      </a:lnTo>
                      <a:lnTo>
                        <a:pt x="22" y="93"/>
                      </a:lnTo>
                      <a:lnTo>
                        <a:pt x="19" y="96"/>
                      </a:lnTo>
                      <a:lnTo>
                        <a:pt x="14" y="98"/>
                      </a:lnTo>
                      <a:lnTo>
                        <a:pt x="6" y="102"/>
                      </a:lnTo>
                      <a:lnTo>
                        <a:pt x="4" y="103"/>
                      </a:lnTo>
                      <a:lnTo>
                        <a:pt x="1" y="103"/>
                      </a:lnTo>
                      <a:lnTo>
                        <a:pt x="0" y="105"/>
                      </a:lnTo>
                      <a:lnTo>
                        <a:pt x="0" y="108"/>
                      </a:lnTo>
                      <a:lnTo>
                        <a:pt x="0" y="112"/>
                      </a:lnTo>
                      <a:lnTo>
                        <a:pt x="1" y="112"/>
                      </a:lnTo>
                      <a:lnTo>
                        <a:pt x="3" y="112"/>
                      </a:lnTo>
                      <a:lnTo>
                        <a:pt x="8" y="111"/>
                      </a:lnTo>
                      <a:lnTo>
                        <a:pt x="14" y="111"/>
                      </a:lnTo>
                      <a:lnTo>
                        <a:pt x="20" y="112"/>
                      </a:lnTo>
                      <a:lnTo>
                        <a:pt x="26" y="115"/>
                      </a:lnTo>
                      <a:lnTo>
                        <a:pt x="38" y="118"/>
                      </a:lnTo>
                      <a:lnTo>
                        <a:pt x="45" y="119"/>
                      </a:lnTo>
                      <a:lnTo>
                        <a:pt x="51" y="119"/>
                      </a:lnTo>
                      <a:lnTo>
                        <a:pt x="53" y="118"/>
                      </a:lnTo>
                      <a:lnTo>
                        <a:pt x="55" y="117"/>
                      </a:lnTo>
                      <a:lnTo>
                        <a:pt x="55" y="116"/>
                      </a:lnTo>
                      <a:lnTo>
                        <a:pt x="56" y="111"/>
                      </a:lnTo>
                      <a:lnTo>
                        <a:pt x="57" y="108"/>
                      </a:lnTo>
                      <a:lnTo>
                        <a:pt x="57" y="103"/>
                      </a:lnTo>
                      <a:lnTo>
                        <a:pt x="57" y="99"/>
                      </a:lnTo>
                      <a:lnTo>
                        <a:pt x="56" y="96"/>
                      </a:lnTo>
                      <a:lnTo>
                        <a:pt x="57" y="92"/>
                      </a:lnTo>
                      <a:lnTo>
                        <a:pt x="62" y="87"/>
                      </a:lnTo>
                      <a:lnTo>
                        <a:pt x="67" y="83"/>
                      </a:lnTo>
                      <a:lnTo>
                        <a:pt x="75" y="79"/>
                      </a:lnTo>
                      <a:lnTo>
                        <a:pt x="79" y="79"/>
                      </a:lnTo>
                      <a:lnTo>
                        <a:pt x="83" y="79"/>
                      </a:lnTo>
                      <a:lnTo>
                        <a:pt x="85" y="78"/>
                      </a:lnTo>
                      <a:lnTo>
                        <a:pt x="88" y="77"/>
                      </a:lnTo>
                      <a:lnTo>
                        <a:pt x="89" y="73"/>
                      </a:lnTo>
                      <a:lnTo>
                        <a:pt x="93" y="72"/>
                      </a:lnTo>
                      <a:lnTo>
                        <a:pt x="95" y="72"/>
                      </a:lnTo>
                      <a:lnTo>
                        <a:pt x="99" y="72"/>
                      </a:lnTo>
                      <a:lnTo>
                        <a:pt x="102" y="73"/>
                      </a:lnTo>
                      <a:lnTo>
                        <a:pt x="104" y="73"/>
                      </a:lnTo>
                      <a:lnTo>
                        <a:pt x="106" y="71"/>
                      </a:lnTo>
                      <a:lnTo>
                        <a:pt x="106" y="68"/>
                      </a:lnTo>
                      <a:lnTo>
                        <a:pt x="106" y="66"/>
                      </a:lnTo>
                      <a:lnTo>
                        <a:pt x="107" y="66"/>
                      </a:lnTo>
                      <a:lnTo>
                        <a:pt x="117" y="64"/>
                      </a:lnTo>
                      <a:lnTo>
                        <a:pt x="126" y="60"/>
                      </a:lnTo>
                      <a:lnTo>
                        <a:pt x="144" y="52"/>
                      </a:lnTo>
                      <a:lnTo>
                        <a:pt x="150" y="49"/>
                      </a:lnTo>
                      <a:lnTo>
                        <a:pt x="153" y="49"/>
                      </a:lnTo>
                      <a:lnTo>
                        <a:pt x="156" y="49"/>
                      </a:lnTo>
                      <a:lnTo>
                        <a:pt x="159" y="49"/>
                      </a:lnTo>
                      <a:lnTo>
                        <a:pt x="163" y="49"/>
                      </a:lnTo>
                      <a:lnTo>
                        <a:pt x="168" y="46"/>
                      </a:lnTo>
                      <a:lnTo>
                        <a:pt x="174" y="42"/>
                      </a:lnTo>
                      <a:lnTo>
                        <a:pt x="177" y="41"/>
                      </a:lnTo>
                      <a:lnTo>
                        <a:pt x="180" y="41"/>
                      </a:lnTo>
                      <a:lnTo>
                        <a:pt x="191" y="41"/>
                      </a:lnTo>
                      <a:lnTo>
                        <a:pt x="198" y="40"/>
                      </a:lnTo>
                      <a:lnTo>
                        <a:pt x="206" y="39"/>
                      </a:lnTo>
                      <a:lnTo>
                        <a:pt x="213" y="35"/>
                      </a:lnTo>
                      <a:lnTo>
                        <a:pt x="221" y="33"/>
                      </a:lnTo>
                      <a:lnTo>
                        <a:pt x="229" y="32"/>
                      </a:lnTo>
                      <a:lnTo>
                        <a:pt x="243" y="32"/>
                      </a:lnTo>
                      <a:lnTo>
                        <a:pt x="244" y="30"/>
                      </a:lnTo>
                      <a:lnTo>
                        <a:pt x="244" y="29"/>
                      </a:lnTo>
                      <a:lnTo>
                        <a:pt x="244" y="27"/>
                      </a:lnTo>
                      <a:lnTo>
                        <a:pt x="244" y="22"/>
                      </a:lnTo>
                      <a:lnTo>
                        <a:pt x="246" y="20"/>
                      </a:lnTo>
                      <a:lnTo>
                        <a:pt x="250" y="16"/>
                      </a:lnTo>
                      <a:lnTo>
                        <a:pt x="253" y="13"/>
                      </a:lnTo>
                      <a:lnTo>
                        <a:pt x="254" y="8"/>
                      </a:lnTo>
                      <a:lnTo>
                        <a:pt x="254" y="4"/>
                      </a:lnTo>
                      <a:lnTo>
                        <a:pt x="255" y="2"/>
                      </a:lnTo>
                      <a:lnTo>
                        <a:pt x="255" y="1"/>
                      </a:lnTo>
                      <a:lnTo>
                        <a:pt x="254" y="1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6" name="Freeform 1156">
                  <a:extLst>
                    <a:ext uri="{FF2B5EF4-FFF2-40B4-BE49-F238E27FC236}">
                      <a16:creationId xmlns:a16="http://schemas.microsoft.com/office/drawing/2014/main" id="{C8C2B4B2-FE0D-1144-8B28-84E38E1FED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0237" y="2749287"/>
                  <a:ext cx="26637" cy="20718"/>
                </a:xfrm>
                <a:custGeom>
                  <a:avLst/>
                  <a:gdLst>
                    <a:gd name="T0" fmla="*/ 2147483647 w 20"/>
                    <a:gd name="T1" fmla="*/ 2147483647 h 14"/>
                    <a:gd name="T2" fmla="*/ 2147483647 w 20"/>
                    <a:gd name="T3" fmla="*/ 2147483647 h 14"/>
                    <a:gd name="T4" fmla="*/ 2147483647 w 20"/>
                    <a:gd name="T5" fmla="*/ 2147483647 h 14"/>
                    <a:gd name="T6" fmla="*/ 2147483647 w 20"/>
                    <a:gd name="T7" fmla="*/ 2147483647 h 14"/>
                    <a:gd name="T8" fmla="*/ 2147483647 w 20"/>
                    <a:gd name="T9" fmla="*/ 2147483647 h 14"/>
                    <a:gd name="T10" fmla="*/ 2147483647 w 20"/>
                    <a:gd name="T11" fmla="*/ 2147483647 h 14"/>
                    <a:gd name="T12" fmla="*/ 2147483647 w 20"/>
                    <a:gd name="T13" fmla="*/ 0 h 14"/>
                    <a:gd name="T14" fmla="*/ 2147483647 w 20"/>
                    <a:gd name="T15" fmla="*/ 2147483647 h 14"/>
                    <a:gd name="T16" fmla="*/ 2147483647 w 20"/>
                    <a:gd name="T17" fmla="*/ 2147483647 h 14"/>
                    <a:gd name="T18" fmla="*/ 0 w 20"/>
                    <a:gd name="T19" fmla="*/ 2147483647 h 14"/>
                    <a:gd name="T20" fmla="*/ 2147483647 w 20"/>
                    <a:gd name="T21" fmla="*/ 2147483647 h 14"/>
                    <a:gd name="T22" fmla="*/ 2147483647 w 20"/>
                    <a:gd name="T23" fmla="*/ 2147483647 h 14"/>
                    <a:gd name="T24" fmla="*/ 2147483647 w 20"/>
                    <a:gd name="T25" fmla="*/ 2147483647 h 14"/>
                    <a:gd name="T26" fmla="*/ 2147483647 w 20"/>
                    <a:gd name="T27" fmla="*/ 2147483647 h 14"/>
                    <a:gd name="T28" fmla="*/ 2147483647 w 20"/>
                    <a:gd name="T29" fmla="*/ 2147483647 h 14"/>
                    <a:gd name="T30" fmla="*/ 2147483647 w 20"/>
                    <a:gd name="T31" fmla="*/ 2147483647 h 14"/>
                    <a:gd name="T32" fmla="*/ 2147483647 w 20"/>
                    <a:gd name="T33" fmla="*/ 2147483647 h 14"/>
                    <a:gd name="T34" fmla="*/ 2147483647 w 20"/>
                    <a:gd name="T35" fmla="*/ 2147483647 h 14"/>
                    <a:gd name="T36" fmla="*/ 2147483647 w 20"/>
                    <a:gd name="T37" fmla="*/ 2147483647 h 14"/>
                    <a:gd name="T38" fmla="*/ 2147483647 w 20"/>
                    <a:gd name="T39" fmla="*/ 2147483647 h 1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"/>
                    <a:gd name="T61" fmla="*/ 0 h 14"/>
                    <a:gd name="T62" fmla="*/ 20 w 20"/>
                    <a:gd name="T63" fmla="*/ 14 h 1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" h="14">
                      <a:moveTo>
                        <a:pt x="20" y="6"/>
                      </a:moveTo>
                      <a:lnTo>
                        <a:pt x="19" y="4"/>
                      </a:lnTo>
                      <a:lnTo>
                        <a:pt x="18" y="2"/>
                      </a:lnTo>
                      <a:lnTo>
                        <a:pt x="15" y="2"/>
                      </a:lnTo>
                      <a:lnTo>
                        <a:pt x="13" y="2"/>
                      </a:lnTo>
                      <a:lnTo>
                        <a:pt x="10" y="1"/>
                      </a:lnTo>
                      <a:lnTo>
                        <a:pt x="8" y="0"/>
                      </a:lnTo>
                      <a:lnTo>
                        <a:pt x="6" y="1"/>
                      </a:lnTo>
                      <a:lnTo>
                        <a:pt x="1" y="7"/>
                      </a:lnTo>
                      <a:lnTo>
                        <a:pt x="0" y="9"/>
                      </a:lnTo>
                      <a:lnTo>
                        <a:pt x="1" y="13"/>
                      </a:lnTo>
                      <a:lnTo>
                        <a:pt x="2" y="14"/>
                      </a:lnTo>
                      <a:lnTo>
                        <a:pt x="4" y="14"/>
                      </a:lnTo>
                      <a:lnTo>
                        <a:pt x="6" y="13"/>
                      </a:lnTo>
                      <a:lnTo>
                        <a:pt x="9" y="12"/>
                      </a:lnTo>
                      <a:lnTo>
                        <a:pt x="11" y="11"/>
                      </a:lnTo>
                      <a:lnTo>
                        <a:pt x="18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7" name="Freeform 1157">
                  <a:extLst>
                    <a:ext uri="{FF2B5EF4-FFF2-40B4-BE49-F238E27FC236}">
                      <a16:creationId xmlns:a16="http://schemas.microsoft.com/office/drawing/2014/main" id="{5D850EB4-A83F-6847-8975-CF3F46F3D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0599" y="2727086"/>
                  <a:ext cx="20718" cy="13319"/>
                </a:xfrm>
                <a:custGeom>
                  <a:avLst/>
                  <a:gdLst>
                    <a:gd name="T0" fmla="*/ 2147483647 w 15"/>
                    <a:gd name="T1" fmla="*/ 2147483647 h 9"/>
                    <a:gd name="T2" fmla="*/ 2147483647 w 15"/>
                    <a:gd name="T3" fmla="*/ 2147483647 h 9"/>
                    <a:gd name="T4" fmla="*/ 2147483647 w 15"/>
                    <a:gd name="T5" fmla="*/ 2147483647 h 9"/>
                    <a:gd name="T6" fmla="*/ 2147483647 w 15"/>
                    <a:gd name="T7" fmla="*/ 2147483647 h 9"/>
                    <a:gd name="T8" fmla="*/ 2147483647 w 15"/>
                    <a:gd name="T9" fmla="*/ 2147483647 h 9"/>
                    <a:gd name="T10" fmla="*/ 2147483647 w 15"/>
                    <a:gd name="T11" fmla="*/ 0 h 9"/>
                    <a:gd name="T12" fmla="*/ 2147483647 w 15"/>
                    <a:gd name="T13" fmla="*/ 0 h 9"/>
                    <a:gd name="T14" fmla="*/ 2147483647 w 15"/>
                    <a:gd name="T15" fmla="*/ 0 h 9"/>
                    <a:gd name="T16" fmla="*/ 2147483647 w 15"/>
                    <a:gd name="T17" fmla="*/ 2147483647 h 9"/>
                    <a:gd name="T18" fmla="*/ 0 w 15"/>
                    <a:gd name="T19" fmla="*/ 2147483647 h 9"/>
                    <a:gd name="T20" fmla="*/ 2147483647 w 15"/>
                    <a:gd name="T21" fmla="*/ 2147483647 h 9"/>
                    <a:gd name="T22" fmla="*/ 2147483647 w 15"/>
                    <a:gd name="T23" fmla="*/ 2147483647 h 9"/>
                    <a:gd name="T24" fmla="*/ 2147483647 w 15"/>
                    <a:gd name="T25" fmla="*/ 2147483647 h 9"/>
                    <a:gd name="T26" fmla="*/ 2147483647 w 15"/>
                    <a:gd name="T27" fmla="*/ 2147483647 h 9"/>
                    <a:gd name="T28" fmla="*/ 2147483647 w 15"/>
                    <a:gd name="T29" fmla="*/ 2147483647 h 9"/>
                    <a:gd name="T30" fmla="*/ 2147483647 w 15"/>
                    <a:gd name="T31" fmla="*/ 2147483647 h 9"/>
                    <a:gd name="T32" fmla="*/ 2147483647 w 15"/>
                    <a:gd name="T33" fmla="*/ 2147483647 h 9"/>
                    <a:gd name="T34" fmla="*/ 2147483647 w 15"/>
                    <a:gd name="T35" fmla="*/ 2147483647 h 9"/>
                    <a:gd name="T36" fmla="*/ 2147483647 w 15"/>
                    <a:gd name="T37" fmla="*/ 2147483647 h 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"/>
                    <a:gd name="T58" fmla="*/ 0 h 9"/>
                    <a:gd name="T59" fmla="*/ 15 w 15"/>
                    <a:gd name="T60" fmla="*/ 9 h 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" h="9">
                      <a:moveTo>
                        <a:pt x="11" y="9"/>
                      </a:moveTo>
                      <a:lnTo>
                        <a:pt x="14" y="9"/>
                      </a:lnTo>
                      <a:lnTo>
                        <a:pt x="15" y="8"/>
                      </a:ln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3" y="9"/>
                      </a:lnTo>
                      <a:lnTo>
                        <a:pt x="5" y="9"/>
                      </a:lnTo>
                      <a:lnTo>
                        <a:pt x="6" y="8"/>
                      </a:lnTo>
                      <a:lnTo>
                        <a:pt x="7" y="7"/>
                      </a:lnTo>
                      <a:lnTo>
                        <a:pt x="8" y="7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11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8" name="Freeform 1158">
                  <a:extLst>
                    <a:ext uri="{FF2B5EF4-FFF2-40B4-BE49-F238E27FC236}">
                      <a16:creationId xmlns:a16="http://schemas.microsoft.com/office/drawing/2014/main" id="{C0BAD1C4-8A48-C24E-B046-8F36FD83A9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8756" y="2747807"/>
                  <a:ext cx="28117" cy="20718"/>
                </a:xfrm>
                <a:custGeom>
                  <a:avLst/>
                  <a:gdLst>
                    <a:gd name="T0" fmla="*/ 2147483647 w 20"/>
                    <a:gd name="T1" fmla="*/ 2147483647 h 14"/>
                    <a:gd name="T2" fmla="*/ 2147483647 w 20"/>
                    <a:gd name="T3" fmla="*/ 2147483647 h 14"/>
                    <a:gd name="T4" fmla="*/ 2147483647 w 20"/>
                    <a:gd name="T5" fmla="*/ 2147483647 h 14"/>
                    <a:gd name="T6" fmla="*/ 2147483647 w 20"/>
                    <a:gd name="T7" fmla="*/ 2147483647 h 14"/>
                    <a:gd name="T8" fmla="*/ 2147483647 w 20"/>
                    <a:gd name="T9" fmla="*/ 2147483647 h 14"/>
                    <a:gd name="T10" fmla="*/ 2147483647 w 20"/>
                    <a:gd name="T11" fmla="*/ 2147483647 h 14"/>
                    <a:gd name="T12" fmla="*/ 2147483647 w 20"/>
                    <a:gd name="T13" fmla="*/ 2147483647 h 14"/>
                    <a:gd name="T14" fmla="*/ 2147483647 w 20"/>
                    <a:gd name="T15" fmla="*/ 2147483647 h 14"/>
                    <a:gd name="T16" fmla="*/ 2147483647 w 20"/>
                    <a:gd name="T17" fmla="*/ 2147483647 h 14"/>
                    <a:gd name="T18" fmla="*/ 2147483647 w 20"/>
                    <a:gd name="T19" fmla="*/ 0 h 14"/>
                    <a:gd name="T20" fmla="*/ 2147483647 w 20"/>
                    <a:gd name="T21" fmla="*/ 2147483647 h 14"/>
                    <a:gd name="T22" fmla="*/ 2147483647 w 20"/>
                    <a:gd name="T23" fmla="*/ 2147483647 h 14"/>
                    <a:gd name="T24" fmla="*/ 2147483647 w 20"/>
                    <a:gd name="T25" fmla="*/ 2147483647 h 14"/>
                    <a:gd name="T26" fmla="*/ 0 w 20"/>
                    <a:gd name="T27" fmla="*/ 2147483647 h 14"/>
                    <a:gd name="T28" fmla="*/ 2147483647 w 20"/>
                    <a:gd name="T29" fmla="*/ 2147483647 h 14"/>
                    <a:gd name="T30" fmla="*/ 2147483647 w 20"/>
                    <a:gd name="T31" fmla="*/ 2147483647 h 14"/>
                    <a:gd name="T32" fmla="*/ 2147483647 w 20"/>
                    <a:gd name="T33" fmla="*/ 2147483647 h 14"/>
                    <a:gd name="T34" fmla="*/ 2147483647 w 20"/>
                    <a:gd name="T35" fmla="*/ 2147483647 h 14"/>
                    <a:gd name="T36" fmla="*/ 2147483647 w 20"/>
                    <a:gd name="T37" fmla="*/ 2147483647 h 14"/>
                    <a:gd name="T38" fmla="*/ 2147483647 w 20"/>
                    <a:gd name="T39" fmla="*/ 2147483647 h 14"/>
                    <a:gd name="T40" fmla="*/ 2147483647 w 20"/>
                    <a:gd name="T41" fmla="*/ 2147483647 h 14"/>
                    <a:gd name="T42" fmla="*/ 2147483647 w 20"/>
                    <a:gd name="T43" fmla="*/ 2147483647 h 14"/>
                    <a:gd name="T44" fmla="*/ 2147483647 w 20"/>
                    <a:gd name="T45" fmla="*/ 2147483647 h 14"/>
                    <a:gd name="T46" fmla="*/ 2147483647 w 20"/>
                    <a:gd name="T47" fmla="*/ 2147483647 h 14"/>
                    <a:gd name="T48" fmla="*/ 2147483647 w 20"/>
                    <a:gd name="T49" fmla="*/ 2147483647 h 14"/>
                    <a:gd name="T50" fmla="*/ 2147483647 w 20"/>
                    <a:gd name="T51" fmla="*/ 2147483647 h 14"/>
                    <a:gd name="T52" fmla="*/ 2147483647 w 20"/>
                    <a:gd name="T53" fmla="*/ 2147483647 h 14"/>
                    <a:gd name="T54" fmla="*/ 2147483647 w 20"/>
                    <a:gd name="T55" fmla="*/ 2147483647 h 14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0"/>
                    <a:gd name="T85" fmla="*/ 0 h 14"/>
                    <a:gd name="T86" fmla="*/ 20 w 20"/>
                    <a:gd name="T87" fmla="*/ 14 h 14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0" h="14">
                      <a:moveTo>
                        <a:pt x="20" y="6"/>
                      </a:moveTo>
                      <a:lnTo>
                        <a:pt x="20" y="6"/>
                      </a:lnTo>
                      <a:lnTo>
                        <a:pt x="19" y="3"/>
                      </a:lnTo>
                      <a:lnTo>
                        <a:pt x="17" y="2"/>
                      </a:lnTo>
                      <a:lnTo>
                        <a:pt x="15" y="2"/>
                      </a:lnTo>
                      <a:lnTo>
                        <a:pt x="12" y="2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6" y="1"/>
                      </a:lnTo>
                      <a:lnTo>
                        <a:pt x="1" y="7"/>
                      </a:lnTo>
                      <a:lnTo>
                        <a:pt x="0" y="9"/>
                      </a:lnTo>
                      <a:lnTo>
                        <a:pt x="1" y="13"/>
                      </a:lnTo>
                      <a:lnTo>
                        <a:pt x="2" y="14"/>
                      </a:lnTo>
                      <a:lnTo>
                        <a:pt x="3" y="14"/>
                      </a:lnTo>
                      <a:lnTo>
                        <a:pt x="6" y="13"/>
                      </a:lnTo>
                      <a:lnTo>
                        <a:pt x="9" y="12"/>
                      </a:lnTo>
                      <a:lnTo>
                        <a:pt x="11" y="10"/>
                      </a:lnTo>
                      <a:lnTo>
                        <a:pt x="17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0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9" name="Freeform 1159">
                  <a:extLst>
                    <a:ext uri="{FF2B5EF4-FFF2-40B4-BE49-F238E27FC236}">
                      <a16:creationId xmlns:a16="http://schemas.microsoft.com/office/drawing/2014/main" id="{06AF822B-A981-C248-B487-AEC0FF6532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9119" y="2724129"/>
                  <a:ext cx="20718" cy="14799"/>
                </a:xfrm>
                <a:custGeom>
                  <a:avLst/>
                  <a:gdLst>
                    <a:gd name="T0" fmla="*/ 2147483647 w 16"/>
                    <a:gd name="T1" fmla="*/ 2147483647 h 10"/>
                    <a:gd name="T2" fmla="*/ 2147483647 w 16"/>
                    <a:gd name="T3" fmla="*/ 2147483647 h 10"/>
                    <a:gd name="T4" fmla="*/ 2147483647 w 16"/>
                    <a:gd name="T5" fmla="*/ 2147483647 h 10"/>
                    <a:gd name="T6" fmla="*/ 2147483647 w 16"/>
                    <a:gd name="T7" fmla="*/ 2147483647 h 10"/>
                    <a:gd name="T8" fmla="*/ 2147483647 w 16"/>
                    <a:gd name="T9" fmla="*/ 2147483647 h 10"/>
                    <a:gd name="T10" fmla="*/ 2147483647 w 16"/>
                    <a:gd name="T11" fmla="*/ 2147483647 h 10"/>
                    <a:gd name="T12" fmla="*/ 2147483647 w 16"/>
                    <a:gd name="T13" fmla="*/ 2147483647 h 10"/>
                    <a:gd name="T14" fmla="*/ 2147483647 w 16"/>
                    <a:gd name="T15" fmla="*/ 2147483647 h 10"/>
                    <a:gd name="T16" fmla="*/ 2147483647 w 16"/>
                    <a:gd name="T17" fmla="*/ 0 h 10"/>
                    <a:gd name="T18" fmla="*/ 2147483647 w 16"/>
                    <a:gd name="T19" fmla="*/ 0 h 10"/>
                    <a:gd name="T20" fmla="*/ 2147483647 w 16"/>
                    <a:gd name="T21" fmla="*/ 0 h 10"/>
                    <a:gd name="T22" fmla="*/ 2147483647 w 16"/>
                    <a:gd name="T23" fmla="*/ 2147483647 h 10"/>
                    <a:gd name="T24" fmla="*/ 2147483647 w 16"/>
                    <a:gd name="T25" fmla="*/ 2147483647 h 10"/>
                    <a:gd name="T26" fmla="*/ 0 w 16"/>
                    <a:gd name="T27" fmla="*/ 2147483647 h 10"/>
                    <a:gd name="T28" fmla="*/ 2147483647 w 16"/>
                    <a:gd name="T29" fmla="*/ 2147483647 h 10"/>
                    <a:gd name="T30" fmla="*/ 2147483647 w 16"/>
                    <a:gd name="T31" fmla="*/ 2147483647 h 10"/>
                    <a:gd name="T32" fmla="*/ 2147483647 w 16"/>
                    <a:gd name="T33" fmla="*/ 2147483647 h 10"/>
                    <a:gd name="T34" fmla="*/ 2147483647 w 16"/>
                    <a:gd name="T35" fmla="*/ 2147483647 h 10"/>
                    <a:gd name="T36" fmla="*/ 2147483647 w 16"/>
                    <a:gd name="T37" fmla="*/ 2147483647 h 10"/>
                    <a:gd name="T38" fmla="*/ 2147483647 w 16"/>
                    <a:gd name="T39" fmla="*/ 2147483647 h 10"/>
                    <a:gd name="T40" fmla="*/ 2147483647 w 16"/>
                    <a:gd name="T41" fmla="*/ 2147483647 h 10"/>
                    <a:gd name="T42" fmla="*/ 2147483647 w 16"/>
                    <a:gd name="T43" fmla="*/ 2147483647 h 10"/>
                    <a:gd name="T44" fmla="*/ 2147483647 w 16"/>
                    <a:gd name="T45" fmla="*/ 2147483647 h 10"/>
                    <a:gd name="T46" fmla="*/ 2147483647 w 16"/>
                    <a:gd name="T47" fmla="*/ 2147483647 h 10"/>
                    <a:gd name="T48" fmla="*/ 2147483647 w 16"/>
                    <a:gd name="T49" fmla="*/ 2147483647 h 10"/>
                    <a:gd name="T50" fmla="*/ 2147483647 w 16"/>
                    <a:gd name="T51" fmla="*/ 2147483647 h 10"/>
                    <a:gd name="T52" fmla="*/ 2147483647 w 16"/>
                    <a:gd name="T53" fmla="*/ 2147483647 h 10"/>
                    <a:gd name="T54" fmla="*/ 2147483647 w 16"/>
                    <a:gd name="T55" fmla="*/ 2147483647 h 1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6"/>
                    <a:gd name="T85" fmla="*/ 0 h 10"/>
                    <a:gd name="T86" fmla="*/ 16 w 16"/>
                    <a:gd name="T87" fmla="*/ 10 h 1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6" h="10">
                      <a:moveTo>
                        <a:pt x="12" y="10"/>
                      </a:moveTo>
                      <a:lnTo>
                        <a:pt x="12" y="10"/>
                      </a:lnTo>
                      <a:lnTo>
                        <a:pt x="14" y="10"/>
                      </a:lnTo>
                      <a:lnTo>
                        <a:pt x="16" y="9"/>
                      </a:lnTo>
                      <a:lnTo>
                        <a:pt x="13" y="5"/>
                      </a:lnTo>
                      <a:lnTo>
                        <a:pt x="10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2" y="3"/>
                      </a:lnTo>
                      <a:lnTo>
                        <a:pt x="0" y="6"/>
                      </a:lnTo>
                      <a:lnTo>
                        <a:pt x="2" y="9"/>
                      </a:lnTo>
                      <a:lnTo>
                        <a:pt x="4" y="10"/>
                      </a:lnTo>
                      <a:lnTo>
                        <a:pt x="5" y="10"/>
                      </a:lnTo>
                      <a:lnTo>
                        <a:pt x="7" y="9"/>
                      </a:lnTo>
                      <a:lnTo>
                        <a:pt x="8" y="7"/>
                      </a:lnTo>
                      <a:lnTo>
                        <a:pt x="9" y="7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12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0" name="Freeform 1160">
                  <a:extLst>
                    <a:ext uri="{FF2B5EF4-FFF2-40B4-BE49-F238E27FC236}">
                      <a16:creationId xmlns:a16="http://schemas.microsoft.com/office/drawing/2014/main" id="{B07053BA-D83F-AD47-AF9B-64829C1391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7444" y="3172530"/>
                  <a:ext cx="85833" cy="124309"/>
                </a:xfrm>
                <a:custGeom>
                  <a:avLst/>
                  <a:gdLst>
                    <a:gd name="T0" fmla="*/ 2147483647 w 63"/>
                    <a:gd name="T1" fmla="*/ 2147483647 h 84"/>
                    <a:gd name="T2" fmla="*/ 2147483647 w 63"/>
                    <a:gd name="T3" fmla="*/ 2147483647 h 84"/>
                    <a:gd name="T4" fmla="*/ 2147483647 w 63"/>
                    <a:gd name="T5" fmla="*/ 2147483647 h 84"/>
                    <a:gd name="T6" fmla="*/ 2147483647 w 63"/>
                    <a:gd name="T7" fmla="*/ 2147483647 h 84"/>
                    <a:gd name="T8" fmla="*/ 2147483647 w 63"/>
                    <a:gd name="T9" fmla="*/ 2147483647 h 84"/>
                    <a:gd name="T10" fmla="*/ 2147483647 w 63"/>
                    <a:gd name="T11" fmla="*/ 2147483647 h 84"/>
                    <a:gd name="T12" fmla="*/ 0 w 63"/>
                    <a:gd name="T13" fmla="*/ 2147483647 h 84"/>
                    <a:gd name="T14" fmla="*/ 0 w 63"/>
                    <a:gd name="T15" fmla="*/ 2147483647 h 84"/>
                    <a:gd name="T16" fmla="*/ 2147483647 w 63"/>
                    <a:gd name="T17" fmla="*/ 2147483647 h 84"/>
                    <a:gd name="T18" fmla="*/ 2147483647 w 63"/>
                    <a:gd name="T19" fmla="*/ 2147483647 h 84"/>
                    <a:gd name="T20" fmla="*/ 2147483647 w 63"/>
                    <a:gd name="T21" fmla="*/ 2147483647 h 84"/>
                    <a:gd name="T22" fmla="*/ 2147483647 w 63"/>
                    <a:gd name="T23" fmla="*/ 2147483647 h 84"/>
                    <a:gd name="T24" fmla="*/ 2147483647 w 63"/>
                    <a:gd name="T25" fmla="*/ 2147483647 h 84"/>
                    <a:gd name="T26" fmla="*/ 2147483647 w 63"/>
                    <a:gd name="T27" fmla="*/ 2147483647 h 84"/>
                    <a:gd name="T28" fmla="*/ 2147483647 w 63"/>
                    <a:gd name="T29" fmla="*/ 2147483647 h 84"/>
                    <a:gd name="T30" fmla="*/ 2147483647 w 63"/>
                    <a:gd name="T31" fmla="*/ 2147483647 h 84"/>
                    <a:gd name="T32" fmla="*/ 2147483647 w 63"/>
                    <a:gd name="T33" fmla="*/ 2147483647 h 84"/>
                    <a:gd name="T34" fmla="*/ 2147483647 w 63"/>
                    <a:gd name="T35" fmla="*/ 2147483647 h 84"/>
                    <a:gd name="T36" fmla="*/ 2147483647 w 63"/>
                    <a:gd name="T37" fmla="*/ 2147483647 h 84"/>
                    <a:gd name="T38" fmla="*/ 2147483647 w 63"/>
                    <a:gd name="T39" fmla="*/ 2147483647 h 84"/>
                    <a:gd name="T40" fmla="*/ 2147483647 w 63"/>
                    <a:gd name="T41" fmla="*/ 2147483647 h 84"/>
                    <a:gd name="T42" fmla="*/ 2147483647 w 63"/>
                    <a:gd name="T43" fmla="*/ 2147483647 h 84"/>
                    <a:gd name="T44" fmla="*/ 2147483647 w 63"/>
                    <a:gd name="T45" fmla="*/ 2147483647 h 84"/>
                    <a:gd name="T46" fmla="*/ 2147483647 w 63"/>
                    <a:gd name="T47" fmla="*/ 2147483647 h 84"/>
                    <a:gd name="T48" fmla="*/ 2147483647 w 63"/>
                    <a:gd name="T49" fmla="*/ 2147483647 h 84"/>
                    <a:gd name="T50" fmla="*/ 2147483647 w 63"/>
                    <a:gd name="T51" fmla="*/ 2147483647 h 84"/>
                    <a:gd name="T52" fmla="*/ 2147483647 w 63"/>
                    <a:gd name="T53" fmla="*/ 2147483647 h 84"/>
                    <a:gd name="T54" fmla="*/ 2147483647 w 63"/>
                    <a:gd name="T55" fmla="*/ 2147483647 h 84"/>
                    <a:gd name="T56" fmla="*/ 2147483647 w 63"/>
                    <a:gd name="T57" fmla="*/ 2147483647 h 84"/>
                    <a:gd name="T58" fmla="*/ 2147483647 w 63"/>
                    <a:gd name="T59" fmla="*/ 2147483647 h 84"/>
                    <a:gd name="T60" fmla="*/ 2147483647 w 63"/>
                    <a:gd name="T61" fmla="*/ 2147483647 h 84"/>
                    <a:gd name="T62" fmla="*/ 2147483647 w 63"/>
                    <a:gd name="T63" fmla="*/ 2147483647 h 84"/>
                    <a:gd name="T64" fmla="*/ 2147483647 w 63"/>
                    <a:gd name="T65" fmla="*/ 2147483647 h 84"/>
                    <a:gd name="T66" fmla="*/ 2147483647 w 63"/>
                    <a:gd name="T67" fmla="*/ 0 h 84"/>
                    <a:gd name="T68" fmla="*/ 2147483647 w 63"/>
                    <a:gd name="T69" fmla="*/ 2147483647 h 84"/>
                    <a:gd name="T70" fmla="*/ 2147483647 w 63"/>
                    <a:gd name="T71" fmla="*/ 2147483647 h 84"/>
                    <a:gd name="T72" fmla="*/ 2147483647 w 63"/>
                    <a:gd name="T73" fmla="*/ 2147483647 h 84"/>
                    <a:gd name="T74" fmla="*/ 2147483647 w 63"/>
                    <a:gd name="T75" fmla="*/ 2147483647 h 84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63"/>
                    <a:gd name="T115" fmla="*/ 0 h 84"/>
                    <a:gd name="T116" fmla="*/ 63 w 63"/>
                    <a:gd name="T117" fmla="*/ 84 h 84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63" h="84">
                      <a:moveTo>
                        <a:pt x="19" y="15"/>
                      </a:moveTo>
                      <a:lnTo>
                        <a:pt x="20" y="19"/>
                      </a:lnTo>
                      <a:lnTo>
                        <a:pt x="20" y="21"/>
                      </a:lnTo>
                      <a:lnTo>
                        <a:pt x="19" y="23"/>
                      </a:lnTo>
                      <a:lnTo>
                        <a:pt x="16" y="26"/>
                      </a:lnTo>
                      <a:lnTo>
                        <a:pt x="13" y="26"/>
                      </a:lnTo>
                      <a:lnTo>
                        <a:pt x="9" y="27"/>
                      </a:lnTo>
                      <a:lnTo>
                        <a:pt x="6" y="28"/>
                      </a:lnTo>
                      <a:lnTo>
                        <a:pt x="5" y="29"/>
                      </a:lnTo>
                      <a:lnTo>
                        <a:pt x="5" y="33"/>
                      </a:lnTo>
                      <a:lnTo>
                        <a:pt x="5" y="38"/>
                      </a:lnTo>
                      <a:lnTo>
                        <a:pt x="4" y="41"/>
                      </a:lnTo>
                      <a:lnTo>
                        <a:pt x="1" y="44"/>
                      </a:lnTo>
                      <a:lnTo>
                        <a:pt x="0" y="45"/>
                      </a:lnTo>
                      <a:lnTo>
                        <a:pt x="0" y="46"/>
                      </a:lnTo>
                      <a:lnTo>
                        <a:pt x="0" y="63"/>
                      </a:lnTo>
                      <a:lnTo>
                        <a:pt x="1" y="72"/>
                      </a:lnTo>
                      <a:lnTo>
                        <a:pt x="2" y="79"/>
                      </a:lnTo>
                      <a:lnTo>
                        <a:pt x="5" y="81"/>
                      </a:lnTo>
                      <a:lnTo>
                        <a:pt x="9" y="81"/>
                      </a:lnTo>
                      <a:lnTo>
                        <a:pt x="13" y="80"/>
                      </a:lnTo>
                      <a:lnTo>
                        <a:pt x="16" y="78"/>
                      </a:lnTo>
                      <a:lnTo>
                        <a:pt x="19" y="78"/>
                      </a:lnTo>
                      <a:lnTo>
                        <a:pt x="20" y="79"/>
                      </a:lnTo>
                      <a:lnTo>
                        <a:pt x="23" y="81"/>
                      </a:lnTo>
                      <a:lnTo>
                        <a:pt x="28" y="84"/>
                      </a:lnTo>
                      <a:lnTo>
                        <a:pt x="32" y="84"/>
                      </a:lnTo>
                      <a:lnTo>
                        <a:pt x="35" y="81"/>
                      </a:lnTo>
                      <a:lnTo>
                        <a:pt x="41" y="78"/>
                      </a:lnTo>
                      <a:lnTo>
                        <a:pt x="43" y="76"/>
                      </a:lnTo>
                      <a:lnTo>
                        <a:pt x="46" y="72"/>
                      </a:lnTo>
                      <a:lnTo>
                        <a:pt x="46" y="71"/>
                      </a:lnTo>
                      <a:lnTo>
                        <a:pt x="46" y="68"/>
                      </a:lnTo>
                      <a:lnTo>
                        <a:pt x="46" y="67"/>
                      </a:lnTo>
                      <a:lnTo>
                        <a:pt x="46" y="66"/>
                      </a:lnTo>
                      <a:lnTo>
                        <a:pt x="49" y="65"/>
                      </a:lnTo>
                      <a:lnTo>
                        <a:pt x="53" y="65"/>
                      </a:lnTo>
                      <a:lnTo>
                        <a:pt x="56" y="64"/>
                      </a:lnTo>
                      <a:lnTo>
                        <a:pt x="57" y="63"/>
                      </a:lnTo>
                      <a:lnTo>
                        <a:pt x="58" y="59"/>
                      </a:lnTo>
                      <a:lnTo>
                        <a:pt x="58" y="54"/>
                      </a:lnTo>
                      <a:lnTo>
                        <a:pt x="60" y="49"/>
                      </a:lnTo>
                      <a:lnTo>
                        <a:pt x="63" y="42"/>
                      </a:lnTo>
                      <a:lnTo>
                        <a:pt x="61" y="45"/>
                      </a:lnTo>
                      <a:lnTo>
                        <a:pt x="57" y="45"/>
                      </a:lnTo>
                      <a:lnTo>
                        <a:pt x="54" y="45"/>
                      </a:lnTo>
                      <a:lnTo>
                        <a:pt x="51" y="42"/>
                      </a:lnTo>
                      <a:lnTo>
                        <a:pt x="49" y="40"/>
                      </a:lnTo>
                      <a:lnTo>
                        <a:pt x="47" y="38"/>
                      </a:lnTo>
                      <a:lnTo>
                        <a:pt x="47" y="34"/>
                      </a:lnTo>
                      <a:lnTo>
                        <a:pt x="47" y="32"/>
                      </a:lnTo>
                      <a:lnTo>
                        <a:pt x="48" y="28"/>
                      </a:lnTo>
                      <a:lnTo>
                        <a:pt x="52" y="25"/>
                      </a:lnTo>
                      <a:lnTo>
                        <a:pt x="53" y="20"/>
                      </a:lnTo>
                      <a:lnTo>
                        <a:pt x="53" y="19"/>
                      </a:lnTo>
                      <a:lnTo>
                        <a:pt x="51" y="16"/>
                      </a:lnTo>
                      <a:lnTo>
                        <a:pt x="51" y="14"/>
                      </a:lnTo>
                      <a:lnTo>
                        <a:pt x="52" y="12"/>
                      </a:lnTo>
                      <a:lnTo>
                        <a:pt x="54" y="9"/>
                      </a:lnTo>
                      <a:lnTo>
                        <a:pt x="56" y="7"/>
                      </a:lnTo>
                      <a:lnTo>
                        <a:pt x="56" y="4"/>
                      </a:lnTo>
                      <a:lnTo>
                        <a:pt x="56" y="2"/>
                      </a:lnTo>
                      <a:lnTo>
                        <a:pt x="53" y="2"/>
                      </a:lnTo>
                      <a:lnTo>
                        <a:pt x="51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7" y="1"/>
                      </a:lnTo>
                      <a:lnTo>
                        <a:pt x="33" y="3"/>
                      </a:lnTo>
                      <a:lnTo>
                        <a:pt x="30" y="8"/>
                      </a:lnTo>
                      <a:lnTo>
                        <a:pt x="30" y="13"/>
                      </a:ln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19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1" name="Freeform 1161">
                  <a:extLst>
                    <a:ext uri="{FF2B5EF4-FFF2-40B4-BE49-F238E27FC236}">
                      <a16:creationId xmlns:a16="http://schemas.microsoft.com/office/drawing/2014/main" id="{5E5A303E-A561-384D-9460-9741D89098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1404" y="2033029"/>
                  <a:ext cx="1675214" cy="1518349"/>
                </a:xfrm>
                <a:custGeom>
                  <a:avLst/>
                  <a:gdLst>
                    <a:gd name="T0" fmla="*/ 2147483647 w 1227"/>
                    <a:gd name="T1" fmla="*/ 2147483647 h 1026"/>
                    <a:gd name="T2" fmla="*/ 2147483647 w 1227"/>
                    <a:gd name="T3" fmla="*/ 2147483647 h 1026"/>
                    <a:gd name="T4" fmla="*/ 2147483647 w 1227"/>
                    <a:gd name="T5" fmla="*/ 2147483647 h 1026"/>
                    <a:gd name="T6" fmla="*/ 2147483647 w 1227"/>
                    <a:gd name="T7" fmla="*/ 2147483647 h 1026"/>
                    <a:gd name="T8" fmla="*/ 2147483647 w 1227"/>
                    <a:gd name="T9" fmla="*/ 2147483647 h 1026"/>
                    <a:gd name="T10" fmla="*/ 2147483647 w 1227"/>
                    <a:gd name="T11" fmla="*/ 2147483647 h 1026"/>
                    <a:gd name="T12" fmla="*/ 2147483647 w 1227"/>
                    <a:gd name="T13" fmla="*/ 2147483647 h 1026"/>
                    <a:gd name="T14" fmla="*/ 2147483647 w 1227"/>
                    <a:gd name="T15" fmla="*/ 2147483647 h 1026"/>
                    <a:gd name="T16" fmla="*/ 2147483647 w 1227"/>
                    <a:gd name="T17" fmla="*/ 2147483647 h 1026"/>
                    <a:gd name="T18" fmla="*/ 2147483647 w 1227"/>
                    <a:gd name="T19" fmla="*/ 2147483647 h 1026"/>
                    <a:gd name="T20" fmla="*/ 2147483647 w 1227"/>
                    <a:gd name="T21" fmla="*/ 2147483647 h 1026"/>
                    <a:gd name="T22" fmla="*/ 2147483647 w 1227"/>
                    <a:gd name="T23" fmla="*/ 2147483647 h 1026"/>
                    <a:gd name="T24" fmla="*/ 2147483647 w 1227"/>
                    <a:gd name="T25" fmla="*/ 2147483647 h 1026"/>
                    <a:gd name="T26" fmla="*/ 2147483647 w 1227"/>
                    <a:gd name="T27" fmla="*/ 2147483647 h 1026"/>
                    <a:gd name="T28" fmla="*/ 2147483647 w 1227"/>
                    <a:gd name="T29" fmla="*/ 2147483647 h 1026"/>
                    <a:gd name="T30" fmla="*/ 2147483647 w 1227"/>
                    <a:gd name="T31" fmla="*/ 2147483647 h 1026"/>
                    <a:gd name="T32" fmla="*/ 2147483647 w 1227"/>
                    <a:gd name="T33" fmla="*/ 2147483647 h 1026"/>
                    <a:gd name="T34" fmla="*/ 2147483647 w 1227"/>
                    <a:gd name="T35" fmla="*/ 2147483647 h 1026"/>
                    <a:gd name="T36" fmla="*/ 2147483647 w 1227"/>
                    <a:gd name="T37" fmla="*/ 2147483647 h 1026"/>
                    <a:gd name="T38" fmla="*/ 2147483647 w 1227"/>
                    <a:gd name="T39" fmla="*/ 2147483647 h 1026"/>
                    <a:gd name="T40" fmla="*/ 2147483647 w 1227"/>
                    <a:gd name="T41" fmla="*/ 2147483647 h 1026"/>
                    <a:gd name="T42" fmla="*/ 2147483647 w 1227"/>
                    <a:gd name="T43" fmla="*/ 2147483647 h 1026"/>
                    <a:gd name="T44" fmla="*/ 2147483647 w 1227"/>
                    <a:gd name="T45" fmla="*/ 2147483647 h 1026"/>
                    <a:gd name="T46" fmla="*/ 2147483647 w 1227"/>
                    <a:gd name="T47" fmla="*/ 2147483647 h 1026"/>
                    <a:gd name="T48" fmla="*/ 2147483647 w 1227"/>
                    <a:gd name="T49" fmla="*/ 2147483647 h 1026"/>
                    <a:gd name="T50" fmla="*/ 2147483647 w 1227"/>
                    <a:gd name="T51" fmla="*/ 2147483647 h 1026"/>
                    <a:gd name="T52" fmla="*/ 2147483647 w 1227"/>
                    <a:gd name="T53" fmla="*/ 2147483647 h 1026"/>
                    <a:gd name="T54" fmla="*/ 2147483647 w 1227"/>
                    <a:gd name="T55" fmla="*/ 2147483647 h 1026"/>
                    <a:gd name="T56" fmla="*/ 2147483647 w 1227"/>
                    <a:gd name="T57" fmla="*/ 2147483647 h 1026"/>
                    <a:gd name="T58" fmla="*/ 2147483647 w 1227"/>
                    <a:gd name="T59" fmla="*/ 2147483647 h 1026"/>
                    <a:gd name="T60" fmla="*/ 2147483647 w 1227"/>
                    <a:gd name="T61" fmla="*/ 2147483647 h 1026"/>
                    <a:gd name="T62" fmla="*/ 2147483647 w 1227"/>
                    <a:gd name="T63" fmla="*/ 2147483647 h 1026"/>
                    <a:gd name="T64" fmla="*/ 2147483647 w 1227"/>
                    <a:gd name="T65" fmla="*/ 2147483647 h 1026"/>
                    <a:gd name="T66" fmla="*/ 2147483647 w 1227"/>
                    <a:gd name="T67" fmla="*/ 2147483647 h 1026"/>
                    <a:gd name="T68" fmla="*/ 2147483647 w 1227"/>
                    <a:gd name="T69" fmla="*/ 2147483647 h 1026"/>
                    <a:gd name="T70" fmla="*/ 2147483647 w 1227"/>
                    <a:gd name="T71" fmla="*/ 2147483647 h 1026"/>
                    <a:gd name="T72" fmla="*/ 2147483647 w 1227"/>
                    <a:gd name="T73" fmla="*/ 2147483647 h 1026"/>
                    <a:gd name="T74" fmla="*/ 2147483647 w 1227"/>
                    <a:gd name="T75" fmla="*/ 2147483647 h 1026"/>
                    <a:gd name="T76" fmla="*/ 2147483647 w 1227"/>
                    <a:gd name="T77" fmla="*/ 2147483647 h 1026"/>
                    <a:gd name="T78" fmla="*/ 2147483647 w 1227"/>
                    <a:gd name="T79" fmla="*/ 2147483647 h 1026"/>
                    <a:gd name="T80" fmla="*/ 2147483647 w 1227"/>
                    <a:gd name="T81" fmla="*/ 2147483647 h 1026"/>
                    <a:gd name="T82" fmla="*/ 2147483647 w 1227"/>
                    <a:gd name="T83" fmla="*/ 2147483647 h 1026"/>
                    <a:gd name="T84" fmla="*/ 2147483647 w 1227"/>
                    <a:gd name="T85" fmla="*/ 2147483647 h 1026"/>
                    <a:gd name="T86" fmla="*/ 2147483647 w 1227"/>
                    <a:gd name="T87" fmla="*/ 2147483647 h 1026"/>
                    <a:gd name="T88" fmla="*/ 2147483647 w 1227"/>
                    <a:gd name="T89" fmla="*/ 2147483647 h 1026"/>
                    <a:gd name="T90" fmla="*/ 2147483647 w 1227"/>
                    <a:gd name="T91" fmla="*/ 2147483647 h 1026"/>
                    <a:gd name="T92" fmla="*/ 2147483647 w 1227"/>
                    <a:gd name="T93" fmla="*/ 2147483647 h 1026"/>
                    <a:gd name="T94" fmla="*/ 2147483647 w 1227"/>
                    <a:gd name="T95" fmla="*/ 2147483647 h 1026"/>
                    <a:gd name="T96" fmla="*/ 2147483647 w 1227"/>
                    <a:gd name="T97" fmla="*/ 2147483647 h 1026"/>
                    <a:gd name="T98" fmla="*/ 2147483647 w 1227"/>
                    <a:gd name="T99" fmla="*/ 2147483647 h 1026"/>
                    <a:gd name="T100" fmla="*/ 2147483647 w 1227"/>
                    <a:gd name="T101" fmla="*/ 2147483647 h 1026"/>
                    <a:gd name="T102" fmla="*/ 2147483647 w 1227"/>
                    <a:gd name="T103" fmla="*/ 2147483647 h 1026"/>
                    <a:gd name="T104" fmla="*/ 2147483647 w 1227"/>
                    <a:gd name="T105" fmla="*/ 2147483647 h 1026"/>
                    <a:gd name="T106" fmla="*/ 2147483647 w 1227"/>
                    <a:gd name="T107" fmla="*/ 2147483647 h 1026"/>
                    <a:gd name="T108" fmla="*/ 2147483647 w 1227"/>
                    <a:gd name="T109" fmla="*/ 2147483647 h 1026"/>
                    <a:gd name="T110" fmla="*/ 2147483647 w 1227"/>
                    <a:gd name="T111" fmla="*/ 2147483647 h 1026"/>
                    <a:gd name="T112" fmla="*/ 2147483647 w 1227"/>
                    <a:gd name="T113" fmla="*/ 2147483647 h 1026"/>
                    <a:gd name="T114" fmla="*/ 2147483647 w 1227"/>
                    <a:gd name="T115" fmla="*/ 2147483647 h 1026"/>
                    <a:gd name="T116" fmla="*/ 2147483647 w 1227"/>
                    <a:gd name="T117" fmla="*/ 2147483647 h 1026"/>
                    <a:gd name="T118" fmla="*/ 2147483647 w 1227"/>
                    <a:gd name="T119" fmla="*/ 2147483647 h 1026"/>
                    <a:gd name="T120" fmla="*/ 2147483647 w 1227"/>
                    <a:gd name="T121" fmla="*/ 2147483647 h 1026"/>
                    <a:gd name="T122" fmla="*/ 2147483647 w 1227"/>
                    <a:gd name="T123" fmla="*/ 2147483647 h 1026"/>
                    <a:gd name="T124" fmla="*/ 2147483647 w 1227"/>
                    <a:gd name="T125" fmla="*/ 2147483647 h 102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27"/>
                    <a:gd name="T190" fmla="*/ 0 h 1026"/>
                    <a:gd name="T191" fmla="*/ 1227 w 1227"/>
                    <a:gd name="T192" fmla="*/ 1026 h 102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27" h="1026">
                      <a:moveTo>
                        <a:pt x="1216" y="0"/>
                      </a:moveTo>
                      <a:lnTo>
                        <a:pt x="1208" y="1"/>
                      </a:lnTo>
                      <a:lnTo>
                        <a:pt x="1200" y="5"/>
                      </a:lnTo>
                      <a:lnTo>
                        <a:pt x="1194" y="7"/>
                      </a:lnTo>
                      <a:lnTo>
                        <a:pt x="1186" y="10"/>
                      </a:lnTo>
                      <a:lnTo>
                        <a:pt x="1179" y="12"/>
                      </a:lnTo>
                      <a:lnTo>
                        <a:pt x="1172" y="14"/>
                      </a:lnTo>
                      <a:lnTo>
                        <a:pt x="1167" y="14"/>
                      </a:lnTo>
                      <a:lnTo>
                        <a:pt x="1165" y="16"/>
                      </a:lnTo>
                      <a:lnTo>
                        <a:pt x="1162" y="17"/>
                      </a:lnTo>
                      <a:lnTo>
                        <a:pt x="1160" y="16"/>
                      </a:lnTo>
                      <a:lnTo>
                        <a:pt x="1157" y="14"/>
                      </a:lnTo>
                      <a:lnTo>
                        <a:pt x="1155" y="13"/>
                      </a:lnTo>
                      <a:lnTo>
                        <a:pt x="1155" y="14"/>
                      </a:lnTo>
                      <a:lnTo>
                        <a:pt x="1152" y="17"/>
                      </a:lnTo>
                      <a:lnTo>
                        <a:pt x="1151" y="20"/>
                      </a:lnTo>
                      <a:lnTo>
                        <a:pt x="1148" y="24"/>
                      </a:lnTo>
                      <a:lnTo>
                        <a:pt x="1146" y="25"/>
                      </a:lnTo>
                      <a:lnTo>
                        <a:pt x="1143" y="28"/>
                      </a:lnTo>
                      <a:lnTo>
                        <a:pt x="1141" y="29"/>
                      </a:lnTo>
                      <a:lnTo>
                        <a:pt x="1139" y="31"/>
                      </a:lnTo>
                      <a:lnTo>
                        <a:pt x="1137" y="32"/>
                      </a:lnTo>
                      <a:lnTo>
                        <a:pt x="1136" y="33"/>
                      </a:lnTo>
                      <a:lnTo>
                        <a:pt x="1133" y="32"/>
                      </a:lnTo>
                      <a:lnTo>
                        <a:pt x="1131" y="32"/>
                      </a:lnTo>
                      <a:lnTo>
                        <a:pt x="1128" y="32"/>
                      </a:lnTo>
                      <a:lnTo>
                        <a:pt x="1127" y="33"/>
                      </a:lnTo>
                      <a:lnTo>
                        <a:pt x="1128" y="36"/>
                      </a:lnTo>
                      <a:lnTo>
                        <a:pt x="1131" y="41"/>
                      </a:lnTo>
                      <a:lnTo>
                        <a:pt x="1133" y="46"/>
                      </a:lnTo>
                      <a:lnTo>
                        <a:pt x="1133" y="48"/>
                      </a:lnTo>
                      <a:lnTo>
                        <a:pt x="1132" y="50"/>
                      </a:lnTo>
                      <a:lnTo>
                        <a:pt x="1132" y="52"/>
                      </a:lnTo>
                      <a:lnTo>
                        <a:pt x="1133" y="54"/>
                      </a:lnTo>
                      <a:lnTo>
                        <a:pt x="1136" y="55"/>
                      </a:lnTo>
                      <a:lnTo>
                        <a:pt x="1138" y="56"/>
                      </a:lnTo>
                      <a:lnTo>
                        <a:pt x="1139" y="58"/>
                      </a:lnTo>
                      <a:lnTo>
                        <a:pt x="1141" y="63"/>
                      </a:lnTo>
                      <a:lnTo>
                        <a:pt x="1142" y="67"/>
                      </a:lnTo>
                      <a:lnTo>
                        <a:pt x="1145" y="70"/>
                      </a:lnTo>
                      <a:lnTo>
                        <a:pt x="1145" y="71"/>
                      </a:lnTo>
                      <a:lnTo>
                        <a:pt x="1143" y="73"/>
                      </a:lnTo>
                      <a:lnTo>
                        <a:pt x="1139" y="73"/>
                      </a:lnTo>
                      <a:lnTo>
                        <a:pt x="1137" y="71"/>
                      </a:lnTo>
                      <a:lnTo>
                        <a:pt x="1133" y="73"/>
                      </a:lnTo>
                      <a:lnTo>
                        <a:pt x="1129" y="75"/>
                      </a:lnTo>
                      <a:lnTo>
                        <a:pt x="1128" y="75"/>
                      </a:lnTo>
                      <a:lnTo>
                        <a:pt x="1127" y="74"/>
                      </a:lnTo>
                      <a:lnTo>
                        <a:pt x="1125" y="73"/>
                      </a:lnTo>
                      <a:lnTo>
                        <a:pt x="1124" y="70"/>
                      </a:lnTo>
                      <a:lnTo>
                        <a:pt x="1125" y="67"/>
                      </a:lnTo>
                      <a:lnTo>
                        <a:pt x="1128" y="64"/>
                      </a:lnTo>
                      <a:lnTo>
                        <a:pt x="1128" y="62"/>
                      </a:lnTo>
                      <a:lnTo>
                        <a:pt x="1127" y="61"/>
                      </a:lnTo>
                      <a:lnTo>
                        <a:pt x="1122" y="62"/>
                      </a:lnTo>
                      <a:lnTo>
                        <a:pt x="1119" y="62"/>
                      </a:lnTo>
                      <a:lnTo>
                        <a:pt x="1117" y="62"/>
                      </a:lnTo>
                      <a:lnTo>
                        <a:pt x="1112" y="61"/>
                      </a:lnTo>
                      <a:lnTo>
                        <a:pt x="1106" y="61"/>
                      </a:lnTo>
                      <a:lnTo>
                        <a:pt x="1095" y="62"/>
                      </a:lnTo>
                      <a:lnTo>
                        <a:pt x="1085" y="63"/>
                      </a:lnTo>
                      <a:lnTo>
                        <a:pt x="1080" y="63"/>
                      </a:lnTo>
                      <a:lnTo>
                        <a:pt x="1075" y="63"/>
                      </a:lnTo>
                      <a:lnTo>
                        <a:pt x="1070" y="62"/>
                      </a:lnTo>
                      <a:lnTo>
                        <a:pt x="1066" y="62"/>
                      </a:lnTo>
                      <a:lnTo>
                        <a:pt x="1062" y="63"/>
                      </a:lnTo>
                      <a:lnTo>
                        <a:pt x="1061" y="67"/>
                      </a:lnTo>
                      <a:lnTo>
                        <a:pt x="1059" y="73"/>
                      </a:lnTo>
                      <a:lnTo>
                        <a:pt x="1061" y="78"/>
                      </a:lnTo>
                      <a:lnTo>
                        <a:pt x="1062" y="83"/>
                      </a:lnTo>
                      <a:lnTo>
                        <a:pt x="1065" y="88"/>
                      </a:lnTo>
                      <a:lnTo>
                        <a:pt x="1067" y="90"/>
                      </a:lnTo>
                      <a:lnTo>
                        <a:pt x="1070" y="92"/>
                      </a:lnTo>
                      <a:lnTo>
                        <a:pt x="1077" y="93"/>
                      </a:lnTo>
                      <a:lnTo>
                        <a:pt x="1080" y="94"/>
                      </a:lnTo>
                      <a:lnTo>
                        <a:pt x="1084" y="96"/>
                      </a:lnTo>
                      <a:lnTo>
                        <a:pt x="1085" y="99"/>
                      </a:lnTo>
                      <a:lnTo>
                        <a:pt x="1085" y="102"/>
                      </a:lnTo>
                      <a:lnTo>
                        <a:pt x="1086" y="103"/>
                      </a:lnTo>
                      <a:lnTo>
                        <a:pt x="1086" y="105"/>
                      </a:lnTo>
                      <a:lnTo>
                        <a:pt x="1089" y="107"/>
                      </a:lnTo>
                      <a:lnTo>
                        <a:pt x="1098" y="120"/>
                      </a:lnTo>
                      <a:lnTo>
                        <a:pt x="1101" y="127"/>
                      </a:lnTo>
                      <a:lnTo>
                        <a:pt x="1106" y="133"/>
                      </a:lnTo>
                      <a:lnTo>
                        <a:pt x="1108" y="137"/>
                      </a:lnTo>
                      <a:lnTo>
                        <a:pt x="1108" y="139"/>
                      </a:lnTo>
                      <a:lnTo>
                        <a:pt x="1105" y="143"/>
                      </a:lnTo>
                      <a:lnTo>
                        <a:pt x="1103" y="144"/>
                      </a:lnTo>
                      <a:lnTo>
                        <a:pt x="1095" y="143"/>
                      </a:lnTo>
                      <a:lnTo>
                        <a:pt x="1087" y="141"/>
                      </a:lnTo>
                      <a:lnTo>
                        <a:pt x="1085" y="140"/>
                      </a:lnTo>
                      <a:lnTo>
                        <a:pt x="1085" y="139"/>
                      </a:lnTo>
                      <a:lnTo>
                        <a:pt x="1085" y="134"/>
                      </a:lnTo>
                      <a:lnTo>
                        <a:pt x="1090" y="125"/>
                      </a:lnTo>
                      <a:lnTo>
                        <a:pt x="1090" y="121"/>
                      </a:lnTo>
                      <a:lnTo>
                        <a:pt x="1087" y="120"/>
                      </a:lnTo>
                      <a:lnTo>
                        <a:pt x="1085" y="119"/>
                      </a:lnTo>
                      <a:lnTo>
                        <a:pt x="1081" y="119"/>
                      </a:lnTo>
                      <a:lnTo>
                        <a:pt x="1076" y="119"/>
                      </a:lnTo>
                      <a:lnTo>
                        <a:pt x="1072" y="119"/>
                      </a:lnTo>
                      <a:lnTo>
                        <a:pt x="1070" y="119"/>
                      </a:lnTo>
                      <a:lnTo>
                        <a:pt x="1065" y="115"/>
                      </a:lnTo>
                      <a:lnTo>
                        <a:pt x="1053" y="101"/>
                      </a:lnTo>
                      <a:lnTo>
                        <a:pt x="1047" y="95"/>
                      </a:lnTo>
                      <a:lnTo>
                        <a:pt x="1043" y="93"/>
                      </a:lnTo>
                      <a:lnTo>
                        <a:pt x="1039" y="92"/>
                      </a:lnTo>
                      <a:lnTo>
                        <a:pt x="1032" y="90"/>
                      </a:lnTo>
                      <a:lnTo>
                        <a:pt x="1024" y="89"/>
                      </a:lnTo>
                      <a:lnTo>
                        <a:pt x="1018" y="89"/>
                      </a:lnTo>
                      <a:lnTo>
                        <a:pt x="1010" y="92"/>
                      </a:lnTo>
                      <a:lnTo>
                        <a:pt x="1005" y="95"/>
                      </a:lnTo>
                      <a:lnTo>
                        <a:pt x="1004" y="96"/>
                      </a:lnTo>
                      <a:lnTo>
                        <a:pt x="1002" y="99"/>
                      </a:lnTo>
                      <a:lnTo>
                        <a:pt x="1004" y="101"/>
                      </a:lnTo>
                      <a:lnTo>
                        <a:pt x="1005" y="102"/>
                      </a:lnTo>
                      <a:lnTo>
                        <a:pt x="1009" y="103"/>
                      </a:lnTo>
                      <a:lnTo>
                        <a:pt x="1014" y="105"/>
                      </a:lnTo>
                      <a:lnTo>
                        <a:pt x="1018" y="107"/>
                      </a:lnTo>
                      <a:lnTo>
                        <a:pt x="1019" y="109"/>
                      </a:lnTo>
                      <a:lnTo>
                        <a:pt x="1018" y="112"/>
                      </a:lnTo>
                      <a:lnTo>
                        <a:pt x="1016" y="114"/>
                      </a:lnTo>
                      <a:lnTo>
                        <a:pt x="1014" y="115"/>
                      </a:lnTo>
                      <a:lnTo>
                        <a:pt x="1011" y="116"/>
                      </a:lnTo>
                      <a:lnTo>
                        <a:pt x="1007" y="115"/>
                      </a:lnTo>
                      <a:lnTo>
                        <a:pt x="1002" y="113"/>
                      </a:lnTo>
                      <a:lnTo>
                        <a:pt x="992" y="107"/>
                      </a:lnTo>
                      <a:lnTo>
                        <a:pt x="990" y="106"/>
                      </a:lnTo>
                      <a:lnTo>
                        <a:pt x="987" y="107"/>
                      </a:lnTo>
                      <a:lnTo>
                        <a:pt x="985" y="108"/>
                      </a:lnTo>
                      <a:lnTo>
                        <a:pt x="983" y="110"/>
                      </a:lnTo>
                      <a:lnTo>
                        <a:pt x="982" y="116"/>
                      </a:lnTo>
                      <a:lnTo>
                        <a:pt x="983" y="121"/>
                      </a:lnTo>
                      <a:lnTo>
                        <a:pt x="985" y="126"/>
                      </a:lnTo>
                      <a:lnTo>
                        <a:pt x="987" y="128"/>
                      </a:lnTo>
                      <a:lnTo>
                        <a:pt x="992" y="129"/>
                      </a:lnTo>
                      <a:lnTo>
                        <a:pt x="997" y="131"/>
                      </a:lnTo>
                      <a:lnTo>
                        <a:pt x="1007" y="133"/>
                      </a:lnTo>
                      <a:lnTo>
                        <a:pt x="1012" y="134"/>
                      </a:lnTo>
                      <a:lnTo>
                        <a:pt x="1016" y="137"/>
                      </a:lnTo>
                      <a:lnTo>
                        <a:pt x="1025" y="143"/>
                      </a:lnTo>
                      <a:lnTo>
                        <a:pt x="1028" y="146"/>
                      </a:lnTo>
                      <a:lnTo>
                        <a:pt x="1028" y="148"/>
                      </a:lnTo>
                      <a:lnTo>
                        <a:pt x="1026" y="151"/>
                      </a:lnTo>
                      <a:lnTo>
                        <a:pt x="1025" y="151"/>
                      </a:lnTo>
                      <a:lnTo>
                        <a:pt x="1021" y="150"/>
                      </a:lnTo>
                      <a:lnTo>
                        <a:pt x="1019" y="150"/>
                      </a:lnTo>
                      <a:lnTo>
                        <a:pt x="1016" y="151"/>
                      </a:lnTo>
                      <a:lnTo>
                        <a:pt x="1014" y="152"/>
                      </a:lnTo>
                      <a:lnTo>
                        <a:pt x="1012" y="151"/>
                      </a:lnTo>
                      <a:lnTo>
                        <a:pt x="1007" y="146"/>
                      </a:lnTo>
                      <a:lnTo>
                        <a:pt x="1004" y="143"/>
                      </a:lnTo>
                      <a:lnTo>
                        <a:pt x="997" y="143"/>
                      </a:lnTo>
                      <a:lnTo>
                        <a:pt x="992" y="144"/>
                      </a:lnTo>
                      <a:lnTo>
                        <a:pt x="988" y="144"/>
                      </a:lnTo>
                      <a:lnTo>
                        <a:pt x="987" y="141"/>
                      </a:lnTo>
                      <a:lnTo>
                        <a:pt x="978" y="134"/>
                      </a:lnTo>
                      <a:lnTo>
                        <a:pt x="968" y="129"/>
                      </a:lnTo>
                      <a:lnTo>
                        <a:pt x="965" y="127"/>
                      </a:lnTo>
                      <a:lnTo>
                        <a:pt x="963" y="124"/>
                      </a:lnTo>
                      <a:lnTo>
                        <a:pt x="962" y="119"/>
                      </a:lnTo>
                      <a:lnTo>
                        <a:pt x="960" y="114"/>
                      </a:lnTo>
                      <a:lnTo>
                        <a:pt x="962" y="105"/>
                      </a:lnTo>
                      <a:lnTo>
                        <a:pt x="962" y="95"/>
                      </a:lnTo>
                      <a:lnTo>
                        <a:pt x="962" y="93"/>
                      </a:lnTo>
                      <a:lnTo>
                        <a:pt x="960" y="89"/>
                      </a:lnTo>
                      <a:lnTo>
                        <a:pt x="958" y="88"/>
                      </a:lnTo>
                      <a:lnTo>
                        <a:pt x="955" y="86"/>
                      </a:lnTo>
                      <a:lnTo>
                        <a:pt x="954" y="84"/>
                      </a:lnTo>
                      <a:lnTo>
                        <a:pt x="954" y="83"/>
                      </a:lnTo>
                      <a:lnTo>
                        <a:pt x="954" y="80"/>
                      </a:lnTo>
                      <a:lnTo>
                        <a:pt x="953" y="78"/>
                      </a:lnTo>
                      <a:lnTo>
                        <a:pt x="952" y="77"/>
                      </a:lnTo>
                      <a:lnTo>
                        <a:pt x="950" y="78"/>
                      </a:lnTo>
                      <a:lnTo>
                        <a:pt x="950" y="80"/>
                      </a:lnTo>
                      <a:lnTo>
                        <a:pt x="950" y="82"/>
                      </a:lnTo>
                      <a:lnTo>
                        <a:pt x="952" y="92"/>
                      </a:lnTo>
                      <a:lnTo>
                        <a:pt x="949" y="100"/>
                      </a:lnTo>
                      <a:lnTo>
                        <a:pt x="945" y="108"/>
                      </a:lnTo>
                      <a:lnTo>
                        <a:pt x="938" y="115"/>
                      </a:lnTo>
                      <a:lnTo>
                        <a:pt x="934" y="119"/>
                      </a:lnTo>
                      <a:lnTo>
                        <a:pt x="931" y="124"/>
                      </a:lnTo>
                      <a:lnTo>
                        <a:pt x="930" y="128"/>
                      </a:lnTo>
                      <a:lnTo>
                        <a:pt x="930" y="133"/>
                      </a:lnTo>
                      <a:lnTo>
                        <a:pt x="931" y="137"/>
                      </a:lnTo>
                      <a:lnTo>
                        <a:pt x="935" y="140"/>
                      </a:lnTo>
                      <a:lnTo>
                        <a:pt x="943" y="144"/>
                      </a:lnTo>
                      <a:lnTo>
                        <a:pt x="944" y="146"/>
                      </a:lnTo>
                      <a:lnTo>
                        <a:pt x="944" y="147"/>
                      </a:lnTo>
                      <a:lnTo>
                        <a:pt x="943" y="153"/>
                      </a:lnTo>
                      <a:lnTo>
                        <a:pt x="940" y="158"/>
                      </a:lnTo>
                      <a:lnTo>
                        <a:pt x="939" y="163"/>
                      </a:lnTo>
                      <a:lnTo>
                        <a:pt x="938" y="171"/>
                      </a:lnTo>
                      <a:lnTo>
                        <a:pt x="938" y="179"/>
                      </a:lnTo>
                      <a:lnTo>
                        <a:pt x="939" y="186"/>
                      </a:lnTo>
                      <a:lnTo>
                        <a:pt x="943" y="193"/>
                      </a:lnTo>
                      <a:lnTo>
                        <a:pt x="944" y="195"/>
                      </a:lnTo>
                      <a:lnTo>
                        <a:pt x="946" y="195"/>
                      </a:lnTo>
                      <a:lnTo>
                        <a:pt x="950" y="195"/>
                      </a:lnTo>
                      <a:lnTo>
                        <a:pt x="952" y="195"/>
                      </a:lnTo>
                      <a:lnTo>
                        <a:pt x="953" y="196"/>
                      </a:lnTo>
                      <a:lnTo>
                        <a:pt x="955" y="201"/>
                      </a:lnTo>
                      <a:lnTo>
                        <a:pt x="957" y="204"/>
                      </a:lnTo>
                      <a:lnTo>
                        <a:pt x="957" y="207"/>
                      </a:lnTo>
                      <a:lnTo>
                        <a:pt x="954" y="208"/>
                      </a:lnTo>
                      <a:lnTo>
                        <a:pt x="953" y="209"/>
                      </a:lnTo>
                      <a:lnTo>
                        <a:pt x="949" y="208"/>
                      </a:lnTo>
                      <a:lnTo>
                        <a:pt x="948" y="207"/>
                      </a:lnTo>
                      <a:lnTo>
                        <a:pt x="946" y="207"/>
                      </a:lnTo>
                      <a:lnTo>
                        <a:pt x="946" y="208"/>
                      </a:lnTo>
                      <a:lnTo>
                        <a:pt x="948" y="216"/>
                      </a:lnTo>
                      <a:lnTo>
                        <a:pt x="950" y="225"/>
                      </a:lnTo>
                      <a:lnTo>
                        <a:pt x="952" y="234"/>
                      </a:lnTo>
                      <a:lnTo>
                        <a:pt x="952" y="239"/>
                      </a:lnTo>
                      <a:lnTo>
                        <a:pt x="950" y="242"/>
                      </a:lnTo>
                      <a:lnTo>
                        <a:pt x="949" y="241"/>
                      </a:lnTo>
                      <a:lnTo>
                        <a:pt x="948" y="240"/>
                      </a:lnTo>
                      <a:lnTo>
                        <a:pt x="945" y="240"/>
                      </a:lnTo>
                      <a:lnTo>
                        <a:pt x="944" y="241"/>
                      </a:lnTo>
                      <a:lnTo>
                        <a:pt x="943" y="244"/>
                      </a:lnTo>
                      <a:lnTo>
                        <a:pt x="940" y="248"/>
                      </a:lnTo>
                      <a:lnTo>
                        <a:pt x="940" y="253"/>
                      </a:lnTo>
                      <a:lnTo>
                        <a:pt x="940" y="256"/>
                      </a:lnTo>
                      <a:lnTo>
                        <a:pt x="941" y="262"/>
                      </a:lnTo>
                      <a:lnTo>
                        <a:pt x="943" y="265"/>
                      </a:lnTo>
                      <a:lnTo>
                        <a:pt x="941" y="266"/>
                      </a:lnTo>
                      <a:lnTo>
                        <a:pt x="936" y="268"/>
                      </a:lnTo>
                      <a:lnTo>
                        <a:pt x="931" y="268"/>
                      </a:lnTo>
                      <a:lnTo>
                        <a:pt x="921" y="268"/>
                      </a:lnTo>
                      <a:lnTo>
                        <a:pt x="916" y="269"/>
                      </a:lnTo>
                      <a:lnTo>
                        <a:pt x="912" y="269"/>
                      </a:lnTo>
                      <a:lnTo>
                        <a:pt x="910" y="272"/>
                      </a:lnTo>
                      <a:lnTo>
                        <a:pt x="907" y="275"/>
                      </a:lnTo>
                      <a:lnTo>
                        <a:pt x="908" y="279"/>
                      </a:lnTo>
                      <a:lnTo>
                        <a:pt x="911" y="282"/>
                      </a:lnTo>
                      <a:lnTo>
                        <a:pt x="913" y="285"/>
                      </a:lnTo>
                      <a:lnTo>
                        <a:pt x="913" y="286"/>
                      </a:lnTo>
                      <a:lnTo>
                        <a:pt x="912" y="287"/>
                      </a:lnTo>
                      <a:lnTo>
                        <a:pt x="911" y="287"/>
                      </a:lnTo>
                      <a:lnTo>
                        <a:pt x="908" y="287"/>
                      </a:lnTo>
                      <a:lnTo>
                        <a:pt x="905" y="285"/>
                      </a:lnTo>
                      <a:lnTo>
                        <a:pt x="901" y="282"/>
                      </a:lnTo>
                      <a:lnTo>
                        <a:pt x="897" y="280"/>
                      </a:lnTo>
                      <a:lnTo>
                        <a:pt x="892" y="279"/>
                      </a:lnTo>
                      <a:lnTo>
                        <a:pt x="889" y="279"/>
                      </a:lnTo>
                      <a:lnTo>
                        <a:pt x="887" y="280"/>
                      </a:lnTo>
                      <a:lnTo>
                        <a:pt x="879" y="280"/>
                      </a:lnTo>
                      <a:lnTo>
                        <a:pt x="873" y="278"/>
                      </a:lnTo>
                      <a:lnTo>
                        <a:pt x="866" y="274"/>
                      </a:lnTo>
                      <a:lnTo>
                        <a:pt x="863" y="267"/>
                      </a:lnTo>
                      <a:lnTo>
                        <a:pt x="875" y="268"/>
                      </a:lnTo>
                      <a:lnTo>
                        <a:pt x="882" y="268"/>
                      </a:lnTo>
                      <a:lnTo>
                        <a:pt x="888" y="267"/>
                      </a:lnTo>
                      <a:lnTo>
                        <a:pt x="894" y="267"/>
                      </a:lnTo>
                      <a:lnTo>
                        <a:pt x="901" y="265"/>
                      </a:lnTo>
                      <a:lnTo>
                        <a:pt x="906" y="260"/>
                      </a:lnTo>
                      <a:lnTo>
                        <a:pt x="908" y="254"/>
                      </a:lnTo>
                      <a:lnTo>
                        <a:pt x="912" y="250"/>
                      </a:lnTo>
                      <a:lnTo>
                        <a:pt x="916" y="248"/>
                      </a:lnTo>
                      <a:lnTo>
                        <a:pt x="920" y="246"/>
                      </a:lnTo>
                      <a:lnTo>
                        <a:pt x="924" y="243"/>
                      </a:lnTo>
                      <a:lnTo>
                        <a:pt x="925" y="241"/>
                      </a:lnTo>
                      <a:lnTo>
                        <a:pt x="925" y="239"/>
                      </a:lnTo>
                      <a:lnTo>
                        <a:pt x="925" y="234"/>
                      </a:lnTo>
                      <a:lnTo>
                        <a:pt x="924" y="228"/>
                      </a:lnTo>
                      <a:lnTo>
                        <a:pt x="924" y="223"/>
                      </a:lnTo>
                      <a:lnTo>
                        <a:pt x="924" y="220"/>
                      </a:lnTo>
                      <a:lnTo>
                        <a:pt x="922" y="216"/>
                      </a:lnTo>
                      <a:lnTo>
                        <a:pt x="920" y="214"/>
                      </a:lnTo>
                      <a:lnTo>
                        <a:pt x="916" y="211"/>
                      </a:lnTo>
                      <a:lnTo>
                        <a:pt x="913" y="208"/>
                      </a:lnTo>
                      <a:lnTo>
                        <a:pt x="911" y="204"/>
                      </a:lnTo>
                      <a:lnTo>
                        <a:pt x="911" y="202"/>
                      </a:lnTo>
                      <a:lnTo>
                        <a:pt x="912" y="199"/>
                      </a:lnTo>
                      <a:lnTo>
                        <a:pt x="913" y="197"/>
                      </a:lnTo>
                      <a:lnTo>
                        <a:pt x="912" y="195"/>
                      </a:lnTo>
                      <a:lnTo>
                        <a:pt x="910" y="188"/>
                      </a:lnTo>
                      <a:lnTo>
                        <a:pt x="908" y="180"/>
                      </a:lnTo>
                      <a:lnTo>
                        <a:pt x="910" y="173"/>
                      </a:lnTo>
                      <a:lnTo>
                        <a:pt x="913" y="165"/>
                      </a:lnTo>
                      <a:lnTo>
                        <a:pt x="915" y="163"/>
                      </a:lnTo>
                      <a:lnTo>
                        <a:pt x="915" y="159"/>
                      </a:lnTo>
                      <a:lnTo>
                        <a:pt x="913" y="153"/>
                      </a:lnTo>
                      <a:lnTo>
                        <a:pt x="910" y="147"/>
                      </a:lnTo>
                      <a:lnTo>
                        <a:pt x="905" y="141"/>
                      </a:lnTo>
                      <a:lnTo>
                        <a:pt x="903" y="139"/>
                      </a:lnTo>
                      <a:lnTo>
                        <a:pt x="902" y="137"/>
                      </a:lnTo>
                      <a:lnTo>
                        <a:pt x="903" y="132"/>
                      </a:lnTo>
                      <a:lnTo>
                        <a:pt x="906" y="126"/>
                      </a:lnTo>
                      <a:lnTo>
                        <a:pt x="908" y="121"/>
                      </a:lnTo>
                      <a:lnTo>
                        <a:pt x="910" y="113"/>
                      </a:lnTo>
                      <a:lnTo>
                        <a:pt x="912" y="107"/>
                      </a:lnTo>
                      <a:lnTo>
                        <a:pt x="916" y="101"/>
                      </a:lnTo>
                      <a:lnTo>
                        <a:pt x="921" y="95"/>
                      </a:lnTo>
                      <a:lnTo>
                        <a:pt x="922" y="93"/>
                      </a:lnTo>
                      <a:lnTo>
                        <a:pt x="921" y="92"/>
                      </a:lnTo>
                      <a:lnTo>
                        <a:pt x="920" y="90"/>
                      </a:lnTo>
                      <a:lnTo>
                        <a:pt x="918" y="90"/>
                      </a:lnTo>
                      <a:lnTo>
                        <a:pt x="912" y="92"/>
                      </a:lnTo>
                      <a:lnTo>
                        <a:pt x="907" y="92"/>
                      </a:lnTo>
                      <a:lnTo>
                        <a:pt x="902" y="90"/>
                      </a:lnTo>
                      <a:lnTo>
                        <a:pt x="897" y="88"/>
                      </a:lnTo>
                      <a:lnTo>
                        <a:pt x="894" y="88"/>
                      </a:lnTo>
                      <a:lnTo>
                        <a:pt x="892" y="88"/>
                      </a:lnTo>
                      <a:lnTo>
                        <a:pt x="891" y="89"/>
                      </a:lnTo>
                      <a:lnTo>
                        <a:pt x="888" y="88"/>
                      </a:lnTo>
                      <a:lnTo>
                        <a:pt x="878" y="87"/>
                      </a:lnTo>
                      <a:lnTo>
                        <a:pt x="874" y="86"/>
                      </a:lnTo>
                      <a:lnTo>
                        <a:pt x="869" y="84"/>
                      </a:lnTo>
                      <a:lnTo>
                        <a:pt x="866" y="84"/>
                      </a:lnTo>
                      <a:lnTo>
                        <a:pt x="863" y="86"/>
                      </a:lnTo>
                      <a:lnTo>
                        <a:pt x="860" y="88"/>
                      </a:lnTo>
                      <a:lnTo>
                        <a:pt x="858" y="92"/>
                      </a:lnTo>
                      <a:lnTo>
                        <a:pt x="852" y="100"/>
                      </a:lnTo>
                      <a:lnTo>
                        <a:pt x="851" y="107"/>
                      </a:lnTo>
                      <a:lnTo>
                        <a:pt x="851" y="113"/>
                      </a:lnTo>
                      <a:lnTo>
                        <a:pt x="849" y="118"/>
                      </a:lnTo>
                      <a:lnTo>
                        <a:pt x="846" y="122"/>
                      </a:lnTo>
                      <a:lnTo>
                        <a:pt x="842" y="126"/>
                      </a:lnTo>
                      <a:lnTo>
                        <a:pt x="832" y="132"/>
                      </a:lnTo>
                      <a:lnTo>
                        <a:pt x="823" y="137"/>
                      </a:lnTo>
                      <a:lnTo>
                        <a:pt x="821" y="138"/>
                      </a:lnTo>
                      <a:lnTo>
                        <a:pt x="818" y="140"/>
                      </a:lnTo>
                      <a:lnTo>
                        <a:pt x="818" y="143"/>
                      </a:lnTo>
                      <a:lnTo>
                        <a:pt x="819" y="145"/>
                      </a:lnTo>
                      <a:lnTo>
                        <a:pt x="823" y="153"/>
                      </a:lnTo>
                      <a:lnTo>
                        <a:pt x="825" y="160"/>
                      </a:lnTo>
                      <a:lnTo>
                        <a:pt x="823" y="167"/>
                      </a:lnTo>
                      <a:lnTo>
                        <a:pt x="819" y="176"/>
                      </a:lnTo>
                      <a:lnTo>
                        <a:pt x="819" y="180"/>
                      </a:lnTo>
                      <a:lnTo>
                        <a:pt x="819" y="184"/>
                      </a:lnTo>
                      <a:lnTo>
                        <a:pt x="823" y="184"/>
                      </a:lnTo>
                      <a:lnTo>
                        <a:pt x="826" y="182"/>
                      </a:lnTo>
                      <a:lnTo>
                        <a:pt x="830" y="180"/>
                      </a:lnTo>
                      <a:lnTo>
                        <a:pt x="831" y="182"/>
                      </a:lnTo>
                      <a:lnTo>
                        <a:pt x="833" y="182"/>
                      </a:lnTo>
                      <a:lnTo>
                        <a:pt x="835" y="184"/>
                      </a:lnTo>
                      <a:lnTo>
                        <a:pt x="835" y="185"/>
                      </a:lnTo>
                      <a:lnTo>
                        <a:pt x="831" y="190"/>
                      </a:lnTo>
                      <a:lnTo>
                        <a:pt x="831" y="192"/>
                      </a:lnTo>
                      <a:lnTo>
                        <a:pt x="832" y="193"/>
                      </a:lnTo>
                      <a:lnTo>
                        <a:pt x="833" y="196"/>
                      </a:lnTo>
                      <a:lnTo>
                        <a:pt x="835" y="198"/>
                      </a:lnTo>
                      <a:lnTo>
                        <a:pt x="836" y="202"/>
                      </a:lnTo>
                      <a:lnTo>
                        <a:pt x="838" y="205"/>
                      </a:lnTo>
                      <a:lnTo>
                        <a:pt x="840" y="205"/>
                      </a:lnTo>
                      <a:lnTo>
                        <a:pt x="844" y="204"/>
                      </a:lnTo>
                      <a:lnTo>
                        <a:pt x="849" y="203"/>
                      </a:lnTo>
                      <a:lnTo>
                        <a:pt x="851" y="205"/>
                      </a:lnTo>
                      <a:lnTo>
                        <a:pt x="851" y="207"/>
                      </a:lnTo>
                      <a:lnTo>
                        <a:pt x="849" y="217"/>
                      </a:lnTo>
                      <a:lnTo>
                        <a:pt x="846" y="221"/>
                      </a:lnTo>
                      <a:lnTo>
                        <a:pt x="845" y="222"/>
                      </a:lnTo>
                      <a:lnTo>
                        <a:pt x="844" y="222"/>
                      </a:lnTo>
                      <a:lnTo>
                        <a:pt x="837" y="221"/>
                      </a:lnTo>
                      <a:lnTo>
                        <a:pt x="832" y="218"/>
                      </a:lnTo>
                      <a:lnTo>
                        <a:pt x="821" y="212"/>
                      </a:lnTo>
                      <a:lnTo>
                        <a:pt x="816" y="209"/>
                      </a:lnTo>
                      <a:lnTo>
                        <a:pt x="809" y="205"/>
                      </a:lnTo>
                      <a:lnTo>
                        <a:pt x="804" y="203"/>
                      </a:lnTo>
                      <a:lnTo>
                        <a:pt x="800" y="202"/>
                      </a:lnTo>
                      <a:lnTo>
                        <a:pt x="797" y="202"/>
                      </a:lnTo>
                      <a:lnTo>
                        <a:pt x="793" y="203"/>
                      </a:lnTo>
                      <a:lnTo>
                        <a:pt x="792" y="203"/>
                      </a:lnTo>
                      <a:lnTo>
                        <a:pt x="789" y="203"/>
                      </a:lnTo>
                      <a:lnTo>
                        <a:pt x="775" y="190"/>
                      </a:lnTo>
                      <a:lnTo>
                        <a:pt x="767" y="184"/>
                      </a:lnTo>
                      <a:lnTo>
                        <a:pt x="760" y="180"/>
                      </a:lnTo>
                      <a:lnTo>
                        <a:pt x="751" y="178"/>
                      </a:lnTo>
                      <a:lnTo>
                        <a:pt x="742" y="178"/>
                      </a:lnTo>
                      <a:lnTo>
                        <a:pt x="733" y="179"/>
                      </a:lnTo>
                      <a:lnTo>
                        <a:pt x="724" y="182"/>
                      </a:lnTo>
                      <a:lnTo>
                        <a:pt x="722" y="182"/>
                      </a:lnTo>
                      <a:lnTo>
                        <a:pt x="720" y="179"/>
                      </a:lnTo>
                      <a:lnTo>
                        <a:pt x="717" y="173"/>
                      </a:lnTo>
                      <a:lnTo>
                        <a:pt x="714" y="173"/>
                      </a:lnTo>
                      <a:lnTo>
                        <a:pt x="713" y="175"/>
                      </a:lnTo>
                      <a:lnTo>
                        <a:pt x="712" y="178"/>
                      </a:lnTo>
                      <a:lnTo>
                        <a:pt x="709" y="179"/>
                      </a:lnTo>
                      <a:lnTo>
                        <a:pt x="705" y="179"/>
                      </a:lnTo>
                      <a:lnTo>
                        <a:pt x="703" y="180"/>
                      </a:lnTo>
                      <a:lnTo>
                        <a:pt x="701" y="183"/>
                      </a:lnTo>
                      <a:lnTo>
                        <a:pt x="703" y="184"/>
                      </a:lnTo>
                      <a:lnTo>
                        <a:pt x="708" y="189"/>
                      </a:lnTo>
                      <a:lnTo>
                        <a:pt x="713" y="193"/>
                      </a:lnTo>
                      <a:lnTo>
                        <a:pt x="715" y="197"/>
                      </a:lnTo>
                      <a:lnTo>
                        <a:pt x="717" y="199"/>
                      </a:lnTo>
                      <a:lnTo>
                        <a:pt x="717" y="203"/>
                      </a:lnTo>
                      <a:lnTo>
                        <a:pt x="714" y="205"/>
                      </a:lnTo>
                      <a:lnTo>
                        <a:pt x="712" y="208"/>
                      </a:lnTo>
                      <a:lnTo>
                        <a:pt x="708" y="208"/>
                      </a:lnTo>
                      <a:lnTo>
                        <a:pt x="700" y="208"/>
                      </a:lnTo>
                      <a:lnTo>
                        <a:pt x="699" y="209"/>
                      </a:lnTo>
                      <a:lnTo>
                        <a:pt x="698" y="210"/>
                      </a:lnTo>
                      <a:lnTo>
                        <a:pt x="696" y="212"/>
                      </a:lnTo>
                      <a:lnTo>
                        <a:pt x="698" y="217"/>
                      </a:lnTo>
                      <a:lnTo>
                        <a:pt x="696" y="218"/>
                      </a:lnTo>
                      <a:lnTo>
                        <a:pt x="695" y="220"/>
                      </a:lnTo>
                      <a:lnTo>
                        <a:pt x="694" y="221"/>
                      </a:lnTo>
                      <a:lnTo>
                        <a:pt x="691" y="220"/>
                      </a:lnTo>
                      <a:lnTo>
                        <a:pt x="689" y="218"/>
                      </a:lnTo>
                      <a:lnTo>
                        <a:pt x="686" y="217"/>
                      </a:lnTo>
                      <a:lnTo>
                        <a:pt x="685" y="214"/>
                      </a:lnTo>
                      <a:lnTo>
                        <a:pt x="685" y="210"/>
                      </a:lnTo>
                      <a:lnTo>
                        <a:pt x="685" y="207"/>
                      </a:lnTo>
                      <a:lnTo>
                        <a:pt x="684" y="203"/>
                      </a:lnTo>
                      <a:lnTo>
                        <a:pt x="682" y="203"/>
                      </a:lnTo>
                      <a:lnTo>
                        <a:pt x="681" y="204"/>
                      </a:lnTo>
                      <a:lnTo>
                        <a:pt x="680" y="207"/>
                      </a:lnTo>
                      <a:lnTo>
                        <a:pt x="676" y="208"/>
                      </a:lnTo>
                      <a:lnTo>
                        <a:pt x="671" y="208"/>
                      </a:lnTo>
                      <a:lnTo>
                        <a:pt x="667" y="208"/>
                      </a:lnTo>
                      <a:lnTo>
                        <a:pt x="662" y="208"/>
                      </a:lnTo>
                      <a:lnTo>
                        <a:pt x="659" y="209"/>
                      </a:lnTo>
                      <a:lnTo>
                        <a:pt x="657" y="211"/>
                      </a:lnTo>
                      <a:lnTo>
                        <a:pt x="653" y="215"/>
                      </a:lnTo>
                      <a:lnTo>
                        <a:pt x="652" y="215"/>
                      </a:lnTo>
                      <a:lnTo>
                        <a:pt x="649" y="215"/>
                      </a:lnTo>
                      <a:lnTo>
                        <a:pt x="640" y="212"/>
                      </a:lnTo>
                      <a:lnTo>
                        <a:pt x="632" y="210"/>
                      </a:lnTo>
                      <a:lnTo>
                        <a:pt x="626" y="210"/>
                      </a:lnTo>
                      <a:lnTo>
                        <a:pt x="623" y="211"/>
                      </a:lnTo>
                      <a:lnTo>
                        <a:pt x="619" y="212"/>
                      </a:lnTo>
                      <a:lnTo>
                        <a:pt x="615" y="216"/>
                      </a:lnTo>
                      <a:lnTo>
                        <a:pt x="611" y="224"/>
                      </a:lnTo>
                      <a:lnTo>
                        <a:pt x="610" y="227"/>
                      </a:lnTo>
                      <a:lnTo>
                        <a:pt x="607" y="228"/>
                      </a:lnTo>
                      <a:lnTo>
                        <a:pt x="606" y="227"/>
                      </a:lnTo>
                      <a:lnTo>
                        <a:pt x="600" y="224"/>
                      </a:lnTo>
                      <a:lnTo>
                        <a:pt x="596" y="222"/>
                      </a:lnTo>
                      <a:lnTo>
                        <a:pt x="592" y="223"/>
                      </a:lnTo>
                      <a:lnTo>
                        <a:pt x="592" y="212"/>
                      </a:lnTo>
                      <a:lnTo>
                        <a:pt x="593" y="209"/>
                      </a:lnTo>
                      <a:lnTo>
                        <a:pt x="597" y="205"/>
                      </a:lnTo>
                      <a:lnTo>
                        <a:pt x="597" y="204"/>
                      </a:lnTo>
                      <a:lnTo>
                        <a:pt x="597" y="203"/>
                      </a:lnTo>
                      <a:lnTo>
                        <a:pt x="597" y="202"/>
                      </a:lnTo>
                      <a:lnTo>
                        <a:pt x="596" y="201"/>
                      </a:lnTo>
                      <a:lnTo>
                        <a:pt x="592" y="201"/>
                      </a:lnTo>
                      <a:lnTo>
                        <a:pt x="590" y="202"/>
                      </a:lnTo>
                      <a:lnTo>
                        <a:pt x="583" y="204"/>
                      </a:lnTo>
                      <a:lnTo>
                        <a:pt x="578" y="207"/>
                      </a:lnTo>
                      <a:lnTo>
                        <a:pt x="576" y="210"/>
                      </a:lnTo>
                      <a:lnTo>
                        <a:pt x="572" y="221"/>
                      </a:lnTo>
                      <a:lnTo>
                        <a:pt x="571" y="221"/>
                      </a:lnTo>
                      <a:lnTo>
                        <a:pt x="569" y="221"/>
                      </a:lnTo>
                      <a:lnTo>
                        <a:pt x="567" y="220"/>
                      </a:lnTo>
                      <a:lnTo>
                        <a:pt x="562" y="215"/>
                      </a:lnTo>
                      <a:lnTo>
                        <a:pt x="558" y="212"/>
                      </a:lnTo>
                      <a:lnTo>
                        <a:pt x="554" y="212"/>
                      </a:lnTo>
                      <a:lnTo>
                        <a:pt x="546" y="216"/>
                      </a:lnTo>
                      <a:lnTo>
                        <a:pt x="540" y="220"/>
                      </a:lnTo>
                      <a:lnTo>
                        <a:pt x="520" y="231"/>
                      </a:lnTo>
                      <a:lnTo>
                        <a:pt x="510" y="237"/>
                      </a:lnTo>
                      <a:lnTo>
                        <a:pt x="501" y="243"/>
                      </a:lnTo>
                      <a:lnTo>
                        <a:pt x="499" y="246"/>
                      </a:lnTo>
                      <a:lnTo>
                        <a:pt x="498" y="249"/>
                      </a:lnTo>
                      <a:lnTo>
                        <a:pt x="498" y="256"/>
                      </a:lnTo>
                      <a:lnTo>
                        <a:pt x="497" y="260"/>
                      </a:lnTo>
                      <a:lnTo>
                        <a:pt x="496" y="262"/>
                      </a:lnTo>
                      <a:lnTo>
                        <a:pt x="494" y="263"/>
                      </a:lnTo>
                      <a:lnTo>
                        <a:pt x="491" y="262"/>
                      </a:lnTo>
                      <a:lnTo>
                        <a:pt x="485" y="261"/>
                      </a:lnTo>
                      <a:lnTo>
                        <a:pt x="480" y="262"/>
                      </a:lnTo>
                      <a:lnTo>
                        <a:pt x="475" y="263"/>
                      </a:lnTo>
                      <a:lnTo>
                        <a:pt x="472" y="263"/>
                      </a:lnTo>
                      <a:lnTo>
                        <a:pt x="469" y="263"/>
                      </a:lnTo>
                      <a:lnTo>
                        <a:pt x="466" y="262"/>
                      </a:lnTo>
                      <a:lnTo>
                        <a:pt x="464" y="259"/>
                      </a:lnTo>
                      <a:lnTo>
                        <a:pt x="461" y="255"/>
                      </a:lnTo>
                      <a:lnTo>
                        <a:pt x="459" y="252"/>
                      </a:lnTo>
                      <a:lnTo>
                        <a:pt x="451" y="248"/>
                      </a:lnTo>
                      <a:lnTo>
                        <a:pt x="447" y="246"/>
                      </a:lnTo>
                      <a:lnTo>
                        <a:pt x="446" y="242"/>
                      </a:lnTo>
                      <a:lnTo>
                        <a:pt x="447" y="240"/>
                      </a:lnTo>
                      <a:lnTo>
                        <a:pt x="452" y="239"/>
                      </a:lnTo>
                      <a:lnTo>
                        <a:pt x="459" y="237"/>
                      </a:lnTo>
                      <a:lnTo>
                        <a:pt x="463" y="236"/>
                      </a:lnTo>
                      <a:lnTo>
                        <a:pt x="465" y="235"/>
                      </a:lnTo>
                      <a:lnTo>
                        <a:pt x="466" y="233"/>
                      </a:lnTo>
                      <a:lnTo>
                        <a:pt x="466" y="229"/>
                      </a:lnTo>
                      <a:lnTo>
                        <a:pt x="466" y="225"/>
                      </a:lnTo>
                      <a:lnTo>
                        <a:pt x="464" y="223"/>
                      </a:lnTo>
                      <a:lnTo>
                        <a:pt x="461" y="222"/>
                      </a:lnTo>
                      <a:lnTo>
                        <a:pt x="455" y="218"/>
                      </a:lnTo>
                      <a:lnTo>
                        <a:pt x="447" y="216"/>
                      </a:lnTo>
                      <a:lnTo>
                        <a:pt x="444" y="216"/>
                      </a:lnTo>
                      <a:lnTo>
                        <a:pt x="441" y="216"/>
                      </a:lnTo>
                      <a:lnTo>
                        <a:pt x="437" y="218"/>
                      </a:lnTo>
                      <a:lnTo>
                        <a:pt x="435" y="218"/>
                      </a:lnTo>
                      <a:lnTo>
                        <a:pt x="431" y="217"/>
                      </a:lnTo>
                      <a:lnTo>
                        <a:pt x="427" y="214"/>
                      </a:lnTo>
                      <a:lnTo>
                        <a:pt x="426" y="212"/>
                      </a:lnTo>
                      <a:lnTo>
                        <a:pt x="422" y="212"/>
                      </a:lnTo>
                      <a:lnTo>
                        <a:pt x="421" y="215"/>
                      </a:lnTo>
                      <a:lnTo>
                        <a:pt x="419" y="217"/>
                      </a:lnTo>
                      <a:lnTo>
                        <a:pt x="421" y="220"/>
                      </a:lnTo>
                      <a:lnTo>
                        <a:pt x="422" y="221"/>
                      </a:lnTo>
                      <a:lnTo>
                        <a:pt x="426" y="223"/>
                      </a:lnTo>
                      <a:lnTo>
                        <a:pt x="430" y="227"/>
                      </a:lnTo>
                      <a:lnTo>
                        <a:pt x="432" y="230"/>
                      </a:lnTo>
                      <a:lnTo>
                        <a:pt x="432" y="235"/>
                      </a:lnTo>
                      <a:lnTo>
                        <a:pt x="430" y="239"/>
                      </a:lnTo>
                      <a:lnTo>
                        <a:pt x="427" y="242"/>
                      </a:lnTo>
                      <a:lnTo>
                        <a:pt x="419" y="250"/>
                      </a:lnTo>
                      <a:lnTo>
                        <a:pt x="419" y="253"/>
                      </a:lnTo>
                      <a:lnTo>
                        <a:pt x="418" y="255"/>
                      </a:lnTo>
                      <a:lnTo>
                        <a:pt x="419" y="258"/>
                      </a:lnTo>
                      <a:lnTo>
                        <a:pt x="419" y="259"/>
                      </a:lnTo>
                      <a:lnTo>
                        <a:pt x="421" y="258"/>
                      </a:lnTo>
                      <a:lnTo>
                        <a:pt x="427" y="255"/>
                      </a:lnTo>
                      <a:lnTo>
                        <a:pt x="431" y="255"/>
                      </a:lnTo>
                      <a:lnTo>
                        <a:pt x="433" y="256"/>
                      </a:lnTo>
                      <a:lnTo>
                        <a:pt x="435" y="259"/>
                      </a:lnTo>
                      <a:lnTo>
                        <a:pt x="436" y="261"/>
                      </a:lnTo>
                      <a:lnTo>
                        <a:pt x="436" y="265"/>
                      </a:lnTo>
                      <a:lnTo>
                        <a:pt x="436" y="267"/>
                      </a:lnTo>
                      <a:lnTo>
                        <a:pt x="435" y="269"/>
                      </a:lnTo>
                      <a:lnTo>
                        <a:pt x="435" y="272"/>
                      </a:lnTo>
                      <a:lnTo>
                        <a:pt x="433" y="275"/>
                      </a:lnTo>
                      <a:lnTo>
                        <a:pt x="433" y="276"/>
                      </a:lnTo>
                      <a:lnTo>
                        <a:pt x="431" y="278"/>
                      </a:lnTo>
                      <a:lnTo>
                        <a:pt x="428" y="278"/>
                      </a:lnTo>
                      <a:lnTo>
                        <a:pt x="426" y="278"/>
                      </a:lnTo>
                      <a:lnTo>
                        <a:pt x="422" y="279"/>
                      </a:lnTo>
                      <a:lnTo>
                        <a:pt x="422" y="275"/>
                      </a:lnTo>
                      <a:lnTo>
                        <a:pt x="419" y="272"/>
                      </a:lnTo>
                      <a:lnTo>
                        <a:pt x="417" y="271"/>
                      </a:lnTo>
                      <a:lnTo>
                        <a:pt x="413" y="269"/>
                      </a:lnTo>
                      <a:lnTo>
                        <a:pt x="405" y="269"/>
                      </a:lnTo>
                      <a:lnTo>
                        <a:pt x="399" y="271"/>
                      </a:lnTo>
                      <a:lnTo>
                        <a:pt x="397" y="273"/>
                      </a:lnTo>
                      <a:lnTo>
                        <a:pt x="393" y="275"/>
                      </a:lnTo>
                      <a:lnTo>
                        <a:pt x="389" y="279"/>
                      </a:lnTo>
                      <a:lnTo>
                        <a:pt x="384" y="280"/>
                      </a:lnTo>
                      <a:lnTo>
                        <a:pt x="383" y="282"/>
                      </a:lnTo>
                      <a:lnTo>
                        <a:pt x="380" y="286"/>
                      </a:lnTo>
                      <a:lnTo>
                        <a:pt x="379" y="288"/>
                      </a:lnTo>
                      <a:lnTo>
                        <a:pt x="378" y="288"/>
                      </a:lnTo>
                      <a:lnTo>
                        <a:pt x="376" y="288"/>
                      </a:lnTo>
                      <a:lnTo>
                        <a:pt x="370" y="287"/>
                      </a:lnTo>
                      <a:lnTo>
                        <a:pt x="367" y="288"/>
                      </a:lnTo>
                      <a:lnTo>
                        <a:pt x="364" y="290"/>
                      </a:lnTo>
                      <a:lnTo>
                        <a:pt x="358" y="295"/>
                      </a:lnTo>
                      <a:lnTo>
                        <a:pt x="355" y="299"/>
                      </a:lnTo>
                      <a:lnTo>
                        <a:pt x="353" y="304"/>
                      </a:lnTo>
                      <a:lnTo>
                        <a:pt x="353" y="308"/>
                      </a:lnTo>
                      <a:lnTo>
                        <a:pt x="356" y="312"/>
                      </a:lnTo>
                      <a:lnTo>
                        <a:pt x="360" y="314"/>
                      </a:lnTo>
                      <a:lnTo>
                        <a:pt x="365" y="317"/>
                      </a:lnTo>
                      <a:lnTo>
                        <a:pt x="370" y="319"/>
                      </a:lnTo>
                      <a:lnTo>
                        <a:pt x="374" y="323"/>
                      </a:lnTo>
                      <a:lnTo>
                        <a:pt x="375" y="326"/>
                      </a:lnTo>
                      <a:lnTo>
                        <a:pt x="375" y="327"/>
                      </a:lnTo>
                      <a:lnTo>
                        <a:pt x="374" y="329"/>
                      </a:lnTo>
                      <a:lnTo>
                        <a:pt x="365" y="326"/>
                      </a:lnTo>
                      <a:lnTo>
                        <a:pt x="357" y="324"/>
                      </a:lnTo>
                      <a:lnTo>
                        <a:pt x="350" y="322"/>
                      </a:lnTo>
                      <a:lnTo>
                        <a:pt x="345" y="320"/>
                      </a:lnTo>
                      <a:lnTo>
                        <a:pt x="339" y="320"/>
                      </a:lnTo>
                      <a:lnTo>
                        <a:pt x="336" y="320"/>
                      </a:lnTo>
                      <a:lnTo>
                        <a:pt x="331" y="318"/>
                      </a:lnTo>
                      <a:lnTo>
                        <a:pt x="322" y="314"/>
                      </a:lnTo>
                      <a:lnTo>
                        <a:pt x="313" y="311"/>
                      </a:lnTo>
                      <a:lnTo>
                        <a:pt x="309" y="307"/>
                      </a:lnTo>
                      <a:lnTo>
                        <a:pt x="306" y="305"/>
                      </a:lnTo>
                      <a:lnTo>
                        <a:pt x="305" y="304"/>
                      </a:lnTo>
                      <a:lnTo>
                        <a:pt x="304" y="304"/>
                      </a:lnTo>
                      <a:lnTo>
                        <a:pt x="300" y="305"/>
                      </a:lnTo>
                      <a:lnTo>
                        <a:pt x="298" y="307"/>
                      </a:lnTo>
                      <a:lnTo>
                        <a:pt x="295" y="314"/>
                      </a:lnTo>
                      <a:lnTo>
                        <a:pt x="294" y="314"/>
                      </a:lnTo>
                      <a:lnTo>
                        <a:pt x="291" y="316"/>
                      </a:lnTo>
                      <a:lnTo>
                        <a:pt x="291" y="317"/>
                      </a:lnTo>
                      <a:lnTo>
                        <a:pt x="291" y="319"/>
                      </a:lnTo>
                      <a:lnTo>
                        <a:pt x="295" y="322"/>
                      </a:lnTo>
                      <a:lnTo>
                        <a:pt x="304" y="327"/>
                      </a:lnTo>
                      <a:lnTo>
                        <a:pt x="309" y="331"/>
                      </a:lnTo>
                      <a:lnTo>
                        <a:pt x="313" y="335"/>
                      </a:lnTo>
                      <a:lnTo>
                        <a:pt x="317" y="338"/>
                      </a:lnTo>
                      <a:lnTo>
                        <a:pt x="317" y="342"/>
                      </a:lnTo>
                      <a:lnTo>
                        <a:pt x="317" y="344"/>
                      </a:lnTo>
                      <a:lnTo>
                        <a:pt x="315" y="346"/>
                      </a:lnTo>
                      <a:lnTo>
                        <a:pt x="313" y="346"/>
                      </a:lnTo>
                      <a:lnTo>
                        <a:pt x="310" y="346"/>
                      </a:lnTo>
                      <a:lnTo>
                        <a:pt x="309" y="345"/>
                      </a:lnTo>
                      <a:lnTo>
                        <a:pt x="301" y="342"/>
                      </a:lnTo>
                      <a:lnTo>
                        <a:pt x="292" y="338"/>
                      </a:lnTo>
                      <a:lnTo>
                        <a:pt x="290" y="337"/>
                      </a:lnTo>
                      <a:lnTo>
                        <a:pt x="289" y="335"/>
                      </a:lnTo>
                      <a:lnTo>
                        <a:pt x="284" y="333"/>
                      </a:lnTo>
                      <a:lnTo>
                        <a:pt x="278" y="333"/>
                      </a:lnTo>
                      <a:lnTo>
                        <a:pt x="273" y="333"/>
                      </a:lnTo>
                      <a:lnTo>
                        <a:pt x="268" y="332"/>
                      </a:lnTo>
                      <a:lnTo>
                        <a:pt x="267" y="331"/>
                      </a:lnTo>
                      <a:lnTo>
                        <a:pt x="266" y="330"/>
                      </a:lnTo>
                      <a:lnTo>
                        <a:pt x="266" y="327"/>
                      </a:lnTo>
                      <a:lnTo>
                        <a:pt x="266" y="326"/>
                      </a:lnTo>
                      <a:lnTo>
                        <a:pt x="265" y="322"/>
                      </a:lnTo>
                      <a:lnTo>
                        <a:pt x="263" y="316"/>
                      </a:lnTo>
                      <a:lnTo>
                        <a:pt x="262" y="310"/>
                      </a:lnTo>
                      <a:lnTo>
                        <a:pt x="263" y="305"/>
                      </a:lnTo>
                      <a:lnTo>
                        <a:pt x="266" y="299"/>
                      </a:lnTo>
                      <a:lnTo>
                        <a:pt x="266" y="294"/>
                      </a:lnTo>
                      <a:lnTo>
                        <a:pt x="266" y="290"/>
                      </a:lnTo>
                      <a:lnTo>
                        <a:pt x="263" y="287"/>
                      </a:lnTo>
                      <a:lnTo>
                        <a:pt x="259" y="285"/>
                      </a:lnTo>
                      <a:lnTo>
                        <a:pt x="251" y="281"/>
                      </a:lnTo>
                      <a:lnTo>
                        <a:pt x="240" y="280"/>
                      </a:lnTo>
                      <a:lnTo>
                        <a:pt x="237" y="279"/>
                      </a:lnTo>
                      <a:lnTo>
                        <a:pt x="234" y="276"/>
                      </a:lnTo>
                      <a:lnTo>
                        <a:pt x="232" y="274"/>
                      </a:lnTo>
                      <a:lnTo>
                        <a:pt x="230" y="272"/>
                      </a:lnTo>
                      <a:lnTo>
                        <a:pt x="228" y="265"/>
                      </a:lnTo>
                      <a:lnTo>
                        <a:pt x="228" y="261"/>
                      </a:lnTo>
                      <a:lnTo>
                        <a:pt x="229" y="258"/>
                      </a:lnTo>
                      <a:lnTo>
                        <a:pt x="230" y="256"/>
                      </a:lnTo>
                      <a:lnTo>
                        <a:pt x="233" y="256"/>
                      </a:lnTo>
                      <a:lnTo>
                        <a:pt x="237" y="260"/>
                      </a:lnTo>
                      <a:lnTo>
                        <a:pt x="239" y="261"/>
                      </a:lnTo>
                      <a:lnTo>
                        <a:pt x="242" y="262"/>
                      </a:lnTo>
                      <a:lnTo>
                        <a:pt x="247" y="262"/>
                      </a:lnTo>
                      <a:lnTo>
                        <a:pt x="251" y="262"/>
                      </a:lnTo>
                      <a:lnTo>
                        <a:pt x="262" y="267"/>
                      </a:lnTo>
                      <a:lnTo>
                        <a:pt x="273" y="272"/>
                      </a:lnTo>
                      <a:lnTo>
                        <a:pt x="278" y="274"/>
                      </a:lnTo>
                      <a:lnTo>
                        <a:pt x="285" y="275"/>
                      </a:lnTo>
                      <a:lnTo>
                        <a:pt x="291" y="275"/>
                      </a:lnTo>
                      <a:lnTo>
                        <a:pt x="298" y="274"/>
                      </a:lnTo>
                      <a:lnTo>
                        <a:pt x="299" y="274"/>
                      </a:lnTo>
                      <a:lnTo>
                        <a:pt x="300" y="274"/>
                      </a:lnTo>
                      <a:lnTo>
                        <a:pt x="303" y="276"/>
                      </a:lnTo>
                      <a:lnTo>
                        <a:pt x="305" y="280"/>
                      </a:lnTo>
                      <a:lnTo>
                        <a:pt x="306" y="282"/>
                      </a:lnTo>
                      <a:lnTo>
                        <a:pt x="312" y="285"/>
                      </a:lnTo>
                      <a:lnTo>
                        <a:pt x="317" y="286"/>
                      </a:lnTo>
                      <a:lnTo>
                        <a:pt x="342" y="286"/>
                      </a:lnTo>
                      <a:lnTo>
                        <a:pt x="346" y="285"/>
                      </a:lnTo>
                      <a:lnTo>
                        <a:pt x="351" y="282"/>
                      </a:lnTo>
                      <a:lnTo>
                        <a:pt x="361" y="276"/>
                      </a:lnTo>
                      <a:lnTo>
                        <a:pt x="361" y="275"/>
                      </a:lnTo>
                      <a:lnTo>
                        <a:pt x="362" y="273"/>
                      </a:lnTo>
                      <a:lnTo>
                        <a:pt x="374" y="263"/>
                      </a:lnTo>
                      <a:lnTo>
                        <a:pt x="378" y="260"/>
                      </a:lnTo>
                      <a:lnTo>
                        <a:pt x="379" y="255"/>
                      </a:lnTo>
                      <a:lnTo>
                        <a:pt x="379" y="254"/>
                      </a:lnTo>
                      <a:lnTo>
                        <a:pt x="378" y="253"/>
                      </a:lnTo>
                      <a:lnTo>
                        <a:pt x="375" y="252"/>
                      </a:lnTo>
                      <a:lnTo>
                        <a:pt x="372" y="250"/>
                      </a:lnTo>
                      <a:lnTo>
                        <a:pt x="371" y="249"/>
                      </a:lnTo>
                      <a:lnTo>
                        <a:pt x="372" y="244"/>
                      </a:lnTo>
                      <a:lnTo>
                        <a:pt x="372" y="241"/>
                      </a:lnTo>
                      <a:lnTo>
                        <a:pt x="371" y="236"/>
                      </a:lnTo>
                      <a:lnTo>
                        <a:pt x="362" y="234"/>
                      </a:lnTo>
                      <a:lnTo>
                        <a:pt x="353" y="229"/>
                      </a:lnTo>
                      <a:lnTo>
                        <a:pt x="352" y="229"/>
                      </a:lnTo>
                      <a:lnTo>
                        <a:pt x="351" y="230"/>
                      </a:lnTo>
                      <a:lnTo>
                        <a:pt x="348" y="230"/>
                      </a:lnTo>
                      <a:lnTo>
                        <a:pt x="347" y="230"/>
                      </a:lnTo>
                      <a:lnTo>
                        <a:pt x="345" y="228"/>
                      </a:lnTo>
                      <a:lnTo>
                        <a:pt x="343" y="225"/>
                      </a:lnTo>
                      <a:lnTo>
                        <a:pt x="341" y="222"/>
                      </a:lnTo>
                      <a:lnTo>
                        <a:pt x="339" y="221"/>
                      </a:lnTo>
                      <a:lnTo>
                        <a:pt x="337" y="221"/>
                      </a:lnTo>
                      <a:lnTo>
                        <a:pt x="333" y="221"/>
                      </a:lnTo>
                      <a:lnTo>
                        <a:pt x="329" y="220"/>
                      </a:lnTo>
                      <a:lnTo>
                        <a:pt x="325" y="217"/>
                      </a:lnTo>
                      <a:lnTo>
                        <a:pt x="322" y="214"/>
                      </a:lnTo>
                      <a:lnTo>
                        <a:pt x="318" y="211"/>
                      </a:lnTo>
                      <a:lnTo>
                        <a:pt x="305" y="207"/>
                      </a:lnTo>
                      <a:lnTo>
                        <a:pt x="299" y="205"/>
                      </a:lnTo>
                      <a:lnTo>
                        <a:pt x="292" y="203"/>
                      </a:lnTo>
                      <a:lnTo>
                        <a:pt x="287" y="204"/>
                      </a:lnTo>
                      <a:lnTo>
                        <a:pt x="285" y="204"/>
                      </a:lnTo>
                      <a:lnTo>
                        <a:pt x="281" y="204"/>
                      </a:lnTo>
                      <a:lnTo>
                        <a:pt x="280" y="203"/>
                      </a:lnTo>
                      <a:lnTo>
                        <a:pt x="278" y="202"/>
                      </a:lnTo>
                      <a:lnTo>
                        <a:pt x="276" y="197"/>
                      </a:lnTo>
                      <a:lnTo>
                        <a:pt x="275" y="197"/>
                      </a:lnTo>
                      <a:lnTo>
                        <a:pt x="273" y="197"/>
                      </a:lnTo>
                      <a:lnTo>
                        <a:pt x="270" y="198"/>
                      </a:lnTo>
                      <a:lnTo>
                        <a:pt x="267" y="198"/>
                      </a:lnTo>
                      <a:lnTo>
                        <a:pt x="266" y="197"/>
                      </a:lnTo>
                      <a:lnTo>
                        <a:pt x="265" y="195"/>
                      </a:lnTo>
                      <a:lnTo>
                        <a:pt x="262" y="192"/>
                      </a:lnTo>
                      <a:lnTo>
                        <a:pt x="257" y="191"/>
                      </a:lnTo>
                      <a:lnTo>
                        <a:pt x="251" y="191"/>
                      </a:lnTo>
                      <a:lnTo>
                        <a:pt x="245" y="193"/>
                      </a:lnTo>
                      <a:lnTo>
                        <a:pt x="243" y="196"/>
                      </a:lnTo>
                      <a:lnTo>
                        <a:pt x="242" y="199"/>
                      </a:lnTo>
                      <a:lnTo>
                        <a:pt x="240" y="202"/>
                      </a:lnTo>
                      <a:lnTo>
                        <a:pt x="239" y="203"/>
                      </a:lnTo>
                      <a:lnTo>
                        <a:pt x="237" y="203"/>
                      </a:lnTo>
                      <a:lnTo>
                        <a:pt x="237" y="201"/>
                      </a:lnTo>
                      <a:lnTo>
                        <a:pt x="235" y="197"/>
                      </a:lnTo>
                      <a:lnTo>
                        <a:pt x="234" y="192"/>
                      </a:lnTo>
                      <a:lnTo>
                        <a:pt x="233" y="188"/>
                      </a:lnTo>
                      <a:lnTo>
                        <a:pt x="230" y="186"/>
                      </a:lnTo>
                      <a:lnTo>
                        <a:pt x="229" y="188"/>
                      </a:lnTo>
                      <a:lnTo>
                        <a:pt x="226" y="189"/>
                      </a:lnTo>
                      <a:lnTo>
                        <a:pt x="225" y="189"/>
                      </a:lnTo>
                      <a:lnTo>
                        <a:pt x="221" y="186"/>
                      </a:lnTo>
                      <a:lnTo>
                        <a:pt x="221" y="185"/>
                      </a:lnTo>
                      <a:lnTo>
                        <a:pt x="221" y="184"/>
                      </a:lnTo>
                      <a:lnTo>
                        <a:pt x="223" y="183"/>
                      </a:lnTo>
                      <a:lnTo>
                        <a:pt x="225" y="182"/>
                      </a:lnTo>
                      <a:lnTo>
                        <a:pt x="228" y="182"/>
                      </a:lnTo>
                      <a:lnTo>
                        <a:pt x="229" y="179"/>
                      </a:lnTo>
                      <a:lnTo>
                        <a:pt x="228" y="178"/>
                      </a:lnTo>
                      <a:lnTo>
                        <a:pt x="221" y="175"/>
                      </a:lnTo>
                      <a:lnTo>
                        <a:pt x="216" y="172"/>
                      </a:lnTo>
                      <a:lnTo>
                        <a:pt x="214" y="171"/>
                      </a:lnTo>
                      <a:lnTo>
                        <a:pt x="212" y="171"/>
                      </a:lnTo>
                      <a:lnTo>
                        <a:pt x="211" y="175"/>
                      </a:lnTo>
                      <a:lnTo>
                        <a:pt x="211" y="178"/>
                      </a:lnTo>
                      <a:lnTo>
                        <a:pt x="211" y="179"/>
                      </a:lnTo>
                      <a:lnTo>
                        <a:pt x="210" y="180"/>
                      </a:lnTo>
                      <a:lnTo>
                        <a:pt x="206" y="182"/>
                      </a:lnTo>
                      <a:lnTo>
                        <a:pt x="202" y="183"/>
                      </a:lnTo>
                      <a:lnTo>
                        <a:pt x="193" y="183"/>
                      </a:lnTo>
                      <a:lnTo>
                        <a:pt x="191" y="186"/>
                      </a:lnTo>
                      <a:lnTo>
                        <a:pt x="188" y="189"/>
                      </a:lnTo>
                      <a:lnTo>
                        <a:pt x="185" y="189"/>
                      </a:lnTo>
                      <a:lnTo>
                        <a:pt x="181" y="191"/>
                      </a:lnTo>
                      <a:lnTo>
                        <a:pt x="177" y="192"/>
                      </a:lnTo>
                      <a:lnTo>
                        <a:pt x="168" y="191"/>
                      </a:lnTo>
                      <a:lnTo>
                        <a:pt x="169" y="195"/>
                      </a:lnTo>
                      <a:lnTo>
                        <a:pt x="171" y="202"/>
                      </a:lnTo>
                      <a:lnTo>
                        <a:pt x="172" y="210"/>
                      </a:lnTo>
                      <a:lnTo>
                        <a:pt x="176" y="220"/>
                      </a:lnTo>
                      <a:lnTo>
                        <a:pt x="176" y="223"/>
                      </a:lnTo>
                      <a:lnTo>
                        <a:pt x="176" y="227"/>
                      </a:lnTo>
                      <a:lnTo>
                        <a:pt x="172" y="233"/>
                      </a:lnTo>
                      <a:lnTo>
                        <a:pt x="168" y="242"/>
                      </a:lnTo>
                      <a:lnTo>
                        <a:pt x="167" y="250"/>
                      </a:lnTo>
                      <a:lnTo>
                        <a:pt x="167" y="258"/>
                      </a:lnTo>
                      <a:lnTo>
                        <a:pt x="168" y="263"/>
                      </a:lnTo>
                      <a:lnTo>
                        <a:pt x="173" y="273"/>
                      </a:lnTo>
                      <a:lnTo>
                        <a:pt x="177" y="284"/>
                      </a:lnTo>
                      <a:lnTo>
                        <a:pt x="178" y="288"/>
                      </a:lnTo>
                      <a:lnTo>
                        <a:pt x="177" y="293"/>
                      </a:lnTo>
                      <a:lnTo>
                        <a:pt x="174" y="299"/>
                      </a:lnTo>
                      <a:lnTo>
                        <a:pt x="174" y="304"/>
                      </a:lnTo>
                      <a:lnTo>
                        <a:pt x="176" y="310"/>
                      </a:lnTo>
                      <a:lnTo>
                        <a:pt x="177" y="312"/>
                      </a:lnTo>
                      <a:lnTo>
                        <a:pt x="178" y="313"/>
                      </a:lnTo>
                      <a:lnTo>
                        <a:pt x="178" y="316"/>
                      </a:lnTo>
                      <a:lnTo>
                        <a:pt x="179" y="316"/>
                      </a:lnTo>
                      <a:lnTo>
                        <a:pt x="181" y="317"/>
                      </a:lnTo>
                      <a:lnTo>
                        <a:pt x="182" y="318"/>
                      </a:lnTo>
                      <a:lnTo>
                        <a:pt x="183" y="318"/>
                      </a:lnTo>
                      <a:lnTo>
                        <a:pt x="186" y="318"/>
                      </a:lnTo>
                      <a:lnTo>
                        <a:pt x="186" y="322"/>
                      </a:lnTo>
                      <a:lnTo>
                        <a:pt x="185" y="325"/>
                      </a:lnTo>
                      <a:lnTo>
                        <a:pt x="183" y="329"/>
                      </a:lnTo>
                      <a:lnTo>
                        <a:pt x="183" y="331"/>
                      </a:lnTo>
                      <a:lnTo>
                        <a:pt x="187" y="336"/>
                      </a:lnTo>
                      <a:lnTo>
                        <a:pt x="187" y="340"/>
                      </a:lnTo>
                      <a:lnTo>
                        <a:pt x="185" y="345"/>
                      </a:lnTo>
                      <a:lnTo>
                        <a:pt x="181" y="351"/>
                      </a:lnTo>
                      <a:lnTo>
                        <a:pt x="179" y="352"/>
                      </a:lnTo>
                      <a:lnTo>
                        <a:pt x="181" y="355"/>
                      </a:lnTo>
                      <a:lnTo>
                        <a:pt x="182" y="359"/>
                      </a:lnTo>
                      <a:lnTo>
                        <a:pt x="185" y="361"/>
                      </a:lnTo>
                      <a:lnTo>
                        <a:pt x="187" y="362"/>
                      </a:lnTo>
                      <a:lnTo>
                        <a:pt x="190" y="362"/>
                      </a:lnTo>
                      <a:lnTo>
                        <a:pt x="190" y="364"/>
                      </a:lnTo>
                      <a:lnTo>
                        <a:pt x="190" y="371"/>
                      </a:lnTo>
                      <a:lnTo>
                        <a:pt x="191" y="377"/>
                      </a:lnTo>
                      <a:lnTo>
                        <a:pt x="192" y="382"/>
                      </a:lnTo>
                      <a:lnTo>
                        <a:pt x="192" y="387"/>
                      </a:lnTo>
                      <a:lnTo>
                        <a:pt x="191" y="390"/>
                      </a:lnTo>
                      <a:lnTo>
                        <a:pt x="187" y="395"/>
                      </a:lnTo>
                      <a:lnTo>
                        <a:pt x="174" y="408"/>
                      </a:lnTo>
                      <a:lnTo>
                        <a:pt x="150" y="432"/>
                      </a:lnTo>
                      <a:lnTo>
                        <a:pt x="160" y="434"/>
                      </a:lnTo>
                      <a:lnTo>
                        <a:pt x="168" y="438"/>
                      </a:lnTo>
                      <a:lnTo>
                        <a:pt x="177" y="441"/>
                      </a:lnTo>
                      <a:lnTo>
                        <a:pt x="185" y="446"/>
                      </a:lnTo>
                      <a:lnTo>
                        <a:pt x="181" y="450"/>
                      </a:lnTo>
                      <a:lnTo>
                        <a:pt x="176" y="453"/>
                      </a:lnTo>
                      <a:lnTo>
                        <a:pt x="172" y="454"/>
                      </a:lnTo>
                      <a:lnTo>
                        <a:pt x="167" y="455"/>
                      </a:lnTo>
                      <a:lnTo>
                        <a:pt x="158" y="455"/>
                      </a:lnTo>
                      <a:lnTo>
                        <a:pt x="149" y="457"/>
                      </a:lnTo>
                      <a:lnTo>
                        <a:pt x="148" y="455"/>
                      </a:lnTo>
                      <a:lnTo>
                        <a:pt x="146" y="454"/>
                      </a:lnTo>
                      <a:lnTo>
                        <a:pt x="145" y="453"/>
                      </a:lnTo>
                      <a:lnTo>
                        <a:pt x="144" y="454"/>
                      </a:lnTo>
                      <a:lnTo>
                        <a:pt x="141" y="455"/>
                      </a:lnTo>
                      <a:lnTo>
                        <a:pt x="139" y="458"/>
                      </a:lnTo>
                      <a:lnTo>
                        <a:pt x="136" y="464"/>
                      </a:lnTo>
                      <a:lnTo>
                        <a:pt x="135" y="464"/>
                      </a:lnTo>
                      <a:lnTo>
                        <a:pt x="132" y="464"/>
                      </a:lnTo>
                      <a:lnTo>
                        <a:pt x="126" y="461"/>
                      </a:lnTo>
                      <a:lnTo>
                        <a:pt x="120" y="459"/>
                      </a:lnTo>
                      <a:lnTo>
                        <a:pt x="116" y="458"/>
                      </a:lnTo>
                      <a:lnTo>
                        <a:pt x="98" y="459"/>
                      </a:lnTo>
                      <a:lnTo>
                        <a:pt x="89" y="457"/>
                      </a:lnTo>
                      <a:lnTo>
                        <a:pt x="87" y="457"/>
                      </a:lnTo>
                      <a:lnTo>
                        <a:pt x="84" y="458"/>
                      </a:lnTo>
                      <a:lnTo>
                        <a:pt x="83" y="460"/>
                      </a:lnTo>
                      <a:lnTo>
                        <a:pt x="80" y="461"/>
                      </a:lnTo>
                      <a:lnTo>
                        <a:pt x="75" y="463"/>
                      </a:lnTo>
                      <a:lnTo>
                        <a:pt x="72" y="463"/>
                      </a:lnTo>
                      <a:lnTo>
                        <a:pt x="68" y="465"/>
                      </a:lnTo>
                      <a:lnTo>
                        <a:pt x="66" y="467"/>
                      </a:lnTo>
                      <a:lnTo>
                        <a:pt x="68" y="471"/>
                      </a:lnTo>
                      <a:lnTo>
                        <a:pt x="69" y="478"/>
                      </a:lnTo>
                      <a:lnTo>
                        <a:pt x="70" y="479"/>
                      </a:lnTo>
                      <a:lnTo>
                        <a:pt x="73" y="479"/>
                      </a:lnTo>
                      <a:lnTo>
                        <a:pt x="75" y="480"/>
                      </a:lnTo>
                      <a:lnTo>
                        <a:pt x="78" y="482"/>
                      </a:lnTo>
                      <a:lnTo>
                        <a:pt x="78" y="484"/>
                      </a:lnTo>
                      <a:lnTo>
                        <a:pt x="79" y="486"/>
                      </a:lnTo>
                      <a:lnTo>
                        <a:pt x="84" y="492"/>
                      </a:lnTo>
                      <a:lnTo>
                        <a:pt x="87" y="495"/>
                      </a:lnTo>
                      <a:lnTo>
                        <a:pt x="85" y="498"/>
                      </a:lnTo>
                      <a:lnTo>
                        <a:pt x="84" y="503"/>
                      </a:lnTo>
                      <a:lnTo>
                        <a:pt x="83" y="508"/>
                      </a:lnTo>
                      <a:lnTo>
                        <a:pt x="83" y="512"/>
                      </a:lnTo>
                      <a:lnTo>
                        <a:pt x="82" y="517"/>
                      </a:lnTo>
                      <a:lnTo>
                        <a:pt x="82" y="518"/>
                      </a:lnTo>
                      <a:lnTo>
                        <a:pt x="79" y="520"/>
                      </a:lnTo>
                      <a:lnTo>
                        <a:pt x="75" y="522"/>
                      </a:lnTo>
                      <a:lnTo>
                        <a:pt x="75" y="523"/>
                      </a:lnTo>
                      <a:lnTo>
                        <a:pt x="75" y="524"/>
                      </a:lnTo>
                      <a:lnTo>
                        <a:pt x="75" y="525"/>
                      </a:lnTo>
                      <a:lnTo>
                        <a:pt x="72" y="527"/>
                      </a:lnTo>
                      <a:lnTo>
                        <a:pt x="68" y="527"/>
                      </a:lnTo>
                      <a:lnTo>
                        <a:pt x="64" y="524"/>
                      </a:lnTo>
                      <a:lnTo>
                        <a:pt x="61" y="522"/>
                      </a:lnTo>
                      <a:lnTo>
                        <a:pt x="59" y="518"/>
                      </a:lnTo>
                      <a:lnTo>
                        <a:pt x="58" y="512"/>
                      </a:lnTo>
                      <a:lnTo>
                        <a:pt x="56" y="508"/>
                      </a:lnTo>
                      <a:lnTo>
                        <a:pt x="54" y="503"/>
                      </a:lnTo>
                      <a:lnTo>
                        <a:pt x="51" y="501"/>
                      </a:lnTo>
                      <a:lnTo>
                        <a:pt x="49" y="502"/>
                      </a:lnTo>
                      <a:lnTo>
                        <a:pt x="44" y="505"/>
                      </a:lnTo>
                      <a:lnTo>
                        <a:pt x="33" y="514"/>
                      </a:lnTo>
                      <a:lnTo>
                        <a:pt x="28" y="517"/>
                      </a:lnTo>
                      <a:lnTo>
                        <a:pt x="26" y="522"/>
                      </a:lnTo>
                      <a:lnTo>
                        <a:pt x="22" y="527"/>
                      </a:lnTo>
                      <a:lnTo>
                        <a:pt x="21" y="533"/>
                      </a:lnTo>
                      <a:lnTo>
                        <a:pt x="21" y="537"/>
                      </a:lnTo>
                      <a:lnTo>
                        <a:pt x="21" y="543"/>
                      </a:lnTo>
                      <a:lnTo>
                        <a:pt x="21" y="548"/>
                      </a:lnTo>
                      <a:lnTo>
                        <a:pt x="21" y="549"/>
                      </a:lnTo>
                      <a:lnTo>
                        <a:pt x="22" y="550"/>
                      </a:lnTo>
                      <a:lnTo>
                        <a:pt x="27" y="555"/>
                      </a:lnTo>
                      <a:lnTo>
                        <a:pt x="30" y="560"/>
                      </a:lnTo>
                      <a:lnTo>
                        <a:pt x="31" y="566"/>
                      </a:lnTo>
                      <a:lnTo>
                        <a:pt x="28" y="572"/>
                      </a:lnTo>
                      <a:lnTo>
                        <a:pt x="27" y="574"/>
                      </a:lnTo>
                      <a:lnTo>
                        <a:pt x="25" y="576"/>
                      </a:lnTo>
                      <a:lnTo>
                        <a:pt x="22" y="579"/>
                      </a:lnTo>
                      <a:lnTo>
                        <a:pt x="18" y="579"/>
                      </a:lnTo>
                      <a:lnTo>
                        <a:pt x="16" y="578"/>
                      </a:lnTo>
                      <a:lnTo>
                        <a:pt x="16" y="576"/>
                      </a:lnTo>
                      <a:lnTo>
                        <a:pt x="19" y="570"/>
                      </a:lnTo>
                      <a:lnTo>
                        <a:pt x="21" y="567"/>
                      </a:lnTo>
                      <a:lnTo>
                        <a:pt x="21" y="565"/>
                      </a:lnTo>
                      <a:lnTo>
                        <a:pt x="18" y="565"/>
                      </a:lnTo>
                      <a:lnTo>
                        <a:pt x="18" y="568"/>
                      </a:lnTo>
                      <a:lnTo>
                        <a:pt x="17" y="572"/>
                      </a:lnTo>
                      <a:lnTo>
                        <a:pt x="12" y="575"/>
                      </a:lnTo>
                      <a:lnTo>
                        <a:pt x="7" y="578"/>
                      </a:lnTo>
                      <a:lnTo>
                        <a:pt x="2" y="581"/>
                      </a:lnTo>
                      <a:lnTo>
                        <a:pt x="2" y="584"/>
                      </a:lnTo>
                      <a:lnTo>
                        <a:pt x="2" y="586"/>
                      </a:lnTo>
                      <a:lnTo>
                        <a:pt x="4" y="589"/>
                      </a:lnTo>
                      <a:lnTo>
                        <a:pt x="4" y="593"/>
                      </a:lnTo>
                      <a:lnTo>
                        <a:pt x="3" y="595"/>
                      </a:lnTo>
                      <a:lnTo>
                        <a:pt x="0" y="600"/>
                      </a:lnTo>
                      <a:lnTo>
                        <a:pt x="14" y="600"/>
                      </a:lnTo>
                      <a:lnTo>
                        <a:pt x="28" y="598"/>
                      </a:lnTo>
                      <a:lnTo>
                        <a:pt x="55" y="594"/>
                      </a:lnTo>
                      <a:lnTo>
                        <a:pt x="61" y="594"/>
                      </a:lnTo>
                      <a:lnTo>
                        <a:pt x="68" y="595"/>
                      </a:lnTo>
                      <a:lnTo>
                        <a:pt x="72" y="599"/>
                      </a:lnTo>
                      <a:lnTo>
                        <a:pt x="77" y="604"/>
                      </a:lnTo>
                      <a:lnTo>
                        <a:pt x="80" y="611"/>
                      </a:lnTo>
                      <a:lnTo>
                        <a:pt x="84" y="618"/>
                      </a:lnTo>
                      <a:lnTo>
                        <a:pt x="85" y="626"/>
                      </a:lnTo>
                      <a:lnTo>
                        <a:pt x="87" y="633"/>
                      </a:lnTo>
                      <a:lnTo>
                        <a:pt x="87" y="642"/>
                      </a:lnTo>
                      <a:lnTo>
                        <a:pt x="85" y="650"/>
                      </a:lnTo>
                      <a:lnTo>
                        <a:pt x="82" y="667"/>
                      </a:lnTo>
                      <a:lnTo>
                        <a:pt x="82" y="668"/>
                      </a:lnTo>
                      <a:lnTo>
                        <a:pt x="84" y="670"/>
                      </a:lnTo>
                      <a:lnTo>
                        <a:pt x="87" y="672"/>
                      </a:lnTo>
                      <a:lnTo>
                        <a:pt x="87" y="674"/>
                      </a:lnTo>
                      <a:lnTo>
                        <a:pt x="87" y="675"/>
                      </a:lnTo>
                      <a:lnTo>
                        <a:pt x="83" y="683"/>
                      </a:lnTo>
                      <a:lnTo>
                        <a:pt x="82" y="691"/>
                      </a:lnTo>
                      <a:lnTo>
                        <a:pt x="83" y="694"/>
                      </a:lnTo>
                      <a:lnTo>
                        <a:pt x="84" y="696"/>
                      </a:lnTo>
                      <a:lnTo>
                        <a:pt x="88" y="701"/>
                      </a:lnTo>
                      <a:lnTo>
                        <a:pt x="88" y="704"/>
                      </a:lnTo>
                      <a:lnTo>
                        <a:pt x="88" y="708"/>
                      </a:lnTo>
                      <a:lnTo>
                        <a:pt x="85" y="712"/>
                      </a:lnTo>
                      <a:lnTo>
                        <a:pt x="82" y="716"/>
                      </a:lnTo>
                      <a:lnTo>
                        <a:pt x="75" y="722"/>
                      </a:lnTo>
                      <a:lnTo>
                        <a:pt x="66" y="729"/>
                      </a:lnTo>
                      <a:lnTo>
                        <a:pt x="69" y="732"/>
                      </a:lnTo>
                      <a:lnTo>
                        <a:pt x="70" y="733"/>
                      </a:lnTo>
                      <a:lnTo>
                        <a:pt x="70" y="734"/>
                      </a:lnTo>
                      <a:lnTo>
                        <a:pt x="68" y="740"/>
                      </a:lnTo>
                      <a:lnTo>
                        <a:pt x="64" y="746"/>
                      </a:lnTo>
                      <a:lnTo>
                        <a:pt x="60" y="751"/>
                      </a:lnTo>
                      <a:lnTo>
                        <a:pt x="64" y="757"/>
                      </a:lnTo>
                      <a:lnTo>
                        <a:pt x="66" y="757"/>
                      </a:lnTo>
                      <a:lnTo>
                        <a:pt x="69" y="757"/>
                      </a:lnTo>
                      <a:lnTo>
                        <a:pt x="73" y="757"/>
                      </a:lnTo>
                      <a:lnTo>
                        <a:pt x="77" y="757"/>
                      </a:lnTo>
                      <a:lnTo>
                        <a:pt x="80" y="755"/>
                      </a:lnTo>
                      <a:lnTo>
                        <a:pt x="84" y="755"/>
                      </a:lnTo>
                      <a:lnTo>
                        <a:pt x="88" y="758"/>
                      </a:lnTo>
                      <a:lnTo>
                        <a:pt x="92" y="760"/>
                      </a:lnTo>
                      <a:lnTo>
                        <a:pt x="96" y="761"/>
                      </a:lnTo>
                      <a:lnTo>
                        <a:pt x="97" y="761"/>
                      </a:lnTo>
                      <a:lnTo>
                        <a:pt x="99" y="760"/>
                      </a:lnTo>
                      <a:lnTo>
                        <a:pt x="103" y="757"/>
                      </a:lnTo>
                      <a:lnTo>
                        <a:pt x="108" y="753"/>
                      </a:lnTo>
                      <a:lnTo>
                        <a:pt x="112" y="752"/>
                      </a:lnTo>
                      <a:lnTo>
                        <a:pt x="115" y="753"/>
                      </a:lnTo>
                      <a:lnTo>
                        <a:pt x="116" y="753"/>
                      </a:lnTo>
                      <a:lnTo>
                        <a:pt x="118" y="757"/>
                      </a:lnTo>
                      <a:lnTo>
                        <a:pt x="120" y="760"/>
                      </a:lnTo>
                      <a:lnTo>
                        <a:pt x="121" y="767"/>
                      </a:lnTo>
                      <a:lnTo>
                        <a:pt x="120" y="783"/>
                      </a:lnTo>
                      <a:lnTo>
                        <a:pt x="121" y="783"/>
                      </a:lnTo>
                      <a:lnTo>
                        <a:pt x="121" y="784"/>
                      </a:lnTo>
                      <a:lnTo>
                        <a:pt x="121" y="785"/>
                      </a:lnTo>
                      <a:lnTo>
                        <a:pt x="122" y="786"/>
                      </a:lnTo>
                      <a:lnTo>
                        <a:pt x="136" y="798"/>
                      </a:lnTo>
                      <a:lnTo>
                        <a:pt x="143" y="804"/>
                      </a:lnTo>
                      <a:lnTo>
                        <a:pt x="146" y="812"/>
                      </a:lnTo>
                      <a:lnTo>
                        <a:pt x="149" y="815"/>
                      </a:lnTo>
                      <a:lnTo>
                        <a:pt x="152" y="816"/>
                      </a:lnTo>
                      <a:lnTo>
                        <a:pt x="155" y="816"/>
                      </a:lnTo>
                      <a:lnTo>
                        <a:pt x="158" y="816"/>
                      </a:lnTo>
                      <a:lnTo>
                        <a:pt x="165" y="814"/>
                      </a:lnTo>
                      <a:lnTo>
                        <a:pt x="172" y="812"/>
                      </a:lnTo>
                      <a:lnTo>
                        <a:pt x="174" y="812"/>
                      </a:lnTo>
                      <a:lnTo>
                        <a:pt x="178" y="814"/>
                      </a:lnTo>
                      <a:lnTo>
                        <a:pt x="179" y="811"/>
                      </a:lnTo>
                      <a:lnTo>
                        <a:pt x="182" y="810"/>
                      </a:lnTo>
                      <a:lnTo>
                        <a:pt x="185" y="809"/>
                      </a:lnTo>
                      <a:lnTo>
                        <a:pt x="190" y="805"/>
                      </a:lnTo>
                      <a:lnTo>
                        <a:pt x="191" y="802"/>
                      </a:lnTo>
                      <a:lnTo>
                        <a:pt x="192" y="797"/>
                      </a:lnTo>
                      <a:lnTo>
                        <a:pt x="193" y="792"/>
                      </a:lnTo>
                      <a:lnTo>
                        <a:pt x="195" y="790"/>
                      </a:lnTo>
                      <a:lnTo>
                        <a:pt x="197" y="789"/>
                      </a:lnTo>
                      <a:lnTo>
                        <a:pt x="201" y="787"/>
                      </a:lnTo>
                      <a:lnTo>
                        <a:pt x="205" y="787"/>
                      </a:lnTo>
                      <a:lnTo>
                        <a:pt x="211" y="790"/>
                      </a:lnTo>
                      <a:lnTo>
                        <a:pt x="223" y="797"/>
                      </a:lnTo>
                      <a:lnTo>
                        <a:pt x="226" y="798"/>
                      </a:lnTo>
                      <a:lnTo>
                        <a:pt x="230" y="799"/>
                      </a:lnTo>
                      <a:lnTo>
                        <a:pt x="237" y="799"/>
                      </a:lnTo>
                      <a:lnTo>
                        <a:pt x="244" y="798"/>
                      </a:lnTo>
                      <a:lnTo>
                        <a:pt x="252" y="799"/>
                      </a:lnTo>
                      <a:lnTo>
                        <a:pt x="249" y="803"/>
                      </a:lnTo>
                      <a:lnTo>
                        <a:pt x="247" y="805"/>
                      </a:lnTo>
                      <a:lnTo>
                        <a:pt x="243" y="806"/>
                      </a:lnTo>
                      <a:lnTo>
                        <a:pt x="239" y="808"/>
                      </a:lnTo>
                      <a:lnTo>
                        <a:pt x="230" y="809"/>
                      </a:lnTo>
                      <a:lnTo>
                        <a:pt x="226" y="810"/>
                      </a:lnTo>
                      <a:lnTo>
                        <a:pt x="224" y="812"/>
                      </a:lnTo>
                      <a:lnTo>
                        <a:pt x="223" y="815"/>
                      </a:lnTo>
                      <a:lnTo>
                        <a:pt x="224" y="816"/>
                      </a:lnTo>
                      <a:lnTo>
                        <a:pt x="232" y="819"/>
                      </a:lnTo>
                      <a:lnTo>
                        <a:pt x="238" y="822"/>
                      </a:lnTo>
                      <a:lnTo>
                        <a:pt x="240" y="824"/>
                      </a:lnTo>
                      <a:lnTo>
                        <a:pt x="242" y="827"/>
                      </a:lnTo>
                      <a:lnTo>
                        <a:pt x="242" y="830"/>
                      </a:lnTo>
                      <a:lnTo>
                        <a:pt x="240" y="836"/>
                      </a:lnTo>
                      <a:lnTo>
                        <a:pt x="242" y="837"/>
                      </a:lnTo>
                      <a:lnTo>
                        <a:pt x="243" y="840"/>
                      </a:lnTo>
                      <a:lnTo>
                        <a:pt x="245" y="841"/>
                      </a:lnTo>
                      <a:lnTo>
                        <a:pt x="248" y="841"/>
                      </a:lnTo>
                      <a:lnTo>
                        <a:pt x="257" y="834"/>
                      </a:lnTo>
                      <a:lnTo>
                        <a:pt x="266" y="828"/>
                      </a:lnTo>
                      <a:lnTo>
                        <a:pt x="270" y="825"/>
                      </a:lnTo>
                      <a:lnTo>
                        <a:pt x="275" y="823"/>
                      </a:lnTo>
                      <a:lnTo>
                        <a:pt x="280" y="822"/>
                      </a:lnTo>
                      <a:lnTo>
                        <a:pt x="286" y="822"/>
                      </a:lnTo>
                      <a:lnTo>
                        <a:pt x="289" y="822"/>
                      </a:lnTo>
                      <a:lnTo>
                        <a:pt x="290" y="818"/>
                      </a:lnTo>
                      <a:lnTo>
                        <a:pt x="290" y="816"/>
                      </a:lnTo>
                      <a:lnTo>
                        <a:pt x="289" y="812"/>
                      </a:lnTo>
                      <a:lnTo>
                        <a:pt x="286" y="811"/>
                      </a:lnTo>
                      <a:lnTo>
                        <a:pt x="284" y="810"/>
                      </a:lnTo>
                      <a:lnTo>
                        <a:pt x="277" y="809"/>
                      </a:lnTo>
                      <a:lnTo>
                        <a:pt x="275" y="809"/>
                      </a:lnTo>
                      <a:lnTo>
                        <a:pt x="273" y="808"/>
                      </a:lnTo>
                      <a:lnTo>
                        <a:pt x="272" y="805"/>
                      </a:lnTo>
                      <a:lnTo>
                        <a:pt x="272" y="802"/>
                      </a:lnTo>
                      <a:lnTo>
                        <a:pt x="271" y="804"/>
                      </a:lnTo>
                      <a:lnTo>
                        <a:pt x="272" y="808"/>
                      </a:lnTo>
                      <a:lnTo>
                        <a:pt x="273" y="810"/>
                      </a:lnTo>
                      <a:lnTo>
                        <a:pt x="272" y="812"/>
                      </a:lnTo>
                      <a:lnTo>
                        <a:pt x="270" y="815"/>
                      </a:lnTo>
                      <a:lnTo>
                        <a:pt x="267" y="816"/>
                      </a:lnTo>
                      <a:lnTo>
                        <a:pt x="265" y="815"/>
                      </a:lnTo>
                      <a:lnTo>
                        <a:pt x="262" y="814"/>
                      </a:lnTo>
                      <a:lnTo>
                        <a:pt x="258" y="809"/>
                      </a:lnTo>
                      <a:lnTo>
                        <a:pt x="257" y="803"/>
                      </a:lnTo>
                      <a:lnTo>
                        <a:pt x="257" y="798"/>
                      </a:lnTo>
                      <a:lnTo>
                        <a:pt x="259" y="793"/>
                      </a:lnTo>
                      <a:lnTo>
                        <a:pt x="261" y="792"/>
                      </a:lnTo>
                      <a:lnTo>
                        <a:pt x="263" y="792"/>
                      </a:lnTo>
                      <a:lnTo>
                        <a:pt x="268" y="791"/>
                      </a:lnTo>
                      <a:lnTo>
                        <a:pt x="271" y="790"/>
                      </a:lnTo>
                      <a:lnTo>
                        <a:pt x="271" y="787"/>
                      </a:lnTo>
                      <a:lnTo>
                        <a:pt x="271" y="786"/>
                      </a:lnTo>
                      <a:lnTo>
                        <a:pt x="273" y="784"/>
                      </a:lnTo>
                      <a:lnTo>
                        <a:pt x="275" y="784"/>
                      </a:lnTo>
                      <a:lnTo>
                        <a:pt x="278" y="784"/>
                      </a:lnTo>
                      <a:lnTo>
                        <a:pt x="282" y="784"/>
                      </a:lnTo>
                      <a:lnTo>
                        <a:pt x="285" y="785"/>
                      </a:lnTo>
                      <a:lnTo>
                        <a:pt x="289" y="785"/>
                      </a:lnTo>
                      <a:lnTo>
                        <a:pt x="291" y="783"/>
                      </a:lnTo>
                      <a:lnTo>
                        <a:pt x="295" y="782"/>
                      </a:lnTo>
                      <a:lnTo>
                        <a:pt x="305" y="779"/>
                      </a:lnTo>
                      <a:lnTo>
                        <a:pt x="314" y="777"/>
                      </a:lnTo>
                      <a:lnTo>
                        <a:pt x="333" y="770"/>
                      </a:lnTo>
                      <a:lnTo>
                        <a:pt x="339" y="768"/>
                      </a:lnTo>
                      <a:lnTo>
                        <a:pt x="336" y="774"/>
                      </a:lnTo>
                      <a:lnTo>
                        <a:pt x="332" y="779"/>
                      </a:lnTo>
                      <a:lnTo>
                        <a:pt x="327" y="782"/>
                      </a:lnTo>
                      <a:lnTo>
                        <a:pt x="320" y="783"/>
                      </a:lnTo>
                      <a:lnTo>
                        <a:pt x="320" y="786"/>
                      </a:lnTo>
                      <a:lnTo>
                        <a:pt x="320" y="790"/>
                      </a:lnTo>
                      <a:lnTo>
                        <a:pt x="322" y="791"/>
                      </a:lnTo>
                      <a:lnTo>
                        <a:pt x="324" y="793"/>
                      </a:lnTo>
                      <a:lnTo>
                        <a:pt x="325" y="796"/>
                      </a:lnTo>
                      <a:lnTo>
                        <a:pt x="324" y="797"/>
                      </a:lnTo>
                      <a:lnTo>
                        <a:pt x="323" y="798"/>
                      </a:lnTo>
                      <a:lnTo>
                        <a:pt x="320" y="799"/>
                      </a:lnTo>
                      <a:lnTo>
                        <a:pt x="318" y="800"/>
                      </a:lnTo>
                      <a:lnTo>
                        <a:pt x="315" y="806"/>
                      </a:lnTo>
                      <a:lnTo>
                        <a:pt x="313" y="811"/>
                      </a:lnTo>
                      <a:lnTo>
                        <a:pt x="312" y="812"/>
                      </a:lnTo>
                      <a:lnTo>
                        <a:pt x="312" y="815"/>
                      </a:lnTo>
                      <a:lnTo>
                        <a:pt x="312" y="817"/>
                      </a:lnTo>
                      <a:lnTo>
                        <a:pt x="309" y="817"/>
                      </a:lnTo>
                      <a:lnTo>
                        <a:pt x="306" y="817"/>
                      </a:lnTo>
                      <a:lnTo>
                        <a:pt x="305" y="816"/>
                      </a:lnTo>
                      <a:lnTo>
                        <a:pt x="304" y="815"/>
                      </a:lnTo>
                      <a:lnTo>
                        <a:pt x="303" y="816"/>
                      </a:lnTo>
                      <a:lnTo>
                        <a:pt x="301" y="818"/>
                      </a:lnTo>
                      <a:lnTo>
                        <a:pt x="301" y="822"/>
                      </a:lnTo>
                      <a:lnTo>
                        <a:pt x="301" y="824"/>
                      </a:lnTo>
                      <a:lnTo>
                        <a:pt x="305" y="825"/>
                      </a:lnTo>
                      <a:lnTo>
                        <a:pt x="308" y="827"/>
                      </a:lnTo>
                      <a:lnTo>
                        <a:pt x="312" y="828"/>
                      </a:lnTo>
                      <a:lnTo>
                        <a:pt x="317" y="833"/>
                      </a:lnTo>
                      <a:lnTo>
                        <a:pt x="322" y="836"/>
                      </a:lnTo>
                      <a:lnTo>
                        <a:pt x="328" y="840"/>
                      </a:lnTo>
                      <a:lnTo>
                        <a:pt x="332" y="841"/>
                      </a:lnTo>
                      <a:lnTo>
                        <a:pt x="336" y="841"/>
                      </a:lnTo>
                      <a:lnTo>
                        <a:pt x="341" y="844"/>
                      </a:lnTo>
                      <a:lnTo>
                        <a:pt x="345" y="848"/>
                      </a:lnTo>
                      <a:lnTo>
                        <a:pt x="348" y="853"/>
                      </a:lnTo>
                      <a:lnTo>
                        <a:pt x="352" y="856"/>
                      </a:lnTo>
                      <a:lnTo>
                        <a:pt x="360" y="860"/>
                      </a:lnTo>
                      <a:lnTo>
                        <a:pt x="365" y="863"/>
                      </a:lnTo>
                      <a:lnTo>
                        <a:pt x="375" y="872"/>
                      </a:lnTo>
                      <a:lnTo>
                        <a:pt x="384" y="881"/>
                      </a:lnTo>
                      <a:lnTo>
                        <a:pt x="386" y="886"/>
                      </a:lnTo>
                      <a:lnTo>
                        <a:pt x="388" y="891"/>
                      </a:lnTo>
                      <a:lnTo>
                        <a:pt x="385" y="895"/>
                      </a:lnTo>
                      <a:lnTo>
                        <a:pt x="383" y="899"/>
                      </a:lnTo>
                      <a:lnTo>
                        <a:pt x="393" y="899"/>
                      </a:lnTo>
                      <a:lnTo>
                        <a:pt x="404" y="899"/>
                      </a:lnTo>
                      <a:lnTo>
                        <a:pt x="408" y="901"/>
                      </a:lnTo>
                      <a:lnTo>
                        <a:pt x="413" y="902"/>
                      </a:lnTo>
                      <a:lnTo>
                        <a:pt x="416" y="906"/>
                      </a:lnTo>
                      <a:lnTo>
                        <a:pt x="418" y="911"/>
                      </a:lnTo>
                      <a:lnTo>
                        <a:pt x="425" y="926"/>
                      </a:lnTo>
                      <a:lnTo>
                        <a:pt x="428" y="932"/>
                      </a:lnTo>
                      <a:lnTo>
                        <a:pt x="432" y="939"/>
                      </a:lnTo>
                      <a:lnTo>
                        <a:pt x="432" y="942"/>
                      </a:lnTo>
                      <a:lnTo>
                        <a:pt x="431" y="945"/>
                      </a:lnTo>
                      <a:lnTo>
                        <a:pt x="435" y="945"/>
                      </a:lnTo>
                      <a:lnTo>
                        <a:pt x="437" y="948"/>
                      </a:lnTo>
                      <a:lnTo>
                        <a:pt x="441" y="953"/>
                      </a:lnTo>
                      <a:lnTo>
                        <a:pt x="446" y="958"/>
                      </a:lnTo>
                      <a:lnTo>
                        <a:pt x="450" y="961"/>
                      </a:lnTo>
                      <a:lnTo>
                        <a:pt x="452" y="962"/>
                      </a:lnTo>
                      <a:lnTo>
                        <a:pt x="456" y="962"/>
                      </a:lnTo>
                      <a:lnTo>
                        <a:pt x="460" y="962"/>
                      </a:lnTo>
                      <a:lnTo>
                        <a:pt x="466" y="959"/>
                      </a:lnTo>
                      <a:lnTo>
                        <a:pt x="472" y="956"/>
                      </a:lnTo>
                      <a:lnTo>
                        <a:pt x="478" y="952"/>
                      </a:lnTo>
                      <a:lnTo>
                        <a:pt x="484" y="949"/>
                      </a:lnTo>
                      <a:lnTo>
                        <a:pt x="485" y="949"/>
                      </a:lnTo>
                      <a:lnTo>
                        <a:pt x="487" y="949"/>
                      </a:lnTo>
                      <a:lnTo>
                        <a:pt x="489" y="952"/>
                      </a:lnTo>
                      <a:lnTo>
                        <a:pt x="491" y="956"/>
                      </a:lnTo>
                      <a:lnTo>
                        <a:pt x="489" y="958"/>
                      </a:lnTo>
                      <a:lnTo>
                        <a:pt x="489" y="963"/>
                      </a:lnTo>
                      <a:lnTo>
                        <a:pt x="491" y="968"/>
                      </a:lnTo>
                      <a:lnTo>
                        <a:pt x="492" y="970"/>
                      </a:lnTo>
                      <a:lnTo>
                        <a:pt x="494" y="974"/>
                      </a:lnTo>
                      <a:lnTo>
                        <a:pt x="497" y="975"/>
                      </a:lnTo>
                      <a:lnTo>
                        <a:pt x="501" y="977"/>
                      </a:lnTo>
                      <a:lnTo>
                        <a:pt x="508" y="978"/>
                      </a:lnTo>
                      <a:lnTo>
                        <a:pt x="508" y="969"/>
                      </a:lnTo>
                      <a:lnTo>
                        <a:pt x="507" y="965"/>
                      </a:lnTo>
                      <a:lnTo>
                        <a:pt x="506" y="961"/>
                      </a:lnTo>
                      <a:lnTo>
                        <a:pt x="503" y="957"/>
                      </a:lnTo>
                      <a:lnTo>
                        <a:pt x="503" y="955"/>
                      </a:lnTo>
                      <a:lnTo>
                        <a:pt x="505" y="948"/>
                      </a:lnTo>
                      <a:lnTo>
                        <a:pt x="507" y="949"/>
                      </a:lnTo>
                      <a:lnTo>
                        <a:pt x="508" y="950"/>
                      </a:lnTo>
                      <a:lnTo>
                        <a:pt x="510" y="952"/>
                      </a:lnTo>
                      <a:lnTo>
                        <a:pt x="511" y="953"/>
                      </a:lnTo>
                      <a:lnTo>
                        <a:pt x="513" y="953"/>
                      </a:lnTo>
                      <a:lnTo>
                        <a:pt x="516" y="952"/>
                      </a:lnTo>
                      <a:lnTo>
                        <a:pt x="517" y="951"/>
                      </a:lnTo>
                      <a:lnTo>
                        <a:pt x="517" y="949"/>
                      </a:lnTo>
                      <a:lnTo>
                        <a:pt x="517" y="944"/>
                      </a:lnTo>
                      <a:lnTo>
                        <a:pt x="518" y="940"/>
                      </a:lnTo>
                      <a:lnTo>
                        <a:pt x="524" y="933"/>
                      </a:lnTo>
                      <a:lnTo>
                        <a:pt x="529" y="932"/>
                      </a:lnTo>
                      <a:lnTo>
                        <a:pt x="531" y="931"/>
                      </a:lnTo>
                      <a:lnTo>
                        <a:pt x="531" y="930"/>
                      </a:lnTo>
                      <a:lnTo>
                        <a:pt x="526" y="926"/>
                      </a:lnTo>
                      <a:lnTo>
                        <a:pt x="521" y="923"/>
                      </a:lnTo>
                      <a:lnTo>
                        <a:pt x="513" y="915"/>
                      </a:lnTo>
                      <a:lnTo>
                        <a:pt x="510" y="912"/>
                      </a:lnTo>
                      <a:lnTo>
                        <a:pt x="508" y="911"/>
                      </a:lnTo>
                      <a:lnTo>
                        <a:pt x="507" y="910"/>
                      </a:lnTo>
                      <a:lnTo>
                        <a:pt x="505" y="901"/>
                      </a:lnTo>
                      <a:lnTo>
                        <a:pt x="503" y="899"/>
                      </a:lnTo>
                      <a:lnTo>
                        <a:pt x="499" y="895"/>
                      </a:lnTo>
                      <a:lnTo>
                        <a:pt x="491" y="885"/>
                      </a:lnTo>
                      <a:lnTo>
                        <a:pt x="485" y="876"/>
                      </a:lnTo>
                      <a:lnTo>
                        <a:pt x="484" y="868"/>
                      </a:lnTo>
                      <a:lnTo>
                        <a:pt x="483" y="860"/>
                      </a:lnTo>
                      <a:lnTo>
                        <a:pt x="484" y="850"/>
                      </a:lnTo>
                      <a:lnTo>
                        <a:pt x="479" y="843"/>
                      </a:lnTo>
                      <a:lnTo>
                        <a:pt x="477" y="835"/>
                      </a:lnTo>
                      <a:lnTo>
                        <a:pt x="475" y="833"/>
                      </a:lnTo>
                      <a:lnTo>
                        <a:pt x="475" y="828"/>
                      </a:lnTo>
                      <a:lnTo>
                        <a:pt x="477" y="819"/>
                      </a:lnTo>
                      <a:lnTo>
                        <a:pt x="479" y="811"/>
                      </a:lnTo>
                      <a:lnTo>
                        <a:pt x="480" y="809"/>
                      </a:lnTo>
                      <a:lnTo>
                        <a:pt x="483" y="808"/>
                      </a:lnTo>
                      <a:lnTo>
                        <a:pt x="489" y="804"/>
                      </a:lnTo>
                      <a:lnTo>
                        <a:pt x="493" y="800"/>
                      </a:lnTo>
                      <a:lnTo>
                        <a:pt x="503" y="791"/>
                      </a:lnTo>
                      <a:lnTo>
                        <a:pt x="506" y="789"/>
                      </a:lnTo>
                      <a:lnTo>
                        <a:pt x="511" y="787"/>
                      </a:lnTo>
                      <a:lnTo>
                        <a:pt x="515" y="786"/>
                      </a:lnTo>
                      <a:lnTo>
                        <a:pt x="517" y="784"/>
                      </a:lnTo>
                      <a:lnTo>
                        <a:pt x="526" y="780"/>
                      </a:lnTo>
                      <a:lnTo>
                        <a:pt x="531" y="778"/>
                      </a:lnTo>
                      <a:lnTo>
                        <a:pt x="534" y="776"/>
                      </a:lnTo>
                      <a:lnTo>
                        <a:pt x="543" y="770"/>
                      </a:lnTo>
                      <a:lnTo>
                        <a:pt x="548" y="767"/>
                      </a:lnTo>
                      <a:lnTo>
                        <a:pt x="554" y="767"/>
                      </a:lnTo>
                      <a:lnTo>
                        <a:pt x="557" y="765"/>
                      </a:lnTo>
                      <a:lnTo>
                        <a:pt x="558" y="764"/>
                      </a:lnTo>
                      <a:lnTo>
                        <a:pt x="571" y="765"/>
                      </a:lnTo>
                      <a:lnTo>
                        <a:pt x="578" y="766"/>
                      </a:lnTo>
                      <a:lnTo>
                        <a:pt x="583" y="768"/>
                      </a:lnTo>
                      <a:lnTo>
                        <a:pt x="586" y="771"/>
                      </a:lnTo>
                      <a:lnTo>
                        <a:pt x="587" y="773"/>
                      </a:lnTo>
                      <a:lnTo>
                        <a:pt x="587" y="776"/>
                      </a:lnTo>
                      <a:lnTo>
                        <a:pt x="590" y="778"/>
                      </a:lnTo>
                      <a:lnTo>
                        <a:pt x="592" y="782"/>
                      </a:lnTo>
                      <a:lnTo>
                        <a:pt x="593" y="784"/>
                      </a:lnTo>
                      <a:lnTo>
                        <a:pt x="593" y="786"/>
                      </a:lnTo>
                      <a:lnTo>
                        <a:pt x="595" y="791"/>
                      </a:lnTo>
                      <a:lnTo>
                        <a:pt x="596" y="792"/>
                      </a:lnTo>
                      <a:lnTo>
                        <a:pt x="598" y="793"/>
                      </a:lnTo>
                      <a:lnTo>
                        <a:pt x="600" y="795"/>
                      </a:lnTo>
                      <a:lnTo>
                        <a:pt x="598" y="795"/>
                      </a:lnTo>
                      <a:lnTo>
                        <a:pt x="597" y="796"/>
                      </a:lnTo>
                      <a:lnTo>
                        <a:pt x="597" y="797"/>
                      </a:lnTo>
                      <a:lnTo>
                        <a:pt x="595" y="798"/>
                      </a:lnTo>
                      <a:lnTo>
                        <a:pt x="595" y="799"/>
                      </a:lnTo>
                      <a:lnTo>
                        <a:pt x="597" y="804"/>
                      </a:lnTo>
                      <a:lnTo>
                        <a:pt x="597" y="806"/>
                      </a:lnTo>
                      <a:lnTo>
                        <a:pt x="597" y="808"/>
                      </a:lnTo>
                      <a:lnTo>
                        <a:pt x="598" y="809"/>
                      </a:lnTo>
                      <a:lnTo>
                        <a:pt x="596" y="811"/>
                      </a:lnTo>
                      <a:lnTo>
                        <a:pt x="592" y="814"/>
                      </a:lnTo>
                      <a:lnTo>
                        <a:pt x="588" y="816"/>
                      </a:lnTo>
                      <a:lnTo>
                        <a:pt x="585" y="816"/>
                      </a:lnTo>
                      <a:lnTo>
                        <a:pt x="578" y="814"/>
                      </a:lnTo>
                      <a:lnTo>
                        <a:pt x="572" y="812"/>
                      </a:lnTo>
                      <a:lnTo>
                        <a:pt x="569" y="811"/>
                      </a:lnTo>
                      <a:lnTo>
                        <a:pt x="565" y="810"/>
                      </a:lnTo>
                      <a:lnTo>
                        <a:pt x="562" y="810"/>
                      </a:lnTo>
                      <a:lnTo>
                        <a:pt x="558" y="811"/>
                      </a:lnTo>
                      <a:lnTo>
                        <a:pt x="554" y="814"/>
                      </a:lnTo>
                      <a:lnTo>
                        <a:pt x="553" y="815"/>
                      </a:lnTo>
                      <a:lnTo>
                        <a:pt x="553" y="817"/>
                      </a:lnTo>
                      <a:lnTo>
                        <a:pt x="554" y="824"/>
                      </a:lnTo>
                      <a:lnTo>
                        <a:pt x="555" y="831"/>
                      </a:lnTo>
                      <a:lnTo>
                        <a:pt x="557" y="835"/>
                      </a:lnTo>
                      <a:lnTo>
                        <a:pt x="557" y="837"/>
                      </a:lnTo>
                      <a:lnTo>
                        <a:pt x="555" y="838"/>
                      </a:lnTo>
                      <a:lnTo>
                        <a:pt x="553" y="838"/>
                      </a:lnTo>
                      <a:lnTo>
                        <a:pt x="548" y="838"/>
                      </a:lnTo>
                      <a:lnTo>
                        <a:pt x="543" y="836"/>
                      </a:lnTo>
                      <a:lnTo>
                        <a:pt x="538" y="835"/>
                      </a:lnTo>
                      <a:lnTo>
                        <a:pt x="536" y="836"/>
                      </a:lnTo>
                      <a:lnTo>
                        <a:pt x="536" y="837"/>
                      </a:lnTo>
                      <a:lnTo>
                        <a:pt x="538" y="841"/>
                      </a:lnTo>
                      <a:lnTo>
                        <a:pt x="541" y="843"/>
                      </a:lnTo>
                      <a:lnTo>
                        <a:pt x="544" y="844"/>
                      </a:lnTo>
                      <a:lnTo>
                        <a:pt x="545" y="846"/>
                      </a:lnTo>
                      <a:lnTo>
                        <a:pt x="548" y="849"/>
                      </a:lnTo>
                      <a:lnTo>
                        <a:pt x="548" y="851"/>
                      </a:lnTo>
                      <a:lnTo>
                        <a:pt x="549" y="854"/>
                      </a:lnTo>
                      <a:lnTo>
                        <a:pt x="550" y="856"/>
                      </a:lnTo>
                      <a:lnTo>
                        <a:pt x="552" y="859"/>
                      </a:lnTo>
                      <a:lnTo>
                        <a:pt x="552" y="861"/>
                      </a:lnTo>
                      <a:lnTo>
                        <a:pt x="549" y="866"/>
                      </a:lnTo>
                      <a:lnTo>
                        <a:pt x="549" y="868"/>
                      </a:lnTo>
                      <a:lnTo>
                        <a:pt x="550" y="868"/>
                      </a:lnTo>
                      <a:lnTo>
                        <a:pt x="559" y="863"/>
                      </a:lnTo>
                      <a:lnTo>
                        <a:pt x="559" y="865"/>
                      </a:lnTo>
                      <a:lnTo>
                        <a:pt x="560" y="866"/>
                      </a:lnTo>
                      <a:lnTo>
                        <a:pt x="559" y="867"/>
                      </a:lnTo>
                      <a:lnTo>
                        <a:pt x="560" y="868"/>
                      </a:lnTo>
                      <a:lnTo>
                        <a:pt x="563" y="869"/>
                      </a:lnTo>
                      <a:lnTo>
                        <a:pt x="565" y="868"/>
                      </a:lnTo>
                      <a:lnTo>
                        <a:pt x="568" y="867"/>
                      </a:lnTo>
                      <a:lnTo>
                        <a:pt x="571" y="867"/>
                      </a:lnTo>
                      <a:lnTo>
                        <a:pt x="574" y="869"/>
                      </a:lnTo>
                      <a:lnTo>
                        <a:pt x="578" y="870"/>
                      </a:lnTo>
                      <a:lnTo>
                        <a:pt x="579" y="873"/>
                      </a:lnTo>
                      <a:lnTo>
                        <a:pt x="578" y="876"/>
                      </a:lnTo>
                      <a:lnTo>
                        <a:pt x="576" y="883"/>
                      </a:lnTo>
                      <a:lnTo>
                        <a:pt x="576" y="888"/>
                      </a:lnTo>
                      <a:lnTo>
                        <a:pt x="576" y="894"/>
                      </a:lnTo>
                      <a:lnTo>
                        <a:pt x="576" y="899"/>
                      </a:lnTo>
                      <a:lnTo>
                        <a:pt x="577" y="902"/>
                      </a:lnTo>
                      <a:lnTo>
                        <a:pt x="578" y="905"/>
                      </a:lnTo>
                      <a:lnTo>
                        <a:pt x="579" y="902"/>
                      </a:lnTo>
                      <a:lnTo>
                        <a:pt x="581" y="900"/>
                      </a:lnTo>
                      <a:lnTo>
                        <a:pt x="581" y="897"/>
                      </a:lnTo>
                      <a:lnTo>
                        <a:pt x="579" y="893"/>
                      </a:lnTo>
                      <a:lnTo>
                        <a:pt x="581" y="891"/>
                      </a:lnTo>
                      <a:lnTo>
                        <a:pt x="582" y="888"/>
                      </a:lnTo>
                      <a:lnTo>
                        <a:pt x="583" y="887"/>
                      </a:lnTo>
                      <a:lnTo>
                        <a:pt x="585" y="888"/>
                      </a:lnTo>
                      <a:lnTo>
                        <a:pt x="587" y="891"/>
                      </a:lnTo>
                      <a:lnTo>
                        <a:pt x="588" y="891"/>
                      </a:lnTo>
                      <a:lnTo>
                        <a:pt x="590" y="889"/>
                      </a:lnTo>
                      <a:lnTo>
                        <a:pt x="593" y="885"/>
                      </a:lnTo>
                      <a:lnTo>
                        <a:pt x="596" y="883"/>
                      </a:lnTo>
                      <a:lnTo>
                        <a:pt x="597" y="882"/>
                      </a:lnTo>
                      <a:lnTo>
                        <a:pt x="600" y="883"/>
                      </a:lnTo>
                      <a:lnTo>
                        <a:pt x="601" y="886"/>
                      </a:lnTo>
                      <a:lnTo>
                        <a:pt x="604" y="899"/>
                      </a:lnTo>
                      <a:lnTo>
                        <a:pt x="605" y="907"/>
                      </a:lnTo>
                      <a:lnTo>
                        <a:pt x="605" y="911"/>
                      </a:lnTo>
                      <a:lnTo>
                        <a:pt x="605" y="912"/>
                      </a:lnTo>
                      <a:lnTo>
                        <a:pt x="605" y="913"/>
                      </a:lnTo>
                      <a:lnTo>
                        <a:pt x="601" y="918"/>
                      </a:lnTo>
                      <a:lnTo>
                        <a:pt x="600" y="920"/>
                      </a:lnTo>
                      <a:lnTo>
                        <a:pt x="597" y="921"/>
                      </a:lnTo>
                      <a:lnTo>
                        <a:pt x="593" y="921"/>
                      </a:lnTo>
                      <a:lnTo>
                        <a:pt x="591" y="921"/>
                      </a:lnTo>
                      <a:lnTo>
                        <a:pt x="585" y="917"/>
                      </a:lnTo>
                      <a:lnTo>
                        <a:pt x="583" y="917"/>
                      </a:lnTo>
                      <a:lnTo>
                        <a:pt x="582" y="918"/>
                      </a:lnTo>
                      <a:lnTo>
                        <a:pt x="581" y="920"/>
                      </a:lnTo>
                      <a:lnTo>
                        <a:pt x="581" y="926"/>
                      </a:lnTo>
                      <a:lnTo>
                        <a:pt x="582" y="930"/>
                      </a:lnTo>
                      <a:lnTo>
                        <a:pt x="586" y="931"/>
                      </a:lnTo>
                      <a:lnTo>
                        <a:pt x="588" y="931"/>
                      </a:lnTo>
                      <a:lnTo>
                        <a:pt x="592" y="932"/>
                      </a:lnTo>
                      <a:lnTo>
                        <a:pt x="596" y="933"/>
                      </a:lnTo>
                      <a:lnTo>
                        <a:pt x="598" y="936"/>
                      </a:lnTo>
                      <a:lnTo>
                        <a:pt x="598" y="938"/>
                      </a:lnTo>
                      <a:lnTo>
                        <a:pt x="598" y="939"/>
                      </a:lnTo>
                      <a:lnTo>
                        <a:pt x="595" y="940"/>
                      </a:lnTo>
                      <a:lnTo>
                        <a:pt x="592" y="940"/>
                      </a:lnTo>
                      <a:lnTo>
                        <a:pt x="591" y="942"/>
                      </a:lnTo>
                      <a:lnTo>
                        <a:pt x="590" y="943"/>
                      </a:lnTo>
                      <a:lnTo>
                        <a:pt x="591" y="944"/>
                      </a:lnTo>
                      <a:lnTo>
                        <a:pt x="592" y="945"/>
                      </a:lnTo>
                      <a:lnTo>
                        <a:pt x="592" y="946"/>
                      </a:lnTo>
                      <a:lnTo>
                        <a:pt x="592" y="949"/>
                      </a:lnTo>
                      <a:lnTo>
                        <a:pt x="592" y="950"/>
                      </a:lnTo>
                      <a:lnTo>
                        <a:pt x="593" y="951"/>
                      </a:lnTo>
                      <a:lnTo>
                        <a:pt x="597" y="955"/>
                      </a:lnTo>
                      <a:lnTo>
                        <a:pt x="597" y="957"/>
                      </a:lnTo>
                      <a:lnTo>
                        <a:pt x="597" y="959"/>
                      </a:lnTo>
                      <a:lnTo>
                        <a:pt x="596" y="964"/>
                      </a:lnTo>
                      <a:lnTo>
                        <a:pt x="595" y="969"/>
                      </a:lnTo>
                      <a:lnTo>
                        <a:pt x="595" y="975"/>
                      </a:lnTo>
                      <a:lnTo>
                        <a:pt x="596" y="980"/>
                      </a:lnTo>
                      <a:lnTo>
                        <a:pt x="597" y="983"/>
                      </a:lnTo>
                      <a:lnTo>
                        <a:pt x="597" y="988"/>
                      </a:lnTo>
                      <a:lnTo>
                        <a:pt x="606" y="987"/>
                      </a:lnTo>
                      <a:lnTo>
                        <a:pt x="614" y="983"/>
                      </a:lnTo>
                      <a:lnTo>
                        <a:pt x="628" y="975"/>
                      </a:lnTo>
                      <a:lnTo>
                        <a:pt x="633" y="972"/>
                      </a:lnTo>
                      <a:lnTo>
                        <a:pt x="638" y="971"/>
                      </a:lnTo>
                      <a:lnTo>
                        <a:pt x="644" y="966"/>
                      </a:lnTo>
                      <a:lnTo>
                        <a:pt x="647" y="971"/>
                      </a:lnTo>
                      <a:lnTo>
                        <a:pt x="651" y="974"/>
                      </a:lnTo>
                      <a:lnTo>
                        <a:pt x="654" y="974"/>
                      </a:lnTo>
                      <a:lnTo>
                        <a:pt x="657" y="975"/>
                      </a:lnTo>
                      <a:lnTo>
                        <a:pt x="662" y="977"/>
                      </a:lnTo>
                      <a:lnTo>
                        <a:pt x="668" y="980"/>
                      </a:lnTo>
                      <a:lnTo>
                        <a:pt x="680" y="981"/>
                      </a:lnTo>
                      <a:lnTo>
                        <a:pt x="686" y="983"/>
                      </a:lnTo>
                      <a:lnTo>
                        <a:pt x="689" y="985"/>
                      </a:lnTo>
                      <a:lnTo>
                        <a:pt x="691" y="988"/>
                      </a:lnTo>
                      <a:lnTo>
                        <a:pt x="696" y="993"/>
                      </a:lnTo>
                      <a:lnTo>
                        <a:pt x="703" y="996"/>
                      </a:lnTo>
                      <a:lnTo>
                        <a:pt x="715" y="1000"/>
                      </a:lnTo>
                      <a:lnTo>
                        <a:pt x="719" y="1002"/>
                      </a:lnTo>
                      <a:lnTo>
                        <a:pt x="722" y="1006"/>
                      </a:lnTo>
                      <a:lnTo>
                        <a:pt x="723" y="1009"/>
                      </a:lnTo>
                      <a:lnTo>
                        <a:pt x="723" y="1014"/>
                      </a:lnTo>
                      <a:lnTo>
                        <a:pt x="723" y="1022"/>
                      </a:lnTo>
                      <a:lnTo>
                        <a:pt x="736" y="1025"/>
                      </a:lnTo>
                      <a:lnTo>
                        <a:pt x="742" y="1026"/>
                      </a:lnTo>
                      <a:lnTo>
                        <a:pt x="750" y="1026"/>
                      </a:lnTo>
                      <a:lnTo>
                        <a:pt x="751" y="1026"/>
                      </a:lnTo>
                      <a:lnTo>
                        <a:pt x="752" y="1025"/>
                      </a:lnTo>
                      <a:lnTo>
                        <a:pt x="755" y="1021"/>
                      </a:lnTo>
                      <a:lnTo>
                        <a:pt x="756" y="1017"/>
                      </a:lnTo>
                      <a:lnTo>
                        <a:pt x="758" y="1014"/>
                      </a:lnTo>
                      <a:lnTo>
                        <a:pt x="761" y="1013"/>
                      </a:lnTo>
                      <a:lnTo>
                        <a:pt x="762" y="1013"/>
                      </a:lnTo>
                      <a:lnTo>
                        <a:pt x="765" y="1013"/>
                      </a:lnTo>
                      <a:lnTo>
                        <a:pt x="767" y="1013"/>
                      </a:lnTo>
                      <a:lnTo>
                        <a:pt x="770" y="1008"/>
                      </a:lnTo>
                      <a:lnTo>
                        <a:pt x="772" y="1004"/>
                      </a:lnTo>
                      <a:lnTo>
                        <a:pt x="776" y="995"/>
                      </a:lnTo>
                      <a:lnTo>
                        <a:pt x="778" y="993"/>
                      </a:lnTo>
                      <a:lnTo>
                        <a:pt x="781" y="991"/>
                      </a:lnTo>
                      <a:lnTo>
                        <a:pt x="786" y="990"/>
                      </a:lnTo>
                      <a:lnTo>
                        <a:pt x="790" y="989"/>
                      </a:lnTo>
                      <a:lnTo>
                        <a:pt x="794" y="987"/>
                      </a:lnTo>
                      <a:lnTo>
                        <a:pt x="798" y="984"/>
                      </a:lnTo>
                      <a:lnTo>
                        <a:pt x="800" y="983"/>
                      </a:lnTo>
                      <a:lnTo>
                        <a:pt x="803" y="984"/>
                      </a:lnTo>
                      <a:lnTo>
                        <a:pt x="804" y="985"/>
                      </a:lnTo>
                      <a:lnTo>
                        <a:pt x="807" y="987"/>
                      </a:lnTo>
                      <a:lnTo>
                        <a:pt x="813" y="987"/>
                      </a:lnTo>
                      <a:lnTo>
                        <a:pt x="818" y="987"/>
                      </a:lnTo>
                      <a:lnTo>
                        <a:pt x="823" y="989"/>
                      </a:lnTo>
                      <a:lnTo>
                        <a:pt x="828" y="993"/>
                      </a:lnTo>
                      <a:lnTo>
                        <a:pt x="830" y="993"/>
                      </a:lnTo>
                      <a:lnTo>
                        <a:pt x="832" y="994"/>
                      </a:lnTo>
                      <a:lnTo>
                        <a:pt x="847" y="991"/>
                      </a:lnTo>
                      <a:lnTo>
                        <a:pt x="850" y="990"/>
                      </a:lnTo>
                      <a:lnTo>
                        <a:pt x="854" y="990"/>
                      </a:lnTo>
                      <a:lnTo>
                        <a:pt x="859" y="990"/>
                      </a:lnTo>
                      <a:lnTo>
                        <a:pt x="864" y="989"/>
                      </a:lnTo>
                      <a:lnTo>
                        <a:pt x="869" y="987"/>
                      </a:lnTo>
                      <a:lnTo>
                        <a:pt x="874" y="983"/>
                      </a:lnTo>
                      <a:lnTo>
                        <a:pt x="880" y="976"/>
                      </a:lnTo>
                      <a:lnTo>
                        <a:pt x="885" y="966"/>
                      </a:lnTo>
                      <a:lnTo>
                        <a:pt x="893" y="962"/>
                      </a:lnTo>
                      <a:lnTo>
                        <a:pt x="897" y="959"/>
                      </a:lnTo>
                      <a:lnTo>
                        <a:pt x="898" y="959"/>
                      </a:lnTo>
                      <a:lnTo>
                        <a:pt x="899" y="961"/>
                      </a:lnTo>
                      <a:lnTo>
                        <a:pt x="899" y="964"/>
                      </a:lnTo>
                      <a:lnTo>
                        <a:pt x="897" y="968"/>
                      </a:lnTo>
                      <a:lnTo>
                        <a:pt x="896" y="971"/>
                      </a:lnTo>
                      <a:lnTo>
                        <a:pt x="896" y="972"/>
                      </a:lnTo>
                      <a:lnTo>
                        <a:pt x="897" y="974"/>
                      </a:lnTo>
                      <a:lnTo>
                        <a:pt x="901" y="975"/>
                      </a:lnTo>
                      <a:lnTo>
                        <a:pt x="903" y="976"/>
                      </a:lnTo>
                      <a:lnTo>
                        <a:pt x="905" y="978"/>
                      </a:lnTo>
                      <a:lnTo>
                        <a:pt x="905" y="982"/>
                      </a:lnTo>
                      <a:lnTo>
                        <a:pt x="906" y="988"/>
                      </a:lnTo>
                      <a:lnTo>
                        <a:pt x="906" y="993"/>
                      </a:lnTo>
                      <a:lnTo>
                        <a:pt x="906" y="995"/>
                      </a:lnTo>
                      <a:lnTo>
                        <a:pt x="908" y="995"/>
                      </a:lnTo>
                      <a:lnTo>
                        <a:pt x="912" y="994"/>
                      </a:lnTo>
                      <a:lnTo>
                        <a:pt x="917" y="991"/>
                      </a:lnTo>
                      <a:lnTo>
                        <a:pt x="920" y="991"/>
                      </a:lnTo>
                      <a:lnTo>
                        <a:pt x="922" y="991"/>
                      </a:lnTo>
                      <a:lnTo>
                        <a:pt x="932" y="989"/>
                      </a:lnTo>
                      <a:lnTo>
                        <a:pt x="939" y="988"/>
                      </a:lnTo>
                      <a:lnTo>
                        <a:pt x="946" y="987"/>
                      </a:lnTo>
                      <a:lnTo>
                        <a:pt x="950" y="987"/>
                      </a:lnTo>
                      <a:lnTo>
                        <a:pt x="953" y="985"/>
                      </a:lnTo>
                      <a:lnTo>
                        <a:pt x="953" y="984"/>
                      </a:lnTo>
                      <a:lnTo>
                        <a:pt x="953" y="983"/>
                      </a:lnTo>
                      <a:lnTo>
                        <a:pt x="949" y="977"/>
                      </a:lnTo>
                      <a:lnTo>
                        <a:pt x="948" y="974"/>
                      </a:lnTo>
                      <a:lnTo>
                        <a:pt x="948" y="971"/>
                      </a:lnTo>
                      <a:lnTo>
                        <a:pt x="952" y="966"/>
                      </a:lnTo>
                      <a:lnTo>
                        <a:pt x="952" y="965"/>
                      </a:lnTo>
                      <a:lnTo>
                        <a:pt x="952" y="963"/>
                      </a:lnTo>
                      <a:lnTo>
                        <a:pt x="949" y="961"/>
                      </a:lnTo>
                      <a:lnTo>
                        <a:pt x="946" y="958"/>
                      </a:lnTo>
                      <a:lnTo>
                        <a:pt x="943" y="958"/>
                      </a:lnTo>
                      <a:lnTo>
                        <a:pt x="940" y="959"/>
                      </a:lnTo>
                      <a:lnTo>
                        <a:pt x="938" y="961"/>
                      </a:lnTo>
                      <a:lnTo>
                        <a:pt x="935" y="961"/>
                      </a:lnTo>
                      <a:lnTo>
                        <a:pt x="932" y="957"/>
                      </a:lnTo>
                      <a:lnTo>
                        <a:pt x="930" y="953"/>
                      </a:lnTo>
                      <a:lnTo>
                        <a:pt x="930" y="950"/>
                      </a:lnTo>
                      <a:lnTo>
                        <a:pt x="930" y="945"/>
                      </a:lnTo>
                      <a:lnTo>
                        <a:pt x="932" y="936"/>
                      </a:lnTo>
                      <a:lnTo>
                        <a:pt x="938" y="927"/>
                      </a:lnTo>
                      <a:lnTo>
                        <a:pt x="939" y="926"/>
                      </a:lnTo>
                      <a:lnTo>
                        <a:pt x="941" y="925"/>
                      </a:lnTo>
                      <a:lnTo>
                        <a:pt x="946" y="924"/>
                      </a:lnTo>
                      <a:lnTo>
                        <a:pt x="953" y="920"/>
                      </a:lnTo>
                      <a:lnTo>
                        <a:pt x="955" y="919"/>
                      </a:lnTo>
                      <a:lnTo>
                        <a:pt x="959" y="918"/>
                      </a:lnTo>
                      <a:lnTo>
                        <a:pt x="960" y="919"/>
                      </a:lnTo>
                      <a:lnTo>
                        <a:pt x="962" y="920"/>
                      </a:lnTo>
                      <a:lnTo>
                        <a:pt x="962" y="923"/>
                      </a:lnTo>
                      <a:lnTo>
                        <a:pt x="963" y="924"/>
                      </a:lnTo>
                      <a:lnTo>
                        <a:pt x="965" y="925"/>
                      </a:lnTo>
                      <a:lnTo>
                        <a:pt x="968" y="925"/>
                      </a:lnTo>
                      <a:lnTo>
                        <a:pt x="972" y="924"/>
                      </a:lnTo>
                      <a:lnTo>
                        <a:pt x="977" y="923"/>
                      </a:lnTo>
                      <a:lnTo>
                        <a:pt x="982" y="920"/>
                      </a:lnTo>
                      <a:lnTo>
                        <a:pt x="982" y="918"/>
                      </a:lnTo>
                      <a:lnTo>
                        <a:pt x="982" y="915"/>
                      </a:lnTo>
                      <a:lnTo>
                        <a:pt x="982" y="913"/>
                      </a:lnTo>
                      <a:lnTo>
                        <a:pt x="982" y="911"/>
                      </a:lnTo>
                      <a:lnTo>
                        <a:pt x="982" y="910"/>
                      </a:lnTo>
                      <a:lnTo>
                        <a:pt x="983" y="908"/>
                      </a:lnTo>
                      <a:lnTo>
                        <a:pt x="995" y="910"/>
                      </a:lnTo>
                      <a:lnTo>
                        <a:pt x="1000" y="908"/>
                      </a:lnTo>
                      <a:lnTo>
                        <a:pt x="1004" y="906"/>
                      </a:lnTo>
                      <a:lnTo>
                        <a:pt x="1010" y="900"/>
                      </a:lnTo>
                      <a:lnTo>
                        <a:pt x="1018" y="897"/>
                      </a:lnTo>
                      <a:lnTo>
                        <a:pt x="1025" y="893"/>
                      </a:lnTo>
                      <a:lnTo>
                        <a:pt x="1033" y="891"/>
                      </a:lnTo>
                      <a:lnTo>
                        <a:pt x="1037" y="889"/>
                      </a:lnTo>
                      <a:lnTo>
                        <a:pt x="1040" y="887"/>
                      </a:lnTo>
                      <a:lnTo>
                        <a:pt x="1042" y="883"/>
                      </a:lnTo>
                      <a:lnTo>
                        <a:pt x="1043" y="879"/>
                      </a:lnTo>
                      <a:lnTo>
                        <a:pt x="1043" y="876"/>
                      </a:lnTo>
                      <a:lnTo>
                        <a:pt x="1040" y="874"/>
                      </a:lnTo>
                      <a:lnTo>
                        <a:pt x="1039" y="873"/>
                      </a:lnTo>
                      <a:lnTo>
                        <a:pt x="1039" y="870"/>
                      </a:lnTo>
                      <a:lnTo>
                        <a:pt x="1049" y="856"/>
                      </a:lnTo>
                      <a:lnTo>
                        <a:pt x="1052" y="853"/>
                      </a:lnTo>
                      <a:lnTo>
                        <a:pt x="1053" y="848"/>
                      </a:lnTo>
                      <a:lnTo>
                        <a:pt x="1053" y="844"/>
                      </a:lnTo>
                      <a:lnTo>
                        <a:pt x="1052" y="840"/>
                      </a:lnTo>
                      <a:lnTo>
                        <a:pt x="1051" y="837"/>
                      </a:lnTo>
                      <a:lnTo>
                        <a:pt x="1048" y="836"/>
                      </a:lnTo>
                      <a:lnTo>
                        <a:pt x="1047" y="834"/>
                      </a:lnTo>
                      <a:lnTo>
                        <a:pt x="1045" y="831"/>
                      </a:lnTo>
                      <a:lnTo>
                        <a:pt x="1044" y="828"/>
                      </a:lnTo>
                      <a:lnTo>
                        <a:pt x="1042" y="824"/>
                      </a:lnTo>
                      <a:lnTo>
                        <a:pt x="1040" y="821"/>
                      </a:lnTo>
                      <a:lnTo>
                        <a:pt x="1039" y="817"/>
                      </a:lnTo>
                      <a:lnTo>
                        <a:pt x="1040" y="815"/>
                      </a:lnTo>
                      <a:lnTo>
                        <a:pt x="1043" y="814"/>
                      </a:lnTo>
                      <a:lnTo>
                        <a:pt x="1067" y="810"/>
                      </a:lnTo>
                      <a:lnTo>
                        <a:pt x="1084" y="808"/>
                      </a:lnTo>
                      <a:lnTo>
                        <a:pt x="1085" y="808"/>
                      </a:lnTo>
                      <a:lnTo>
                        <a:pt x="1086" y="806"/>
                      </a:lnTo>
                      <a:lnTo>
                        <a:pt x="1087" y="805"/>
                      </a:lnTo>
                      <a:lnTo>
                        <a:pt x="1087" y="804"/>
                      </a:lnTo>
                      <a:lnTo>
                        <a:pt x="1086" y="802"/>
                      </a:lnTo>
                      <a:lnTo>
                        <a:pt x="1084" y="799"/>
                      </a:lnTo>
                      <a:lnTo>
                        <a:pt x="1082" y="797"/>
                      </a:lnTo>
                      <a:lnTo>
                        <a:pt x="1082" y="789"/>
                      </a:lnTo>
                      <a:lnTo>
                        <a:pt x="1082" y="780"/>
                      </a:lnTo>
                      <a:lnTo>
                        <a:pt x="1084" y="777"/>
                      </a:lnTo>
                      <a:lnTo>
                        <a:pt x="1086" y="773"/>
                      </a:lnTo>
                      <a:lnTo>
                        <a:pt x="1089" y="771"/>
                      </a:lnTo>
                      <a:lnTo>
                        <a:pt x="1094" y="771"/>
                      </a:lnTo>
                      <a:lnTo>
                        <a:pt x="1108" y="771"/>
                      </a:lnTo>
                      <a:lnTo>
                        <a:pt x="1114" y="770"/>
                      </a:lnTo>
                      <a:lnTo>
                        <a:pt x="1122" y="768"/>
                      </a:lnTo>
                      <a:lnTo>
                        <a:pt x="1125" y="767"/>
                      </a:lnTo>
                      <a:lnTo>
                        <a:pt x="1128" y="765"/>
                      </a:lnTo>
                      <a:lnTo>
                        <a:pt x="1129" y="761"/>
                      </a:lnTo>
                      <a:lnTo>
                        <a:pt x="1131" y="758"/>
                      </a:lnTo>
                      <a:lnTo>
                        <a:pt x="1131" y="750"/>
                      </a:lnTo>
                      <a:lnTo>
                        <a:pt x="1131" y="746"/>
                      </a:lnTo>
                      <a:lnTo>
                        <a:pt x="1132" y="741"/>
                      </a:lnTo>
                      <a:lnTo>
                        <a:pt x="1133" y="740"/>
                      </a:lnTo>
                      <a:lnTo>
                        <a:pt x="1134" y="738"/>
                      </a:lnTo>
                      <a:lnTo>
                        <a:pt x="1147" y="732"/>
                      </a:lnTo>
                      <a:lnTo>
                        <a:pt x="1155" y="727"/>
                      </a:lnTo>
                      <a:lnTo>
                        <a:pt x="1161" y="722"/>
                      </a:lnTo>
                      <a:lnTo>
                        <a:pt x="1164" y="721"/>
                      </a:lnTo>
                      <a:lnTo>
                        <a:pt x="1166" y="720"/>
                      </a:lnTo>
                      <a:lnTo>
                        <a:pt x="1170" y="719"/>
                      </a:lnTo>
                      <a:lnTo>
                        <a:pt x="1172" y="718"/>
                      </a:lnTo>
                      <a:lnTo>
                        <a:pt x="1178" y="714"/>
                      </a:lnTo>
                      <a:lnTo>
                        <a:pt x="1184" y="710"/>
                      </a:lnTo>
                      <a:lnTo>
                        <a:pt x="1190" y="709"/>
                      </a:lnTo>
                      <a:lnTo>
                        <a:pt x="1198" y="708"/>
                      </a:lnTo>
                      <a:lnTo>
                        <a:pt x="1207" y="707"/>
                      </a:lnTo>
                      <a:lnTo>
                        <a:pt x="1208" y="707"/>
                      </a:lnTo>
                      <a:lnTo>
                        <a:pt x="1209" y="706"/>
                      </a:lnTo>
                      <a:lnTo>
                        <a:pt x="1209" y="702"/>
                      </a:lnTo>
                      <a:lnTo>
                        <a:pt x="1205" y="696"/>
                      </a:lnTo>
                      <a:lnTo>
                        <a:pt x="1204" y="694"/>
                      </a:lnTo>
                      <a:lnTo>
                        <a:pt x="1204" y="693"/>
                      </a:lnTo>
                      <a:lnTo>
                        <a:pt x="1211" y="689"/>
                      </a:lnTo>
                      <a:lnTo>
                        <a:pt x="1216" y="687"/>
                      </a:lnTo>
                      <a:lnTo>
                        <a:pt x="1222" y="684"/>
                      </a:lnTo>
                      <a:lnTo>
                        <a:pt x="1227" y="681"/>
                      </a:lnTo>
                      <a:lnTo>
                        <a:pt x="121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2" name="Freeform 1162">
                  <a:extLst>
                    <a:ext uri="{FF2B5EF4-FFF2-40B4-BE49-F238E27FC236}">
                      <a16:creationId xmlns:a16="http://schemas.microsoft.com/office/drawing/2014/main" id="{639BCCAC-F744-0D4F-93F6-D135FFD51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5965" y="3169566"/>
                  <a:ext cx="85833" cy="125790"/>
                </a:xfrm>
                <a:custGeom>
                  <a:avLst/>
                  <a:gdLst>
                    <a:gd name="T0" fmla="*/ 2147483647 w 63"/>
                    <a:gd name="T1" fmla="*/ 2147483647 h 85"/>
                    <a:gd name="T2" fmla="*/ 2147483647 w 63"/>
                    <a:gd name="T3" fmla="*/ 2147483647 h 85"/>
                    <a:gd name="T4" fmla="*/ 2147483647 w 63"/>
                    <a:gd name="T5" fmla="*/ 2147483647 h 85"/>
                    <a:gd name="T6" fmla="*/ 2147483647 w 63"/>
                    <a:gd name="T7" fmla="*/ 2147483647 h 85"/>
                    <a:gd name="T8" fmla="*/ 2147483647 w 63"/>
                    <a:gd name="T9" fmla="*/ 2147483647 h 85"/>
                    <a:gd name="T10" fmla="*/ 2147483647 w 63"/>
                    <a:gd name="T11" fmla="*/ 2147483647 h 85"/>
                    <a:gd name="T12" fmla="*/ 2147483647 w 63"/>
                    <a:gd name="T13" fmla="*/ 2147483647 h 85"/>
                    <a:gd name="T14" fmla="*/ 2147483647 w 63"/>
                    <a:gd name="T15" fmla="*/ 2147483647 h 85"/>
                    <a:gd name="T16" fmla="*/ 0 w 63"/>
                    <a:gd name="T17" fmla="*/ 2147483647 h 85"/>
                    <a:gd name="T18" fmla="*/ 0 w 63"/>
                    <a:gd name="T19" fmla="*/ 2147483647 h 85"/>
                    <a:gd name="T20" fmla="*/ 2147483647 w 63"/>
                    <a:gd name="T21" fmla="*/ 2147483647 h 85"/>
                    <a:gd name="T22" fmla="*/ 2147483647 w 63"/>
                    <a:gd name="T23" fmla="*/ 2147483647 h 85"/>
                    <a:gd name="T24" fmla="*/ 2147483647 w 63"/>
                    <a:gd name="T25" fmla="*/ 2147483647 h 85"/>
                    <a:gd name="T26" fmla="*/ 2147483647 w 63"/>
                    <a:gd name="T27" fmla="*/ 2147483647 h 85"/>
                    <a:gd name="T28" fmla="*/ 2147483647 w 63"/>
                    <a:gd name="T29" fmla="*/ 2147483647 h 85"/>
                    <a:gd name="T30" fmla="*/ 2147483647 w 63"/>
                    <a:gd name="T31" fmla="*/ 2147483647 h 85"/>
                    <a:gd name="T32" fmla="*/ 2147483647 w 63"/>
                    <a:gd name="T33" fmla="*/ 2147483647 h 85"/>
                    <a:gd name="T34" fmla="*/ 2147483647 w 63"/>
                    <a:gd name="T35" fmla="*/ 2147483647 h 85"/>
                    <a:gd name="T36" fmla="*/ 2147483647 w 63"/>
                    <a:gd name="T37" fmla="*/ 2147483647 h 85"/>
                    <a:gd name="T38" fmla="*/ 2147483647 w 63"/>
                    <a:gd name="T39" fmla="*/ 2147483647 h 85"/>
                    <a:gd name="T40" fmla="*/ 2147483647 w 63"/>
                    <a:gd name="T41" fmla="*/ 2147483647 h 85"/>
                    <a:gd name="T42" fmla="*/ 2147483647 w 63"/>
                    <a:gd name="T43" fmla="*/ 2147483647 h 85"/>
                    <a:gd name="T44" fmla="*/ 2147483647 w 63"/>
                    <a:gd name="T45" fmla="*/ 2147483647 h 85"/>
                    <a:gd name="T46" fmla="*/ 2147483647 w 63"/>
                    <a:gd name="T47" fmla="*/ 2147483647 h 85"/>
                    <a:gd name="T48" fmla="*/ 2147483647 w 63"/>
                    <a:gd name="T49" fmla="*/ 2147483647 h 85"/>
                    <a:gd name="T50" fmla="*/ 2147483647 w 63"/>
                    <a:gd name="T51" fmla="*/ 2147483647 h 85"/>
                    <a:gd name="T52" fmla="*/ 2147483647 w 63"/>
                    <a:gd name="T53" fmla="*/ 2147483647 h 85"/>
                    <a:gd name="T54" fmla="*/ 2147483647 w 63"/>
                    <a:gd name="T55" fmla="*/ 2147483647 h 85"/>
                    <a:gd name="T56" fmla="*/ 2147483647 w 63"/>
                    <a:gd name="T57" fmla="*/ 2147483647 h 85"/>
                    <a:gd name="T58" fmla="*/ 2147483647 w 63"/>
                    <a:gd name="T59" fmla="*/ 2147483647 h 85"/>
                    <a:gd name="T60" fmla="*/ 2147483647 w 63"/>
                    <a:gd name="T61" fmla="*/ 2147483647 h 85"/>
                    <a:gd name="T62" fmla="*/ 2147483647 w 63"/>
                    <a:gd name="T63" fmla="*/ 2147483647 h 85"/>
                    <a:gd name="T64" fmla="*/ 2147483647 w 63"/>
                    <a:gd name="T65" fmla="*/ 2147483647 h 85"/>
                    <a:gd name="T66" fmla="*/ 2147483647 w 63"/>
                    <a:gd name="T67" fmla="*/ 2147483647 h 85"/>
                    <a:gd name="T68" fmla="*/ 2147483647 w 63"/>
                    <a:gd name="T69" fmla="*/ 2147483647 h 85"/>
                    <a:gd name="T70" fmla="*/ 2147483647 w 63"/>
                    <a:gd name="T71" fmla="*/ 2147483647 h 85"/>
                    <a:gd name="T72" fmla="*/ 2147483647 w 63"/>
                    <a:gd name="T73" fmla="*/ 2147483647 h 85"/>
                    <a:gd name="T74" fmla="*/ 2147483647 w 63"/>
                    <a:gd name="T75" fmla="*/ 2147483647 h 85"/>
                    <a:gd name="T76" fmla="*/ 2147483647 w 63"/>
                    <a:gd name="T77" fmla="*/ 2147483647 h 85"/>
                    <a:gd name="T78" fmla="*/ 2147483647 w 63"/>
                    <a:gd name="T79" fmla="*/ 2147483647 h 85"/>
                    <a:gd name="T80" fmla="*/ 2147483647 w 63"/>
                    <a:gd name="T81" fmla="*/ 2147483647 h 85"/>
                    <a:gd name="T82" fmla="*/ 2147483647 w 63"/>
                    <a:gd name="T83" fmla="*/ 2147483647 h 85"/>
                    <a:gd name="T84" fmla="*/ 2147483647 w 63"/>
                    <a:gd name="T85" fmla="*/ 2147483647 h 85"/>
                    <a:gd name="T86" fmla="*/ 2147483647 w 63"/>
                    <a:gd name="T87" fmla="*/ 0 h 85"/>
                    <a:gd name="T88" fmla="*/ 2147483647 w 63"/>
                    <a:gd name="T89" fmla="*/ 2147483647 h 85"/>
                    <a:gd name="T90" fmla="*/ 2147483647 w 63"/>
                    <a:gd name="T91" fmla="*/ 2147483647 h 85"/>
                    <a:gd name="T92" fmla="*/ 2147483647 w 63"/>
                    <a:gd name="T93" fmla="*/ 2147483647 h 85"/>
                    <a:gd name="T94" fmla="*/ 2147483647 w 63"/>
                    <a:gd name="T95" fmla="*/ 2147483647 h 85"/>
                    <a:gd name="T96" fmla="*/ 2147483647 w 63"/>
                    <a:gd name="T97" fmla="*/ 2147483647 h 8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3"/>
                    <a:gd name="T148" fmla="*/ 0 h 85"/>
                    <a:gd name="T149" fmla="*/ 63 w 63"/>
                    <a:gd name="T150" fmla="*/ 85 h 8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3" h="85">
                      <a:moveTo>
                        <a:pt x="19" y="16"/>
                      </a:moveTo>
                      <a:lnTo>
                        <a:pt x="19" y="16"/>
                      </a:lnTo>
                      <a:lnTo>
                        <a:pt x="20" y="19"/>
                      </a:lnTo>
                      <a:lnTo>
                        <a:pt x="20" y="22"/>
                      </a:lnTo>
                      <a:lnTo>
                        <a:pt x="19" y="24"/>
                      </a:lnTo>
                      <a:lnTo>
                        <a:pt x="16" y="27"/>
                      </a:lnTo>
                      <a:lnTo>
                        <a:pt x="12" y="27"/>
                      </a:lnTo>
                      <a:lnTo>
                        <a:pt x="8" y="28"/>
                      </a:lnTo>
                      <a:lnTo>
                        <a:pt x="6" y="29"/>
                      </a:lnTo>
                      <a:lnTo>
                        <a:pt x="5" y="30"/>
                      </a:lnTo>
                      <a:lnTo>
                        <a:pt x="5" y="34"/>
                      </a:lnTo>
                      <a:lnTo>
                        <a:pt x="5" y="38"/>
                      </a:lnTo>
                      <a:lnTo>
                        <a:pt x="3" y="42"/>
                      </a:lnTo>
                      <a:lnTo>
                        <a:pt x="1" y="44"/>
                      </a:lnTo>
                      <a:lnTo>
                        <a:pt x="0" y="46"/>
                      </a:lnTo>
                      <a:lnTo>
                        <a:pt x="0" y="47"/>
                      </a:lnTo>
                      <a:lnTo>
                        <a:pt x="0" y="63"/>
                      </a:lnTo>
                      <a:lnTo>
                        <a:pt x="1" y="73"/>
                      </a:lnTo>
                      <a:lnTo>
                        <a:pt x="2" y="80"/>
                      </a:lnTo>
                      <a:lnTo>
                        <a:pt x="5" y="82"/>
                      </a:lnTo>
                      <a:lnTo>
                        <a:pt x="8" y="82"/>
                      </a:lnTo>
                      <a:lnTo>
                        <a:pt x="12" y="81"/>
                      </a:lnTo>
                      <a:lnTo>
                        <a:pt x="16" y="79"/>
                      </a:lnTo>
                      <a:lnTo>
                        <a:pt x="19" y="79"/>
                      </a:lnTo>
                      <a:lnTo>
                        <a:pt x="20" y="80"/>
                      </a:lnTo>
                      <a:lnTo>
                        <a:pt x="22" y="82"/>
                      </a:lnTo>
                      <a:lnTo>
                        <a:pt x="28" y="85"/>
                      </a:lnTo>
                      <a:lnTo>
                        <a:pt x="31" y="85"/>
                      </a:lnTo>
                      <a:lnTo>
                        <a:pt x="35" y="82"/>
                      </a:lnTo>
                      <a:lnTo>
                        <a:pt x="40" y="79"/>
                      </a:lnTo>
                      <a:lnTo>
                        <a:pt x="43" y="76"/>
                      </a:lnTo>
                      <a:lnTo>
                        <a:pt x="45" y="73"/>
                      </a:lnTo>
                      <a:lnTo>
                        <a:pt x="45" y="72"/>
                      </a:lnTo>
                      <a:lnTo>
                        <a:pt x="45" y="69"/>
                      </a:lnTo>
                      <a:lnTo>
                        <a:pt x="45" y="68"/>
                      </a:lnTo>
                      <a:lnTo>
                        <a:pt x="45" y="67"/>
                      </a:lnTo>
                      <a:lnTo>
                        <a:pt x="49" y="66"/>
                      </a:lnTo>
                      <a:lnTo>
                        <a:pt x="53" y="66"/>
                      </a:lnTo>
                      <a:lnTo>
                        <a:pt x="55" y="65"/>
                      </a:lnTo>
                      <a:lnTo>
                        <a:pt x="57" y="63"/>
                      </a:lnTo>
                      <a:lnTo>
                        <a:pt x="58" y="60"/>
                      </a:lnTo>
                      <a:lnTo>
                        <a:pt x="58" y="55"/>
                      </a:lnTo>
                      <a:lnTo>
                        <a:pt x="59" y="50"/>
                      </a:lnTo>
                      <a:lnTo>
                        <a:pt x="63" y="43"/>
                      </a:lnTo>
                      <a:lnTo>
                        <a:pt x="61" y="46"/>
                      </a:lnTo>
                      <a:lnTo>
                        <a:pt x="57" y="46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1"/>
                      </a:lnTo>
                      <a:lnTo>
                        <a:pt x="47" y="38"/>
                      </a:lnTo>
                      <a:lnTo>
                        <a:pt x="47" y="35"/>
                      </a:lnTo>
                      <a:lnTo>
                        <a:pt x="47" y="32"/>
                      </a:lnTo>
                      <a:lnTo>
                        <a:pt x="48" y="29"/>
                      </a:lnTo>
                      <a:lnTo>
                        <a:pt x="52" y="25"/>
                      </a:lnTo>
                      <a:lnTo>
                        <a:pt x="53" y="21"/>
                      </a:lnTo>
                      <a:lnTo>
                        <a:pt x="53" y="19"/>
                      </a:lnTo>
                      <a:lnTo>
                        <a:pt x="50" y="17"/>
                      </a:lnTo>
                      <a:lnTo>
                        <a:pt x="50" y="15"/>
                      </a:lnTo>
                      <a:lnTo>
                        <a:pt x="52" y="12"/>
                      </a:lnTo>
                      <a:lnTo>
                        <a:pt x="54" y="10"/>
                      </a:lnTo>
                      <a:lnTo>
                        <a:pt x="55" y="8"/>
                      </a:lnTo>
                      <a:lnTo>
                        <a:pt x="55" y="5"/>
                      </a:lnTo>
                      <a:lnTo>
                        <a:pt x="55" y="3"/>
                      </a:lnTo>
                      <a:lnTo>
                        <a:pt x="53" y="3"/>
                      </a:lnTo>
                      <a:lnTo>
                        <a:pt x="50" y="5"/>
                      </a:lnTo>
                      <a:lnTo>
                        <a:pt x="48" y="5"/>
                      </a:lnTo>
                      <a:lnTo>
                        <a:pt x="47" y="5"/>
                      </a:lnTo>
                      <a:lnTo>
                        <a:pt x="44" y="2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6" y="2"/>
                      </a:lnTo>
                      <a:lnTo>
                        <a:pt x="33" y="4"/>
                      </a:lnTo>
                      <a:lnTo>
                        <a:pt x="30" y="9"/>
                      </a:lnTo>
                      <a:lnTo>
                        <a:pt x="30" y="14"/>
                      </a:ln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19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3" name="Freeform 1163">
                  <a:extLst>
                    <a:ext uri="{FF2B5EF4-FFF2-40B4-BE49-F238E27FC236}">
                      <a16:creationId xmlns:a16="http://schemas.microsoft.com/office/drawing/2014/main" id="{FFA78096-A1B0-6F42-AE39-B7374B49D7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9924" y="2031548"/>
                  <a:ext cx="1675214" cy="1518349"/>
                </a:xfrm>
                <a:custGeom>
                  <a:avLst/>
                  <a:gdLst>
                    <a:gd name="T0" fmla="*/ 2147483647 w 1227"/>
                    <a:gd name="T1" fmla="*/ 2147483647 h 1026"/>
                    <a:gd name="T2" fmla="*/ 2147483647 w 1227"/>
                    <a:gd name="T3" fmla="*/ 2147483647 h 1026"/>
                    <a:gd name="T4" fmla="*/ 2147483647 w 1227"/>
                    <a:gd name="T5" fmla="*/ 2147483647 h 1026"/>
                    <a:gd name="T6" fmla="*/ 2147483647 w 1227"/>
                    <a:gd name="T7" fmla="*/ 2147483647 h 1026"/>
                    <a:gd name="T8" fmla="*/ 2147483647 w 1227"/>
                    <a:gd name="T9" fmla="*/ 2147483647 h 1026"/>
                    <a:gd name="T10" fmla="*/ 2147483647 w 1227"/>
                    <a:gd name="T11" fmla="*/ 2147483647 h 1026"/>
                    <a:gd name="T12" fmla="*/ 2147483647 w 1227"/>
                    <a:gd name="T13" fmla="*/ 2147483647 h 1026"/>
                    <a:gd name="T14" fmla="*/ 2147483647 w 1227"/>
                    <a:gd name="T15" fmla="*/ 2147483647 h 1026"/>
                    <a:gd name="T16" fmla="*/ 2147483647 w 1227"/>
                    <a:gd name="T17" fmla="*/ 2147483647 h 1026"/>
                    <a:gd name="T18" fmla="*/ 2147483647 w 1227"/>
                    <a:gd name="T19" fmla="*/ 2147483647 h 1026"/>
                    <a:gd name="T20" fmla="*/ 2147483647 w 1227"/>
                    <a:gd name="T21" fmla="*/ 2147483647 h 1026"/>
                    <a:gd name="T22" fmla="*/ 2147483647 w 1227"/>
                    <a:gd name="T23" fmla="*/ 2147483647 h 1026"/>
                    <a:gd name="T24" fmla="*/ 2147483647 w 1227"/>
                    <a:gd name="T25" fmla="*/ 2147483647 h 1026"/>
                    <a:gd name="T26" fmla="*/ 2147483647 w 1227"/>
                    <a:gd name="T27" fmla="*/ 2147483647 h 1026"/>
                    <a:gd name="T28" fmla="*/ 2147483647 w 1227"/>
                    <a:gd name="T29" fmla="*/ 2147483647 h 1026"/>
                    <a:gd name="T30" fmla="*/ 2147483647 w 1227"/>
                    <a:gd name="T31" fmla="*/ 2147483647 h 1026"/>
                    <a:gd name="T32" fmla="*/ 2147483647 w 1227"/>
                    <a:gd name="T33" fmla="*/ 2147483647 h 1026"/>
                    <a:gd name="T34" fmla="*/ 2147483647 w 1227"/>
                    <a:gd name="T35" fmla="*/ 2147483647 h 1026"/>
                    <a:gd name="T36" fmla="*/ 2147483647 w 1227"/>
                    <a:gd name="T37" fmla="*/ 2147483647 h 1026"/>
                    <a:gd name="T38" fmla="*/ 2147483647 w 1227"/>
                    <a:gd name="T39" fmla="*/ 2147483647 h 1026"/>
                    <a:gd name="T40" fmla="*/ 2147483647 w 1227"/>
                    <a:gd name="T41" fmla="*/ 2147483647 h 1026"/>
                    <a:gd name="T42" fmla="*/ 2147483647 w 1227"/>
                    <a:gd name="T43" fmla="*/ 2147483647 h 1026"/>
                    <a:gd name="T44" fmla="*/ 2147483647 w 1227"/>
                    <a:gd name="T45" fmla="*/ 2147483647 h 1026"/>
                    <a:gd name="T46" fmla="*/ 2147483647 w 1227"/>
                    <a:gd name="T47" fmla="*/ 2147483647 h 1026"/>
                    <a:gd name="T48" fmla="*/ 2147483647 w 1227"/>
                    <a:gd name="T49" fmla="*/ 2147483647 h 1026"/>
                    <a:gd name="T50" fmla="*/ 2147483647 w 1227"/>
                    <a:gd name="T51" fmla="*/ 2147483647 h 1026"/>
                    <a:gd name="T52" fmla="*/ 2147483647 w 1227"/>
                    <a:gd name="T53" fmla="*/ 2147483647 h 1026"/>
                    <a:gd name="T54" fmla="*/ 2147483647 w 1227"/>
                    <a:gd name="T55" fmla="*/ 2147483647 h 1026"/>
                    <a:gd name="T56" fmla="*/ 2147483647 w 1227"/>
                    <a:gd name="T57" fmla="*/ 2147483647 h 1026"/>
                    <a:gd name="T58" fmla="*/ 2147483647 w 1227"/>
                    <a:gd name="T59" fmla="*/ 2147483647 h 1026"/>
                    <a:gd name="T60" fmla="*/ 2147483647 w 1227"/>
                    <a:gd name="T61" fmla="*/ 2147483647 h 1026"/>
                    <a:gd name="T62" fmla="*/ 2147483647 w 1227"/>
                    <a:gd name="T63" fmla="*/ 2147483647 h 1026"/>
                    <a:gd name="T64" fmla="*/ 2147483647 w 1227"/>
                    <a:gd name="T65" fmla="*/ 2147483647 h 1026"/>
                    <a:gd name="T66" fmla="*/ 2147483647 w 1227"/>
                    <a:gd name="T67" fmla="*/ 2147483647 h 1026"/>
                    <a:gd name="T68" fmla="*/ 2147483647 w 1227"/>
                    <a:gd name="T69" fmla="*/ 2147483647 h 1026"/>
                    <a:gd name="T70" fmla="*/ 2147483647 w 1227"/>
                    <a:gd name="T71" fmla="*/ 2147483647 h 1026"/>
                    <a:gd name="T72" fmla="*/ 2147483647 w 1227"/>
                    <a:gd name="T73" fmla="*/ 2147483647 h 1026"/>
                    <a:gd name="T74" fmla="*/ 2147483647 w 1227"/>
                    <a:gd name="T75" fmla="*/ 2147483647 h 1026"/>
                    <a:gd name="T76" fmla="*/ 2147483647 w 1227"/>
                    <a:gd name="T77" fmla="*/ 2147483647 h 1026"/>
                    <a:gd name="T78" fmla="*/ 2147483647 w 1227"/>
                    <a:gd name="T79" fmla="*/ 2147483647 h 1026"/>
                    <a:gd name="T80" fmla="*/ 2147483647 w 1227"/>
                    <a:gd name="T81" fmla="*/ 2147483647 h 1026"/>
                    <a:gd name="T82" fmla="*/ 2147483647 w 1227"/>
                    <a:gd name="T83" fmla="*/ 2147483647 h 1026"/>
                    <a:gd name="T84" fmla="*/ 2147483647 w 1227"/>
                    <a:gd name="T85" fmla="*/ 2147483647 h 1026"/>
                    <a:gd name="T86" fmla="*/ 2147483647 w 1227"/>
                    <a:gd name="T87" fmla="*/ 2147483647 h 1026"/>
                    <a:gd name="T88" fmla="*/ 2147483647 w 1227"/>
                    <a:gd name="T89" fmla="*/ 2147483647 h 1026"/>
                    <a:gd name="T90" fmla="*/ 2147483647 w 1227"/>
                    <a:gd name="T91" fmla="*/ 2147483647 h 1026"/>
                    <a:gd name="T92" fmla="*/ 2147483647 w 1227"/>
                    <a:gd name="T93" fmla="*/ 2147483647 h 1026"/>
                    <a:gd name="T94" fmla="*/ 2147483647 w 1227"/>
                    <a:gd name="T95" fmla="*/ 2147483647 h 1026"/>
                    <a:gd name="T96" fmla="*/ 2147483647 w 1227"/>
                    <a:gd name="T97" fmla="*/ 2147483647 h 1026"/>
                    <a:gd name="T98" fmla="*/ 2147483647 w 1227"/>
                    <a:gd name="T99" fmla="*/ 2147483647 h 1026"/>
                    <a:gd name="T100" fmla="*/ 2147483647 w 1227"/>
                    <a:gd name="T101" fmla="*/ 2147483647 h 1026"/>
                    <a:gd name="T102" fmla="*/ 2147483647 w 1227"/>
                    <a:gd name="T103" fmla="*/ 2147483647 h 1026"/>
                    <a:gd name="T104" fmla="*/ 2147483647 w 1227"/>
                    <a:gd name="T105" fmla="*/ 2147483647 h 1026"/>
                    <a:gd name="T106" fmla="*/ 2147483647 w 1227"/>
                    <a:gd name="T107" fmla="*/ 2147483647 h 1026"/>
                    <a:gd name="T108" fmla="*/ 2147483647 w 1227"/>
                    <a:gd name="T109" fmla="*/ 2147483647 h 1026"/>
                    <a:gd name="T110" fmla="*/ 2147483647 w 1227"/>
                    <a:gd name="T111" fmla="*/ 2147483647 h 1026"/>
                    <a:gd name="T112" fmla="*/ 2147483647 w 1227"/>
                    <a:gd name="T113" fmla="*/ 2147483647 h 1026"/>
                    <a:gd name="T114" fmla="*/ 2147483647 w 1227"/>
                    <a:gd name="T115" fmla="*/ 2147483647 h 1026"/>
                    <a:gd name="T116" fmla="*/ 2147483647 w 1227"/>
                    <a:gd name="T117" fmla="*/ 2147483647 h 1026"/>
                    <a:gd name="T118" fmla="*/ 2147483647 w 1227"/>
                    <a:gd name="T119" fmla="*/ 2147483647 h 1026"/>
                    <a:gd name="T120" fmla="*/ 2147483647 w 1227"/>
                    <a:gd name="T121" fmla="*/ 2147483647 h 1026"/>
                    <a:gd name="T122" fmla="*/ 2147483647 w 1227"/>
                    <a:gd name="T123" fmla="*/ 2147483647 h 1026"/>
                    <a:gd name="T124" fmla="*/ 2147483647 w 1227"/>
                    <a:gd name="T125" fmla="*/ 2147483647 h 102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27"/>
                    <a:gd name="T190" fmla="*/ 0 h 1026"/>
                    <a:gd name="T191" fmla="*/ 1227 w 1227"/>
                    <a:gd name="T192" fmla="*/ 1026 h 102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27" h="1026">
                      <a:moveTo>
                        <a:pt x="1215" y="0"/>
                      </a:moveTo>
                      <a:lnTo>
                        <a:pt x="1215" y="0"/>
                      </a:lnTo>
                      <a:lnTo>
                        <a:pt x="1208" y="1"/>
                      </a:lnTo>
                      <a:lnTo>
                        <a:pt x="1200" y="5"/>
                      </a:lnTo>
                      <a:lnTo>
                        <a:pt x="1194" y="7"/>
                      </a:lnTo>
                      <a:lnTo>
                        <a:pt x="1186" y="10"/>
                      </a:lnTo>
                      <a:lnTo>
                        <a:pt x="1179" y="12"/>
                      </a:lnTo>
                      <a:lnTo>
                        <a:pt x="1172" y="14"/>
                      </a:lnTo>
                      <a:lnTo>
                        <a:pt x="1167" y="14"/>
                      </a:lnTo>
                      <a:lnTo>
                        <a:pt x="1165" y="15"/>
                      </a:lnTo>
                      <a:lnTo>
                        <a:pt x="1162" y="17"/>
                      </a:lnTo>
                      <a:lnTo>
                        <a:pt x="1159" y="15"/>
                      </a:lnTo>
                      <a:lnTo>
                        <a:pt x="1157" y="14"/>
                      </a:lnTo>
                      <a:lnTo>
                        <a:pt x="1154" y="13"/>
                      </a:lnTo>
                      <a:lnTo>
                        <a:pt x="1154" y="14"/>
                      </a:lnTo>
                      <a:lnTo>
                        <a:pt x="1152" y="17"/>
                      </a:lnTo>
                      <a:lnTo>
                        <a:pt x="1151" y="20"/>
                      </a:lnTo>
                      <a:lnTo>
                        <a:pt x="1148" y="24"/>
                      </a:lnTo>
                      <a:lnTo>
                        <a:pt x="1146" y="25"/>
                      </a:lnTo>
                      <a:lnTo>
                        <a:pt x="1143" y="27"/>
                      </a:lnTo>
                      <a:lnTo>
                        <a:pt x="1140" y="29"/>
                      </a:lnTo>
                      <a:lnTo>
                        <a:pt x="1139" y="31"/>
                      </a:lnTo>
                      <a:lnTo>
                        <a:pt x="1137" y="32"/>
                      </a:lnTo>
                      <a:lnTo>
                        <a:pt x="1135" y="33"/>
                      </a:lnTo>
                      <a:lnTo>
                        <a:pt x="1133" y="32"/>
                      </a:lnTo>
                      <a:lnTo>
                        <a:pt x="1130" y="32"/>
                      </a:lnTo>
                      <a:lnTo>
                        <a:pt x="1128" y="32"/>
                      </a:lnTo>
                      <a:lnTo>
                        <a:pt x="1126" y="33"/>
                      </a:lnTo>
                      <a:lnTo>
                        <a:pt x="1128" y="36"/>
                      </a:lnTo>
                      <a:lnTo>
                        <a:pt x="1130" y="40"/>
                      </a:lnTo>
                      <a:lnTo>
                        <a:pt x="1133" y="46"/>
                      </a:lnTo>
                      <a:lnTo>
                        <a:pt x="1133" y="47"/>
                      </a:lnTo>
                      <a:lnTo>
                        <a:pt x="1132" y="50"/>
                      </a:lnTo>
                      <a:lnTo>
                        <a:pt x="1132" y="52"/>
                      </a:lnTo>
                      <a:lnTo>
                        <a:pt x="1133" y="53"/>
                      </a:lnTo>
                      <a:lnTo>
                        <a:pt x="1135" y="55"/>
                      </a:lnTo>
                      <a:lnTo>
                        <a:pt x="1138" y="56"/>
                      </a:lnTo>
                      <a:lnTo>
                        <a:pt x="1139" y="58"/>
                      </a:lnTo>
                      <a:lnTo>
                        <a:pt x="1140" y="63"/>
                      </a:lnTo>
                      <a:lnTo>
                        <a:pt x="1142" y="66"/>
                      </a:lnTo>
                      <a:lnTo>
                        <a:pt x="1144" y="70"/>
                      </a:lnTo>
                      <a:lnTo>
                        <a:pt x="1144" y="71"/>
                      </a:lnTo>
                      <a:lnTo>
                        <a:pt x="1143" y="72"/>
                      </a:lnTo>
                      <a:lnTo>
                        <a:pt x="1139" y="72"/>
                      </a:lnTo>
                      <a:lnTo>
                        <a:pt x="1137" y="71"/>
                      </a:lnTo>
                      <a:lnTo>
                        <a:pt x="1133" y="72"/>
                      </a:lnTo>
                      <a:lnTo>
                        <a:pt x="1129" y="75"/>
                      </a:lnTo>
                      <a:lnTo>
                        <a:pt x="1128" y="75"/>
                      </a:lnTo>
                      <a:lnTo>
                        <a:pt x="1126" y="74"/>
                      </a:lnTo>
                      <a:lnTo>
                        <a:pt x="1125" y="72"/>
                      </a:lnTo>
                      <a:lnTo>
                        <a:pt x="1124" y="70"/>
                      </a:lnTo>
                      <a:lnTo>
                        <a:pt x="1125" y="66"/>
                      </a:lnTo>
                      <a:lnTo>
                        <a:pt x="1128" y="64"/>
                      </a:lnTo>
                      <a:lnTo>
                        <a:pt x="1128" y="62"/>
                      </a:lnTo>
                      <a:lnTo>
                        <a:pt x="1126" y="61"/>
                      </a:lnTo>
                      <a:lnTo>
                        <a:pt x="1121" y="62"/>
                      </a:lnTo>
                      <a:lnTo>
                        <a:pt x="1119" y="62"/>
                      </a:lnTo>
                      <a:lnTo>
                        <a:pt x="1116" y="62"/>
                      </a:lnTo>
                      <a:lnTo>
                        <a:pt x="1111" y="61"/>
                      </a:lnTo>
                      <a:lnTo>
                        <a:pt x="1106" y="61"/>
                      </a:lnTo>
                      <a:lnTo>
                        <a:pt x="1095" y="62"/>
                      </a:lnTo>
                      <a:lnTo>
                        <a:pt x="1085" y="63"/>
                      </a:lnTo>
                      <a:lnTo>
                        <a:pt x="1079" y="63"/>
                      </a:lnTo>
                      <a:lnTo>
                        <a:pt x="1074" y="63"/>
                      </a:lnTo>
                      <a:lnTo>
                        <a:pt x="1069" y="62"/>
                      </a:lnTo>
                      <a:lnTo>
                        <a:pt x="1066" y="62"/>
                      </a:lnTo>
                      <a:lnTo>
                        <a:pt x="1062" y="63"/>
                      </a:lnTo>
                      <a:lnTo>
                        <a:pt x="1060" y="66"/>
                      </a:lnTo>
                      <a:lnTo>
                        <a:pt x="1059" y="72"/>
                      </a:lnTo>
                      <a:lnTo>
                        <a:pt x="1060" y="78"/>
                      </a:lnTo>
                      <a:lnTo>
                        <a:pt x="1062" y="83"/>
                      </a:lnTo>
                      <a:lnTo>
                        <a:pt x="1064" y="88"/>
                      </a:lnTo>
                      <a:lnTo>
                        <a:pt x="1067" y="90"/>
                      </a:lnTo>
                      <a:lnTo>
                        <a:pt x="1069" y="91"/>
                      </a:lnTo>
                      <a:lnTo>
                        <a:pt x="1077" y="93"/>
                      </a:lnTo>
                      <a:lnTo>
                        <a:pt x="1079" y="94"/>
                      </a:lnTo>
                      <a:lnTo>
                        <a:pt x="1083" y="96"/>
                      </a:lnTo>
                      <a:lnTo>
                        <a:pt x="1085" y="98"/>
                      </a:lnTo>
                      <a:lnTo>
                        <a:pt x="1085" y="102"/>
                      </a:lnTo>
                      <a:lnTo>
                        <a:pt x="1086" y="103"/>
                      </a:lnTo>
                      <a:lnTo>
                        <a:pt x="1086" y="104"/>
                      </a:lnTo>
                      <a:lnTo>
                        <a:pt x="1088" y="107"/>
                      </a:lnTo>
                      <a:lnTo>
                        <a:pt x="1097" y="120"/>
                      </a:lnTo>
                      <a:lnTo>
                        <a:pt x="1101" y="127"/>
                      </a:lnTo>
                      <a:lnTo>
                        <a:pt x="1106" y="133"/>
                      </a:lnTo>
                      <a:lnTo>
                        <a:pt x="1107" y="136"/>
                      </a:lnTo>
                      <a:lnTo>
                        <a:pt x="1107" y="139"/>
                      </a:lnTo>
                      <a:lnTo>
                        <a:pt x="1105" y="142"/>
                      </a:lnTo>
                      <a:lnTo>
                        <a:pt x="1102" y="144"/>
                      </a:lnTo>
                      <a:lnTo>
                        <a:pt x="1095" y="142"/>
                      </a:lnTo>
                      <a:lnTo>
                        <a:pt x="1087" y="141"/>
                      </a:lnTo>
                      <a:lnTo>
                        <a:pt x="1085" y="140"/>
                      </a:lnTo>
                      <a:lnTo>
                        <a:pt x="1085" y="139"/>
                      </a:lnTo>
                      <a:lnTo>
                        <a:pt x="1085" y="134"/>
                      </a:lnTo>
                      <a:lnTo>
                        <a:pt x="1090" y="125"/>
                      </a:lnTo>
                      <a:lnTo>
                        <a:pt x="1090" y="121"/>
                      </a:lnTo>
                      <a:lnTo>
                        <a:pt x="1087" y="120"/>
                      </a:lnTo>
                      <a:lnTo>
                        <a:pt x="1085" y="119"/>
                      </a:lnTo>
                      <a:lnTo>
                        <a:pt x="1081" y="119"/>
                      </a:lnTo>
                      <a:lnTo>
                        <a:pt x="1076" y="119"/>
                      </a:lnTo>
                      <a:lnTo>
                        <a:pt x="1072" y="119"/>
                      </a:lnTo>
                      <a:lnTo>
                        <a:pt x="1069" y="119"/>
                      </a:lnTo>
                      <a:lnTo>
                        <a:pt x="1064" y="115"/>
                      </a:lnTo>
                      <a:lnTo>
                        <a:pt x="1053" y="101"/>
                      </a:lnTo>
                      <a:lnTo>
                        <a:pt x="1046" y="95"/>
                      </a:lnTo>
                      <a:lnTo>
                        <a:pt x="1043" y="93"/>
                      </a:lnTo>
                      <a:lnTo>
                        <a:pt x="1039" y="91"/>
                      </a:lnTo>
                      <a:lnTo>
                        <a:pt x="1031" y="90"/>
                      </a:lnTo>
                      <a:lnTo>
                        <a:pt x="1024" y="89"/>
                      </a:lnTo>
                      <a:lnTo>
                        <a:pt x="1017" y="89"/>
                      </a:lnTo>
                      <a:lnTo>
                        <a:pt x="1010" y="91"/>
                      </a:lnTo>
                      <a:lnTo>
                        <a:pt x="1005" y="95"/>
                      </a:lnTo>
                      <a:lnTo>
                        <a:pt x="1003" y="96"/>
                      </a:lnTo>
                      <a:lnTo>
                        <a:pt x="1002" y="98"/>
                      </a:lnTo>
                      <a:lnTo>
                        <a:pt x="1003" y="101"/>
                      </a:lnTo>
                      <a:lnTo>
                        <a:pt x="1005" y="102"/>
                      </a:lnTo>
                      <a:lnTo>
                        <a:pt x="1008" y="103"/>
                      </a:lnTo>
                      <a:lnTo>
                        <a:pt x="1013" y="104"/>
                      </a:lnTo>
                      <a:lnTo>
                        <a:pt x="1017" y="107"/>
                      </a:lnTo>
                      <a:lnTo>
                        <a:pt x="1019" y="109"/>
                      </a:lnTo>
                      <a:lnTo>
                        <a:pt x="1017" y="111"/>
                      </a:lnTo>
                      <a:lnTo>
                        <a:pt x="1016" y="114"/>
                      </a:lnTo>
                      <a:lnTo>
                        <a:pt x="1013" y="115"/>
                      </a:lnTo>
                      <a:lnTo>
                        <a:pt x="1011" y="116"/>
                      </a:lnTo>
                      <a:lnTo>
                        <a:pt x="1007" y="115"/>
                      </a:lnTo>
                      <a:lnTo>
                        <a:pt x="1002" y="113"/>
                      </a:lnTo>
                      <a:lnTo>
                        <a:pt x="992" y="107"/>
                      </a:lnTo>
                      <a:lnTo>
                        <a:pt x="989" y="106"/>
                      </a:lnTo>
                      <a:lnTo>
                        <a:pt x="987" y="107"/>
                      </a:lnTo>
                      <a:lnTo>
                        <a:pt x="984" y="108"/>
                      </a:lnTo>
                      <a:lnTo>
                        <a:pt x="983" y="110"/>
                      </a:lnTo>
                      <a:lnTo>
                        <a:pt x="982" y="116"/>
                      </a:lnTo>
                      <a:lnTo>
                        <a:pt x="983" y="121"/>
                      </a:lnTo>
                      <a:lnTo>
                        <a:pt x="984" y="126"/>
                      </a:lnTo>
                      <a:lnTo>
                        <a:pt x="987" y="128"/>
                      </a:lnTo>
                      <a:lnTo>
                        <a:pt x="992" y="129"/>
                      </a:lnTo>
                      <a:lnTo>
                        <a:pt x="997" y="130"/>
                      </a:lnTo>
                      <a:lnTo>
                        <a:pt x="1007" y="133"/>
                      </a:lnTo>
                      <a:lnTo>
                        <a:pt x="1012" y="134"/>
                      </a:lnTo>
                      <a:lnTo>
                        <a:pt x="1016" y="136"/>
                      </a:lnTo>
                      <a:lnTo>
                        <a:pt x="1025" y="142"/>
                      </a:lnTo>
                      <a:lnTo>
                        <a:pt x="1027" y="146"/>
                      </a:lnTo>
                      <a:lnTo>
                        <a:pt x="1027" y="148"/>
                      </a:lnTo>
                      <a:lnTo>
                        <a:pt x="1026" y="151"/>
                      </a:lnTo>
                      <a:lnTo>
                        <a:pt x="1025" y="151"/>
                      </a:lnTo>
                      <a:lnTo>
                        <a:pt x="1021" y="149"/>
                      </a:lnTo>
                      <a:lnTo>
                        <a:pt x="1019" y="149"/>
                      </a:lnTo>
                      <a:lnTo>
                        <a:pt x="1016" y="151"/>
                      </a:lnTo>
                      <a:lnTo>
                        <a:pt x="1013" y="152"/>
                      </a:lnTo>
                      <a:lnTo>
                        <a:pt x="1012" y="151"/>
                      </a:lnTo>
                      <a:lnTo>
                        <a:pt x="1007" y="146"/>
                      </a:lnTo>
                      <a:lnTo>
                        <a:pt x="1003" y="142"/>
                      </a:lnTo>
                      <a:lnTo>
                        <a:pt x="997" y="142"/>
                      </a:lnTo>
                      <a:lnTo>
                        <a:pt x="992" y="144"/>
                      </a:lnTo>
                      <a:lnTo>
                        <a:pt x="988" y="144"/>
                      </a:lnTo>
                      <a:lnTo>
                        <a:pt x="987" y="141"/>
                      </a:lnTo>
                      <a:lnTo>
                        <a:pt x="978" y="134"/>
                      </a:lnTo>
                      <a:lnTo>
                        <a:pt x="968" y="129"/>
                      </a:lnTo>
                      <a:lnTo>
                        <a:pt x="965" y="127"/>
                      </a:lnTo>
                      <a:lnTo>
                        <a:pt x="963" y="123"/>
                      </a:lnTo>
                      <a:lnTo>
                        <a:pt x="961" y="119"/>
                      </a:lnTo>
                      <a:lnTo>
                        <a:pt x="960" y="114"/>
                      </a:lnTo>
                      <a:lnTo>
                        <a:pt x="961" y="104"/>
                      </a:lnTo>
                      <a:lnTo>
                        <a:pt x="961" y="95"/>
                      </a:lnTo>
                      <a:lnTo>
                        <a:pt x="961" y="93"/>
                      </a:lnTo>
                      <a:lnTo>
                        <a:pt x="960" y="89"/>
                      </a:lnTo>
                      <a:lnTo>
                        <a:pt x="958" y="88"/>
                      </a:lnTo>
                      <a:lnTo>
                        <a:pt x="955" y="85"/>
                      </a:lnTo>
                      <a:lnTo>
                        <a:pt x="954" y="84"/>
                      </a:lnTo>
                      <a:lnTo>
                        <a:pt x="954" y="83"/>
                      </a:lnTo>
                      <a:lnTo>
                        <a:pt x="954" y="79"/>
                      </a:lnTo>
                      <a:lnTo>
                        <a:pt x="953" y="78"/>
                      </a:lnTo>
                      <a:lnTo>
                        <a:pt x="951" y="77"/>
                      </a:lnTo>
                      <a:lnTo>
                        <a:pt x="950" y="78"/>
                      </a:lnTo>
                      <a:lnTo>
                        <a:pt x="950" y="79"/>
                      </a:lnTo>
                      <a:lnTo>
                        <a:pt x="950" y="82"/>
                      </a:lnTo>
                      <a:lnTo>
                        <a:pt x="951" y="91"/>
                      </a:lnTo>
                      <a:lnTo>
                        <a:pt x="949" y="100"/>
                      </a:lnTo>
                      <a:lnTo>
                        <a:pt x="945" y="108"/>
                      </a:lnTo>
                      <a:lnTo>
                        <a:pt x="937" y="115"/>
                      </a:lnTo>
                      <a:lnTo>
                        <a:pt x="933" y="119"/>
                      </a:lnTo>
                      <a:lnTo>
                        <a:pt x="931" y="123"/>
                      </a:lnTo>
                      <a:lnTo>
                        <a:pt x="930" y="128"/>
                      </a:lnTo>
                      <a:lnTo>
                        <a:pt x="930" y="133"/>
                      </a:lnTo>
                      <a:lnTo>
                        <a:pt x="931" y="136"/>
                      </a:lnTo>
                      <a:lnTo>
                        <a:pt x="935" y="140"/>
                      </a:lnTo>
                      <a:lnTo>
                        <a:pt x="942" y="144"/>
                      </a:lnTo>
                      <a:lnTo>
                        <a:pt x="944" y="146"/>
                      </a:lnTo>
                      <a:lnTo>
                        <a:pt x="944" y="147"/>
                      </a:lnTo>
                      <a:lnTo>
                        <a:pt x="942" y="153"/>
                      </a:lnTo>
                      <a:lnTo>
                        <a:pt x="940" y="158"/>
                      </a:lnTo>
                      <a:lnTo>
                        <a:pt x="939" y="162"/>
                      </a:lnTo>
                      <a:lnTo>
                        <a:pt x="937" y="171"/>
                      </a:lnTo>
                      <a:lnTo>
                        <a:pt x="937" y="179"/>
                      </a:lnTo>
                      <a:lnTo>
                        <a:pt x="939" y="186"/>
                      </a:lnTo>
                      <a:lnTo>
                        <a:pt x="942" y="193"/>
                      </a:lnTo>
                      <a:lnTo>
                        <a:pt x="944" y="194"/>
                      </a:lnTo>
                      <a:lnTo>
                        <a:pt x="946" y="194"/>
                      </a:lnTo>
                      <a:lnTo>
                        <a:pt x="950" y="194"/>
                      </a:lnTo>
                      <a:lnTo>
                        <a:pt x="951" y="194"/>
                      </a:lnTo>
                      <a:lnTo>
                        <a:pt x="953" y="196"/>
                      </a:lnTo>
                      <a:lnTo>
                        <a:pt x="955" y="200"/>
                      </a:lnTo>
                      <a:lnTo>
                        <a:pt x="956" y="204"/>
                      </a:lnTo>
                      <a:lnTo>
                        <a:pt x="956" y="206"/>
                      </a:lnTo>
                      <a:lnTo>
                        <a:pt x="954" y="208"/>
                      </a:lnTo>
                      <a:lnTo>
                        <a:pt x="953" y="209"/>
                      </a:lnTo>
                      <a:lnTo>
                        <a:pt x="949" y="208"/>
                      </a:lnTo>
                      <a:lnTo>
                        <a:pt x="947" y="206"/>
                      </a:lnTo>
                      <a:lnTo>
                        <a:pt x="946" y="206"/>
                      </a:lnTo>
                      <a:lnTo>
                        <a:pt x="946" y="208"/>
                      </a:lnTo>
                      <a:lnTo>
                        <a:pt x="947" y="216"/>
                      </a:lnTo>
                      <a:lnTo>
                        <a:pt x="950" y="225"/>
                      </a:lnTo>
                      <a:lnTo>
                        <a:pt x="951" y="234"/>
                      </a:lnTo>
                      <a:lnTo>
                        <a:pt x="951" y="238"/>
                      </a:lnTo>
                      <a:lnTo>
                        <a:pt x="950" y="242"/>
                      </a:lnTo>
                      <a:lnTo>
                        <a:pt x="949" y="241"/>
                      </a:lnTo>
                      <a:lnTo>
                        <a:pt x="947" y="240"/>
                      </a:lnTo>
                      <a:lnTo>
                        <a:pt x="945" y="240"/>
                      </a:lnTo>
                      <a:lnTo>
                        <a:pt x="944" y="241"/>
                      </a:lnTo>
                      <a:lnTo>
                        <a:pt x="942" y="244"/>
                      </a:lnTo>
                      <a:lnTo>
                        <a:pt x="940" y="248"/>
                      </a:lnTo>
                      <a:lnTo>
                        <a:pt x="940" y="253"/>
                      </a:lnTo>
                      <a:lnTo>
                        <a:pt x="940" y="256"/>
                      </a:lnTo>
                      <a:lnTo>
                        <a:pt x="941" y="262"/>
                      </a:lnTo>
                      <a:lnTo>
                        <a:pt x="942" y="264"/>
                      </a:lnTo>
                      <a:lnTo>
                        <a:pt x="941" y="266"/>
                      </a:lnTo>
                      <a:lnTo>
                        <a:pt x="936" y="268"/>
                      </a:lnTo>
                      <a:lnTo>
                        <a:pt x="931" y="268"/>
                      </a:lnTo>
                      <a:lnTo>
                        <a:pt x="921" y="268"/>
                      </a:lnTo>
                      <a:lnTo>
                        <a:pt x="916" y="269"/>
                      </a:lnTo>
                      <a:lnTo>
                        <a:pt x="912" y="269"/>
                      </a:lnTo>
                      <a:lnTo>
                        <a:pt x="909" y="272"/>
                      </a:lnTo>
                      <a:lnTo>
                        <a:pt x="907" y="275"/>
                      </a:lnTo>
                      <a:lnTo>
                        <a:pt x="908" y="279"/>
                      </a:lnTo>
                      <a:lnTo>
                        <a:pt x="911" y="282"/>
                      </a:lnTo>
                      <a:lnTo>
                        <a:pt x="913" y="285"/>
                      </a:lnTo>
                      <a:lnTo>
                        <a:pt x="913" y="286"/>
                      </a:lnTo>
                      <a:lnTo>
                        <a:pt x="912" y="287"/>
                      </a:lnTo>
                      <a:lnTo>
                        <a:pt x="911" y="287"/>
                      </a:lnTo>
                      <a:lnTo>
                        <a:pt x="908" y="287"/>
                      </a:lnTo>
                      <a:lnTo>
                        <a:pt x="904" y="285"/>
                      </a:lnTo>
                      <a:lnTo>
                        <a:pt x="900" y="282"/>
                      </a:lnTo>
                      <a:lnTo>
                        <a:pt x="897" y="280"/>
                      </a:lnTo>
                      <a:lnTo>
                        <a:pt x="892" y="279"/>
                      </a:lnTo>
                      <a:lnTo>
                        <a:pt x="889" y="279"/>
                      </a:lnTo>
                      <a:lnTo>
                        <a:pt x="886" y="280"/>
                      </a:lnTo>
                      <a:lnTo>
                        <a:pt x="879" y="280"/>
                      </a:lnTo>
                      <a:lnTo>
                        <a:pt x="873" y="277"/>
                      </a:lnTo>
                      <a:lnTo>
                        <a:pt x="866" y="274"/>
                      </a:lnTo>
                      <a:lnTo>
                        <a:pt x="862" y="267"/>
                      </a:lnTo>
                      <a:lnTo>
                        <a:pt x="875" y="268"/>
                      </a:lnTo>
                      <a:lnTo>
                        <a:pt x="881" y="268"/>
                      </a:lnTo>
                      <a:lnTo>
                        <a:pt x="888" y="267"/>
                      </a:lnTo>
                      <a:lnTo>
                        <a:pt x="894" y="267"/>
                      </a:lnTo>
                      <a:lnTo>
                        <a:pt x="900" y="264"/>
                      </a:lnTo>
                      <a:lnTo>
                        <a:pt x="906" y="260"/>
                      </a:lnTo>
                      <a:lnTo>
                        <a:pt x="908" y="254"/>
                      </a:lnTo>
                      <a:lnTo>
                        <a:pt x="912" y="250"/>
                      </a:lnTo>
                      <a:lnTo>
                        <a:pt x="916" y="248"/>
                      </a:lnTo>
                      <a:lnTo>
                        <a:pt x="919" y="245"/>
                      </a:lnTo>
                      <a:lnTo>
                        <a:pt x="923" y="243"/>
                      </a:lnTo>
                      <a:lnTo>
                        <a:pt x="925" y="241"/>
                      </a:lnTo>
                      <a:lnTo>
                        <a:pt x="925" y="238"/>
                      </a:lnTo>
                      <a:lnTo>
                        <a:pt x="925" y="234"/>
                      </a:lnTo>
                      <a:lnTo>
                        <a:pt x="923" y="228"/>
                      </a:lnTo>
                      <a:lnTo>
                        <a:pt x="923" y="223"/>
                      </a:lnTo>
                      <a:lnTo>
                        <a:pt x="923" y="219"/>
                      </a:lnTo>
                      <a:lnTo>
                        <a:pt x="922" y="216"/>
                      </a:lnTo>
                      <a:lnTo>
                        <a:pt x="919" y="213"/>
                      </a:lnTo>
                      <a:lnTo>
                        <a:pt x="916" y="211"/>
                      </a:lnTo>
                      <a:lnTo>
                        <a:pt x="913" y="208"/>
                      </a:lnTo>
                      <a:lnTo>
                        <a:pt x="911" y="204"/>
                      </a:lnTo>
                      <a:lnTo>
                        <a:pt x="911" y="202"/>
                      </a:lnTo>
                      <a:lnTo>
                        <a:pt x="912" y="199"/>
                      </a:lnTo>
                      <a:lnTo>
                        <a:pt x="913" y="197"/>
                      </a:lnTo>
                      <a:lnTo>
                        <a:pt x="912" y="194"/>
                      </a:lnTo>
                      <a:lnTo>
                        <a:pt x="909" y="187"/>
                      </a:lnTo>
                      <a:lnTo>
                        <a:pt x="908" y="180"/>
                      </a:lnTo>
                      <a:lnTo>
                        <a:pt x="909" y="173"/>
                      </a:lnTo>
                      <a:lnTo>
                        <a:pt x="913" y="165"/>
                      </a:lnTo>
                      <a:lnTo>
                        <a:pt x="914" y="162"/>
                      </a:lnTo>
                      <a:lnTo>
                        <a:pt x="914" y="159"/>
                      </a:lnTo>
                      <a:lnTo>
                        <a:pt x="913" y="153"/>
                      </a:lnTo>
                      <a:lnTo>
                        <a:pt x="909" y="147"/>
                      </a:lnTo>
                      <a:lnTo>
                        <a:pt x="904" y="141"/>
                      </a:lnTo>
                      <a:lnTo>
                        <a:pt x="903" y="139"/>
                      </a:lnTo>
                      <a:lnTo>
                        <a:pt x="902" y="136"/>
                      </a:lnTo>
                      <a:lnTo>
                        <a:pt x="903" y="132"/>
                      </a:lnTo>
                      <a:lnTo>
                        <a:pt x="906" y="126"/>
                      </a:lnTo>
                      <a:lnTo>
                        <a:pt x="908" y="121"/>
                      </a:lnTo>
                      <a:lnTo>
                        <a:pt x="909" y="113"/>
                      </a:lnTo>
                      <a:lnTo>
                        <a:pt x="912" y="107"/>
                      </a:lnTo>
                      <a:lnTo>
                        <a:pt x="916" y="101"/>
                      </a:lnTo>
                      <a:lnTo>
                        <a:pt x="921" y="95"/>
                      </a:lnTo>
                      <a:lnTo>
                        <a:pt x="922" y="93"/>
                      </a:lnTo>
                      <a:lnTo>
                        <a:pt x="921" y="91"/>
                      </a:lnTo>
                      <a:lnTo>
                        <a:pt x="919" y="90"/>
                      </a:lnTo>
                      <a:lnTo>
                        <a:pt x="918" y="90"/>
                      </a:lnTo>
                      <a:lnTo>
                        <a:pt x="912" y="91"/>
                      </a:lnTo>
                      <a:lnTo>
                        <a:pt x="907" y="91"/>
                      </a:lnTo>
                      <a:lnTo>
                        <a:pt x="902" y="90"/>
                      </a:lnTo>
                      <a:lnTo>
                        <a:pt x="897" y="88"/>
                      </a:lnTo>
                      <a:lnTo>
                        <a:pt x="894" y="88"/>
                      </a:lnTo>
                      <a:lnTo>
                        <a:pt x="892" y="88"/>
                      </a:lnTo>
                      <a:lnTo>
                        <a:pt x="890" y="89"/>
                      </a:lnTo>
                      <a:lnTo>
                        <a:pt x="888" y="88"/>
                      </a:lnTo>
                      <a:lnTo>
                        <a:pt x="878" y="87"/>
                      </a:lnTo>
                      <a:lnTo>
                        <a:pt x="874" y="85"/>
                      </a:lnTo>
                      <a:lnTo>
                        <a:pt x="869" y="84"/>
                      </a:lnTo>
                      <a:lnTo>
                        <a:pt x="866" y="84"/>
                      </a:lnTo>
                      <a:lnTo>
                        <a:pt x="862" y="85"/>
                      </a:lnTo>
                      <a:lnTo>
                        <a:pt x="860" y="88"/>
                      </a:lnTo>
                      <a:lnTo>
                        <a:pt x="857" y="91"/>
                      </a:lnTo>
                      <a:lnTo>
                        <a:pt x="852" y="100"/>
                      </a:lnTo>
                      <a:lnTo>
                        <a:pt x="851" y="107"/>
                      </a:lnTo>
                      <a:lnTo>
                        <a:pt x="851" y="113"/>
                      </a:lnTo>
                      <a:lnTo>
                        <a:pt x="848" y="117"/>
                      </a:lnTo>
                      <a:lnTo>
                        <a:pt x="846" y="122"/>
                      </a:lnTo>
                      <a:lnTo>
                        <a:pt x="842" y="126"/>
                      </a:lnTo>
                      <a:lnTo>
                        <a:pt x="832" y="132"/>
                      </a:lnTo>
                      <a:lnTo>
                        <a:pt x="823" y="136"/>
                      </a:lnTo>
                      <a:lnTo>
                        <a:pt x="820" y="138"/>
                      </a:lnTo>
                      <a:lnTo>
                        <a:pt x="818" y="140"/>
                      </a:lnTo>
                      <a:lnTo>
                        <a:pt x="818" y="142"/>
                      </a:lnTo>
                      <a:lnTo>
                        <a:pt x="819" y="145"/>
                      </a:lnTo>
                      <a:lnTo>
                        <a:pt x="823" y="153"/>
                      </a:lnTo>
                      <a:lnTo>
                        <a:pt x="824" y="160"/>
                      </a:lnTo>
                      <a:lnTo>
                        <a:pt x="823" y="167"/>
                      </a:lnTo>
                      <a:lnTo>
                        <a:pt x="819" y="176"/>
                      </a:lnTo>
                      <a:lnTo>
                        <a:pt x="819" y="180"/>
                      </a:lnTo>
                      <a:lnTo>
                        <a:pt x="819" y="184"/>
                      </a:lnTo>
                      <a:lnTo>
                        <a:pt x="823" y="184"/>
                      </a:lnTo>
                      <a:lnTo>
                        <a:pt x="826" y="181"/>
                      </a:lnTo>
                      <a:lnTo>
                        <a:pt x="829" y="180"/>
                      </a:lnTo>
                      <a:lnTo>
                        <a:pt x="831" y="181"/>
                      </a:lnTo>
                      <a:lnTo>
                        <a:pt x="833" y="181"/>
                      </a:lnTo>
                      <a:lnTo>
                        <a:pt x="834" y="184"/>
                      </a:lnTo>
                      <a:lnTo>
                        <a:pt x="834" y="185"/>
                      </a:lnTo>
                      <a:lnTo>
                        <a:pt x="831" y="190"/>
                      </a:lnTo>
                      <a:lnTo>
                        <a:pt x="831" y="192"/>
                      </a:lnTo>
                      <a:lnTo>
                        <a:pt x="832" y="193"/>
                      </a:lnTo>
                      <a:lnTo>
                        <a:pt x="833" y="196"/>
                      </a:lnTo>
                      <a:lnTo>
                        <a:pt x="834" y="198"/>
                      </a:lnTo>
                      <a:lnTo>
                        <a:pt x="836" y="202"/>
                      </a:lnTo>
                      <a:lnTo>
                        <a:pt x="838" y="205"/>
                      </a:lnTo>
                      <a:lnTo>
                        <a:pt x="839" y="205"/>
                      </a:lnTo>
                      <a:lnTo>
                        <a:pt x="843" y="204"/>
                      </a:lnTo>
                      <a:lnTo>
                        <a:pt x="848" y="203"/>
                      </a:lnTo>
                      <a:lnTo>
                        <a:pt x="851" y="205"/>
                      </a:lnTo>
                      <a:lnTo>
                        <a:pt x="851" y="206"/>
                      </a:lnTo>
                      <a:lnTo>
                        <a:pt x="848" y="217"/>
                      </a:lnTo>
                      <a:lnTo>
                        <a:pt x="846" y="221"/>
                      </a:lnTo>
                      <a:lnTo>
                        <a:pt x="845" y="222"/>
                      </a:lnTo>
                      <a:lnTo>
                        <a:pt x="843" y="222"/>
                      </a:lnTo>
                      <a:lnTo>
                        <a:pt x="837" y="221"/>
                      </a:lnTo>
                      <a:lnTo>
                        <a:pt x="832" y="218"/>
                      </a:lnTo>
                      <a:lnTo>
                        <a:pt x="820" y="212"/>
                      </a:lnTo>
                      <a:lnTo>
                        <a:pt x="815" y="209"/>
                      </a:lnTo>
                      <a:lnTo>
                        <a:pt x="809" y="205"/>
                      </a:lnTo>
                      <a:lnTo>
                        <a:pt x="804" y="203"/>
                      </a:lnTo>
                      <a:lnTo>
                        <a:pt x="800" y="202"/>
                      </a:lnTo>
                      <a:lnTo>
                        <a:pt x="796" y="202"/>
                      </a:lnTo>
                      <a:lnTo>
                        <a:pt x="793" y="203"/>
                      </a:lnTo>
                      <a:lnTo>
                        <a:pt x="791" y="203"/>
                      </a:lnTo>
                      <a:lnTo>
                        <a:pt x="789" y="203"/>
                      </a:lnTo>
                      <a:lnTo>
                        <a:pt x="775" y="190"/>
                      </a:lnTo>
                      <a:lnTo>
                        <a:pt x="767" y="184"/>
                      </a:lnTo>
                      <a:lnTo>
                        <a:pt x="759" y="180"/>
                      </a:lnTo>
                      <a:lnTo>
                        <a:pt x="751" y="178"/>
                      </a:lnTo>
                      <a:lnTo>
                        <a:pt x="742" y="178"/>
                      </a:lnTo>
                      <a:lnTo>
                        <a:pt x="733" y="179"/>
                      </a:lnTo>
                      <a:lnTo>
                        <a:pt x="724" y="181"/>
                      </a:lnTo>
                      <a:lnTo>
                        <a:pt x="721" y="181"/>
                      </a:lnTo>
                      <a:lnTo>
                        <a:pt x="720" y="179"/>
                      </a:lnTo>
                      <a:lnTo>
                        <a:pt x="716" y="173"/>
                      </a:lnTo>
                      <a:lnTo>
                        <a:pt x="714" y="173"/>
                      </a:lnTo>
                      <a:lnTo>
                        <a:pt x="713" y="174"/>
                      </a:lnTo>
                      <a:lnTo>
                        <a:pt x="711" y="178"/>
                      </a:lnTo>
                      <a:lnTo>
                        <a:pt x="709" y="179"/>
                      </a:lnTo>
                      <a:lnTo>
                        <a:pt x="705" y="179"/>
                      </a:lnTo>
                      <a:lnTo>
                        <a:pt x="702" y="180"/>
                      </a:lnTo>
                      <a:lnTo>
                        <a:pt x="701" y="183"/>
                      </a:lnTo>
                      <a:lnTo>
                        <a:pt x="702" y="184"/>
                      </a:lnTo>
                      <a:lnTo>
                        <a:pt x="707" y="189"/>
                      </a:lnTo>
                      <a:lnTo>
                        <a:pt x="713" y="193"/>
                      </a:lnTo>
                      <a:lnTo>
                        <a:pt x="715" y="197"/>
                      </a:lnTo>
                      <a:lnTo>
                        <a:pt x="716" y="199"/>
                      </a:lnTo>
                      <a:lnTo>
                        <a:pt x="716" y="203"/>
                      </a:lnTo>
                      <a:lnTo>
                        <a:pt x="714" y="205"/>
                      </a:lnTo>
                      <a:lnTo>
                        <a:pt x="711" y="208"/>
                      </a:lnTo>
                      <a:lnTo>
                        <a:pt x="707" y="208"/>
                      </a:lnTo>
                      <a:lnTo>
                        <a:pt x="700" y="208"/>
                      </a:lnTo>
                      <a:lnTo>
                        <a:pt x="699" y="209"/>
                      </a:lnTo>
                      <a:lnTo>
                        <a:pt x="697" y="210"/>
                      </a:lnTo>
                      <a:lnTo>
                        <a:pt x="696" y="212"/>
                      </a:lnTo>
                      <a:lnTo>
                        <a:pt x="697" y="217"/>
                      </a:lnTo>
                      <a:lnTo>
                        <a:pt x="696" y="218"/>
                      </a:lnTo>
                      <a:lnTo>
                        <a:pt x="695" y="219"/>
                      </a:lnTo>
                      <a:lnTo>
                        <a:pt x="693" y="221"/>
                      </a:lnTo>
                      <a:lnTo>
                        <a:pt x="691" y="219"/>
                      </a:lnTo>
                      <a:lnTo>
                        <a:pt x="688" y="218"/>
                      </a:lnTo>
                      <a:lnTo>
                        <a:pt x="686" y="217"/>
                      </a:lnTo>
                      <a:lnTo>
                        <a:pt x="685" y="213"/>
                      </a:lnTo>
                      <a:lnTo>
                        <a:pt x="685" y="210"/>
                      </a:lnTo>
                      <a:lnTo>
                        <a:pt x="685" y="206"/>
                      </a:lnTo>
                      <a:lnTo>
                        <a:pt x="683" y="203"/>
                      </a:lnTo>
                      <a:lnTo>
                        <a:pt x="682" y="203"/>
                      </a:lnTo>
                      <a:lnTo>
                        <a:pt x="681" y="204"/>
                      </a:lnTo>
                      <a:lnTo>
                        <a:pt x="679" y="206"/>
                      </a:lnTo>
                      <a:lnTo>
                        <a:pt x="676" y="208"/>
                      </a:lnTo>
                      <a:lnTo>
                        <a:pt x="671" y="208"/>
                      </a:lnTo>
                      <a:lnTo>
                        <a:pt x="667" y="208"/>
                      </a:lnTo>
                      <a:lnTo>
                        <a:pt x="662" y="208"/>
                      </a:lnTo>
                      <a:lnTo>
                        <a:pt x="659" y="209"/>
                      </a:lnTo>
                      <a:lnTo>
                        <a:pt x="657" y="211"/>
                      </a:lnTo>
                      <a:lnTo>
                        <a:pt x="653" y="215"/>
                      </a:lnTo>
                      <a:lnTo>
                        <a:pt x="652" y="215"/>
                      </a:lnTo>
                      <a:lnTo>
                        <a:pt x="649" y="215"/>
                      </a:lnTo>
                      <a:lnTo>
                        <a:pt x="640" y="212"/>
                      </a:lnTo>
                      <a:lnTo>
                        <a:pt x="631" y="210"/>
                      </a:lnTo>
                      <a:lnTo>
                        <a:pt x="626" y="210"/>
                      </a:lnTo>
                      <a:lnTo>
                        <a:pt x="622" y="211"/>
                      </a:lnTo>
                      <a:lnTo>
                        <a:pt x="619" y="212"/>
                      </a:lnTo>
                      <a:lnTo>
                        <a:pt x="615" y="216"/>
                      </a:lnTo>
                      <a:lnTo>
                        <a:pt x="611" y="224"/>
                      </a:lnTo>
                      <a:lnTo>
                        <a:pt x="610" y="226"/>
                      </a:lnTo>
                      <a:lnTo>
                        <a:pt x="607" y="228"/>
                      </a:lnTo>
                      <a:lnTo>
                        <a:pt x="606" y="226"/>
                      </a:lnTo>
                      <a:lnTo>
                        <a:pt x="599" y="224"/>
                      </a:lnTo>
                      <a:lnTo>
                        <a:pt x="596" y="222"/>
                      </a:lnTo>
                      <a:lnTo>
                        <a:pt x="592" y="223"/>
                      </a:lnTo>
                      <a:lnTo>
                        <a:pt x="592" y="212"/>
                      </a:lnTo>
                      <a:lnTo>
                        <a:pt x="593" y="209"/>
                      </a:lnTo>
                      <a:lnTo>
                        <a:pt x="597" y="205"/>
                      </a:lnTo>
                      <a:lnTo>
                        <a:pt x="597" y="204"/>
                      </a:lnTo>
                      <a:lnTo>
                        <a:pt x="597" y="203"/>
                      </a:lnTo>
                      <a:lnTo>
                        <a:pt x="597" y="202"/>
                      </a:lnTo>
                      <a:lnTo>
                        <a:pt x="596" y="200"/>
                      </a:lnTo>
                      <a:lnTo>
                        <a:pt x="592" y="200"/>
                      </a:lnTo>
                      <a:lnTo>
                        <a:pt x="589" y="202"/>
                      </a:lnTo>
                      <a:lnTo>
                        <a:pt x="583" y="204"/>
                      </a:lnTo>
                      <a:lnTo>
                        <a:pt x="578" y="206"/>
                      </a:lnTo>
                      <a:lnTo>
                        <a:pt x="575" y="210"/>
                      </a:lnTo>
                      <a:lnTo>
                        <a:pt x="572" y="221"/>
                      </a:lnTo>
                      <a:lnTo>
                        <a:pt x="570" y="221"/>
                      </a:lnTo>
                      <a:lnTo>
                        <a:pt x="569" y="221"/>
                      </a:lnTo>
                      <a:lnTo>
                        <a:pt x="566" y="219"/>
                      </a:lnTo>
                      <a:lnTo>
                        <a:pt x="561" y="215"/>
                      </a:lnTo>
                      <a:lnTo>
                        <a:pt x="558" y="212"/>
                      </a:lnTo>
                      <a:lnTo>
                        <a:pt x="554" y="212"/>
                      </a:lnTo>
                      <a:lnTo>
                        <a:pt x="546" y="216"/>
                      </a:lnTo>
                      <a:lnTo>
                        <a:pt x="540" y="219"/>
                      </a:lnTo>
                      <a:lnTo>
                        <a:pt x="519" y="231"/>
                      </a:lnTo>
                      <a:lnTo>
                        <a:pt x="509" y="237"/>
                      </a:lnTo>
                      <a:lnTo>
                        <a:pt x="500" y="243"/>
                      </a:lnTo>
                      <a:lnTo>
                        <a:pt x="499" y="245"/>
                      </a:lnTo>
                      <a:lnTo>
                        <a:pt x="498" y="249"/>
                      </a:lnTo>
                      <a:lnTo>
                        <a:pt x="498" y="256"/>
                      </a:lnTo>
                      <a:lnTo>
                        <a:pt x="497" y="260"/>
                      </a:lnTo>
                      <a:lnTo>
                        <a:pt x="495" y="262"/>
                      </a:lnTo>
                      <a:lnTo>
                        <a:pt x="494" y="263"/>
                      </a:lnTo>
                      <a:lnTo>
                        <a:pt x="490" y="262"/>
                      </a:lnTo>
                      <a:lnTo>
                        <a:pt x="485" y="261"/>
                      </a:lnTo>
                      <a:lnTo>
                        <a:pt x="480" y="262"/>
                      </a:lnTo>
                      <a:lnTo>
                        <a:pt x="475" y="263"/>
                      </a:lnTo>
                      <a:lnTo>
                        <a:pt x="471" y="263"/>
                      </a:lnTo>
                      <a:lnTo>
                        <a:pt x="469" y="263"/>
                      </a:lnTo>
                      <a:lnTo>
                        <a:pt x="466" y="262"/>
                      </a:lnTo>
                      <a:lnTo>
                        <a:pt x="464" y="259"/>
                      </a:lnTo>
                      <a:lnTo>
                        <a:pt x="461" y="255"/>
                      </a:lnTo>
                      <a:lnTo>
                        <a:pt x="459" y="251"/>
                      </a:lnTo>
                      <a:lnTo>
                        <a:pt x="451" y="248"/>
                      </a:lnTo>
                      <a:lnTo>
                        <a:pt x="447" y="245"/>
                      </a:lnTo>
                      <a:lnTo>
                        <a:pt x="446" y="242"/>
                      </a:lnTo>
                      <a:lnTo>
                        <a:pt x="447" y="240"/>
                      </a:lnTo>
                      <a:lnTo>
                        <a:pt x="452" y="238"/>
                      </a:lnTo>
                      <a:lnTo>
                        <a:pt x="459" y="237"/>
                      </a:lnTo>
                      <a:lnTo>
                        <a:pt x="462" y="236"/>
                      </a:lnTo>
                      <a:lnTo>
                        <a:pt x="465" y="235"/>
                      </a:lnTo>
                      <a:lnTo>
                        <a:pt x="466" y="232"/>
                      </a:lnTo>
                      <a:lnTo>
                        <a:pt x="466" y="229"/>
                      </a:lnTo>
                      <a:lnTo>
                        <a:pt x="466" y="225"/>
                      </a:lnTo>
                      <a:lnTo>
                        <a:pt x="464" y="223"/>
                      </a:lnTo>
                      <a:lnTo>
                        <a:pt x="461" y="222"/>
                      </a:lnTo>
                      <a:lnTo>
                        <a:pt x="455" y="218"/>
                      </a:lnTo>
                      <a:lnTo>
                        <a:pt x="447" y="216"/>
                      </a:lnTo>
                      <a:lnTo>
                        <a:pt x="443" y="216"/>
                      </a:lnTo>
                      <a:lnTo>
                        <a:pt x="441" y="216"/>
                      </a:lnTo>
                      <a:lnTo>
                        <a:pt x="437" y="218"/>
                      </a:lnTo>
                      <a:lnTo>
                        <a:pt x="434" y="218"/>
                      </a:lnTo>
                      <a:lnTo>
                        <a:pt x="431" y="217"/>
                      </a:lnTo>
                      <a:lnTo>
                        <a:pt x="427" y="213"/>
                      </a:lnTo>
                      <a:lnTo>
                        <a:pt x="426" y="212"/>
                      </a:lnTo>
                      <a:lnTo>
                        <a:pt x="422" y="212"/>
                      </a:lnTo>
                      <a:lnTo>
                        <a:pt x="420" y="215"/>
                      </a:lnTo>
                      <a:lnTo>
                        <a:pt x="419" y="217"/>
                      </a:lnTo>
                      <a:lnTo>
                        <a:pt x="420" y="219"/>
                      </a:lnTo>
                      <a:lnTo>
                        <a:pt x="422" y="221"/>
                      </a:lnTo>
                      <a:lnTo>
                        <a:pt x="426" y="223"/>
                      </a:lnTo>
                      <a:lnTo>
                        <a:pt x="429" y="226"/>
                      </a:lnTo>
                      <a:lnTo>
                        <a:pt x="432" y="230"/>
                      </a:lnTo>
                      <a:lnTo>
                        <a:pt x="432" y="235"/>
                      </a:lnTo>
                      <a:lnTo>
                        <a:pt x="429" y="238"/>
                      </a:lnTo>
                      <a:lnTo>
                        <a:pt x="427" y="242"/>
                      </a:lnTo>
                      <a:lnTo>
                        <a:pt x="419" y="250"/>
                      </a:lnTo>
                      <a:lnTo>
                        <a:pt x="419" y="253"/>
                      </a:lnTo>
                      <a:lnTo>
                        <a:pt x="418" y="255"/>
                      </a:lnTo>
                      <a:lnTo>
                        <a:pt x="419" y="257"/>
                      </a:lnTo>
                      <a:lnTo>
                        <a:pt x="419" y="259"/>
                      </a:lnTo>
                      <a:lnTo>
                        <a:pt x="420" y="257"/>
                      </a:lnTo>
                      <a:lnTo>
                        <a:pt x="427" y="255"/>
                      </a:lnTo>
                      <a:lnTo>
                        <a:pt x="431" y="255"/>
                      </a:lnTo>
                      <a:lnTo>
                        <a:pt x="433" y="256"/>
                      </a:lnTo>
                      <a:lnTo>
                        <a:pt x="434" y="259"/>
                      </a:lnTo>
                      <a:lnTo>
                        <a:pt x="436" y="261"/>
                      </a:lnTo>
                      <a:lnTo>
                        <a:pt x="436" y="264"/>
                      </a:lnTo>
                      <a:lnTo>
                        <a:pt x="436" y="267"/>
                      </a:lnTo>
                      <a:lnTo>
                        <a:pt x="434" y="269"/>
                      </a:lnTo>
                      <a:lnTo>
                        <a:pt x="434" y="272"/>
                      </a:lnTo>
                      <a:lnTo>
                        <a:pt x="433" y="275"/>
                      </a:lnTo>
                      <a:lnTo>
                        <a:pt x="433" y="276"/>
                      </a:lnTo>
                      <a:lnTo>
                        <a:pt x="431" y="277"/>
                      </a:lnTo>
                      <a:lnTo>
                        <a:pt x="428" y="277"/>
                      </a:lnTo>
                      <a:lnTo>
                        <a:pt x="426" y="277"/>
                      </a:lnTo>
                      <a:lnTo>
                        <a:pt x="422" y="279"/>
                      </a:lnTo>
                      <a:lnTo>
                        <a:pt x="422" y="275"/>
                      </a:lnTo>
                      <a:lnTo>
                        <a:pt x="419" y="272"/>
                      </a:lnTo>
                      <a:lnTo>
                        <a:pt x="417" y="270"/>
                      </a:lnTo>
                      <a:lnTo>
                        <a:pt x="413" y="269"/>
                      </a:lnTo>
                      <a:lnTo>
                        <a:pt x="405" y="269"/>
                      </a:lnTo>
                      <a:lnTo>
                        <a:pt x="399" y="270"/>
                      </a:lnTo>
                      <a:lnTo>
                        <a:pt x="396" y="273"/>
                      </a:lnTo>
                      <a:lnTo>
                        <a:pt x="393" y="275"/>
                      </a:lnTo>
                      <a:lnTo>
                        <a:pt x="389" y="279"/>
                      </a:lnTo>
                      <a:lnTo>
                        <a:pt x="384" y="280"/>
                      </a:lnTo>
                      <a:lnTo>
                        <a:pt x="382" y="282"/>
                      </a:lnTo>
                      <a:lnTo>
                        <a:pt x="380" y="286"/>
                      </a:lnTo>
                      <a:lnTo>
                        <a:pt x="379" y="288"/>
                      </a:lnTo>
                      <a:lnTo>
                        <a:pt x="377" y="288"/>
                      </a:lnTo>
                      <a:lnTo>
                        <a:pt x="376" y="288"/>
                      </a:lnTo>
                      <a:lnTo>
                        <a:pt x="370" y="287"/>
                      </a:lnTo>
                      <a:lnTo>
                        <a:pt x="367" y="288"/>
                      </a:lnTo>
                      <a:lnTo>
                        <a:pt x="363" y="289"/>
                      </a:lnTo>
                      <a:lnTo>
                        <a:pt x="358" y="295"/>
                      </a:lnTo>
                      <a:lnTo>
                        <a:pt x="354" y="299"/>
                      </a:lnTo>
                      <a:lnTo>
                        <a:pt x="353" y="304"/>
                      </a:lnTo>
                      <a:lnTo>
                        <a:pt x="353" y="308"/>
                      </a:lnTo>
                      <a:lnTo>
                        <a:pt x="356" y="312"/>
                      </a:lnTo>
                      <a:lnTo>
                        <a:pt x="359" y="314"/>
                      </a:lnTo>
                      <a:lnTo>
                        <a:pt x="365" y="317"/>
                      </a:lnTo>
                      <a:lnTo>
                        <a:pt x="370" y="319"/>
                      </a:lnTo>
                      <a:lnTo>
                        <a:pt x="373" y="323"/>
                      </a:lnTo>
                      <a:lnTo>
                        <a:pt x="375" y="326"/>
                      </a:lnTo>
                      <a:lnTo>
                        <a:pt x="375" y="327"/>
                      </a:lnTo>
                      <a:lnTo>
                        <a:pt x="373" y="328"/>
                      </a:lnTo>
                      <a:lnTo>
                        <a:pt x="365" y="326"/>
                      </a:lnTo>
                      <a:lnTo>
                        <a:pt x="357" y="324"/>
                      </a:lnTo>
                      <a:lnTo>
                        <a:pt x="349" y="321"/>
                      </a:lnTo>
                      <a:lnTo>
                        <a:pt x="344" y="320"/>
                      </a:lnTo>
                      <a:lnTo>
                        <a:pt x="339" y="320"/>
                      </a:lnTo>
                      <a:lnTo>
                        <a:pt x="335" y="320"/>
                      </a:lnTo>
                      <a:lnTo>
                        <a:pt x="330" y="318"/>
                      </a:lnTo>
                      <a:lnTo>
                        <a:pt x="321" y="314"/>
                      </a:lnTo>
                      <a:lnTo>
                        <a:pt x="313" y="311"/>
                      </a:lnTo>
                      <a:lnTo>
                        <a:pt x="309" y="307"/>
                      </a:lnTo>
                      <a:lnTo>
                        <a:pt x="306" y="305"/>
                      </a:lnTo>
                      <a:lnTo>
                        <a:pt x="305" y="304"/>
                      </a:lnTo>
                      <a:lnTo>
                        <a:pt x="304" y="304"/>
                      </a:lnTo>
                      <a:lnTo>
                        <a:pt x="300" y="305"/>
                      </a:lnTo>
                      <a:lnTo>
                        <a:pt x="297" y="307"/>
                      </a:lnTo>
                      <a:lnTo>
                        <a:pt x="295" y="314"/>
                      </a:lnTo>
                      <a:lnTo>
                        <a:pt x="293" y="314"/>
                      </a:lnTo>
                      <a:lnTo>
                        <a:pt x="291" y="315"/>
                      </a:lnTo>
                      <a:lnTo>
                        <a:pt x="291" y="317"/>
                      </a:lnTo>
                      <a:lnTo>
                        <a:pt x="291" y="319"/>
                      </a:lnTo>
                      <a:lnTo>
                        <a:pt x="295" y="321"/>
                      </a:lnTo>
                      <a:lnTo>
                        <a:pt x="304" y="327"/>
                      </a:lnTo>
                      <a:lnTo>
                        <a:pt x="309" y="331"/>
                      </a:lnTo>
                      <a:lnTo>
                        <a:pt x="313" y="334"/>
                      </a:lnTo>
                      <a:lnTo>
                        <a:pt x="316" y="338"/>
                      </a:lnTo>
                      <a:lnTo>
                        <a:pt x="316" y="341"/>
                      </a:lnTo>
                      <a:lnTo>
                        <a:pt x="316" y="344"/>
                      </a:lnTo>
                      <a:lnTo>
                        <a:pt x="315" y="346"/>
                      </a:lnTo>
                      <a:lnTo>
                        <a:pt x="313" y="346"/>
                      </a:lnTo>
                      <a:lnTo>
                        <a:pt x="310" y="346"/>
                      </a:lnTo>
                      <a:lnTo>
                        <a:pt x="309" y="345"/>
                      </a:lnTo>
                      <a:lnTo>
                        <a:pt x="301" y="341"/>
                      </a:lnTo>
                      <a:lnTo>
                        <a:pt x="292" y="338"/>
                      </a:lnTo>
                      <a:lnTo>
                        <a:pt x="290" y="337"/>
                      </a:lnTo>
                      <a:lnTo>
                        <a:pt x="288" y="334"/>
                      </a:lnTo>
                      <a:lnTo>
                        <a:pt x="283" y="333"/>
                      </a:lnTo>
                      <a:lnTo>
                        <a:pt x="278" y="333"/>
                      </a:lnTo>
                      <a:lnTo>
                        <a:pt x="273" y="333"/>
                      </a:lnTo>
                      <a:lnTo>
                        <a:pt x="268" y="332"/>
                      </a:lnTo>
                      <a:lnTo>
                        <a:pt x="267" y="331"/>
                      </a:lnTo>
                      <a:lnTo>
                        <a:pt x="266" y="330"/>
                      </a:lnTo>
                      <a:lnTo>
                        <a:pt x="266" y="327"/>
                      </a:lnTo>
                      <a:lnTo>
                        <a:pt x="266" y="326"/>
                      </a:lnTo>
                      <a:lnTo>
                        <a:pt x="264" y="321"/>
                      </a:lnTo>
                      <a:lnTo>
                        <a:pt x="263" y="315"/>
                      </a:lnTo>
                      <a:lnTo>
                        <a:pt x="262" y="309"/>
                      </a:lnTo>
                      <a:lnTo>
                        <a:pt x="263" y="305"/>
                      </a:lnTo>
                      <a:lnTo>
                        <a:pt x="266" y="299"/>
                      </a:lnTo>
                      <a:lnTo>
                        <a:pt x="266" y="294"/>
                      </a:lnTo>
                      <a:lnTo>
                        <a:pt x="266" y="289"/>
                      </a:lnTo>
                      <a:lnTo>
                        <a:pt x="263" y="287"/>
                      </a:lnTo>
                      <a:lnTo>
                        <a:pt x="259" y="285"/>
                      </a:lnTo>
                      <a:lnTo>
                        <a:pt x="250" y="281"/>
                      </a:lnTo>
                      <a:lnTo>
                        <a:pt x="240" y="280"/>
                      </a:lnTo>
                      <a:lnTo>
                        <a:pt x="236" y="279"/>
                      </a:lnTo>
                      <a:lnTo>
                        <a:pt x="234" y="276"/>
                      </a:lnTo>
                      <a:lnTo>
                        <a:pt x="231" y="274"/>
                      </a:lnTo>
                      <a:lnTo>
                        <a:pt x="230" y="272"/>
                      </a:lnTo>
                      <a:lnTo>
                        <a:pt x="227" y="264"/>
                      </a:lnTo>
                      <a:lnTo>
                        <a:pt x="227" y="261"/>
                      </a:lnTo>
                      <a:lnTo>
                        <a:pt x="229" y="257"/>
                      </a:lnTo>
                      <a:lnTo>
                        <a:pt x="230" y="256"/>
                      </a:lnTo>
                      <a:lnTo>
                        <a:pt x="233" y="256"/>
                      </a:lnTo>
                      <a:lnTo>
                        <a:pt x="236" y="260"/>
                      </a:lnTo>
                      <a:lnTo>
                        <a:pt x="239" y="261"/>
                      </a:lnTo>
                      <a:lnTo>
                        <a:pt x="241" y="262"/>
                      </a:lnTo>
                      <a:lnTo>
                        <a:pt x="246" y="262"/>
                      </a:lnTo>
                      <a:lnTo>
                        <a:pt x="250" y="262"/>
                      </a:lnTo>
                      <a:lnTo>
                        <a:pt x="262" y="267"/>
                      </a:lnTo>
                      <a:lnTo>
                        <a:pt x="273" y="272"/>
                      </a:lnTo>
                      <a:lnTo>
                        <a:pt x="278" y="274"/>
                      </a:lnTo>
                      <a:lnTo>
                        <a:pt x="285" y="275"/>
                      </a:lnTo>
                      <a:lnTo>
                        <a:pt x="291" y="275"/>
                      </a:lnTo>
                      <a:lnTo>
                        <a:pt x="297" y="274"/>
                      </a:lnTo>
                      <a:lnTo>
                        <a:pt x="299" y="274"/>
                      </a:lnTo>
                      <a:lnTo>
                        <a:pt x="300" y="274"/>
                      </a:lnTo>
                      <a:lnTo>
                        <a:pt x="302" y="276"/>
                      </a:lnTo>
                      <a:lnTo>
                        <a:pt x="305" y="280"/>
                      </a:lnTo>
                      <a:lnTo>
                        <a:pt x="306" y="282"/>
                      </a:lnTo>
                      <a:lnTo>
                        <a:pt x="311" y="285"/>
                      </a:lnTo>
                      <a:lnTo>
                        <a:pt x="316" y="286"/>
                      </a:lnTo>
                      <a:lnTo>
                        <a:pt x="342" y="286"/>
                      </a:lnTo>
                      <a:lnTo>
                        <a:pt x="346" y="285"/>
                      </a:lnTo>
                      <a:lnTo>
                        <a:pt x="351" y="282"/>
                      </a:lnTo>
                      <a:lnTo>
                        <a:pt x="361" y="276"/>
                      </a:lnTo>
                      <a:lnTo>
                        <a:pt x="361" y="275"/>
                      </a:lnTo>
                      <a:lnTo>
                        <a:pt x="362" y="273"/>
                      </a:lnTo>
                      <a:lnTo>
                        <a:pt x="373" y="263"/>
                      </a:lnTo>
                      <a:lnTo>
                        <a:pt x="377" y="260"/>
                      </a:lnTo>
                      <a:lnTo>
                        <a:pt x="379" y="255"/>
                      </a:lnTo>
                      <a:lnTo>
                        <a:pt x="379" y="254"/>
                      </a:lnTo>
                      <a:lnTo>
                        <a:pt x="377" y="253"/>
                      </a:lnTo>
                      <a:lnTo>
                        <a:pt x="375" y="251"/>
                      </a:lnTo>
                      <a:lnTo>
                        <a:pt x="372" y="250"/>
                      </a:lnTo>
                      <a:lnTo>
                        <a:pt x="371" y="249"/>
                      </a:lnTo>
                      <a:lnTo>
                        <a:pt x="372" y="244"/>
                      </a:lnTo>
                      <a:lnTo>
                        <a:pt x="372" y="241"/>
                      </a:lnTo>
                      <a:lnTo>
                        <a:pt x="371" y="236"/>
                      </a:lnTo>
                      <a:lnTo>
                        <a:pt x="362" y="234"/>
                      </a:lnTo>
                      <a:lnTo>
                        <a:pt x="353" y="229"/>
                      </a:lnTo>
                      <a:lnTo>
                        <a:pt x="352" y="229"/>
                      </a:lnTo>
                      <a:lnTo>
                        <a:pt x="351" y="230"/>
                      </a:lnTo>
                      <a:lnTo>
                        <a:pt x="348" y="230"/>
                      </a:lnTo>
                      <a:lnTo>
                        <a:pt x="347" y="230"/>
                      </a:lnTo>
                      <a:lnTo>
                        <a:pt x="344" y="228"/>
                      </a:lnTo>
                      <a:lnTo>
                        <a:pt x="343" y="225"/>
                      </a:lnTo>
                      <a:lnTo>
                        <a:pt x="340" y="222"/>
                      </a:lnTo>
                      <a:lnTo>
                        <a:pt x="339" y="221"/>
                      </a:lnTo>
                      <a:lnTo>
                        <a:pt x="337" y="221"/>
                      </a:lnTo>
                      <a:lnTo>
                        <a:pt x="333" y="221"/>
                      </a:lnTo>
                      <a:lnTo>
                        <a:pt x="329" y="219"/>
                      </a:lnTo>
                      <a:lnTo>
                        <a:pt x="325" y="217"/>
                      </a:lnTo>
                      <a:lnTo>
                        <a:pt x="321" y="213"/>
                      </a:lnTo>
                      <a:lnTo>
                        <a:pt x="318" y="211"/>
                      </a:lnTo>
                      <a:lnTo>
                        <a:pt x="305" y="206"/>
                      </a:lnTo>
                      <a:lnTo>
                        <a:pt x="299" y="205"/>
                      </a:lnTo>
                      <a:lnTo>
                        <a:pt x="292" y="203"/>
                      </a:lnTo>
                      <a:lnTo>
                        <a:pt x="287" y="204"/>
                      </a:lnTo>
                      <a:lnTo>
                        <a:pt x="285" y="204"/>
                      </a:lnTo>
                      <a:lnTo>
                        <a:pt x="281" y="204"/>
                      </a:lnTo>
                      <a:lnTo>
                        <a:pt x="279" y="203"/>
                      </a:lnTo>
                      <a:lnTo>
                        <a:pt x="278" y="202"/>
                      </a:lnTo>
                      <a:lnTo>
                        <a:pt x="276" y="197"/>
                      </a:lnTo>
                      <a:lnTo>
                        <a:pt x="274" y="197"/>
                      </a:lnTo>
                      <a:lnTo>
                        <a:pt x="273" y="197"/>
                      </a:lnTo>
                      <a:lnTo>
                        <a:pt x="269" y="198"/>
                      </a:lnTo>
                      <a:lnTo>
                        <a:pt x="267" y="198"/>
                      </a:lnTo>
                      <a:lnTo>
                        <a:pt x="266" y="197"/>
                      </a:lnTo>
                      <a:lnTo>
                        <a:pt x="264" y="194"/>
                      </a:lnTo>
                      <a:lnTo>
                        <a:pt x="262" y="192"/>
                      </a:lnTo>
                      <a:lnTo>
                        <a:pt x="257" y="191"/>
                      </a:lnTo>
                      <a:lnTo>
                        <a:pt x="250" y="191"/>
                      </a:lnTo>
                      <a:lnTo>
                        <a:pt x="245" y="193"/>
                      </a:lnTo>
                      <a:lnTo>
                        <a:pt x="243" y="196"/>
                      </a:lnTo>
                      <a:lnTo>
                        <a:pt x="241" y="199"/>
                      </a:lnTo>
                      <a:lnTo>
                        <a:pt x="240" y="202"/>
                      </a:lnTo>
                      <a:lnTo>
                        <a:pt x="239" y="203"/>
                      </a:lnTo>
                      <a:lnTo>
                        <a:pt x="236" y="203"/>
                      </a:lnTo>
                      <a:lnTo>
                        <a:pt x="236" y="200"/>
                      </a:lnTo>
                      <a:lnTo>
                        <a:pt x="235" y="197"/>
                      </a:lnTo>
                      <a:lnTo>
                        <a:pt x="234" y="192"/>
                      </a:lnTo>
                      <a:lnTo>
                        <a:pt x="233" y="187"/>
                      </a:lnTo>
                      <a:lnTo>
                        <a:pt x="230" y="186"/>
                      </a:lnTo>
                      <a:lnTo>
                        <a:pt x="229" y="187"/>
                      </a:lnTo>
                      <a:lnTo>
                        <a:pt x="226" y="189"/>
                      </a:lnTo>
                      <a:lnTo>
                        <a:pt x="225" y="189"/>
                      </a:lnTo>
                      <a:lnTo>
                        <a:pt x="221" y="186"/>
                      </a:lnTo>
                      <a:lnTo>
                        <a:pt x="221" y="185"/>
                      </a:lnTo>
                      <a:lnTo>
                        <a:pt x="221" y="184"/>
                      </a:lnTo>
                      <a:lnTo>
                        <a:pt x="222" y="183"/>
                      </a:lnTo>
                      <a:lnTo>
                        <a:pt x="225" y="181"/>
                      </a:lnTo>
                      <a:lnTo>
                        <a:pt x="227" y="181"/>
                      </a:lnTo>
                      <a:lnTo>
                        <a:pt x="229" y="179"/>
                      </a:lnTo>
                      <a:lnTo>
                        <a:pt x="227" y="178"/>
                      </a:lnTo>
                      <a:lnTo>
                        <a:pt x="221" y="174"/>
                      </a:lnTo>
                      <a:lnTo>
                        <a:pt x="216" y="172"/>
                      </a:lnTo>
                      <a:lnTo>
                        <a:pt x="213" y="171"/>
                      </a:lnTo>
                      <a:lnTo>
                        <a:pt x="212" y="171"/>
                      </a:lnTo>
                      <a:lnTo>
                        <a:pt x="211" y="174"/>
                      </a:lnTo>
                      <a:lnTo>
                        <a:pt x="211" y="178"/>
                      </a:lnTo>
                      <a:lnTo>
                        <a:pt x="211" y="179"/>
                      </a:lnTo>
                      <a:lnTo>
                        <a:pt x="210" y="180"/>
                      </a:lnTo>
                      <a:lnTo>
                        <a:pt x="206" y="181"/>
                      </a:lnTo>
                      <a:lnTo>
                        <a:pt x="202" y="183"/>
                      </a:lnTo>
                      <a:lnTo>
                        <a:pt x="193" y="183"/>
                      </a:lnTo>
                      <a:lnTo>
                        <a:pt x="191" y="186"/>
                      </a:lnTo>
                      <a:lnTo>
                        <a:pt x="188" y="189"/>
                      </a:lnTo>
                      <a:lnTo>
                        <a:pt x="184" y="189"/>
                      </a:lnTo>
                      <a:lnTo>
                        <a:pt x="180" y="191"/>
                      </a:lnTo>
                      <a:lnTo>
                        <a:pt x="177" y="192"/>
                      </a:lnTo>
                      <a:lnTo>
                        <a:pt x="168" y="191"/>
                      </a:lnTo>
                      <a:lnTo>
                        <a:pt x="169" y="194"/>
                      </a:lnTo>
                      <a:lnTo>
                        <a:pt x="170" y="202"/>
                      </a:lnTo>
                      <a:lnTo>
                        <a:pt x="172" y="210"/>
                      </a:lnTo>
                      <a:lnTo>
                        <a:pt x="175" y="219"/>
                      </a:lnTo>
                      <a:lnTo>
                        <a:pt x="175" y="223"/>
                      </a:lnTo>
                      <a:lnTo>
                        <a:pt x="175" y="226"/>
                      </a:lnTo>
                      <a:lnTo>
                        <a:pt x="172" y="232"/>
                      </a:lnTo>
                      <a:lnTo>
                        <a:pt x="168" y="242"/>
                      </a:lnTo>
                      <a:lnTo>
                        <a:pt x="166" y="250"/>
                      </a:lnTo>
                      <a:lnTo>
                        <a:pt x="166" y="257"/>
                      </a:lnTo>
                      <a:lnTo>
                        <a:pt x="168" y="263"/>
                      </a:lnTo>
                      <a:lnTo>
                        <a:pt x="173" y="273"/>
                      </a:lnTo>
                      <a:lnTo>
                        <a:pt x="177" y="283"/>
                      </a:lnTo>
                      <a:lnTo>
                        <a:pt x="178" y="288"/>
                      </a:lnTo>
                      <a:lnTo>
                        <a:pt x="177" y="293"/>
                      </a:lnTo>
                      <a:lnTo>
                        <a:pt x="174" y="299"/>
                      </a:lnTo>
                      <a:lnTo>
                        <a:pt x="174" y="304"/>
                      </a:lnTo>
                      <a:lnTo>
                        <a:pt x="175" y="309"/>
                      </a:lnTo>
                      <a:lnTo>
                        <a:pt x="177" y="312"/>
                      </a:lnTo>
                      <a:lnTo>
                        <a:pt x="178" y="313"/>
                      </a:lnTo>
                      <a:lnTo>
                        <a:pt x="178" y="315"/>
                      </a:lnTo>
                      <a:lnTo>
                        <a:pt x="179" y="315"/>
                      </a:lnTo>
                      <a:lnTo>
                        <a:pt x="180" y="317"/>
                      </a:lnTo>
                      <a:lnTo>
                        <a:pt x="182" y="318"/>
                      </a:lnTo>
                      <a:lnTo>
                        <a:pt x="183" y="318"/>
                      </a:lnTo>
                      <a:lnTo>
                        <a:pt x="186" y="318"/>
                      </a:lnTo>
                      <a:lnTo>
                        <a:pt x="186" y="321"/>
                      </a:lnTo>
                      <a:lnTo>
                        <a:pt x="184" y="325"/>
                      </a:lnTo>
                      <a:lnTo>
                        <a:pt x="183" y="328"/>
                      </a:lnTo>
                      <a:lnTo>
                        <a:pt x="183" y="331"/>
                      </a:lnTo>
                      <a:lnTo>
                        <a:pt x="187" y="336"/>
                      </a:lnTo>
                      <a:lnTo>
                        <a:pt x="187" y="340"/>
                      </a:lnTo>
                      <a:lnTo>
                        <a:pt x="184" y="345"/>
                      </a:lnTo>
                      <a:lnTo>
                        <a:pt x="180" y="351"/>
                      </a:lnTo>
                      <a:lnTo>
                        <a:pt x="179" y="352"/>
                      </a:lnTo>
                      <a:lnTo>
                        <a:pt x="180" y="355"/>
                      </a:lnTo>
                      <a:lnTo>
                        <a:pt x="182" y="359"/>
                      </a:lnTo>
                      <a:lnTo>
                        <a:pt x="184" y="360"/>
                      </a:lnTo>
                      <a:lnTo>
                        <a:pt x="187" y="362"/>
                      </a:lnTo>
                      <a:lnTo>
                        <a:pt x="189" y="362"/>
                      </a:lnTo>
                      <a:lnTo>
                        <a:pt x="189" y="364"/>
                      </a:lnTo>
                      <a:lnTo>
                        <a:pt x="189" y="371"/>
                      </a:lnTo>
                      <a:lnTo>
                        <a:pt x="191" y="377"/>
                      </a:lnTo>
                      <a:lnTo>
                        <a:pt x="192" y="382"/>
                      </a:lnTo>
                      <a:lnTo>
                        <a:pt x="192" y="387"/>
                      </a:lnTo>
                      <a:lnTo>
                        <a:pt x="191" y="390"/>
                      </a:lnTo>
                      <a:lnTo>
                        <a:pt x="187" y="395"/>
                      </a:lnTo>
                      <a:lnTo>
                        <a:pt x="174" y="408"/>
                      </a:lnTo>
                      <a:lnTo>
                        <a:pt x="150" y="432"/>
                      </a:lnTo>
                      <a:lnTo>
                        <a:pt x="160" y="434"/>
                      </a:lnTo>
                      <a:lnTo>
                        <a:pt x="168" y="438"/>
                      </a:lnTo>
                      <a:lnTo>
                        <a:pt x="177" y="441"/>
                      </a:lnTo>
                      <a:lnTo>
                        <a:pt x="184" y="446"/>
                      </a:lnTo>
                      <a:lnTo>
                        <a:pt x="180" y="449"/>
                      </a:lnTo>
                      <a:lnTo>
                        <a:pt x="175" y="453"/>
                      </a:lnTo>
                      <a:lnTo>
                        <a:pt x="172" y="454"/>
                      </a:lnTo>
                      <a:lnTo>
                        <a:pt x="166" y="455"/>
                      </a:lnTo>
                      <a:lnTo>
                        <a:pt x="158" y="455"/>
                      </a:lnTo>
                      <a:lnTo>
                        <a:pt x="149" y="456"/>
                      </a:lnTo>
                      <a:lnTo>
                        <a:pt x="147" y="455"/>
                      </a:lnTo>
                      <a:lnTo>
                        <a:pt x="146" y="454"/>
                      </a:lnTo>
                      <a:lnTo>
                        <a:pt x="145" y="453"/>
                      </a:lnTo>
                      <a:lnTo>
                        <a:pt x="144" y="454"/>
                      </a:lnTo>
                      <a:lnTo>
                        <a:pt x="141" y="455"/>
                      </a:lnTo>
                      <a:lnTo>
                        <a:pt x="139" y="458"/>
                      </a:lnTo>
                      <a:lnTo>
                        <a:pt x="136" y="464"/>
                      </a:lnTo>
                      <a:lnTo>
                        <a:pt x="135" y="464"/>
                      </a:lnTo>
                      <a:lnTo>
                        <a:pt x="132" y="464"/>
                      </a:lnTo>
                      <a:lnTo>
                        <a:pt x="126" y="461"/>
                      </a:lnTo>
                      <a:lnTo>
                        <a:pt x="119" y="459"/>
                      </a:lnTo>
                      <a:lnTo>
                        <a:pt x="116" y="458"/>
                      </a:lnTo>
                      <a:lnTo>
                        <a:pt x="98" y="459"/>
                      </a:lnTo>
                      <a:lnTo>
                        <a:pt x="89" y="456"/>
                      </a:lnTo>
                      <a:lnTo>
                        <a:pt x="86" y="456"/>
                      </a:lnTo>
                      <a:lnTo>
                        <a:pt x="84" y="458"/>
                      </a:lnTo>
                      <a:lnTo>
                        <a:pt x="83" y="460"/>
                      </a:lnTo>
                      <a:lnTo>
                        <a:pt x="80" y="461"/>
                      </a:lnTo>
                      <a:lnTo>
                        <a:pt x="75" y="462"/>
                      </a:lnTo>
                      <a:lnTo>
                        <a:pt x="71" y="462"/>
                      </a:lnTo>
                      <a:lnTo>
                        <a:pt x="67" y="465"/>
                      </a:lnTo>
                      <a:lnTo>
                        <a:pt x="66" y="467"/>
                      </a:lnTo>
                      <a:lnTo>
                        <a:pt x="67" y="471"/>
                      </a:lnTo>
                      <a:lnTo>
                        <a:pt x="69" y="478"/>
                      </a:lnTo>
                      <a:lnTo>
                        <a:pt x="70" y="479"/>
                      </a:lnTo>
                      <a:lnTo>
                        <a:pt x="73" y="479"/>
                      </a:lnTo>
                      <a:lnTo>
                        <a:pt x="75" y="480"/>
                      </a:lnTo>
                      <a:lnTo>
                        <a:pt x="78" y="481"/>
                      </a:lnTo>
                      <a:lnTo>
                        <a:pt x="78" y="484"/>
                      </a:lnTo>
                      <a:lnTo>
                        <a:pt x="79" y="486"/>
                      </a:lnTo>
                      <a:lnTo>
                        <a:pt x="84" y="492"/>
                      </a:lnTo>
                      <a:lnTo>
                        <a:pt x="86" y="494"/>
                      </a:lnTo>
                      <a:lnTo>
                        <a:pt x="85" y="498"/>
                      </a:lnTo>
                      <a:lnTo>
                        <a:pt x="84" y="503"/>
                      </a:lnTo>
                      <a:lnTo>
                        <a:pt x="83" y="507"/>
                      </a:lnTo>
                      <a:lnTo>
                        <a:pt x="83" y="512"/>
                      </a:lnTo>
                      <a:lnTo>
                        <a:pt x="81" y="517"/>
                      </a:lnTo>
                      <a:lnTo>
                        <a:pt x="81" y="518"/>
                      </a:lnTo>
                      <a:lnTo>
                        <a:pt x="79" y="519"/>
                      </a:lnTo>
                      <a:lnTo>
                        <a:pt x="75" y="522"/>
                      </a:lnTo>
                      <a:lnTo>
                        <a:pt x="75" y="523"/>
                      </a:lnTo>
                      <a:lnTo>
                        <a:pt x="75" y="524"/>
                      </a:lnTo>
                      <a:lnTo>
                        <a:pt x="75" y="525"/>
                      </a:lnTo>
                      <a:lnTo>
                        <a:pt x="71" y="526"/>
                      </a:lnTo>
                      <a:lnTo>
                        <a:pt x="67" y="526"/>
                      </a:lnTo>
                      <a:lnTo>
                        <a:pt x="64" y="524"/>
                      </a:lnTo>
                      <a:lnTo>
                        <a:pt x="61" y="522"/>
                      </a:lnTo>
                      <a:lnTo>
                        <a:pt x="59" y="518"/>
                      </a:lnTo>
                      <a:lnTo>
                        <a:pt x="57" y="512"/>
                      </a:lnTo>
                      <a:lnTo>
                        <a:pt x="56" y="507"/>
                      </a:lnTo>
                      <a:lnTo>
                        <a:pt x="53" y="503"/>
                      </a:lnTo>
                      <a:lnTo>
                        <a:pt x="51" y="500"/>
                      </a:lnTo>
                      <a:lnTo>
                        <a:pt x="48" y="502"/>
                      </a:lnTo>
                      <a:lnTo>
                        <a:pt x="43" y="505"/>
                      </a:lnTo>
                      <a:lnTo>
                        <a:pt x="33" y="513"/>
                      </a:lnTo>
                      <a:lnTo>
                        <a:pt x="28" y="517"/>
                      </a:lnTo>
                      <a:lnTo>
                        <a:pt x="26" y="522"/>
                      </a:lnTo>
                      <a:lnTo>
                        <a:pt x="22" y="526"/>
                      </a:lnTo>
                      <a:lnTo>
                        <a:pt x="20" y="532"/>
                      </a:lnTo>
                      <a:lnTo>
                        <a:pt x="20" y="537"/>
                      </a:lnTo>
                      <a:lnTo>
                        <a:pt x="20" y="543"/>
                      </a:lnTo>
                      <a:lnTo>
                        <a:pt x="20" y="548"/>
                      </a:lnTo>
                      <a:lnTo>
                        <a:pt x="20" y="549"/>
                      </a:lnTo>
                      <a:lnTo>
                        <a:pt x="22" y="550"/>
                      </a:lnTo>
                      <a:lnTo>
                        <a:pt x="27" y="555"/>
                      </a:lnTo>
                      <a:lnTo>
                        <a:pt x="29" y="560"/>
                      </a:lnTo>
                      <a:lnTo>
                        <a:pt x="31" y="566"/>
                      </a:lnTo>
                      <a:lnTo>
                        <a:pt x="28" y="571"/>
                      </a:lnTo>
                      <a:lnTo>
                        <a:pt x="27" y="574"/>
                      </a:lnTo>
                      <a:lnTo>
                        <a:pt x="24" y="576"/>
                      </a:lnTo>
                      <a:lnTo>
                        <a:pt x="22" y="579"/>
                      </a:lnTo>
                      <a:lnTo>
                        <a:pt x="18" y="579"/>
                      </a:lnTo>
                      <a:lnTo>
                        <a:pt x="15" y="577"/>
                      </a:lnTo>
                      <a:lnTo>
                        <a:pt x="15" y="576"/>
                      </a:lnTo>
                      <a:lnTo>
                        <a:pt x="19" y="570"/>
                      </a:lnTo>
                      <a:lnTo>
                        <a:pt x="20" y="567"/>
                      </a:lnTo>
                      <a:lnTo>
                        <a:pt x="20" y="564"/>
                      </a:lnTo>
                      <a:lnTo>
                        <a:pt x="18" y="564"/>
                      </a:lnTo>
                      <a:lnTo>
                        <a:pt x="18" y="568"/>
                      </a:lnTo>
                      <a:lnTo>
                        <a:pt x="17" y="571"/>
                      </a:lnTo>
                      <a:lnTo>
                        <a:pt x="12" y="575"/>
                      </a:lnTo>
                      <a:lnTo>
                        <a:pt x="6" y="577"/>
                      </a:lnTo>
                      <a:lnTo>
                        <a:pt x="1" y="581"/>
                      </a:lnTo>
                      <a:lnTo>
                        <a:pt x="1" y="583"/>
                      </a:lnTo>
                      <a:lnTo>
                        <a:pt x="1" y="586"/>
                      </a:lnTo>
                      <a:lnTo>
                        <a:pt x="4" y="589"/>
                      </a:lnTo>
                      <a:lnTo>
                        <a:pt x="4" y="593"/>
                      </a:lnTo>
                      <a:lnTo>
                        <a:pt x="3" y="595"/>
                      </a:lnTo>
                      <a:lnTo>
                        <a:pt x="0" y="600"/>
                      </a:lnTo>
                      <a:lnTo>
                        <a:pt x="14" y="600"/>
                      </a:lnTo>
                      <a:lnTo>
                        <a:pt x="28" y="598"/>
                      </a:lnTo>
                      <a:lnTo>
                        <a:pt x="55" y="594"/>
                      </a:lnTo>
                      <a:lnTo>
                        <a:pt x="61" y="594"/>
                      </a:lnTo>
                      <a:lnTo>
                        <a:pt x="67" y="595"/>
                      </a:lnTo>
                      <a:lnTo>
                        <a:pt x="71" y="599"/>
                      </a:lnTo>
                      <a:lnTo>
                        <a:pt x="76" y="604"/>
                      </a:lnTo>
                      <a:lnTo>
                        <a:pt x="80" y="611"/>
                      </a:lnTo>
                      <a:lnTo>
                        <a:pt x="84" y="618"/>
                      </a:lnTo>
                      <a:lnTo>
                        <a:pt x="85" y="626"/>
                      </a:lnTo>
                      <a:lnTo>
                        <a:pt x="86" y="633"/>
                      </a:lnTo>
                      <a:lnTo>
                        <a:pt x="86" y="641"/>
                      </a:lnTo>
                      <a:lnTo>
                        <a:pt x="85" y="650"/>
                      </a:lnTo>
                      <a:lnTo>
                        <a:pt x="81" y="666"/>
                      </a:lnTo>
                      <a:lnTo>
                        <a:pt x="81" y="668"/>
                      </a:lnTo>
                      <a:lnTo>
                        <a:pt x="84" y="670"/>
                      </a:lnTo>
                      <a:lnTo>
                        <a:pt x="86" y="672"/>
                      </a:lnTo>
                      <a:lnTo>
                        <a:pt x="86" y="673"/>
                      </a:lnTo>
                      <a:lnTo>
                        <a:pt x="86" y="675"/>
                      </a:lnTo>
                      <a:lnTo>
                        <a:pt x="83" y="683"/>
                      </a:lnTo>
                      <a:lnTo>
                        <a:pt x="81" y="691"/>
                      </a:lnTo>
                      <a:lnTo>
                        <a:pt x="83" y="694"/>
                      </a:lnTo>
                      <a:lnTo>
                        <a:pt x="84" y="696"/>
                      </a:lnTo>
                      <a:lnTo>
                        <a:pt x="88" y="701"/>
                      </a:lnTo>
                      <a:lnTo>
                        <a:pt x="88" y="704"/>
                      </a:lnTo>
                      <a:lnTo>
                        <a:pt x="88" y="708"/>
                      </a:lnTo>
                      <a:lnTo>
                        <a:pt x="85" y="711"/>
                      </a:lnTo>
                      <a:lnTo>
                        <a:pt x="81" y="716"/>
                      </a:lnTo>
                      <a:lnTo>
                        <a:pt x="75" y="722"/>
                      </a:lnTo>
                      <a:lnTo>
                        <a:pt x="66" y="729"/>
                      </a:lnTo>
                      <a:lnTo>
                        <a:pt x="69" y="732"/>
                      </a:lnTo>
                      <a:lnTo>
                        <a:pt x="70" y="733"/>
                      </a:lnTo>
                      <a:lnTo>
                        <a:pt x="70" y="734"/>
                      </a:lnTo>
                      <a:lnTo>
                        <a:pt x="67" y="740"/>
                      </a:lnTo>
                      <a:lnTo>
                        <a:pt x="64" y="746"/>
                      </a:lnTo>
                      <a:lnTo>
                        <a:pt x="60" y="751"/>
                      </a:lnTo>
                      <a:lnTo>
                        <a:pt x="64" y="756"/>
                      </a:lnTo>
                      <a:lnTo>
                        <a:pt x="66" y="756"/>
                      </a:lnTo>
                      <a:lnTo>
                        <a:pt x="69" y="756"/>
                      </a:lnTo>
                      <a:lnTo>
                        <a:pt x="73" y="756"/>
                      </a:lnTo>
                      <a:lnTo>
                        <a:pt x="76" y="756"/>
                      </a:lnTo>
                      <a:lnTo>
                        <a:pt x="80" y="755"/>
                      </a:lnTo>
                      <a:lnTo>
                        <a:pt x="84" y="755"/>
                      </a:lnTo>
                      <a:lnTo>
                        <a:pt x="88" y="758"/>
                      </a:lnTo>
                      <a:lnTo>
                        <a:pt x="92" y="760"/>
                      </a:lnTo>
                      <a:lnTo>
                        <a:pt x="95" y="761"/>
                      </a:lnTo>
                      <a:lnTo>
                        <a:pt x="97" y="761"/>
                      </a:lnTo>
                      <a:lnTo>
                        <a:pt x="99" y="760"/>
                      </a:lnTo>
                      <a:lnTo>
                        <a:pt x="103" y="756"/>
                      </a:lnTo>
                      <a:lnTo>
                        <a:pt x="108" y="753"/>
                      </a:lnTo>
                      <a:lnTo>
                        <a:pt x="112" y="752"/>
                      </a:lnTo>
                      <a:lnTo>
                        <a:pt x="114" y="753"/>
                      </a:lnTo>
                      <a:lnTo>
                        <a:pt x="116" y="753"/>
                      </a:lnTo>
                      <a:lnTo>
                        <a:pt x="118" y="756"/>
                      </a:lnTo>
                      <a:lnTo>
                        <a:pt x="119" y="760"/>
                      </a:lnTo>
                      <a:lnTo>
                        <a:pt x="121" y="767"/>
                      </a:lnTo>
                      <a:lnTo>
                        <a:pt x="119" y="783"/>
                      </a:lnTo>
                      <a:lnTo>
                        <a:pt x="121" y="783"/>
                      </a:lnTo>
                      <a:lnTo>
                        <a:pt x="121" y="784"/>
                      </a:lnTo>
                      <a:lnTo>
                        <a:pt x="121" y="785"/>
                      </a:lnTo>
                      <a:lnTo>
                        <a:pt x="122" y="786"/>
                      </a:lnTo>
                      <a:lnTo>
                        <a:pt x="136" y="798"/>
                      </a:lnTo>
                      <a:lnTo>
                        <a:pt x="142" y="804"/>
                      </a:lnTo>
                      <a:lnTo>
                        <a:pt x="146" y="812"/>
                      </a:lnTo>
                      <a:lnTo>
                        <a:pt x="149" y="815"/>
                      </a:lnTo>
                      <a:lnTo>
                        <a:pt x="151" y="816"/>
                      </a:lnTo>
                      <a:lnTo>
                        <a:pt x="155" y="816"/>
                      </a:lnTo>
                      <a:lnTo>
                        <a:pt x="158" y="816"/>
                      </a:lnTo>
                      <a:lnTo>
                        <a:pt x="165" y="813"/>
                      </a:lnTo>
                      <a:lnTo>
                        <a:pt x="172" y="812"/>
                      </a:lnTo>
                      <a:lnTo>
                        <a:pt x="174" y="812"/>
                      </a:lnTo>
                      <a:lnTo>
                        <a:pt x="178" y="813"/>
                      </a:lnTo>
                      <a:lnTo>
                        <a:pt x="179" y="811"/>
                      </a:lnTo>
                      <a:lnTo>
                        <a:pt x="182" y="810"/>
                      </a:lnTo>
                      <a:lnTo>
                        <a:pt x="184" y="809"/>
                      </a:lnTo>
                      <a:lnTo>
                        <a:pt x="189" y="805"/>
                      </a:lnTo>
                      <a:lnTo>
                        <a:pt x="191" y="801"/>
                      </a:lnTo>
                      <a:lnTo>
                        <a:pt x="192" y="797"/>
                      </a:lnTo>
                      <a:lnTo>
                        <a:pt x="193" y="792"/>
                      </a:lnTo>
                      <a:lnTo>
                        <a:pt x="194" y="790"/>
                      </a:lnTo>
                      <a:lnTo>
                        <a:pt x="197" y="788"/>
                      </a:lnTo>
                      <a:lnTo>
                        <a:pt x="201" y="787"/>
                      </a:lnTo>
                      <a:lnTo>
                        <a:pt x="205" y="787"/>
                      </a:lnTo>
                      <a:lnTo>
                        <a:pt x="211" y="790"/>
                      </a:lnTo>
                      <a:lnTo>
                        <a:pt x="222" y="797"/>
                      </a:lnTo>
                      <a:lnTo>
                        <a:pt x="226" y="798"/>
                      </a:lnTo>
                      <a:lnTo>
                        <a:pt x="230" y="799"/>
                      </a:lnTo>
                      <a:lnTo>
                        <a:pt x="236" y="799"/>
                      </a:lnTo>
                      <a:lnTo>
                        <a:pt x="244" y="798"/>
                      </a:lnTo>
                      <a:lnTo>
                        <a:pt x="252" y="799"/>
                      </a:lnTo>
                      <a:lnTo>
                        <a:pt x="249" y="803"/>
                      </a:lnTo>
                      <a:lnTo>
                        <a:pt x="246" y="805"/>
                      </a:lnTo>
                      <a:lnTo>
                        <a:pt x="243" y="806"/>
                      </a:lnTo>
                      <a:lnTo>
                        <a:pt x="239" y="807"/>
                      </a:lnTo>
                      <a:lnTo>
                        <a:pt x="230" y="809"/>
                      </a:lnTo>
                      <a:lnTo>
                        <a:pt x="226" y="810"/>
                      </a:lnTo>
                      <a:lnTo>
                        <a:pt x="224" y="812"/>
                      </a:lnTo>
                      <a:lnTo>
                        <a:pt x="222" y="815"/>
                      </a:lnTo>
                      <a:lnTo>
                        <a:pt x="224" y="816"/>
                      </a:lnTo>
                      <a:lnTo>
                        <a:pt x="231" y="819"/>
                      </a:lnTo>
                      <a:lnTo>
                        <a:pt x="238" y="822"/>
                      </a:lnTo>
                      <a:lnTo>
                        <a:pt x="240" y="824"/>
                      </a:lnTo>
                      <a:lnTo>
                        <a:pt x="241" y="826"/>
                      </a:lnTo>
                      <a:lnTo>
                        <a:pt x="241" y="830"/>
                      </a:lnTo>
                      <a:lnTo>
                        <a:pt x="240" y="836"/>
                      </a:lnTo>
                      <a:lnTo>
                        <a:pt x="241" y="837"/>
                      </a:lnTo>
                      <a:lnTo>
                        <a:pt x="243" y="839"/>
                      </a:lnTo>
                      <a:lnTo>
                        <a:pt x="245" y="841"/>
                      </a:lnTo>
                      <a:lnTo>
                        <a:pt x="248" y="841"/>
                      </a:lnTo>
                      <a:lnTo>
                        <a:pt x="257" y="834"/>
                      </a:lnTo>
                      <a:lnTo>
                        <a:pt x="266" y="828"/>
                      </a:lnTo>
                      <a:lnTo>
                        <a:pt x="269" y="825"/>
                      </a:lnTo>
                      <a:lnTo>
                        <a:pt x="274" y="823"/>
                      </a:lnTo>
                      <a:lnTo>
                        <a:pt x="279" y="822"/>
                      </a:lnTo>
                      <a:lnTo>
                        <a:pt x="286" y="822"/>
                      </a:lnTo>
                      <a:lnTo>
                        <a:pt x="288" y="822"/>
                      </a:lnTo>
                      <a:lnTo>
                        <a:pt x="290" y="818"/>
                      </a:lnTo>
                      <a:lnTo>
                        <a:pt x="290" y="816"/>
                      </a:lnTo>
                      <a:lnTo>
                        <a:pt x="288" y="812"/>
                      </a:lnTo>
                      <a:lnTo>
                        <a:pt x="286" y="811"/>
                      </a:lnTo>
                      <a:lnTo>
                        <a:pt x="283" y="810"/>
                      </a:lnTo>
                      <a:lnTo>
                        <a:pt x="277" y="809"/>
                      </a:lnTo>
                      <a:lnTo>
                        <a:pt x="274" y="809"/>
                      </a:lnTo>
                      <a:lnTo>
                        <a:pt x="273" y="807"/>
                      </a:lnTo>
                      <a:lnTo>
                        <a:pt x="272" y="805"/>
                      </a:lnTo>
                      <a:lnTo>
                        <a:pt x="272" y="801"/>
                      </a:lnTo>
                      <a:lnTo>
                        <a:pt x="271" y="804"/>
                      </a:lnTo>
                      <a:lnTo>
                        <a:pt x="272" y="807"/>
                      </a:lnTo>
                      <a:lnTo>
                        <a:pt x="273" y="810"/>
                      </a:lnTo>
                      <a:lnTo>
                        <a:pt x="272" y="812"/>
                      </a:lnTo>
                      <a:lnTo>
                        <a:pt x="269" y="815"/>
                      </a:lnTo>
                      <a:lnTo>
                        <a:pt x="267" y="816"/>
                      </a:lnTo>
                      <a:lnTo>
                        <a:pt x="264" y="815"/>
                      </a:lnTo>
                      <a:lnTo>
                        <a:pt x="262" y="813"/>
                      </a:lnTo>
                      <a:lnTo>
                        <a:pt x="258" y="809"/>
                      </a:lnTo>
                      <a:lnTo>
                        <a:pt x="257" y="803"/>
                      </a:lnTo>
                      <a:lnTo>
                        <a:pt x="257" y="798"/>
                      </a:lnTo>
                      <a:lnTo>
                        <a:pt x="259" y="793"/>
                      </a:lnTo>
                      <a:lnTo>
                        <a:pt x="260" y="792"/>
                      </a:lnTo>
                      <a:lnTo>
                        <a:pt x="263" y="792"/>
                      </a:lnTo>
                      <a:lnTo>
                        <a:pt x="268" y="791"/>
                      </a:lnTo>
                      <a:lnTo>
                        <a:pt x="271" y="790"/>
                      </a:lnTo>
                      <a:lnTo>
                        <a:pt x="271" y="787"/>
                      </a:lnTo>
                      <a:lnTo>
                        <a:pt x="271" y="786"/>
                      </a:lnTo>
                      <a:lnTo>
                        <a:pt x="273" y="784"/>
                      </a:lnTo>
                      <a:lnTo>
                        <a:pt x="274" y="784"/>
                      </a:lnTo>
                      <a:lnTo>
                        <a:pt x="278" y="784"/>
                      </a:lnTo>
                      <a:lnTo>
                        <a:pt x="282" y="784"/>
                      </a:lnTo>
                      <a:lnTo>
                        <a:pt x="285" y="785"/>
                      </a:lnTo>
                      <a:lnTo>
                        <a:pt x="288" y="785"/>
                      </a:lnTo>
                      <a:lnTo>
                        <a:pt x="291" y="783"/>
                      </a:lnTo>
                      <a:lnTo>
                        <a:pt x="295" y="781"/>
                      </a:lnTo>
                      <a:lnTo>
                        <a:pt x="305" y="779"/>
                      </a:lnTo>
                      <a:lnTo>
                        <a:pt x="314" y="777"/>
                      </a:lnTo>
                      <a:lnTo>
                        <a:pt x="333" y="769"/>
                      </a:lnTo>
                      <a:lnTo>
                        <a:pt x="339" y="768"/>
                      </a:lnTo>
                      <a:lnTo>
                        <a:pt x="335" y="774"/>
                      </a:lnTo>
                      <a:lnTo>
                        <a:pt x="332" y="779"/>
                      </a:lnTo>
                      <a:lnTo>
                        <a:pt x="326" y="781"/>
                      </a:lnTo>
                      <a:lnTo>
                        <a:pt x="320" y="783"/>
                      </a:lnTo>
                      <a:lnTo>
                        <a:pt x="320" y="786"/>
                      </a:lnTo>
                      <a:lnTo>
                        <a:pt x="320" y="790"/>
                      </a:lnTo>
                      <a:lnTo>
                        <a:pt x="321" y="791"/>
                      </a:lnTo>
                      <a:lnTo>
                        <a:pt x="324" y="793"/>
                      </a:lnTo>
                      <a:lnTo>
                        <a:pt x="325" y="796"/>
                      </a:lnTo>
                      <a:lnTo>
                        <a:pt x="324" y="797"/>
                      </a:lnTo>
                      <a:lnTo>
                        <a:pt x="323" y="798"/>
                      </a:lnTo>
                      <a:lnTo>
                        <a:pt x="320" y="799"/>
                      </a:lnTo>
                      <a:lnTo>
                        <a:pt x="318" y="800"/>
                      </a:lnTo>
                      <a:lnTo>
                        <a:pt x="315" y="806"/>
                      </a:lnTo>
                      <a:lnTo>
                        <a:pt x="313" y="811"/>
                      </a:lnTo>
                      <a:lnTo>
                        <a:pt x="311" y="812"/>
                      </a:lnTo>
                      <a:lnTo>
                        <a:pt x="311" y="815"/>
                      </a:lnTo>
                      <a:lnTo>
                        <a:pt x="311" y="817"/>
                      </a:lnTo>
                      <a:lnTo>
                        <a:pt x="309" y="817"/>
                      </a:lnTo>
                      <a:lnTo>
                        <a:pt x="306" y="817"/>
                      </a:lnTo>
                      <a:lnTo>
                        <a:pt x="305" y="816"/>
                      </a:lnTo>
                      <a:lnTo>
                        <a:pt x="304" y="815"/>
                      </a:lnTo>
                      <a:lnTo>
                        <a:pt x="302" y="816"/>
                      </a:lnTo>
                      <a:lnTo>
                        <a:pt x="301" y="818"/>
                      </a:lnTo>
                      <a:lnTo>
                        <a:pt x="301" y="822"/>
                      </a:lnTo>
                      <a:lnTo>
                        <a:pt x="301" y="824"/>
                      </a:lnTo>
                      <a:lnTo>
                        <a:pt x="305" y="825"/>
                      </a:lnTo>
                      <a:lnTo>
                        <a:pt x="307" y="826"/>
                      </a:lnTo>
                      <a:lnTo>
                        <a:pt x="311" y="828"/>
                      </a:lnTo>
                      <a:lnTo>
                        <a:pt x="316" y="832"/>
                      </a:lnTo>
                      <a:lnTo>
                        <a:pt x="321" y="836"/>
                      </a:lnTo>
                      <a:lnTo>
                        <a:pt x="328" y="839"/>
                      </a:lnTo>
                      <a:lnTo>
                        <a:pt x="332" y="841"/>
                      </a:lnTo>
                      <a:lnTo>
                        <a:pt x="335" y="841"/>
                      </a:lnTo>
                      <a:lnTo>
                        <a:pt x="340" y="844"/>
                      </a:lnTo>
                      <a:lnTo>
                        <a:pt x="344" y="848"/>
                      </a:lnTo>
                      <a:lnTo>
                        <a:pt x="348" y="852"/>
                      </a:lnTo>
                      <a:lnTo>
                        <a:pt x="352" y="856"/>
                      </a:lnTo>
                      <a:lnTo>
                        <a:pt x="359" y="860"/>
                      </a:lnTo>
                      <a:lnTo>
                        <a:pt x="365" y="863"/>
                      </a:lnTo>
                      <a:lnTo>
                        <a:pt x="375" y="871"/>
                      </a:lnTo>
                      <a:lnTo>
                        <a:pt x="384" y="881"/>
                      </a:lnTo>
                      <a:lnTo>
                        <a:pt x="386" y="886"/>
                      </a:lnTo>
                      <a:lnTo>
                        <a:pt x="387" y="890"/>
                      </a:lnTo>
                      <a:lnTo>
                        <a:pt x="385" y="895"/>
                      </a:lnTo>
                      <a:lnTo>
                        <a:pt x="382" y="899"/>
                      </a:lnTo>
                      <a:lnTo>
                        <a:pt x="393" y="899"/>
                      </a:lnTo>
                      <a:lnTo>
                        <a:pt x="404" y="899"/>
                      </a:lnTo>
                      <a:lnTo>
                        <a:pt x="408" y="901"/>
                      </a:lnTo>
                      <a:lnTo>
                        <a:pt x="413" y="902"/>
                      </a:lnTo>
                      <a:lnTo>
                        <a:pt x="415" y="906"/>
                      </a:lnTo>
                      <a:lnTo>
                        <a:pt x="418" y="911"/>
                      </a:lnTo>
                      <a:lnTo>
                        <a:pt x="424" y="926"/>
                      </a:lnTo>
                      <a:lnTo>
                        <a:pt x="428" y="932"/>
                      </a:lnTo>
                      <a:lnTo>
                        <a:pt x="432" y="939"/>
                      </a:lnTo>
                      <a:lnTo>
                        <a:pt x="432" y="941"/>
                      </a:lnTo>
                      <a:lnTo>
                        <a:pt x="431" y="945"/>
                      </a:lnTo>
                      <a:lnTo>
                        <a:pt x="434" y="945"/>
                      </a:lnTo>
                      <a:lnTo>
                        <a:pt x="437" y="947"/>
                      </a:lnTo>
                      <a:lnTo>
                        <a:pt x="441" y="953"/>
                      </a:lnTo>
                      <a:lnTo>
                        <a:pt x="446" y="958"/>
                      </a:lnTo>
                      <a:lnTo>
                        <a:pt x="450" y="960"/>
                      </a:lnTo>
                      <a:lnTo>
                        <a:pt x="452" y="962"/>
                      </a:lnTo>
                      <a:lnTo>
                        <a:pt x="456" y="962"/>
                      </a:lnTo>
                      <a:lnTo>
                        <a:pt x="460" y="962"/>
                      </a:lnTo>
                      <a:lnTo>
                        <a:pt x="466" y="959"/>
                      </a:lnTo>
                      <a:lnTo>
                        <a:pt x="471" y="956"/>
                      </a:lnTo>
                      <a:lnTo>
                        <a:pt x="478" y="952"/>
                      </a:lnTo>
                      <a:lnTo>
                        <a:pt x="484" y="949"/>
                      </a:lnTo>
                      <a:lnTo>
                        <a:pt x="485" y="949"/>
                      </a:lnTo>
                      <a:lnTo>
                        <a:pt x="486" y="949"/>
                      </a:lnTo>
                      <a:lnTo>
                        <a:pt x="489" y="952"/>
                      </a:lnTo>
                      <a:lnTo>
                        <a:pt x="490" y="956"/>
                      </a:lnTo>
                      <a:lnTo>
                        <a:pt x="489" y="958"/>
                      </a:lnTo>
                      <a:lnTo>
                        <a:pt x="489" y="963"/>
                      </a:lnTo>
                      <a:lnTo>
                        <a:pt x="490" y="967"/>
                      </a:lnTo>
                      <a:lnTo>
                        <a:pt x="492" y="970"/>
                      </a:lnTo>
                      <a:lnTo>
                        <a:pt x="494" y="973"/>
                      </a:lnTo>
                      <a:lnTo>
                        <a:pt x="497" y="975"/>
                      </a:lnTo>
                      <a:lnTo>
                        <a:pt x="500" y="977"/>
                      </a:lnTo>
                      <a:lnTo>
                        <a:pt x="508" y="978"/>
                      </a:lnTo>
                      <a:lnTo>
                        <a:pt x="508" y="969"/>
                      </a:lnTo>
                      <a:lnTo>
                        <a:pt x="507" y="965"/>
                      </a:lnTo>
                      <a:lnTo>
                        <a:pt x="506" y="960"/>
                      </a:lnTo>
                      <a:lnTo>
                        <a:pt x="503" y="957"/>
                      </a:lnTo>
                      <a:lnTo>
                        <a:pt x="503" y="954"/>
                      </a:lnTo>
                      <a:lnTo>
                        <a:pt x="504" y="947"/>
                      </a:lnTo>
                      <a:lnTo>
                        <a:pt x="507" y="949"/>
                      </a:lnTo>
                      <a:lnTo>
                        <a:pt x="508" y="950"/>
                      </a:lnTo>
                      <a:lnTo>
                        <a:pt x="509" y="952"/>
                      </a:lnTo>
                      <a:lnTo>
                        <a:pt x="511" y="953"/>
                      </a:lnTo>
                      <a:lnTo>
                        <a:pt x="513" y="953"/>
                      </a:lnTo>
                      <a:lnTo>
                        <a:pt x="516" y="952"/>
                      </a:lnTo>
                      <a:lnTo>
                        <a:pt x="517" y="951"/>
                      </a:lnTo>
                      <a:lnTo>
                        <a:pt x="517" y="949"/>
                      </a:lnTo>
                      <a:lnTo>
                        <a:pt x="517" y="944"/>
                      </a:lnTo>
                      <a:lnTo>
                        <a:pt x="518" y="940"/>
                      </a:lnTo>
                      <a:lnTo>
                        <a:pt x="523" y="933"/>
                      </a:lnTo>
                      <a:lnTo>
                        <a:pt x="528" y="932"/>
                      </a:lnTo>
                      <a:lnTo>
                        <a:pt x="531" y="931"/>
                      </a:lnTo>
                      <a:lnTo>
                        <a:pt x="531" y="930"/>
                      </a:lnTo>
                      <a:lnTo>
                        <a:pt x="526" y="926"/>
                      </a:lnTo>
                      <a:lnTo>
                        <a:pt x="521" y="922"/>
                      </a:lnTo>
                      <a:lnTo>
                        <a:pt x="513" y="915"/>
                      </a:lnTo>
                      <a:lnTo>
                        <a:pt x="509" y="912"/>
                      </a:lnTo>
                      <a:lnTo>
                        <a:pt x="508" y="911"/>
                      </a:lnTo>
                      <a:lnTo>
                        <a:pt x="507" y="909"/>
                      </a:lnTo>
                      <a:lnTo>
                        <a:pt x="504" y="901"/>
                      </a:lnTo>
                      <a:lnTo>
                        <a:pt x="503" y="899"/>
                      </a:lnTo>
                      <a:lnTo>
                        <a:pt x="499" y="895"/>
                      </a:lnTo>
                      <a:lnTo>
                        <a:pt x="490" y="884"/>
                      </a:lnTo>
                      <a:lnTo>
                        <a:pt x="485" y="876"/>
                      </a:lnTo>
                      <a:lnTo>
                        <a:pt x="484" y="868"/>
                      </a:lnTo>
                      <a:lnTo>
                        <a:pt x="483" y="860"/>
                      </a:lnTo>
                      <a:lnTo>
                        <a:pt x="484" y="850"/>
                      </a:lnTo>
                      <a:lnTo>
                        <a:pt x="479" y="843"/>
                      </a:lnTo>
                      <a:lnTo>
                        <a:pt x="476" y="835"/>
                      </a:lnTo>
                      <a:lnTo>
                        <a:pt x="475" y="832"/>
                      </a:lnTo>
                      <a:lnTo>
                        <a:pt x="475" y="828"/>
                      </a:lnTo>
                      <a:lnTo>
                        <a:pt x="476" y="819"/>
                      </a:lnTo>
                      <a:lnTo>
                        <a:pt x="479" y="811"/>
                      </a:lnTo>
                      <a:lnTo>
                        <a:pt x="480" y="809"/>
                      </a:lnTo>
                      <a:lnTo>
                        <a:pt x="483" y="807"/>
                      </a:lnTo>
                      <a:lnTo>
                        <a:pt x="489" y="804"/>
                      </a:lnTo>
                      <a:lnTo>
                        <a:pt x="493" y="800"/>
                      </a:lnTo>
                      <a:lnTo>
                        <a:pt x="503" y="791"/>
                      </a:lnTo>
                      <a:lnTo>
                        <a:pt x="506" y="788"/>
                      </a:lnTo>
                      <a:lnTo>
                        <a:pt x="511" y="787"/>
                      </a:lnTo>
                      <a:lnTo>
                        <a:pt x="514" y="786"/>
                      </a:lnTo>
                      <a:lnTo>
                        <a:pt x="517" y="784"/>
                      </a:lnTo>
                      <a:lnTo>
                        <a:pt x="526" y="780"/>
                      </a:lnTo>
                      <a:lnTo>
                        <a:pt x="531" y="778"/>
                      </a:lnTo>
                      <a:lnTo>
                        <a:pt x="533" y="775"/>
                      </a:lnTo>
                      <a:lnTo>
                        <a:pt x="542" y="769"/>
                      </a:lnTo>
                      <a:lnTo>
                        <a:pt x="547" y="767"/>
                      </a:lnTo>
                      <a:lnTo>
                        <a:pt x="554" y="767"/>
                      </a:lnTo>
                      <a:lnTo>
                        <a:pt x="556" y="765"/>
                      </a:lnTo>
                      <a:lnTo>
                        <a:pt x="558" y="764"/>
                      </a:lnTo>
                      <a:lnTo>
                        <a:pt x="570" y="765"/>
                      </a:lnTo>
                      <a:lnTo>
                        <a:pt x="578" y="766"/>
                      </a:lnTo>
                      <a:lnTo>
                        <a:pt x="583" y="768"/>
                      </a:lnTo>
                      <a:lnTo>
                        <a:pt x="586" y="771"/>
                      </a:lnTo>
                      <a:lnTo>
                        <a:pt x="587" y="773"/>
                      </a:lnTo>
                      <a:lnTo>
                        <a:pt x="587" y="775"/>
                      </a:lnTo>
                      <a:lnTo>
                        <a:pt x="589" y="778"/>
                      </a:lnTo>
                      <a:lnTo>
                        <a:pt x="592" y="781"/>
                      </a:lnTo>
                      <a:lnTo>
                        <a:pt x="593" y="784"/>
                      </a:lnTo>
                      <a:lnTo>
                        <a:pt x="593" y="786"/>
                      </a:lnTo>
                      <a:lnTo>
                        <a:pt x="594" y="791"/>
                      </a:lnTo>
                      <a:lnTo>
                        <a:pt x="596" y="792"/>
                      </a:lnTo>
                      <a:lnTo>
                        <a:pt x="598" y="793"/>
                      </a:lnTo>
                      <a:lnTo>
                        <a:pt x="599" y="794"/>
                      </a:lnTo>
                      <a:lnTo>
                        <a:pt x="598" y="794"/>
                      </a:lnTo>
                      <a:lnTo>
                        <a:pt x="597" y="796"/>
                      </a:lnTo>
                      <a:lnTo>
                        <a:pt x="597" y="797"/>
                      </a:lnTo>
                      <a:lnTo>
                        <a:pt x="594" y="798"/>
                      </a:lnTo>
                      <a:lnTo>
                        <a:pt x="594" y="799"/>
                      </a:lnTo>
                      <a:lnTo>
                        <a:pt x="597" y="804"/>
                      </a:lnTo>
                      <a:lnTo>
                        <a:pt x="597" y="806"/>
                      </a:lnTo>
                      <a:lnTo>
                        <a:pt x="597" y="807"/>
                      </a:lnTo>
                      <a:lnTo>
                        <a:pt x="598" y="809"/>
                      </a:lnTo>
                      <a:lnTo>
                        <a:pt x="596" y="811"/>
                      </a:lnTo>
                      <a:lnTo>
                        <a:pt x="592" y="813"/>
                      </a:lnTo>
                      <a:lnTo>
                        <a:pt x="588" y="816"/>
                      </a:lnTo>
                      <a:lnTo>
                        <a:pt x="584" y="816"/>
                      </a:lnTo>
                      <a:lnTo>
                        <a:pt x="578" y="813"/>
                      </a:lnTo>
                      <a:lnTo>
                        <a:pt x="572" y="812"/>
                      </a:lnTo>
                      <a:lnTo>
                        <a:pt x="569" y="811"/>
                      </a:lnTo>
                      <a:lnTo>
                        <a:pt x="565" y="810"/>
                      </a:lnTo>
                      <a:lnTo>
                        <a:pt x="561" y="810"/>
                      </a:lnTo>
                      <a:lnTo>
                        <a:pt x="558" y="811"/>
                      </a:lnTo>
                      <a:lnTo>
                        <a:pt x="554" y="813"/>
                      </a:lnTo>
                      <a:lnTo>
                        <a:pt x="553" y="815"/>
                      </a:lnTo>
                      <a:lnTo>
                        <a:pt x="553" y="817"/>
                      </a:lnTo>
                      <a:lnTo>
                        <a:pt x="554" y="824"/>
                      </a:lnTo>
                      <a:lnTo>
                        <a:pt x="555" y="831"/>
                      </a:lnTo>
                      <a:lnTo>
                        <a:pt x="556" y="835"/>
                      </a:lnTo>
                      <a:lnTo>
                        <a:pt x="556" y="837"/>
                      </a:lnTo>
                      <a:lnTo>
                        <a:pt x="555" y="838"/>
                      </a:lnTo>
                      <a:lnTo>
                        <a:pt x="553" y="838"/>
                      </a:lnTo>
                      <a:lnTo>
                        <a:pt x="547" y="838"/>
                      </a:lnTo>
                      <a:lnTo>
                        <a:pt x="542" y="836"/>
                      </a:lnTo>
                      <a:lnTo>
                        <a:pt x="537" y="835"/>
                      </a:lnTo>
                      <a:lnTo>
                        <a:pt x="536" y="836"/>
                      </a:lnTo>
                      <a:lnTo>
                        <a:pt x="536" y="837"/>
                      </a:lnTo>
                      <a:lnTo>
                        <a:pt x="537" y="841"/>
                      </a:lnTo>
                      <a:lnTo>
                        <a:pt x="541" y="843"/>
                      </a:lnTo>
                      <a:lnTo>
                        <a:pt x="544" y="844"/>
                      </a:lnTo>
                      <a:lnTo>
                        <a:pt x="545" y="845"/>
                      </a:lnTo>
                      <a:lnTo>
                        <a:pt x="547" y="849"/>
                      </a:lnTo>
                      <a:lnTo>
                        <a:pt x="547" y="851"/>
                      </a:lnTo>
                      <a:lnTo>
                        <a:pt x="549" y="854"/>
                      </a:lnTo>
                      <a:lnTo>
                        <a:pt x="550" y="856"/>
                      </a:lnTo>
                      <a:lnTo>
                        <a:pt x="551" y="858"/>
                      </a:lnTo>
                      <a:lnTo>
                        <a:pt x="551" y="861"/>
                      </a:lnTo>
                      <a:lnTo>
                        <a:pt x="549" y="866"/>
                      </a:lnTo>
                      <a:lnTo>
                        <a:pt x="549" y="868"/>
                      </a:lnTo>
                      <a:lnTo>
                        <a:pt x="550" y="868"/>
                      </a:lnTo>
                      <a:lnTo>
                        <a:pt x="559" y="863"/>
                      </a:lnTo>
                      <a:lnTo>
                        <a:pt x="559" y="864"/>
                      </a:lnTo>
                      <a:lnTo>
                        <a:pt x="560" y="866"/>
                      </a:lnTo>
                      <a:lnTo>
                        <a:pt x="559" y="867"/>
                      </a:lnTo>
                      <a:lnTo>
                        <a:pt x="560" y="868"/>
                      </a:lnTo>
                      <a:lnTo>
                        <a:pt x="563" y="869"/>
                      </a:lnTo>
                      <a:lnTo>
                        <a:pt x="565" y="868"/>
                      </a:lnTo>
                      <a:lnTo>
                        <a:pt x="568" y="867"/>
                      </a:lnTo>
                      <a:lnTo>
                        <a:pt x="570" y="867"/>
                      </a:lnTo>
                      <a:lnTo>
                        <a:pt x="574" y="869"/>
                      </a:lnTo>
                      <a:lnTo>
                        <a:pt x="578" y="870"/>
                      </a:lnTo>
                      <a:lnTo>
                        <a:pt x="579" y="873"/>
                      </a:lnTo>
                      <a:lnTo>
                        <a:pt x="578" y="876"/>
                      </a:lnTo>
                      <a:lnTo>
                        <a:pt x="575" y="883"/>
                      </a:lnTo>
                      <a:lnTo>
                        <a:pt x="575" y="888"/>
                      </a:lnTo>
                      <a:lnTo>
                        <a:pt x="575" y="894"/>
                      </a:lnTo>
                      <a:lnTo>
                        <a:pt x="575" y="899"/>
                      </a:lnTo>
                      <a:lnTo>
                        <a:pt x="577" y="902"/>
                      </a:lnTo>
                      <a:lnTo>
                        <a:pt x="578" y="905"/>
                      </a:lnTo>
                      <a:lnTo>
                        <a:pt x="579" y="902"/>
                      </a:lnTo>
                      <a:lnTo>
                        <a:pt x="580" y="900"/>
                      </a:lnTo>
                      <a:lnTo>
                        <a:pt x="580" y="896"/>
                      </a:lnTo>
                      <a:lnTo>
                        <a:pt x="579" y="893"/>
                      </a:lnTo>
                      <a:lnTo>
                        <a:pt x="580" y="890"/>
                      </a:lnTo>
                      <a:lnTo>
                        <a:pt x="582" y="888"/>
                      </a:lnTo>
                      <a:lnTo>
                        <a:pt x="583" y="887"/>
                      </a:lnTo>
                      <a:lnTo>
                        <a:pt x="584" y="888"/>
                      </a:lnTo>
                      <a:lnTo>
                        <a:pt x="587" y="890"/>
                      </a:lnTo>
                      <a:lnTo>
                        <a:pt x="588" y="890"/>
                      </a:lnTo>
                      <a:lnTo>
                        <a:pt x="589" y="889"/>
                      </a:lnTo>
                      <a:lnTo>
                        <a:pt x="593" y="884"/>
                      </a:lnTo>
                      <a:lnTo>
                        <a:pt x="596" y="883"/>
                      </a:lnTo>
                      <a:lnTo>
                        <a:pt x="597" y="882"/>
                      </a:lnTo>
                      <a:lnTo>
                        <a:pt x="599" y="883"/>
                      </a:lnTo>
                      <a:lnTo>
                        <a:pt x="601" y="886"/>
                      </a:lnTo>
                      <a:lnTo>
                        <a:pt x="603" y="899"/>
                      </a:lnTo>
                      <a:lnTo>
                        <a:pt x="605" y="907"/>
                      </a:lnTo>
                      <a:lnTo>
                        <a:pt x="605" y="911"/>
                      </a:lnTo>
                      <a:lnTo>
                        <a:pt x="605" y="912"/>
                      </a:lnTo>
                      <a:lnTo>
                        <a:pt x="605" y="913"/>
                      </a:lnTo>
                      <a:lnTo>
                        <a:pt x="601" y="918"/>
                      </a:lnTo>
                      <a:lnTo>
                        <a:pt x="599" y="920"/>
                      </a:lnTo>
                      <a:lnTo>
                        <a:pt x="597" y="921"/>
                      </a:lnTo>
                      <a:lnTo>
                        <a:pt x="593" y="921"/>
                      </a:lnTo>
                      <a:lnTo>
                        <a:pt x="591" y="921"/>
                      </a:lnTo>
                      <a:lnTo>
                        <a:pt x="584" y="916"/>
                      </a:lnTo>
                      <a:lnTo>
                        <a:pt x="583" y="916"/>
                      </a:lnTo>
                      <a:lnTo>
                        <a:pt x="582" y="918"/>
                      </a:lnTo>
                      <a:lnTo>
                        <a:pt x="580" y="920"/>
                      </a:lnTo>
                      <a:lnTo>
                        <a:pt x="580" y="926"/>
                      </a:lnTo>
                      <a:lnTo>
                        <a:pt x="582" y="930"/>
                      </a:lnTo>
                      <a:lnTo>
                        <a:pt x="586" y="931"/>
                      </a:lnTo>
                      <a:lnTo>
                        <a:pt x="588" y="931"/>
                      </a:lnTo>
                      <a:lnTo>
                        <a:pt x="592" y="932"/>
                      </a:lnTo>
                      <a:lnTo>
                        <a:pt x="596" y="933"/>
                      </a:lnTo>
                      <a:lnTo>
                        <a:pt x="598" y="935"/>
                      </a:lnTo>
                      <a:lnTo>
                        <a:pt x="598" y="938"/>
                      </a:lnTo>
                      <a:lnTo>
                        <a:pt x="598" y="939"/>
                      </a:lnTo>
                      <a:lnTo>
                        <a:pt x="594" y="940"/>
                      </a:lnTo>
                      <a:lnTo>
                        <a:pt x="592" y="940"/>
                      </a:lnTo>
                      <a:lnTo>
                        <a:pt x="591" y="941"/>
                      </a:lnTo>
                      <a:lnTo>
                        <a:pt x="589" y="943"/>
                      </a:lnTo>
                      <a:lnTo>
                        <a:pt x="591" y="944"/>
                      </a:lnTo>
                      <a:lnTo>
                        <a:pt x="592" y="945"/>
                      </a:lnTo>
                      <a:lnTo>
                        <a:pt x="592" y="946"/>
                      </a:lnTo>
                      <a:lnTo>
                        <a:pt x="592" y="949"/>
                      </a:lnTo>
                      <a:lnTo>
                        <a:pt x="592" y="950"/>
                      </a:lnTo>
                      <a:lnTo>
                        <a:pt x="593" y="951"/>
                      </a:lnTo>
                      <a:lnTo>
                        <a:pt x="597" y="954"/>
                      </a:lnTo>
                      <a:lnTo>
                        <a:pt x="597" y="957"/>
                      </a:lnTo>
                      <a:lnTo>
                        <a:pt x="597" y="959"/>
                      </a:lnTo>
                      <a:lnTo>
                        <a:pt x="596" y="964"/>
                      </a:lnTo>
                      <a:lnTo>
                        <a:pt x="594" y="969"/>
                      </a:lnTo>
                      <a:lnTo>
                        <a:pt x="594" y="975"/>
                      </a:lnTo>
                      <a:lnTo>
                        <a:pt x="596" y="979"/>
                      </a:lnTo>
                      <a:lnTo>
                        <a:pt x="597" y="983"/>
                      </a:lnTo>
                      <a:lnTo>
                        <a:pt x="597" y="988"/>
                      </a:lnTo>
                      <a:lnTo>
                        <a:pt x="606" y="986"/>
                      </a:lnTo>
                      <a:lnTo>
                        <a:pt x="613" y="983"/>
                      </a:lnTo>
                      <a:lnTo>
                        <a:pt x="627" y="975"/>
                      </a:lnTo>
                      <a:lnTo>
                        <a:pt x="633" y="972"/>
                      </a:lnTo>
                      <a:lnTo>
                        <a:pt x="638" y="971"/>
                      </a:lnTo>
                      <a:lnTo>
                        <a:pt x="644" y="966"/>
                      </a:lnTo>
                      <a:lnTo>
                        <a:pt x="646" y="971"/>
                      </a:lnTo>
                      <a:lnTo>
                        <a:pt x="650" y="973"/>
                      </a:lnTo>
                      <a:lnTo>
                        <a:pt x="654" y="973"/>
                      </a:lnTo>
                      <a:lnTo>
                        <a:pt x="657" y="975"/>
                      </a:lnTo>
                      <a:lnTo>
                        <a:pt x="662" y="977"/>
                      </a:lnTo>
                      <a:lnTo>
                        <a:pt x="668" y="979"/>
                      </a:lnTo>
                      <a:lnTo>
                        <a:pt x="679" y="981"/>
                      </a:lnTo>
                      <a:lnTo>
                        <a:pt x="686" y="983"/>
                      </a:lnTo>
                      <a:lnTo>
                        <a:pt x="688" y="985"/>
                      </a:lnTo>
                      <a:lnTo>
                        <a:pt x="691" y="988"/>
                      </a:lnTo>
                      <a:lnTo>
                        <a:pt x="696" y="992"/>
                      </a:lnTo>
                      <a:lnTo>
                        <a:pt x="702" y="996"/>
                      </a:lnTo>
                      <a:lnTo>
                        <a:pt x="715" y="999"/>
                      </a:lnTo>
                      <a:lnTo>
                        <a:pt x="719" y="1002"/>
                      </a:lnTo>
                      <a:lnTo>
                        <a:pt x="721" y="1005"/>
                      </a:lnTo>
                      <a:lnTo>
                        <a:pt x="723" y="1009"/>
                      </a:lnTo>
                      <a:lnTo>
                        <a:pt x="723" y="1014"/>
                      </a:lnTo>
                      <a:lnTo>
                        <a:pt x="723" y="1022"/>
                      </a:lnTo>
                      <a:lnTo>
                        <a:pt x="735" y="1024"/>
                      </a:lnTo>
                      <a:lnTo>
                        <a:pt x="742" y="1026"/>
                      </a:lnTo>
                      <a:lnTo>
                        <a:pt x="749" y="1026"/>
                      </a:lnTo>
                      <a:lnTo>
                        <a:pt x="751" y="1026"/>
                      </a:lnTo>
                      <a:lnTo>
                        <a:pt x="752" y="1024"/>
                      </a:lnTo>
                      <a:lnTo>
                        <a:pt x="754" y="1021"/>
                      </a:lnTo>
                      <a:lnTo>
                        <a:pt x="756" y="1017"/>
                      </a:lnTo>
                      <a:lnTo>
                        <a:pt x="758" y="1014"/>
                      </a:lnTo>
                      <a:lnTo>
                        <a:pt x="761" y="1013"/>
                      </a:lnTo>
                      <a:lnTo>
                        <a:pt x="762" y="1013"/>
                      </a:lnTo>
                      <a:lnTo>
                        <a:pt x="765" y="1013"/>
                      </a:lnTo>
                      <a:lnTo>
                        <a:pt x="767" y="1013"/>
                      </a:lnTo>
                      <a:lnTo>
                        <a:pt x="770" y="1008"/>
                      </a:lnTo>
                      <a:lnTo>
                        <a:pt x="772" y="1004"/>
                      </a:lnTo>
                      <a:lnTo>
                        <a:pt x="776" y="995"/>
                      </a:lnTo>
                      <a:lnTo>
                        <a:pt x="777" y="992"/>
                      </a:lnTo>
                      <a:lnTo>
                        <a:pt x="781" y="991"/>
                      </a:lnTo>
                      <a:lnTo>
                        <a:pt x="786" y="990"/>
                      </a:lnTo>
                      <a:lnTo>
                        <a:pt x="790" y="989"/>
                      </a:lnTo>
                      <a:lnTo>
                        <a:pt x="794" y="986"/>
                      </a:lnTo>
                      <a:lnTo>
                        <a:pt x="798" y="984"/>
                      </a:lnTo>
                      <a:lnTo>
                        <a:pt x="800" y="983"/>
                      </a:lnTo>
                      <a:lnTo>
                        <a:pt x="803" y="984"/>
                      </a:lnTo>
                      <a:lnTo>
                        <a:pt x="804" y="985"/>
                      </a:lnTo>
                      <a:lnTo>
                        <a:pt x="806" y="986"/>
                      </a:lnTo>
                      <a:lnTo>
                        <a:pt x="813" y="986"/>
                      </a:lnTo>
                      <a:lnTo>
                        <a:pt x="818" y="986"/>
                      </a:lnTo>
                      <a:lnTo>
                        <a:pt x="823" y="989"/>
                      </a:lnTo>
                      <a:lnTo>
                        <a:pt x="828" y="992"/>
                      </a:lnTo>
                      <a:lnTo>
                        <a:pt x="829" y="992"/>
                      </a:lnTo>
                      <a:lnTo>
                        <a:pt x="832" y="994"/>
                      </a:lnTo>
                      <a:lnTo>
                        <a:pt x="847" y="991"/>
                      </a:lnTo>
                      <a:lnTo>
                        <a:pt x="850" y="990"/>
                      </a:lnTo>
                      <a:lnTo>
                        <a:pt x="853" y="990"/>
                      </a:lnTo>
                      <a:lnTo>
                        <a:pt x="859" y="990"/>
                      </a:lnTo>
                      <a:lnTo>
                        <a:pt x="864" y="989"/>
                      </a:lnTo>
                      <a:lnTo>
                        <a:pt x="869" y="986"/>
                      </a:lnTo>
                      <a:lnTo>
                        <a:pt x="874" y="983"/>
                      </a:lnTo>
                      <a:lnTo>
                        <a:pt x="880" y="976"/>
                      </a:lnTo>
                      <a:lnTo>
                        <a:pt x="885" y="966"/>
                      </a:lnTo>
                      <a:lnTo>
                        <a:pt x="893" y="962"/>
                      </a:lnTo>
                      <a:lnTo>
                        <a:pt x="897" y="959"/>
                      </a:lnTo>
                      <a:lnTo>
                        <a:pt x="898" y="959"/>
                      </a:lnTo>
                      <a:lnTo>
                        <a:pt x="899" y="960"/>
                      </a:lnTo>
                      <a:lnTo>
                        <a:pt x="899" y="964"/>
                      </a:lnTo>
                      <a:lnTo>
                        <a:pt x="897" y="967"/>
                      </a:lnTo>
                      <a:lnTo>
                        <a:pt x="895" y="971"/>
                      </a:lnTo>
                      <a:lnTo>
                        <a:pt x="895" y="972"/>
                      </a:lnTo>
                      <a:lnTo>
                        <a:pt x="897" y="973"/>
                      </a:lnTo>
                      <a:lnTo>
                        <a:pt x="900" y="975"/>
                      </a:lnTo>
                      <a:lnTo>
                        <a:pt x="903" y="976"/>
                      </a:lnTo>
                      <a:lnTo>
                        <a:pt x="904" y="978"/>
                      </a:lnTo>
                      <a:lnTo>
                        <a:pt x="904" y="982"/>
                      </a:lnTo>
                      <a:lnTo>
                        <a:pt x="906" y="988"/>
                      </a:lnTo>
                      <a:lnTo>
                        <a:pt x="906" y="992"/>
                      </a:lnTo>
                      <a:lnTo>
                        <a:pt x="906" y="995"/>
                      </a:lnTo>
                      <a:lnTo>
                        <a:pt x="908" y="995"/>
                      </a:lnTo>
                      <a:lnTo>
                        <a:pt x="912" y="994"/>
                      </a:lnTo>
                      <a:lnTo>
                        <a:pt x="917" y="991"/>
                      </a:lnTo>
                      <a:lnTo>
                        <a:pt x="919" y="991"/>
                      </a:lnTo>
                      <a:lnTo>
                        <a:pt x="922" y="991"/>
                      </a:lnTo>
                      <a:lnTo>
                        <a:pt x="932" y="989"/>
                      </a:lnTo>
                      <a:lnTo>
                        <a:pt x="939" y="988"/>
                      </a:lnTo>
                      <a:lnTo>
                        <a:pt x="946" y="986"/>
                      </a:lnTo>
                      <a:lnTo>
                        <a:pt x="950" y="986"/>
                      </a:lnTo>
                      <a:lnTo>
                        <a:pt x="953" y="985"/>
                      </a:lnTo>
                      <a:lnTo>
                        <a:pt x="953" y="984"/>
                      </a:lnTo>
                      <a:lnTo>
                        <a:pt x="953" y="983"/>
                      </a:lnTo>
                      <a:lnTo>
                        <a:pt x="949" y="977"/>
                      </a:lnTo>
                      <a:lnTo>
                        <a:pt x="947" y="973"/>
                      </a:lnTo>
                      <a:lnTo>
                        <a:pt x="947" y="971"/>
                      </a:lnTo>
                      <a:lnTo>
                        <a:pt x="951" y="966"/>
                      </a:lnTo>
                      <a:lnTo>
                        <a:pt x="951" y="965"/>
                      </a:lnTo>
                      <a:lnTo>
                        <a:pt x="951" y="963"/>
                      </a:lnTo>
                      <a:lnTo>
                        <a:pt x="949" y="960"/>
                      </a:lnTo>
                      <a:lnTo>
                        <a:pt x="946" y="958"/>
                      </a:lnTo>
                      <a:lnTo>
                        <a:pt x="942" y="958"/>
                      </a:lnTo>
                      <a:lnTo>
                        <a:pt x="940" y="959"/>
                      </a:lnTo>
                      <a:lnTo>
                        <a:pt x="937" y="960"/>
                      </a:lnTo>
                      <a:lnTo>
                        <a:pt x="935" y="960"/>
                      </a:lnTo>
                      <a:lnTo>
                        <a:pt x="932" y="957"/>
                      </a:lnTo>
                      <a:lnTo>
                        <a:pt x="930" y="953"/>
                      </a:lnTo>
                      <a:lnTo>
                        <a:pt x="930" y="950"/>
                      </a:lnTo>
                      <a:lnTo>
                        <a:pt x="930" y="945"/>
                      </a:lnTo>
                      <a:lnTo>
                        <a:pt x="932" y="935"/>
                      </a:lnTo>
                      <a:lnTo>
                        <a:pt x="937" y="927"/>
                      </a:lnTo>
                      <a:lnTo>
                        <a:pt x="939" y="926"/>
                      </a:lnTo>
                      <a:lnTo>
                        <a:pt x="941" y="925"/>
                      </a:lnTo>
                      <a:lnTo>
                        <a:pt x="946" y="924"/>
                      </a:lnTo>
                      <a:lnTo>
                        <a:pt x="953" y="920"/>
                      </a:lnTo>
                      <a:lnTo>
                        <a:pt x="955" y="919"/>
                      </a:lnTo>
                      <a:lnTo>
                        <a:pt x="959" y="918"/>
                      </a:lnTo>
                      <a:lnTo>
                        <a:pt x="960" y="919"/>
                      </a:lnTo>
                      <a:lnTo>
                        <a:pt x="961" y="920"/>
                      </a:lnTo>
                      <a:lnTo>
                        <a:pt x="961" y="922"/>
                      </a:lnTo>
                      <a:lnTo>
                        <a:pt x="963" y="924"/>
                      </a:lnTo>
                      <a:lnTo>
                        <a:pt x="965" y="925"/>
                      </a:lnTo>
                      <a:lnTo>
                        <a:pt x="968" y="925"/>
                      </a:lnTo>
                      <a:lnTo>
                        <a:pt x="972" y="924"/>
                      </a:lnTo>
                      <a:lnTo>
                        <a:pt x="977" y="922"/>
                      </a:lnTo>
                      <a:lnTo>
                        <a:pt x="982" y="920"/>
                      </a:lnTo>
                      <a:lnTo>
                        <a:pt x="982" y="918"/>
                      </a:lnTo>
                      <a:lnTo>
                        <a:pt x="982" y="915"/>
                      </a:lnTo>
                      <a:lnTo>
                        <a:pt x="982" y="913"/>
                      </a:lnTo>
                      <a:lnTo>
                        <a:pt x="982" y="911"/>
                      </a:lnTo>
                      <a:lnTo>
                        <a:pt x="982" y="909"/>
                      </a:lnTo>
                      <a:lnTo>
                        <a:pt x="983" y="908"/>
                      </a:lnTo>
                      <a:lnTo>
                        <a:pt x="994" y="909"/>
                      </a:lnTo>
                      <a:lnTo>
                        <a:pt x="999" y="908"/>
                      </a:lnTo>
                      <a:lnTo>
                        <a:pt x="1003" y="906"/>
                      </a:lnTo>
                      <a:lnTo>
                        <a:pt x="1010" y="900"/>
                      </a:lnTo>
                      <a:lnTo>
                        <a:pt x="1017" y="896"/>
                      </a:lnTo>
                      <a:lnTo>
                        <a:pt x="1025" y="893"/>
                      </a:lnTo>
                      <a:lnTo>
                        <a:pt x="1033" y="890"/>
                      </a:lnTo>
                      <a:lnTo>
                        <a:pt x="1036" y="889"/>
                      </a:lnTo>
                      <a:lnTo>
                        <a:pt x="1040" y="887"/>
                      </a:lnTo>
                      <a:lnTo>
                        <a:pt x="1041" y="883"/>
                      </a:lnTo>
                      <a:lnTo>
                        <a:pt x="1043" y="879"/>
                      </a:lnTo>
                      <a:lnTo>
                        <a:pt x="1043" y="876"/>
                      </a:lnTo>
                      <a:lnTo>
                        <a:pt x="1040" y="874"/>
                      </a:lnTo>
                      <a:lnTo>
                        <a:pt x="1039" y="873"/>
                      </a:lnTo>
                      <a:lnTo>
                        <a:pt x="1039" y="870"/>
                      </a:lnTo>
                      <a:lnTo>
                        <a:pt x="1049" y="856"/>
                      </a:lnTo>
                      <a:lnTo>
                        <a:pt x="1052" y="852"/>
                      </a:lnTo>
                      <a:lnTo>
                        <a:pt x="1053" y="848"/>
                      </a:lnTo>
                      <a:lnTo>
                        <a:pt x="1053" y="844"/>
                      </a:lnTo>
                      <a:lnTo>
                        <a:pt x="1052" y="839"/>
                      </a:lnTo>
                      <a:lnTo>
                        <a:pt x="1050" y="837"/>
                      </a:lnTo>
                      <a:lnTo>
                        <a:pt x="1048" y="836"/>
                      </a:lnTo>
                      <a:lnTo>
                        <a:pt x="1046" y="834"/>
                      </a:lnTo>
                      <a:lnTo>
                        <a:pt x="1045" y="831"/>
                      </a:lnTo>
                      <a:lnTo>
                        <a:pt x="1044" y="828"/>
                      </a:lnTo>
                      <a:lnTo>
                        <a:pt x="1041" y="824"/>
                      </a:lnTo>
                      <a:lnTo>
                        <a:pt x="1040" y="820"/>
                      </a:lnTo>
                      <a:lnTo>
                        <a:pt x="1039" y="817"/>
                      </a:lnTo>
                      <a:lnTo>
                        <a:pt x="1040" y="815"/>
                      </a:lnTo>
                      <a:lnTo>
                        <a:pt x="1043" y="813"/>
                      </a:lnTo>
                      <a:lnTo>
                        <a:pt x="1067" y="810"/>
                      </a:lnTo>
                      <a:lnTo>
                        <a:pt x="1083" y="807"/>
                      </a:lnTo>
                      <a:lnTo>
                        <a:pt x="1085" y="807"/>
                      </a:lnTo>
                      <a:lnTo>
                        <a:pt x="1086" y="806"/>
                      </a:lnTo>
                      <a:lnTo>
                        <a:pt x="1087" y="805"/>
                      </a:lnTo>
                      <a:lnTo>
                        <a:pt x="1087" y="804"/>
                      </a:lnTo>
                      <a:lnTo>
                        <a:pt x="1086" y="801"/>
                      </a:lnTo>
                      <a:lnTo>
                        <a:pt x="1083" y="799"/>
                      </a:lnTo>
                      <a:lnTo>
                        <a:pt x="1082" y="797"/>
                      </a:lnTo>
                      <a:lnTo>
                        <a:pt x="1082" y="788"/>
                      </a:lnTo>
                      <a:lnTo>
                        <a:pt x="1082" y="780"/>
                      </a:lnTo>
                      <a:lnTo>
                        <a:pt x="1083" y="777"/>
                      </a:lnTo>
                      <a:lnTo>
                        <a:pt x="1086" y="773"/>
                      </a:lnTo>
                      <a:lnTo>
                        <a:pt x="1088" y="771"/>
                      </a:lnTo>
                      <a:lnTo>
                        <a:pt x="1093" y="771"/>
                      </a:lnTo>
                      <a:lnTo>
                        <a:pt x="1107" y="771"/>
                      </a:lnTo>
                      <a:lnTo>
                        <a:pt x="1114" y="769"/>
                      </a:lnTo>
                      <a:lnTo>
                        <a:pt x="1121" y="768"/>
                      </a:lnTo>
                      <a:lnTo>
                        <a:pt x="1125" y="767"/>
                      </a:lnTo>
                      <a:lnTo>
                        <a:pt x="1128" y="765"/>
                      </a:lnTo>
                      <a:lnTo>
                        <a:pt x="1129" y="761"/>
                      </a:lnTo>
                      <a:lnTo>
                        <a:pt x="1130" y="758"/>
                      </a:lnTo>
                      <a:lnTo>
                        <a:pt x="1130" y="749"/>
                      </a:lnTo>
                      <a:lnTo>
                        <a:pt x="1130" y="746"/>
                      </a:lnTo>
                      <a:lnTo>
                        <a:pt x="1132" y="741"/>
                      </a:lnTo>
                      <a:lnTo>
                        <a:pt x="1133" y="740"/>
                      </a:lnTo>
                      <a:lnTo>
                        <a:pt x="1134" y="737"/>
                      </a:lnTo>
                      <a:lnTo>
                        <a:pt x="1147" y="732"/>
                      </a:lnTo>
                      <a:lnTo>
                        <a:pt x="1154" y="727"/>
                      </a:lnTo>
                      <a:lnTo>
                        <a:pt x="1161" y="722"/>
                      </a:lnTo>
                      <a:lnTo>
                        <a:pt x="1163" y="721"/>
                      </a:lnTo>
                      <a:lnTo>
                        <a:pt x="1166" y="720"/>
                      </a:lnTo>
                      <a:lnTo>
                        <a:pt x="1170" y="719"/>
                      </a:lnTo>
                      <a:lnTo>
                        <a:pt x="1172" y="717"/>
                      </a:lnTo>
                      <a:lnTo>
                        <a:pt x="1177" y="714"/>
                      </a:lnTo>
                      <a:lnTo>
                        <a:pt x="1184" y="710"/>
                      </a:lnTo>
                      <a:lnTo>
                        <a:pt x="1190" y="709"/>
                      </a:lnTo>
                      <a:lnTo>
                        <a:pt x="1198" y="708"/>
                      </a:lnTo>
                      <a:lnTo>
                        <a:pt x="1206" y="707"/>
                      </a:lnTo>
                      <a:lnTo>
                        <a:pt x="1208" y="707"/>
                      </a:lnTo>
                      <a:lnTo>
                        <a:pt x="1209" y="705"/>
                      </a:lnTo>
                      <a:lnTo>
                        <a:pt x="1209" y="702"/>
                      </a:lnTo>
                      <a:lnTo>
                        <a:pt x="1205" y="696"/>
                      </a:lnTo>
                      <a:lnTo>
                        <a:pt x="1204" y="694"/>
                      </a:lnTo>
                      <a:lnTo>
                        <a:pt x="1204" y="692"/>
                      </a:lnTo>
                      <a:lnTo>
                        <a:pt x="1210" y="689"/>
                      </a:lnTo>
                      <a:lnTo>
                        <a:pt x="1215" y="686"/>
                      </a:lnTo>
                      <a:lnTo>
                        <a:pt x="1222" y="684"/>
                      </a:lnTo>
                      <a:lnTo>
                        <a:pt x="1227" y="681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4" name="Freeform 1164">
                  <a:extLst>
                    <a:ext uri="{FF2B5EF4-FFF2-40B4-BE49-F238E27FC236}">
                      <a16:creationId xmlns:a16="http://schemas.microsoft.com/office/drawing/2014/main" id="{E63555D1-35ED-9142-AE9C-4EE2BAD3F2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41819" y="1936837"/>
                  <a:ext cx="2341158" cy="1376281"/>
                </a:xfrm>
                <a:custGeom>
                  <a:avLst/>
                  <a:gdLst>
                    <a:gd name="T0" fmla="*/ 2147483647 w 1714"/>
                    <a:gd name="T1" fmla="*/ 2147483647 h 930"/>
                    <a:gd name="T2" fmla="*/ 2147483647 w 1714"/>
                    <a:gd name="T3" fmla="*/ 2147483647 h 930"/>
                    <a:gd name="T4" fmla="*/ 2147483647 w 1714"/>
                    <a:gd name="T5" fmla="*/ 2147483647 h 930"/>
                    <a:gd name="T6" fmla="*/ 2147483647 w 1714"/>
                    <a:gd name="T7" fmla="*/ 2147483647 h 930"/>
                    <a:gd name="T8" fmla="*/ 2147483647 w 1714"/>
                    <a:gd name="T9" fmla="*/ 2147483647 h 930"/>
                    <a:gd name="T10" fmla="*/ 2147483647 w 1714"/>
                    <a:gd name="T11" fmla="*/ 2147483647 h 930"/>
                    <a:gd name="T12" fmla="*/ 2147483647 w 1714"/>
                    <a:gd name="T13" fmla="*/ 2147483647 h 930"/>
                    <a:gd name="T14" fmla="*/ 2147483647 w 1714"/>
                    <a:gd name="T15" fmla="*/ 2147483647 h 930"/>
                    <a:gd name="T16" fmla="*/ 2147483647 w 1714"/>
                    <a:gd name="T17" fmla="*/ 2147483647 h 930"/>
                    <a:gd name="T18" fmla="*/ 2147483647 w 1714"/>
                    <a:gd name="T19" fmla="*/ 2147483647 h 930"/>
                    <a:gd name="T20" fmla="*/ 2147483647 w 1714"/>
                    <a:gd name="T21" fmla="*/ 2147483647 h 930"/>
                    <a:gd name="T22" fmla="*/ 2147483647 w 1714"/>
                    <a:gd name="T23" fmla="*/ 2147483647 h 930"/>
                    <a:gd name="T24" fmla="*/ 2147483647 w 1714"/>
                    <a:gd name="T25" fmla="*/ 2147483647 h 930"/>
                    <a:gd name="T26" fmla="*/ 2147483647 w 1714"/>
                    <a:gd name="T27" fmla="*/ 2147483647 h 930"/>
                    <a:gd name="T28" fmla="*/ 2147483647 w 1714"/>
                    <a:gd name="T29" fmla="*/ 2147483647 h 930"/>
                    <a:gd name="T30" fmla="*/ 2147483647 w 1714"/>
                    <a:gd name="T31" fmla="*/ 2147483647 h 930"/>
                    <a:gd name="T32" fmla="*/ 2147483647 w 1714"/>
                    <a:gd name="T33" fmla="*/ 2147483647 h 930"/>
                    <a:gd name="T34" fmla="*/ 2147483647 w 1714"/>
                    <a:gd name="T35" fmla="*/ 2147483647 h 930"/>
                    <a:gd name="T36" fmla="*/ 2147483647 w 1714"/>
                    <a:gd name="T37" fmla="*/ 2147483647 h 930"/>
                    <a:gd name="T38" fmla="*/ 2147483647 w 1714"/>
                    <a:gd name="T39" fmla="*/ 2147483647 h 930"/>
                    <a:gd name="T40" fmla="*/ 2147483647 w 1714"/>
                    <a:gd name="T41" fmla="*/ 2147483647 h 930"/>
                    <a:gd name="T42" fmla="*/ 2147483647 w 1714"/>
                    <a:gd name="T43" fmla="*/ 2147483647 h 930"/>
                    <a:gd name="T44" fmla="*/ 2147483647 w 1714"/>
                    <a:gd name="T45" fmla="*/ 2147483647 h 930"/>
                    <a:gd name="T46" fmla="*/ 2147483647 w 1714"/>
                    <a:gd name="T47" fmla="*/ 2147483647 h 930"/>
                    <a:gd name="T48" fmla="*/ 2147483647 w 1714"/>
                    <a:gd name="T49" fmla="*/ 2147483647 h 930"/>
                    <a:gd name="T50" fmla="*/ 2147483647 w 1714"/>
                    <a:gd name="T51" fmla="*/ 2147483647 h 930"/>
                    <a:gd name="T52" fmla="*/ 2147483647 w 1714"/>
                    <a:gd name="T53" fmla="*/ 2147483647 h 930"/>
                    <a:gd name="T54" fmla="*/ 2147483647 w 1714"/>
                    <a:gd name="T55" fmla="*/ 2147483647 h 930"/>
                    <a:gd name="T56" fmla="*/ 2147483647 w 1714"/>
                    <a:gd name="T57" fmla="*/ 2147483647 h 930"/>
                    <a:gd name="T58" fmla="*/ 2147483647 w 1714"/>
                    <a:gd name="T59" fmla="*/ 2147483647 h 930"/>
                    <a:gd name="T60" fmla="*/ 2147483647 w 1714"/>
                    <a:gd name="T61" fmla="*/ 2147483647 h 930"/>
                    <a:gd name="T62" fmla="*/ 2147483647 w 1714"/>
                    <a:gd name="T63" fmla="*/ 2147483647 h 930"/>
                    <a:gd name="T64" fmla="*/ 2147483647 w 1714"/>
                    <a:gd name="T65" fmla="*/ 2147483647 h 930"/>
                    <a:gd name="T66" fmla="*/ 2147483647 w 1714"/>
                    <a:gd name="T67" fmla="*/ 2147483647 h 930"/>
                    <a:gd name="T68" fmla="*/ 2147483647 w 1714"/>
                    <a:gd name="T69" fmla="*/ 2147483647 h 930"/>
                    <a:gd name="T70" fmla="*/ 2147483647 w 1714"/>
                    <a:gd name="T71" fmla="*/ 2147483647 h 930"/>
                    <a:gd name="T72" fmla="*/ 2147483647 w 1714"/>
                    <a:gd name="T73" fmla="*/ 2147483647 h 930"/>
                    <a:gd name="T74" fmla="*/ 2147483647 w 1714"/>
                    <a:gd name="T75" fmla="*/ 2147483647 h 930"/>
                    <a:gd name="T76" fmla="*/ 2147483647 w 1714"/>
                    <a:gd name="T77" fmla="*/ 2147483647 h 930"/>
                    <a:gd name="T78" fmla="*/ 2147483647 w 1714"/>
                    <a:gd name="T79" fmla="*/ 2147483647 h 930"/>
                    <a:gd name="T80" fmla="*/ 2147483647 w 1714"/>
                    <a:gd name="T81" fmla="*/ 2147483647 h 930"/>
                    <a:gd name="T82" fmla="*/ 2147483647 w 1714"/>
                    <a:gd name="T83" fmla="*/ 2147483647 h 930"/>
                    <a:gd name="T84" fmla="*/ 2147483647 w 1714"/>
                    <a:gd name="T85" fmla="*/ 2147483647 h 930"/>
                    <a:gd name="T86" fmla="*/ 2147483647 w 1714"/>
                    <a:gd name="T87" fmla="*/ 2147483647 h 930"/>
                    <a:gd name="T88" fmla="*/ 2147483647 w 1714"/>
                    <a:gd name="T89" fmla="*/ 2147483647 h 930"/>
                    <a:gd name="T90" fmla="*/ 2147483647 w 1714"/>
                    <a:gd name="T91" fmla="*/ 2147483647 h 930"/>
                    <a:gd name="T92" fmla="*/ 2147483647 w 1714"/>
                    <a:gd name="T93" fmla="*/ 2147483647 h 930"/>
                    <a:gd name="T94" fmla="*/ 2147483647 w 1714"/>
                    <a:gd name="T95" fmla="*/ 2147483647 h 930"/>
                    <a:gd name="T96" fmla="*/ 2147483647 w 1714"/>
                    <a:gd name="T97" fmla="*/ 2147483647 h 930"/>
                    <a:gd name="T98" fmla="*/ 2147483647 w 1714"/>
                    <a:gd name="T99" fmla="*/ 2147483647 h 930"/>
                    <a:gd name="T100" fmla="*/ 2147483647 w 1714"/>
                    <a:gd name="T101" fmla="*/ 2147483647 h 930"/>
                    <a:gd name="T102" fmla="*/ 2147483647 w 1714"/>
                    <a:gd name="T103" fmla="*/ 2147483647 h 930"/>
                    <a:gd name="T104" fmla="*/ 2147483647 w 1714"/>
                    <a:gd name="T105" fmla="*/ 2147483647 h 930"/>
                    <a:gd name="T106" fmla="*/ 2147483647 w 1714"/>
                    <a:gd name="T107" fmla="*/ 2147483647 h 930"/>
                    <a:gd name="T108" fmla="*/ 2147483647 w 1714"/>
                    <a:gd name="T109" fmla="*/ 2147483647 h 930"/>
                    <a:gd name="T110" fmla="*/ 2147483647 w 1714"/>
                    <a:gd name="T111" fmla="*/ 2147483647 h 930"/>
                    <a:gd name="T112" fmla="*/ 2147483647 w 1714"/>
                    <a:gd name="T113" fmla="*/ 2147483647 h 930"/>
                    <a:gd name="T114" fmla="*/ 2147483647 w 1714"/>
                    <a:gd name="T115" fmla="*/ 2147483647 h 930"/>
                    <a:gd name="T116" fmla="*/ 2147483647 w 1714"/>
                    <a:gd name="T117" fmla="*/ 2147483647 h 930"/>
                    <a:gd name="T118" fmla="*/ 2147483647 w 1714"/>
                    <a:gd name="T119" fmla="*/ 2147483647 h 93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714"/>
                    <a:gd name="T181" fmla="*/ 0 h 930"/>
                    <a:gd name="T182" fmla="*/ 1714 w 1714"/>
                    <a:gd name="T183" fmla="*/ 930 h 93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714" h="930">
                      <a:moveTo>
                        <a:pt x="11" y="746"/>
                      </a:moveTo>
                      <a:lnTo>
                        <a:pt x="15" y="743"/>
                      </a:lnTo>
                      <a:lnTo>
                        <a:pt x="20" y="741"/>
                      </a:lnTo>
                      <a:lnTo>
                        <a:pt x="25" y="741"/>
                      </a:lnTo>
                      <a:lnTo>
                        <a:pt x="30" y="741"/>
                      </a:lnTo>
                      <a:lnTo>
                        <a:pt x="40" y="741"/>
                      </a:lnTo>
                      <a:lnTo>
                        <a:pt x="52" y="743"/>
                      </a:lnTo>
                      <a:lnTo>
                        <a:pt x="53" y="742"/>
                      </a:lnTo>
                      <a:lnTo>
                        <a:pt x="54" y="740"/>
                      </a:lnTo>
                      <a:lnTo>
                        <a:pt x="56" y="739"/>
                      </a:lnTo>
                      <a:lnTo>
                        <a:pt x="58" y="737"/>
                      </a:lnTo>
                      <a:lnTo>
                        <a:pt x="61" y="739"/>
                      </a:lnTo>
                      <a:lnTo>
                        <a:pt x="63" y="740"/>
                      </a:lnTo>
                      <a:lnTo>
                        <a:pt x="64" y="742"/>
                      </a:lnTo>
                      <a:lnTo>
                        <a:pt x="66" y="743"/>
                      </a:lnTo>
                      <a:lnTo>
                        <a:pt x="72" y="746"/>
                      </a:lnTo>
                      <a:lnTo>
                        <a:pt x="76" y="749"/>
                      </a:lnTo>
                      <a:lnTo>
                        <a:pt x="81" y="753"/>
                      </a:lnTo>
                      <a:lnTo>
                        <a:pt x="85" y="756"/>
                      </a:lnTo>
                      <a:lnTo>
                        <a:pt x="89" y="756"/>
                      </a:lnTo>
                      <a:lnTo>
                        <a:pt x="91" y="756"/>
                      </a:lnTo>
                      <a:lnTo>
                        <a:pt x="97" y="755"/>
                      </a:lnTo>
                      <a:lnTo>
                        <a:pt x="101" y="755"/>
                      </a:lnTo>
                      <a:lnTo>
                        <a:pt x="105" y="756"/>
                      </a:lnTo>
                      <a:lnTo>
                        <a:pt x="109" y="758"/>
                      </a:lnTo>
                      <a:lnTo>
                        <a:pt x="111" y="759"/>
                      </a:lnTo>
                      <a:lnTo>
                        <a:pt x="127" y="758"/>
                      </a:lnTo>
                      <a:lnTo>
                        <a:pt x="134" y="756"/>
                      </a:lnTo>
                      <a:lnTo>
                        <a:pt x="142" y="758"/>
                      </a:lnTo>
                      <a:lnTo>
                        <a:pt x="144" y="756"/>
                      </a:lnTo>
                      <a:lnTo>
                        <a:pt x="147" y="755"/>
                      </a:lnTo>
                      <a:lnTo>
                        <a:pt x="148" y="752"/>
                      </a:lnTo>
                      <a:lnTo>
                        <a:pt x="148" y="748"/>
                      </a:lnTo>
                      <a:lnTo>
                        <a:pt x="143" y="742"/>
                      </a:lnTo>
                      <a:lnTo>
                        <a:pt x="139" y="735"/>
                      </a:lnTo>
                      <a:lnTo>
                        <a:pt x="138" y="729"/>
                      </a:lnTo>
                      <a:lnTo>
                        <a:pt x="138" y="726"/>
                      </a:lnTo>
                      <a:lnTo>
                        <a:pt x="139" y="723"/>
                      </a:lnTo>
                      <a:lnTo>
                        <a:pt x="143" y="720"/>
                      </a:lnTo>
                      <a:lnTo>
                        <a:pt x="148" y="717"/>
                      </a:lnTo>
                      <a:lnTo>
                        <a:pt x="160" y="711"/>
                      </a:lnTo>
                      <a:lnTo>
                        <a:pt x="162" y="710"/>
                      </a:lnTo>
                      <a:lnTo>
                        <a:pt x="166" y="710"/>
                      </a:lnTo>
                      <a:lnTo>
                        <a:pt x="174" y="711"/>
                      </a:lnTo>
                      <a:lnTo>
                        <a:pt x="181" y="714"/>
                      </a:lnTo>
                      <a:lnTo>
                        <a:pt x="189" y="715"/>
                      </a:lnTo>
                      <a:lnTo>
                        <a:pt x="190" y="716"/>
                      </a:lnTo>
                      <a:lnTo>
                        <a:pt x="193" y="718"/>
                      </a:lnTo>
                      <a:lnTo>
                        <a:pt x="194" y="721"/>
                      </a:lnTo>
                      <a:lnTo>
                        <a:pt x="198" y="722"/>
                      </a:lnTo>
                      <a:lnTo>
                        <a:pt x="198" y="724"/>
                      </a:lnTo>
                      <a:lnTo>
                        <a:pt x="204" y="726"/>
                      </a:lnTo>
                      <a:lnTo>
                        <a:pt x="205" y="728"/>
                      </a:lnTo>
                      <a:lnTo>
                        <a:pt x="207" y="730"/>
                      </a:lnTo>
                      <a:lnTo>
                        <a:pt x="209" y="736"/>
                      </a:lnTo>
                      <a:lnTo>
                        <a:pt x="212" y="742"/>
                      </a:lnTo>
                      <a:lnTo>
                        <a:pt x="216" y="747"/>
                      </a:lnTo>
                      <a:lnTo>
                        <a:pt x="219" y="752"/>
                      </a:lnTo>
                      <a:lnTo>
                        <a:pt x="227" y="756"/>
                      </a:lnTo>
                      <a:lnTo>
                        <a:pt x="233" y="759"/>
                      </a:lnTo>
                      <a:lnTo>
                        <a:pt x="241" y="760"/>
                      </a:lnTo>
                      <a:lnTo>
                        <a:pt x="247" y="759"/>
                      </a:lnTo>
                      <a:lnTo>
                        <a:pt x="251" y="756"/>
                      </a:lnTo>
                      <a:lnTo>
                        <a:pt x="254" y="754"/>
                      </a:lnTo>
                      <a:lnTo>
                        <a:pt x="259" y="752"/>
                      </a:lnTo>
                      <a:lnTo>
                        <a:pt x="261" y="750"/>
                      </a:lnTo>
                      <a:lnTo>
                        <a:pt x="265" y="752"/>
                      </a:lnTo>
                      <a:lnTo>
                        <a:pt x="279" y="758"/>
                      </a:lnTo>
                      <a:lnTo>
                        <a:pt x="283" y="759"/>
                      </a:lnTo>
                      <a:lnTo>
                        <a:pt x="287" y="759"/>
                      </a:lnTo>
                      <a:lnTo>
                        <a:pt x="290" y="759"/>
                      </a:lnTo>
                      <a:lnTo>
                        <a:pt x="294" y="759"/>
                      </a:lnTo>
                      <a:lnTo>
                        <a:pt x="297" y="759"/>
                      </a:lnTo>
                      <a:lnTo>
                        <a:pt x="298" y="761"/>
                      </a:lnTo>
                      <a:lnTo>
                        <a:pt x="299" y="765"/>
                      </a:lnTo>
                      <a:lnTo>
                        <a:pt x="303" y="769"/>
                      </a:lnTo>
                      <a:lnTo>
                        <a:pt x="304" y="773"/>
                      </a:lnTo>
                      <a:lnTo>
                        <a:pt x="307" y="774"/>
                      </a:lnTo>
                      <a:lnTo>
                        <a:pt x="311" y="774"/>
                      </a:lnTo>
                      <a:lnTo>
                        <a:pt x="313" y="774"/>
                      </a:lnTo>
                      <a:lnTo>
                        <a:pt x="317" y="773"/>
                      </a:lnTo>
                      <a:lnTo>
                        <a:pt x="320" y="773"/>
                      </a:lnTo>
                      <a:lnTo>
                        <a:pt x="334" y="775"/>
                      </a:lnTo>
                      <a:lnTo>
                        <a:pt x="346" y="775"/>
                      </a:lnTo>
                      <a:lnTo>
                        <a:pt x="353" y="774"/>
                      </a:lnTo>
                      <a:lnTo>
                        <a:pt x="359" y="773"/>
                      </a:lnTo>
                      <a:lnTo>
                        <a:pt x="365" y="771"/>
                      </a:lnTo>
                      <a:lnTo>
                        <a:pt x="372" y="766"/>
                      </a:lnTo>
                      <a:lnTo>
                        <a:pt x="378" y="762"/>
                      </a:lnTo>
                      <a:lnTo>
                        <a:pt x="384" y="760"/>
                      </a:lnTo>
                      <a:lnTo>
                        <a:pt x="400" y="756"/>
                      </a:lnTo>
                      <a:lnTo>
                        <a:pt x="403" y="755"/>
                      </a:lnTo>
                      <a:lnTo>
                        <a:pt x="409" y="755"/>
                      </a:lnTo>
                      <a:lnTo>
                        <a:pt x="417" y="756"/>
                      </a:lnTo>
                      <a:lnTo>
                        <a:pt x="425" y="759"/>
                      </a:lnTo>
                      <a:lnTo>
                        <a:pt x="429" y="759"/>
                      </a:lnTo>
                      <a:lnTo>
                        <a:pt x="433" y="758"/>
                      </a:lnTo>
                      <a:lnTo>
                        <a:pt x="438" y="758"/>
                      </a:lnTo>
                      <a:lnTo>
                        <a:pt x="443" y="759"/>
                      </a:lnTo>
                      <a:lnTo>
                        <a:pt x="448" y="761"/>
                      </a:lnTo>
                      <a:lnTo>
                        <a:pt x="453" y="765"/>
                      </a:lnTo>
                      <a:lnTo>
                        <a:pt x="458" y="767"/>
                      </a:lnTo>
                      <a:lnTo>
                        <a:pt x="463" y="768"/>
                      </a:lnTo>
                      <a:lnTo>
                        <a:pt x="467" y="767"/>
                      </a:lnTo>
                      <a:lnTo>
                        <a:pt x="471" y="766"/>
                      </a:lnTo>
                      <a:lnTo>
                        <a:pt x="475" y="764"/>
                      </a:lnTo>
                      <a:lnTo>
                        <a:pt x="482" y="758"/>
                      </a:lnTo>
                      <a:lnTo>
                        <a:pt x="489" y="749"/>
                      </a:lnTo>
                      <a:lnTo>
                        <a:pt x="494" y="740"/>
                      </a:lnTo>
                      <a:lnTo>
                        <a:pt x="504" y="723"/>
                      </a:lnTo>
                      <a:lnTo>
                        <a:pt x="513" y="709"/>
                      </a:lnTo>
                      <a:lnTo>
                        <a:pt x="518" y="702"/>
                      </a:lnTo>
                      <a:lnTo>
                        <a:pt x="519" y="695"/>
                      </a:lnTo>
                      <a:lnTo>
                        <a:pt x="519" y="692"/>
                      </a:lnTo>
                      <a:lnTo>
                        <a:pt x="518" y="692"/>
                      </a:lnTo>
                      <a:lnTo>
                        <a:pt x="514" y="692"/>
                      </a:lnTo>
                      <a:lnTo>
                        <a:pt x="510" y="692"/>
                      </a:lnTo>
                      <a:lnTo>
                        <a:pt x="505" y="692"/>
                      </a:lnTo>
                      <a:lnTo>
                        <a:pt x="511" y="682"/>
                      </a:lnTo>
                      <a:lnTo>
                        <a:pt x="516" y="677"/>
                      </a:lnTo>
                      <a:lnTo>
                        <a:pt x="523" y="675"/>
                      </a:lnTo>
                      <a:lnTo>
                        <a:pt x="532" y="672"/>
                      </a:lnTo>
                      <a:lnTo>
                        <a:pt x="542" y="672"/>
                      </a:lnTo>
                      <a:lnTo>
                        <a:pt x="553" y="672"/>
                      </a:lnTo>
                      <a:lnTo>
                        <a:pt x="565" y="673"/>
                      </a:lnTo>
                      <a:lnTo>
                        <a:pt x="585" y="677"/>
                      </a:lnTo>
                      <a:lnTo>
                        <a:pt x="594" y="679"/>
                      </a:lnTo>
                      <a:lnTo>
                        <a:pt x="602" y="683"/>
                      </a:lnTo>
                      <a:lnTo>
                        <a:pt x="605" y="683"/>
                      </a:lnTo>
                      <a:lnTo>
                        <a:pt x="607" y="685"/>
                      </a:lnTo>
                      <a:lnTo>
                        <a:pt x="609" y="691"/>
                      </a:lnTo>
                      <a:lnTo>
                        <a:pt x="610" y="698"/>
                      </a:lnTo>
                      <a:lnTo>
                        <a:pt x="613" y="705"/>
                      </a:lnTo>
                      <a:lnTo>
                        <a:pt x="617" y="714"/>
                      </a:lnTo>
                      <a:lnTo>
                        <a:pt x="621" y="722"/>
                      </a:lnTo>
                      <a:lnTo>
                        <a:pt x="626" y="730"/>
                      </a:lnTo>
                      <a:lnTo>
                        <a:pt x="628" y="740"/>
                      </a:lnTo>
                      <a:lnTo>
                        <a:pt x="631" y="745"/>
                      </a:lnTo>
                      <a:lnTo>
                        <a:pt x="636" y="749"/>
                      </a:lnTo>
                      <a:lnTo>
                        <a:pt x="638" y="750"/>
                      </a:lnTo>
                      <a:lnTo>
                        <a:pt x="642" y="752"/>
                      </a:lnTo>
                      <a:lnTo>
                        <a:pt x="646" y="752"/>
                      </a:lnTo>
                      <a:lnTo>
                        <a:pt x="649" y="750"/>
                      </a:lnTo>
                      <a:lnTo>
                        <a:pt x="651" y="749"/>
                      </a:lnTo>
                      <a:lnTo>
                        <a:pt x="652" y="750"/>
                      </a:lnTo>
                      <a:lnTo>
                        <a:pt x="654" y="753"/>
                      </a:lnTo>
                      <a:lnTo>
                        <a:pt x="659" y="754"/>
                      </a:lnTo>
                      <a:lnTo>
                        <a:pt x="664" y="755"/>
                      </a:lnTo>
                      <a:lnTo>
                        <a:pt x="673" y="755"/>
                      </a:lnTo>
                      <a:lnTo>
                        <a:pt x="676" y="756"/>
                      </a:lnTo>
                      <a:lnTo>
                        <a:pt x="679" y="759"/>
                      </a:lnTo>
                      <a:lnTo>
                        <a:pt x="679" y="761"/>
                      </a:lnTo>
                      <a:lnTo>
                        <a:pt x="679" y="764"/>
                      </a:lnTo>
                      <a:lnTo>
                        <a:pt x="679" y="766"/>
                      </a:lnTo>
                      <a:lnTo>
                        <a:pt x="680" y="768"/>
                      </a:lnTo>
                      <a:lnTo>
                        <a:pt x="685" y="773"/>
                      </a:lnTo>
                      <a:lnTo>
                        <a:pt x="688" y="779"/>
                      </a:lnTo>
                      <a:lnTo>
                        <a:pt x="689" y="786"/>
                      </a:lnTo>
                      <a:lnTo>
                        <a:pt x="689" y="793"/>
                      </a:lnTo>
                      <a:lnTo>
                        <a:pt x="690" y="800"/>
                      </a:lnTo>
                      <a:lnTo>
                        <a:pt x="692" y="804"/>
                      </a:lnTo>
                      <a:lnTo>
                        <a:pt x="694" y="806"/>
                      </a:lnTo>
                      <a:lnTo>
                        <a:pt x="697" y="809"/>
                      </a:lnTo>
                      <a:lnTo>
                        <a:pt x="702" y="811"/>
                      </a:lnTo>
                      <a:lnTo>
                        <a:pt x="707" y="812"/>
                      </a:lnTo>
                      <a:lnTo>
                        <a:pt x="712" y="812"/>
                      </a:lnTo>
                      <a:lnTo>
                        <a:pt x="715" y="811"/>
                      </a:lnTo>
                      <a:lnTo>
                        <a:pt x="717" y="810"/>
                      </a:lnTo>
                      <a:lnTo>
                        <a:pt x="721" y="806"/>
                      </a:lnTo>
                      <a:lnTo>
                        <a:pt x="727" y="797"/>
                      </a:lnTo>
                      <a:lnTo>
                        <a:pt x="729" y="796"/>
                      </a:lnTo>
                      <a:lnTo>
                        <a:pt x="731" y="793"/>
                      </a:lnTo>
                      <a:lnTo>
                        <a:pt x="739" y="792"/>
                      </a:lnTo>
                      <a:lnTo>
                        <a:pt x="746" y="793"/>
                      </a:lnTo>
                      <a:lnTo>
                        <a:pt x="754" y="794"/>
                      </a:lnTo>
                      <a:lnTo>
                        <a:pt x="755" y="794"/>
                      </a:lnTo>
                      <a:lnTo>
                        <a:pt x="755" y="796"/>
                      </a:lnTo>
                      <a:lnTo>
                        <a:pt x="755" y="799"/>
                      </a:lnTo>
                      <a:lnTo>
                        <a:pt x="753" y="806"/>
                      </a:lnTo>
                      <a:lnTo>
                        <a:pt x="753" y="809"/>
                      </a:lnTo>
                      <a:lnTo>
                        <a:pt x="753" y="811"/>
                      </a:lnTo>
                      <a:lnTo>
                        <a:pt x="756" y="815"/>
                      </a:lnTo>
                      <a:lnTo>
                        <a:pt x="756" y="816"/>
                      </a:lnTo>
                      <a:lnTo>
                        <a:pt x="751" y="820"/>
                      </a:lnTo>
                      <a:lnTo>
                        <a:pt x="746" y="825"/>
                      </a:lnTo>
                      <a:lnTo>
                        <a:pt x="745" y="828"/>
                      </a:lnTo>
                      <a:lnTo>
                        <a:pt x="744" y="831"/>
                      </a:lnTo>
                      <a:lnTo>
                        <a:pt x="744" y="833"/>
                      </a:lnTo>
                      <a:lnTo>
                        <a:pt x="745" y="837"/>
                      </a:lnTo>
                      <a:lnTo>
                        <a:pt x="745" y="838"/>
                      </a:lnTo>
                      <a:lnTo>
                        <a:pt x="745" y="841"/>
                      </a:lnTo>
                      <a:lnTo>
                        <a:pt x="741" y="844"/>
                      </a:lnTo>
                      <a:lnTo>
                        <a:pt x="739" y="850"/>
                      </a:lnTo>
                      <a:lnTo>
                        <a:pt x="736" y="857"/>
                      </a:lnTo>
                      <a:lnTo>
                        <a:pt x="731" y="863"/>
                      </a:lnTo>
                      <a:lnTo>
                        <a:pt x="729" y="864"/>
                      </a:lnTo>
                      <a:lnTo>
                        <a:pt x="725" y="867"/>
                      </a:lnTo>
                      <a:lnTo>
                        <a:pt x="720" y="868"/>
                      </a:lnTo>
                      <a:lnTo>
                        <a:pt x="715" y="867"/>
                      </a:lnTo>
                      <a:lnTo>
                        <a:pt x="704" y="863"/>
                      </a:lnTo>
                      <a:lnTo>
                        <a:pt x="702" y="863"/>
                      </a:lnTo>
                      <a:lnTo>
                        <a:pt x="699" y="863"/>
                      </a:lnTo>
                      <a:lnTo>
                        <a:pt x="697" y="865"/>
                      </a:lnTo>
                      <a:lnTo>
                        <a:pt x="696" y="867"/>
                      </a:lnTo>
                      <a:lnTo>
                        <a:pt x="694" y="871"/>
                      </a:lnTo>
                      <a:lnTo>
                        <a:pt x="693" y="875"/>
                      </a:lnTo>
                      <a:lnTo>
                        <a:pt x="694" y="883"/>
                      </a:lnTo>
                      <a:lnTo>
                        <a:pt x="696" y="890"/>
                      </a:lnTo>
                      <a:lnTo>
                        <a:pt x="699" y="899"/>
                      </a:lnTo>
                      <a:lnTo>
                        <a:pt x="701" y="902"/>
                      </a:lnTo>
                      <a:lnTo>
                        <a:pt x="701" y="906"/>
                      </a:lnTo>
                      <a:lnTo>
                        <a:pt x="701" y="911"/>
                      </a:lnTo>
                      <a:lnTo>
                        <a:pt x="698" y="914"/>
                      </a:lnTo>
                      <a:lnTo>
                        <a:pt x="694" y="921"/>
                      </a:lnTo>
                      <a:lnTo>
                        <a:pt x="689" y="928"/>
                      </a:lnTo>
                      <a:lnTo>
                        <a:pt x="693" y="925"/>
                      </a:lnTo>
                      <a:lnTo>
                        <a:pt x="697" y="922"/>
                      </a:lnTo>
                      <a:lnTo>
                        <a:pt x="704" y="918"/>
                      </a:lnTo>
                      <a:lnTo>
                        <a:pt x="707" y="918"/>
                      </a:lnTo>
                      <a:lnTo>
                        <a:pt x="708" y="919"/>
                      </a:lnTo>
                      <a:lnTo>
                        <a:pt x="709" y="924"/>
                      </a:lnTo>
                      <a:lnTo>
                        <a:pt x="713" y="927"/>
                      </a:lnTo>
                      <a:lnTo>
                        <a:pt x="718" y="930"/>
                      </a:lnTo>
                      <a:lnTo>
                        <a:pt x="723" y="930"/>
                      </a:lnTo>
                      <a:lnTo>
                        <a:pt x="729" y="930"/>
                      </a:lnTo>
                      <a:lnTo>
                        <a:pt x="734" y="930"/>
                      </a:lnTo>
                      <a:lnTo>
                        <a:pt x="744" y="926"/>
                      </a:lnTo>
                      <a:lnTo>
                        <a:pt x="749" y="922"/>
                      </a:lnTo>
                      <a:lnTo>
                        <a:pt x="753" y="920"/>
                      </a:lnTo>
                      <a:lnTo>
                        <a:pt x="758" y="916"/>
                      </a:lnTo>
                      <a:lnTo>
                        <a:pt x="763" y="915"/>
                      </a:lnTo>
                      <a:lnTo>
                        <a:pt x="765" y="915"/>
                      </a:lnTo>
                      <a:lnTo>
                        <a:pt x="767" y="914"/>
                      </a:lnTo>
                      <a:lnTo>
                        <a:pt x="769" y="911"/>
                      </a:lnTo>
                      <a:lnTo>
                        <a:pt x="789" y="883"/>
                      </a:lnTo>
                      <a:lnTo>
                        <a:pt x="800" y="871"/>
                      </a:lnTo>
                      <a:lnTo>
                        <a:pt x="812" y="858"/>
                      </a:lnTo>
                      <a:lnTo>
                        <a:pt x="816" y="854"/>
                      </a:lnTo>
                      <a:lnTo>
                        <a:pt x="819" y="848"/>
                      </a:lnTo>
                      <a:lnTo>
                        <a:pt x="824" y="837"/>
                      </a:lnTo>
                      <a:lnTo>
                        <a:pt x="828" y="828"/>
                      </a:lnTo>
                      <a:lnTo>
                        <a:pt x="833" y="818"/>
                      </a:lnTo>
                      <a:lnTo>
                        <a:pt x="847" y="803"/>
                      </a:lnTo>
                      <a:lnTo>
                        <a:pt x="848" y="798"/>
                      </a:lnTo>
                      <a:lnTo>
                        <a:pt x="849" y="793"/>
                      </a:lnTo>
                      <a:lnTo>
                        <a:pt x="849" y="788"/>
                      </a:lnTo>
                      <a:lnTo>
                        <a:pt x="852" y="784"/>
                      </a:lnTo>
                      <a:lnTo>
                        <a:pt x="857" y="774"/>
                      </a:lnTo>
                      <a:lnTo>
                        <a:pt x="858" y="768"/>
                      </a:lnTo>
                      <a:lnTo>
                        <a:pt x="859" y="765"/>
                      </a:lnTo>
                      <a:lnTo>
                        <a:pt x="854" y="752"/>
                      </a:lnTo>
                      <a:lnTo>
                        <a:pt x="854" y="745"/>
                      </a:lnTo>
                      <a:lnTo>
                        <a:pt x="856" y="739"/>
                      </a:lnTo>
                      <a:lnTo>
                        <a:pt x="858" y="732"/>
                      </a:lnTo>
                      <a:lnTo>
                        <a:pt x="862" y="726"/>
                      </a:lnTo>
                      <a:lnTo>
                        <a:pt x="866" y="718"/>
                      </a:lnTo>
                      <a:lnTo>
                        <a:pt x="869" y="711"/>
                      </a:lnTo>
                      <a:lnTo>
                        <a:pt x="868" y="707"/>
                      </a:lnTo>
                      <a:lnTo>
                        <a:pt x="867" y="702"/>
                      </a:lnTo>
                      <a:lnTo>
                        <a:pt x="866" y="698"/>
                      </a:lnTo>
                      <a:lnTo>
                        <a:pt x="863" y="694"/>
                      </a:lnTo>
                      <a:lnTo>
                        <a:pt x="863" y="691"/>
                      </a:lnTo>
                      <a:lnTo>
                        <a:pt x="864" y="689"/>
                      </a:lnTo>
                      <a:lnTo>
                        <a:pt x="866" y="684"/>
                      </a:lnTo>
                      <a:lnTo>
                        <a:pt x="867" y="679"/>
                      </a:lnTo>
                      <a:lnTo>
                        <a:pt x="866" y="676"/>
                      </a:lnTo>
                      <a:lnTo>
                        <a:pt x="864" y="671"/>
                      </a:lnTo>
                      <a:lnTo>
                        <a:pt x="862" y="668"/>
                      </a:lnTo>
                      <a:lnTo>
                        <a:pt x="854" y="662"/>
                      </a:lnTo>
                      <a:lnTo>
                        <a:pt x="850" y="659"/>
                      </a:lnTo>
                      <a:lnTo>
                        <a:pt x="847" y="658"/>
                      </a:lnTo>
                      <a:lnTo>
                        <a:pt x="829" y="654"/>
                      </a:lnTo>
                      <a:lnTo>
                        <a:pt x="830" y="654"/>
                      </a:lnTo>
                      <a:lnTo>
                        <a:pt x="826" y="653"/>
                      </a:lnTo>
                      <a:lnTo>
                        <a:pt x="824" y="653"/>
                      </a:lnTo>
                      <a:lnTo>
                        <a:pt x="824" y="654"/>
                      </a:lnTo>
                      <a:lnTo>
                        <a:pt x="824" y="658"/>
                      </a:lnTo>
                      <a:lnTo>
                        <a:pt x="825" y="663"/>
                      </a:lnTo>
                      <a:lnTo>
                        <a:pt x="825" y="666"/>
                      </a:lnTo>
                      <a:lnTo>
                        <a:pt x="824" y="668"/>
                      </a:lnTo>
                      <a:lnTo>
                        <a:pt x="821" y="669"/>
                      </a:lnTo>
                      <a:lnTo>
                        <a:pt x="820" y="669"/>
                      </a:lnTo>
                      <a:lnTo>
                        <a:pt x="819" y="669"/>
                      </a:lnTo>
                      <a:lnTo>
                        <a:pt x="816" y="668"/>
                      </a:lnTo>
                      <a:lnTo>
                        <a:pt x="812" y="669"/>
                      </a:lnTo>
                      <a:lnTo>
                        <a:pt x="809" y="671"/>
                      </a:lnTo>
                      <a:lnTo>
                        <a:pt x="806" y="671"/>
                      </a:lnTo>
                      <a:lnTo>
                        <a:pt x="805" y="671"/>
                      </a:lnTo>
                      <a:lnTo>
                        <a:pt x="805" y="670"/>
                      </a:lnTo>
                      <a:lnTo>
                        <a:pt x="805" y="665"/>
                      </a:lnTo>
                      <a:lnTo>
                        <a:pt x="806" y="659"/>
                      </a:lnTo>
                      <a:lnTo>
                        <a:pt x="809" y="654"/>
                      </a:lnTo>
                      <a:lnTo>
                        <a:pt x="809" y="652"/>
                      </a:lnTo>
                      <a:lnTo>
                        <a:pt x="807" y="650"/>
                      </a:lnTo>
                      <a:lnTo>
                        <a:pt x="805" y="649"/>
                      </a:lnTo>
                      <a:lnTo>
                        <a:pt x="803" y="647"/>
                      </a:lnTo>
                      <a:lnTo>
                        <a:pt x="798" y="650"/>
                      </a:lnTo>
                      <a:lnTo>
                        <a:pt x="796" y="653"/>
                      </a:lnTo>
                      <a:lnTo>
                        <a:pt x="795" y="658"/>
                      </a:lnTo>
                      <a:lnTo>
                        <a:pt x="792" y="662"/>
                      </a:lnTo>
                      <a:lnTo>
                        <a:pt x="791" y="663"/>
                      </a:lnTo>
                      <a:lnTo>
                        <a:pt x="788" y="664"/>
                      </a:lnTo>
                      <a:lnTo>
                        <a:pt x="787" y="664"/>
                      </a:lnTo>
                      <a:lnTo>
                        <a:pt x="787" y="659"/>
                      </a:lnTo>
                      <a:lnTo>
                        <a:pt x="788" y="654"/>
                      </a:lnTo>
                      <a:lnTo>
                        <a:pt x="788" y="651"/>
                      </a:lnTo>
                      <a:lnTo>
                        <a:pt x="787" y="649"/>
                      </a:lnTo>
                      <a:lnTo>
                        <a:pt x="786" y="647"/>
                      </a:lnTo>
                      <a:lnTo>
                        <a:pt x="784" y="647"/>
                      </a:lnTo>
                      <a:lnTo>
                        <a:pt x="782" y="647"/>
                      </a:lnTo>
                      <a:lnTo>
                        <a:pt x="777" y="650"/>
                      </a:lnTo>
                      <a:lnTo>
                        <a:pt x="776" y="650"/>
                      </a:lnTo>
                      <a:lnTo>
                        <a:pt x="773" y="650"/>
                      </a:lnTo>
                      <a:lnTo>
                        <a:pt x="770" y="646"/>
                      </a:lnTo>
                      <a:lnTo>
                        <a:pt x="769" y="643"/>
                      </a:lnTo>
                      <a:lnTo>
                        <a:pt x="770" y="639"/>
                      </a:lnTo>
                      <a:lnTo>
                        <a:pt x="781" y="626"/>
                      </a:lnTo>
                      <a:lnTo>
                        <a:pt x="792" y="615"/>
                      </a:lnTo>
                      <a:lnTo>
                        <a:pt x="816" y="595"/>
                      </a:lnTo>
                      <a:lnTo>
                        <a:pt x="828" y="583"/>
                      </a:lnTo>
                      <a:lnTo>
                        <a:pt x="833" y="579"/>
                      </a:lnTo>
                      <a:lnTo>
                        <a:pt x="839" y="573"/>
                      </a:lnTo>
                      <a:lnTo>
                        <a:pt x="842" y="573"/>
                      </a:lnTo>
                      <a:lnTo>
                        <a:pt x="843" y="573"/>
                      </a:lnTo>
                      <a:lnTo>
                        <a:pt x="843" y="571"/>
                      </a:lnTo>
                      <a:lnTo>
                        <a:pt x="845" y="569"/>
                      </a:lnTo>
                      <a:lnTo>
                        <a:pt x="849" y="568"/>
                      </a:lnTo>
                      <a:lnTo>
                        <a:pt x="854" y="564"/>
                      </a:lnTo>
                      <a:lnTo>
                        <a:pt x="862" y="555"/>
                      </a:lnTo>
                      <a:lnTo>
                        <a:pt x="868" y="543"/>
                      </a:lnTo>
                      <a:lnTo>
                        <a:pt x="873" y="539"/>
                      </a:lnTo>
                      <a:lnTo>
                        <a:pt x="877" y="535"/>
                      </a:lnTo>
                      <a:lnTo>
                        <a:pt x="882" y="530"/>
                      </a:lnTo>
                      <a:lnTo>
                        <a:pt x="887" y="526"/>
                      </a:lnTo>
                      <a:lnTo>
                        <a:pt x="891" y="525"/>
                      </a:lnTo>
                      <a:lnTo>
                        <a:pt x="895" y="524"/>
                      </a:lnTo>
                      <a:lnTo>
                        <a:pt x="943" y="524"/>
                      </a:lnTo>
                      <a:lnTo>
                        <a:pt x="944" y="524"/>
                      </a:lnTo>
                      <a:lnTo>
                        <a:pt x="946" y="526"/>
                      </a:lnTo>
                      <a:lnTo>
                        <a:pt x="949" y="531"/>
                      </a:lnTo>
                      <a:lnTo>
                        <a:pt x="951" y="531"/>
                      </a:lnTo>
                      <a:lnTo>
                        <a:pt x="952" y="531"/>
                      </a:lnTo>
                      <a:lnTo>
                        <a:pt x="958" y="529"/>
                      </a:lnTo>
                      <a:lnTo>
                        <a:pt x="972" y="529"/>
                      </a:lnTo>
                      <a:lnTo>
                        <a:pt x="986" y="530"/>
                      </a:lnTo>
                      <a:lnTo>
                        <a:pt x="991" y="530"/>
                      </a:lnTo>
                      <a:lnTo>
                        <a:pt x="995" y="532"/>
                      </a:lnTo>
                      <a:lnTo>
                        <a:pt x="1000" y="532"/>
                      </a:lnTo>
                      <a:lnTo>
                        <a:pt x="1004" y="532"/>
                      </a:lnTo>
                      <a:lnTo>
                        <a:pt x="1007" y="531"/>
                      </a:lnTo>
                      <a:lnTo>
                        <a:pt x="1003" y="529"/>
                      </a:lnTo>
                      <a:lnTo>
                        <a:pt x="1000" y="528"/>
                      </a:lnTo>
                      <a:lnTo>
                        <a:pt x="1000" y="525"/>
                      </a:lnTo>
                      <a:lnTo>
                        <a:pt x="1002" y="524"/>
                      </a:lnTo>
                      <a:lnTo>
                        <a:pt x="1004" y="524"/>
                      </a:lnTo>
                      <a:lnTo>
                        <a:pt x="1007" y="523"/>
                      </a:lnTo>
                      <a:lnTo>
                        <a:pt x="1008" y="522"/>
                      </a:lnTo>
                      <a:lnTo>
                        <a:pt x="1008" y="519"/>
                      </a:lnTo>
                      <a:lnTo>
                        <a:pt x="1007" y="517"/>
                      </a:lnTo>
                      <a:lnTo>
                        <a:pt x="1003" y="512"/>
                      </a:lnTo>
                      <a:lnTo>
                        <a:pt x="1003" y="510"/>
                      </a:lnTo>
                      <a:lnTo>
                        <a:pt x="1004" y="509"/>
                      </a:lnTo>
                      <a:lnTo>
                        <a:pt x="1007" y="509"/>
                      </a:lnTo>
                      <a:lnTo>
                        <a:pt x="1009" y="509"/>
                      </a:lnTo>
                      <a:lnTo>
                        <a:pt x="1016" y="513"/>
                      </a:lnTo>
                      <a:lnTo>
                        <a:pt x="1023" y="517"/>
                      </a:lnTo>
                      <a:lnTo>
                        <a:pt x="1027" y="518"/>
                      </a:lnTo>
                      <a:lnTo>
                        <a:pt x="1031" y="519"/>
                      </a:lnTo>
                      <a:lnTo>
                        <a:pt x="1035" y="518"/>
                      </a:lnTo>
                      <a:lnTo>
                        <a:pt x="1038" y="516"/>
                      </a:lnTo>
                      <a:lnTo>
                        <a:pt x="1040" y="516"/>
                      </a:lnTo>
                      <a:lnTo>
                        <a:pt x="1042" y="517"/>
                      </a:lnTo>
                      <a:lnTo>
                        <a:pt x="1045" y="519"/>
                      </a:lnTo>
                      <a:lnTo>
                        <a:pt x="1046" y="522"/>
                      </a:lnTo>
                      <a:lnTo>
                        <a:pt x="1049" y="525"/>
                      </a:lnTo>
                      <a:lnTo>
                        <a:pt x="1051" y="528"/>
                      </a:lnTo>
                      <a:lnTo>
                        <a:pt x="1052" y="529"/>
                      </a:lnTo>
                      <a:lnTo>
                        <a:pt x="1052" y="530"/>
                      </a:lnTo>
                      <a:lnTo>
                        <a:pt x="1049" y="532"/>
                      </a:lnTo>
                      <a:lnTo>
                        <a:pt x="1043" y="535"/>
                      </a:lnTo>
                      <a:lnTo>
                        <a:pt x="1040" y="536"/>
                      </a:lnTo>
                      <a:lnTo>
                        <a:pt x="1036" y="539"/>
                      </a:lnTo>
                      <a:lnTo>
                        <a:pt x="1035" y="542"/>
                      </a:lnTo>
                      <a:lnTo>
                        <a:pt x="1036" y="544"/>
                      </a:lnTo>
                      <a:lnTo>
                        <a:pt x="1038" y="545"/>
                      </a:lnTo>
                      <a:lnTo>
                        <a:pt x="1041" y="545"/>
                      </a:lnTo>
                      <a:lnTo>
                        <a:pt x="1051" y="543"/>
                      </a:lnTo>
                      <a:lnTo>
                        <a:pt x="1060" y="543"/>
                      </a:lnTo>
                      <a:lnTo>
                        <a:pt x="1065" y="542"/>
                      </a:lnTo>
                      <a:lnTo>
                        <a:pt x="1069" y="542"/>
                      </a:lnTo>
                      <a:lnTo>
                        <a:pt x="1073" y="539"/>
                      </a:lnTo>
                      <a:lnTo>
                        <a:pt x="1076" y="537"/>
                      </a:lnTo>
                      <a:lnTo>
                        <a:pt x="1079" y="536"/>
                      </a:lnTo>
                      <a:lnTo>
                        <a:pt x="1080" y="537"/>
                      </a:lnTo>
                      <a:lnTo>
                        <a:pt x="1083" y="538"/>
                      </a:lnTo>
                      <a:lnTo>
                        <a:pt x="1084" y="538"/>
                      </a:lnTo>
                      <a:lnTo>
                        <a:pt x="1087" y="536"/>
                      </a:lnTo>
                      <a:lnTo>
                        <a:pt x="1089" y="534"/>
                      </a:lnTo>
                      <a:lnTo>
                        <a:pt x="1090" y="534"/>
                      </a:lnTo>
                      <a:lnTo>
                        <a:pt x="1093" y="534"/>
                      </a:lnTo>
                      <a:lnTo>
                        <a:pt x="1094" y="535"/>
                      </a:lnTo>
                      <a:lnTo>
                        <a:pt x="1098" y="536"/>
                      </a:lnTo>
                      <a:lnTo>
                        <a:pt x="1102" y="535"/>
                      </a:lnTo>
                      <a:lnTo>
                        <a:pt x="1108" y="531"/>
                      </a:lnTo>
                      <a:lnTo>
                        <a:pt x="1108" y="530"/>
                      </a:lnTo>
                      <a:lnTo>
                        <a:pt x="1098" y="524"/>
                      </a:lnTo>
                      <a:lnTo>
                        <a:pt x="1094" y="522"/>
                      </a:lnTo>
                      <a:lnTo>
                        <a:pt x="1090" y="518"/>
                      </a:lnTo>
                      <a:lnTo>
                        <a:pt x="1090" y="515"/>
                      </a:lnTo>
                      <a:lnTo>
                        <a:pt x="1092" y="511"/>
                      </a:lnTo>
                      <a:lnTo>
                        <a:pt x="1094" y="510"/>
                      </a:lnTo>
                      <a:lnTo>
                        <a:pt x="1098" y="507"/>
                      </a:lnTo>
                      <a:lnTo>
                        <a:pt x="1107" y="505"/>
                      </a:lnTo>
                      <a:lnTo>
                        <a:pt x="1115" y="503"/>
                      </a:lnTo>
                      <a:lnTo>
                        <a:pt x="1125" y="496"/>
                      </a:lnTo>
                      <a:lnTo>
                        <a:pt x="1129" y="492"/>
                      </a:lnTo>
                      <a:lnTo>
                        <a:pt x="1134" y="487"/>
                      </a:lnTo>
                      <a:lnTo>
                        <a:pt x="1137" y="483"/>
                      </a:lnTo>
                      <a:lnTo>
                        <a:pt x="1140" y="479"/>
                      </a:lnTo>
                      <a:lnTo>
                        <a:pt x="1145" y="472"/>
                      </a:lnTo>
                      <a:lnTo>
                        <a:pt x="1151" y="467"/>
                      </a:lnTo>
                      <a:lnTo>
                        <a:pt x="1158" y="464"/>
                      </a:lnTo>
                      <a:lnTo>
                        <a:pt x="1162" y="462"/>
                      </a:lnTo>
                      <a:lnTo>
                        <a:pt x="1165" y="461"/>
                      </a:lnTo>
                      <a:lnTo>
                        <a:pt x="1169" y="462"/>
                      </a:lnTo>
                      <a:lnTo>
                        <a:pt x="1173" y="462"/>
                      </a:lnTo>
                      <a:lnTo>
                        <a:pt x="1177" y="465"/>
                      </a:lnTo>
                      <a:lnTo>
                        <a:pt x="1179" y="466"/>
                      </a:lnTo>
                      <a:lnTo>
                        <a:pt x="1182" y="466"/>
                      </a:lnTo>
                      <a:lnTo>
                        <a:pt x="1186" y="464"/>
                      </a:lnTo>
                      <a:lnTo>
                        <a:pt x="1189" y="461"/>
                      </a:lnTo>
                      <a:lnTo>
                        <a:pt x="1195" y="456"/>
                      </a:lnTo>
                      <a:lnTo>
                        <a:pt x="1200" y="451"/>
                      </a:lnTo>
                      <a:lnTo>
                        <a:pt x="1203" y="446"/>
                      </a:lnTo>
                      <a:lnTo>
                        <a:pt x="1207" y="445"/>
                      </a:lnTo>
                      <a:lnTo>
                        <a:pt x="1210" y="443"/>
                      </a:lnTo>
                      <a:lnTo>
                        <a:pt x="1207" y="452"/>
                      </a:lnTo>
                      <a:lnTo>
                        <a:pt x="1203" y="460"/>
                      </a:lnTo>
                      <a:lnTo>
                        <a:pt x="1203" y="465"/>
                      </a:lnTo>
                      <a:lnTo>
                        <a:pt x="1202" y="468"/>
                      </a:lnTo>
                      <a:lnTo>
                        <a:pt x="1202" y="471"/>
                      </a:lnTo>
                      <a:lnTo>
                        <a:pt x="1200" y="473"/>
                      </a:lnTo>
                      <a:lnTo>
                        <a:pt x="1197" y="474"/>
                      </a:lnTo>
                      <a:lnTo>
                        <a:pt x="1192" y="479"/>
                      </a:lnTo>
                      <a:lnTo>
                        <a:pt x="1192" y="480"/>
                      </a:lnTo>
                      <a:lnTo>
                        <a:pt x="1192" y="483"/>
                      </a:lnTo>
                      <a:lnTo>
                        <a:pt x="1193" y="485"/>
                      </a:lnTo>
                      <a:lnTo>
                        <a:pt x="1197" y="487"/>
                      </a:lnTo>
                      <a:lnTo>
                        <a:pt x="1198" y="490"/>
                      </a:lnTo>
                      <a:lnTo>
                        <a:pt x="1201" y="492"/>
                      </a:lnTo>
                      <a:lnTo>
                        <a:pt x="1203" y="493"/>
                      </a:lnTo>
                      <a:lnTo>
                        <a:pt x="1207" y="493"/>
                      </a:lnTo>
                      <a:lnTo>
                        <a:pt x="1210" y="491"/>
                      </a:lnTo>
                      <a:lnTo>
                        <a:pt x="1212" y="487"/>
                      </a:lnTo>
                      <a:lnTo>
                        <a:pt x="1215" y="483"/>
                      </a:lnTo>
                      <a:lnTo>
                        <a:pt x="1216" y="477"/>
                      </a:lnTo>
                      <a:lnTo>
                        <a:pt x="1219" y="472"/>
                      </a:lnTo>
                      <a:lnTo>
                        <a:pt x="1221" y="471"/>
                      </a:lnTo>
                      <a:lnTo>
                        <a:pt x="1222" y="471"/>
                      </a:lnTo>
                      <a:lnTo>
                        <a:pt x="1225" y="470"/>
                      </a:lnTo>
                      <a:lnTo>
                        <a:pt x="1226" y="470"/>
                      </a:lnTo>
                      <a:lnTo>
                        <a:pt x="1229" y="465"/>
                      </a:lnTo>
                      <a:lnTo>
                        <a:pt x="1230" y="460"/>
                      </a:lnTo>
                      <a:lnTo>
                        <a:pt x="1231" y="456"/>
                      </a:lnTo>
                      <a:lnTo>
                        <a:pt x="1233" y="454"/>
                      </a:lnTo>
                      <a:lnTo>
                        <a:pt x="1234" y="453"/>
                      </a:lnTo>
                      <a:lnTo>
                        <a:pt x="1242" y="449"/>
                      </a:lnTo>
                      <a:lnTo>
                        <a:pt x="1249" y="448"/>
                      </a:lnTo>
                      <a:lnTo>
                        <a:pt x="1252" y="448"/>
                      </a:lnTo>
                      <a:lnTo>
                        <a:pt x="1253" y="449"/>
                      </a:lnTo>
                      <a:lnTo>
                        <a:pt x="1253" y="451"/>
                      </a:lnTo>
                      <a:lnTo>
                        <a:pt x="1249" y="454"/>
                      </a:lnTo>
                      <a:lnTo>
                        <a:pt x="1247" y="459"/>
                      </a:lnTo>
                      <a:lnTo>
                        <a:pt x="1242" y="467"/>
                      </a:lnTo>
                      <a:lnTo>
                        <a:pt x="1239" y="471"/>
                      </a:lnTo>
                      <a:lnTo>
                        <a:pt x="1239" y="473"/>
                      </a:lnTo>
                      <a:lnTo>
                        <a:pt x="1242" y="478"/>
                      </a:lnTo>
                      <a:lnTo>
                        <a:pt x="1243" y="480"/>
                      </a:lnTo>
                      <a:lnTo>
                        <a:pt x="1244" y="483"/>
                      </a:lnTo>
                      <a:lnTo>
                        <a:pt x="1243" y="485"/>
                      </a:lnTo>
                      <a:lnTo>
                        <a:pt x="1239" y="488"/>
                      </a:lnTo>
                      <a:lnTo>
                        <a:pt x="1235" y="491"/>
                      </a:lnTo>
                      <a:lnTo>
                        <a:pt x="1230" y="493"/>
                      </a:lnTo>
                      <a:lnTo>
                        <a:pt x="1226" y="497"/>
                      </a:lnTo>
                      <a:lnTo>
                        <a:pt x="1217" y="505"/>
                      </a:lnTo>
                      <a:lnTo>
                        <a:pt x="1207" y="512"/>
                      </a:lnTo>
                      <a:lnTo>
                        <a:pt x="1197" y="519"/>
                      </a:lnTo>
                      <a:lnTo>
                        <a:pt x="1187" y="526"/>
                      </a:lnTo>
                      <a:lnTo>
                        <a:pt x="1184" y="531"/>
                      </a:lnTo>
                      <a:lnTo>
                        <a:pt x="1183" y="536"/>
                      </a:lnTo>
                      <a:lnTo>
                        <a:pt x="1182" y="542"/>
                      </a:lnTo>
                      <a:lnTo>
                        <a:pt x="1182" y="543"/>
                      </a:lnTo>
                      <a:lnTo>
                        <a:pt x="1179" y="544"/>
                      </a:lnTo>
                      <a:lnTo>
                        <a:pt x="1177" y="545"/>
                      </a:lnTo>
                      <a:lnTo>
                        <a:pt x="1174" y="548"/>
                      </a:lnTo>
                      <a:lnTo>
                        <a:pt x="1172" y="551"/>
                      </a:lnTo>
                      <a:lnTo>
                        <a:pt x="1170" y="556"/>
                      </a:lnTo>
                      <a:lnTo>
                        <a:pt x="1169" y="557"/>
                      </a:lnTo>
                      <a:lnTo>
                        <a:pt x="1167" y="558"/>
                      </a:lnTo>
                      <a:lnTo>
                        <a:pt x="1151" y="561"/>
                      </a:lnTo>
                      <a:lnTo>
                        <a:pt x="1144" y="563"/>
                      </a:lnTo>
                      <a:lnTo>
                        <a:pt x="1140" y="564"/>
                      </a:lnTo>
                      <a:lnTo>
                        <a:pt x="1136" y="568"/>
                      </a:lnTo>
                      <a:lnTo>
                        <a:pt x="1130" y="575"/>
                      </a:lnTo>
                      <a:lnTo>
                        <a:pt x="1127" y="577"/>
                      </a:lnTo>
                      <a:lnTo>
                        <a:pt x="1123" y="579"/>
                      </a:lnTo>
                      <a:lnTo>
                        <a:pt x="1122" y="581"/>
                      </a:lnTo>
                      <a:lnTo>
                        <a:pt x="1121" y="587"/>
                      </a:lnTo>
                      <a:lnTo>
                        <a:pt x="1120" y="594"/>
                      </a:lnTo>
                      <a:lnTo>
                        <a:pt x="1117" y="599"/>
                      </a:lnTo>
                      <a:lnTo>
                        <a:pt x="1116" y="602"/>
                      </a:lnTo>
                      <a:lnTo>
                        <a:pt x="1116" y="606"/>
                      </a:lnTo>
                      <a:lnTo>
                        <a:pt x="1116" y="611"/>
                      </a:lnTo>
                      <a:lnTo>
                        <a:pt x="1116" y="614"/>
                      </a:lnTo>
                      <a:lnTo>
                        <a:pt x="1112" y="621"/>
                      </a:lnTo>
                      <a:lnTo>
                        <a:pt x="1111" y="626"/>
                      </a:lnTo>
                      <a:lnTo>
                        <a:pt x="1111" y="630"/>
                      </a:lnTo>
                      <a:lnTo>
                        <a:pt x="1118" y="649"/>
                      </a:lnTo>
                      <a:lnTo>
                        <a:pt x="1123" y="668"/>
                      </a:lnTo>
                      <a:lnTo>
                        <a:pt x="1127" y="686"/>
                      </a:lnTo>
                      <a:lnTo>
                        <a:pt x="1130" y="707"/>
                      </a:lnTo>
                      <a:lnTo>
                        <a:pt x="1131" y="709"/>
                      </a:lnTo>
                      <a:lnTo>
                        <a:pt x="1132" y="716"/>
                      </a:lnTo>
                      <a:lnTo>
                        <a:pt x="1135" y="722"/>
                      </a:lnTo>
                      <a:lnTo>
                        <a:pt x="1141" y="734"/>
                      </a:lnTo>
                      <a:lnTo>
                        <a:pt x="1142" y="734"/>
                      </a:lnTo>
                      <a:lnTo>
                        <a:pt x="1144" y="734"/>
                      </a:lnTo>
                      <a:lnTo>
                        <a:pt x="1148" y="733"/>
                      </a:lnTo>
                      <a:lnTo>
                        <a:pt x="1154" y="724"/>
                      </a:lnTo>
                      <a:lnTo>
                        <a:pt x="1159" y="717"/>
                      </a:lnTo>
                      <a:lnTo>
                        <a:pt x="1165" y="709"/>
                      </a:lnTo>
                      <a:lnTo>
                        <a:pt x="1172" y="702"/>
                      </a:lnTo>
                      <a:lnTo>
                        <a:pt x="1174" y="700"/>
                      </a:lnTo>
                      <a:lnTo>
                        <a:pt x="1174" y="696"/>
                      </a:lnTo>
                      <a:lnTo>
                        <a:pt x="1172" y="689"/>
                      </a:lnTo>
                      <a:lnTo>
                        <a:pt x="1172" y="685"/>
                      </a:lnTo>
                      <a:lnTo>
                        <a:pt x="1173" y="683"/>
                      </a:lnTo>
                      <a:lnTo>
                        <a:pt x="1179" y="679"/>
                      </a:lnTo>
                      <a:lnTo>
                        <a:pt x="1182" y="678"/>
                      </a:lnTo>
                      <a:lnTo>
                        <a:pt x="1183" y="678"/>
                      </a:lnTo>
                      <a:lnTo>
                        <a:pt x="1187" y="679"/>
                      </a:lnTo>
                      <a:lnTo>
                        <a:pt x="1193" y="681"/>
                      </a:lnTo>
                      <a:lnTo>
                        <a:pt x="1196" y="681"/>
                      </a:lnTo>
                      <a:lnTo>
                        <a:pt x="1198" y="679"/>
                      </a:lnTo>
                      <a:lnTo>
                        <a:pt x="1198" y="678"/>
                      </a:lnTo>
                      <a:lnTo>
                        <a:pt x="1200" y="677"/>
                      </a:lnTo>
                      <a:lnTo>
                        <a:pt x="1198" y="672"/>
                      </a:lnTo>
                      <a:lnTo>
                        <a:pt x="1197" y="669"/>
                      </a:lnTo>
                      <a:lnTo>
                        <a:pt x="1196" y="665"/>
                      </a:lnTo>
                      <a:lnTo>
                        <a:pt x="1196" y="660"/>
                      </a:lnTo>
                      <a:lnTo>
                        <a:pt x="1198" y="658"/>
                      </a:lnTo>
                      <a:lnTo>
                        <a:pt x="1201" y="656"/>
                      </a:lnTo>
                      <a:lnTo>
                        <a:pt x="1206" y="654"/>
                      </a:lnTo>
                      <a:lnTo>
                        <a:pt x="1215" y="651"/>
                      </a:lnTo>
                      <a:lnTo>
                        <a:pt x="1219" y="650"/>
                      </a:lnTo>
                      <a:lnTo>
                        <a:pt x="1222" y="647"/>
                      </a:lnTo>
                      <a:lnTo>
                        <a:pt x="1224" y="645"/>
                      </a:lnTo>
                      <a:lnTo>
                        <a:pt x="1225" y="643"/>
                      </a:lnTo>
                      <a:lnTo>
                        <a:pt x="1224" y="638"/>
                      </a:lnTo>
                      <a:lnTo>
                        <a:pt x="1221" y="633"/>
                      </a:lnTo>
                      <a:lnTo>
                        <a:pt x="1219" y="627"/>
                      </a:lnTo>
                      <a:lnTo>
                        <a:pt x="1217" y="625"/>
                      </a:lnTo>
                      <a:lnTo>
                        <a:pt x="1219" y="621"/>
                      </a:lnTo>
                      <a:lnTo>
                        <a:pt x="1224" y="614"/>
                      </a:lnTo>
                      <a:lnTo>
                        <a:pt x="1233" y="605"/>
                      </a:lnTo>
                      <a:lnTo>
                        <a:pt x="1235" y="603"/>
                      </a:lnTo>
                      <a:lnTo>
                        <a:pt x="1236" y="602"/>
                      </a:lnTo>
                      <a:lnTo>
                        <a:pt x="1239" y="602"/>
                      </a:lnTo>
                      <a:lnTo>
                        <a:pt x="1242" y="603"/>
                      </a:lnTo>
                      <a:lnTo>
                        <a:pt x="1243" y="605"/>
                      </a:lnTo>
                      <a:lnTo>
                        <a:pt x="1244" y="605"/>
                      </a:lnTo>
                      <a:lnTo>
                        <a:pt x="1247" y="602"/>
                      </a:lnTo>
                      <a:lnTo>
                        <a:pt x="1249" y="600"/>
                      </a:lnTo>
                      <a:lnTo>
                        <a:pt x="1250" y="596"/>
                      </a:lnTo>
                      <a:lnTo>
                        <a:pt x="1250" y="594"/>
                      </a:lnTo>
                      <a:lnTo>
                        <a:pt x="1249" y="593"/>
                      </a:lnTo>
                      <a:lnTo>
                        <a:pt x="1245" y="592"/>
                      </a:lnTo>
                      <a:lnTo>
                        <a:pt x="1242" y="590"/>
                      </a:lnTo>
                      <a:lnTo>
                        <a:pt x="1240" y="589"/>
                      </a:lnTo>
                      <a:lnTo>
                        <a:pt x="1239" y="588"/>
                      </a:lnTo>
                      <a:lnTo>
                        <a:pt x="1236" y="582"/>
                      </a:lnTo>
                      <a:lnTo>
                        <a:pt x="1235" y="580"/>
                      </a:lnTo>
                      <a:lnTo>
                        <a:pt x="1235" y="576"/>
                      </a:lnTo>
                      <a:lnTo>
                        <a:pt x="1236" y="574"/>
                      </a:lnTo>
                      <a:lnTo>
                        <a:pt x="1239" y="573"/>
                      </a:lnTo>
                      <a:lnTo>
                        <a:pt x="1245" y="573"/>
                      </a:lnTo>
                      <a:lnTo>
                        <a:pt x="1247" y="571"/>
                      </a:lnTo>
                      <a:lnTo>
                        <a:pt x="1247" y="569"/>
                      </a:lnTo>
                      <a:lnTo>
                        <a:pt x="1247" y="568"/>
                      </a:lnTo>
                      <a:lnTo>
                        <a:pt x="1245" y="567"/>
                      </a:lnTo>
                      <a:lnTo>
                        <a:pt x="1239" y="563"/>
                      </a:lnTo>
                      <a:lnTo>
                        <a:pt x="1236" y="562"/>
                      </a:lnTo>
                      <a:lnTo>
                        <a:pt x="1234" y="560"/>
                      </a:lnTo>
                      <a:lnTo>
                        <a:pt x="1234" y="557"/>
                      </a:lnTo>
                      <a:lnTo>
                        <a:pt x="1235" y="555"/>
                      </a:lnTo>
                      <a:lnTo>
                        <a:pt x="1238" y="551"/>
                      </a:lnTo>
                      <a:lnTo>
                        <a:pt x="1239" y="549"/>
                      </a:lnTo>
                      <a:lnTo>
                        <a:pt x="1238" y="547"/>
                      </a:lnTo>
                      <a:lnTo>
                        <a:pt x="1234" y="545"/>
                      </a:lnTo>
                      <a:lnTo>
                        <a:pt x="1234" y="544"/>
                      </a:lnTo>
                      <a:lnTo>
                        <a:pt x="1234" y="542"/>
                      </a:lnTo>
                      <a:lnTo>
                        <a:pt x="1235" y="537"/>
                      </a:lnTo>
                      <a:lnTo>
                        <a:pt x="1239" y="532"/>
                      </a:lnTo>
                      <a:lnTo>
                        <a:pt x="1243" y="529"/>
                      </a:lnTo>
                      <a:lnTo>
                        <a:pt x="1248" y="525"/>
                      </a:lnTo>
                      <a:lnTo>
                        <a:pt x="1249" y="524"/>
                      </a:lnTo>
                      <a:lnTo>
                        <a:pt x="1249" y="522"/>
                      </a:lnTo>
                      <a:lnTo>
                        <a:pt x="1250" y="519"/>
                      </a:lnTo>
                      <a:lnTo>
                        <a:pt x="1252" y="517"/>
                      </a:lnTo>
                      <a:lnTo>
                        <a:pt x="1262" y="510"/>
                      </a:lnTo>
                      <a:lnTo>
                        <a:pt x="1267" y="509"/>
                      </a:lnTo>
                      <a:lnTo>
                        <a:pt x="1272" y="509"/>
                      </a:lnTo>
                      <a:lnTo>
                        <a:pt x="1278" y="511"/>
                      </a:lnTo>
                      <a:lnTo>
                        <a:pt x="1281" y="510"/>
                      </a:lnTo>
                      <a:lnTo>
                        <a:pt x="1282" y="509"/>
                      </a:lnTo>
                      <a:lnTo>
                        <a:pt x="1286" y="503"/>
                      </a:lnTo>
                      <a:lnTo>
                        <a:pt x="1289" y="497"/>
                      </a:lnTo>
                      <a:lnTo>
                        <a:pt x="1291" y="491"/>
                      </a:lnTo>
                      <a:lnTo>
                        <a:pt x="1292" y="491"/>
                      </a:lnTo>
                      <a:lnTo>
                        <a:pt x="1294" y="491"/>
                      </a:lnTo>
                      <a:lnTo>
                        <a:pt x="1295" y="496"/>
                      </a:lnTo>
                      <a:lnTo>
                        <a:pt x="1295" y="500"/>
                      </a:lnTo>
                      <a:lnTo>
                        <a:pt x="1294" y="505"/>
                      </a:lnTo>
                      <a:lnTo>
                        <a:pt x="1292" y="509"/>
                      </a:lnTo>
                      <a:lnTo>
                        <a:pt x="1294" y="511"/>
                      </a:lnTo>
                      <a:lnTo>
                        <a:pt x="1296" y="510"/>
                      </a:lnTo>
                      <a:lnTo>
                        <a:pt x="1299" y="510"/>
                      </a:lnTo>
                      <a:lnTo>
                        <a:pt x="1300" y="507"/>
                      </a:lnTo>
                      <a:lnTo>
                        <a:pt x="1302" y="505"/>
                      </a:lnTo>
                      <a:lnTo>
                        <a:pt x="1305" y="503"/>
                      </a:lnTo>
                      <a:lnTo>
                        <a:pt x="1310" y="500"/>
                      </a:lnTo>
                      <a:lnTo>
                        <a:pt x="1315" y="498"/>
                      </a:lnTo>
                      <a:lnTo>
                        <a:pt x="1325" y="492"/>
                      </a:lnTo>
                      <a:lnTo>
                        <a:pt x="1329" y="490"/>
                      </a:lnTo>
                      <a:lnTo>
                        <a:pt x="1333" y="488"/>
                      </a:lnTo>
                      <a:lnTo>
                        <a:pt x="1341" y="490"/>
                      </a:lnTo>
                      <a:lnTo>
                        <a:pt x="1348" y="492"/>
                      </a:lnTo>
                      <a:lnTo>
                        <a:pt x="1356" y="497"/>
                      </a:lnTo>
                      <a:lnTo>
                        <a:pt x="1358" y="497"/>
                      </a:lnTo>
                      <a:lnTo>
                        <a:pt x="1362" y="497"/>
                      </a:lnTo>
                      <a:lnTo>
                        <a:pt x="1363" y="499"/>
                      </a:lnTo>
                      <a:lnTo>
                        <a:pt x="1365" y="500"/>
                      </a:lnTo>
                      <a:lnTo>
                        <a:pt x="1366" y="503"/>
                      </a:lnTo>
                      <a:lnTo>
                        <a:pt x="1367" y="505"/>
                      </a:lnTo>
                      <a:lnTo>
                        <a:pt x="1367" y="506"/>
                      </a:lnTo>
                      <a:lnTo>
                        <a:pt x="1369" y="506"/>
                      </a:lnTo>
                      <a:lnTo>
                        <a:pt x="1371" y="504"/>
                      </a:lnTo>
                      <a:lnTo>
                        <a:pt x="1372" y="502"/>
                      </a:lnTo>
                      <a:lnTo>
                        <a:pt x="1375" y="497"/>
                      </a:lnTo>
                      <a:lnTo>
                        <a:pt x="1381" y="490"/>
                      </a:lnTo>
                      <a:lnTo>
                        <a:pt x="1386" y="485"/>
                      </a:lnTo>
                      <a:lnTo>
                        <a:pt x="1390" y="483"/>
                      </a:lnTo>
                      <a:lnTo>
                        <a:pt x="1399" y="478"/>
                      </a:lnTo>
                      <a:lnTo>
                        <a:pt x="1408" y="474"/>
                      </a:lnTo>
                      <a:lnTo>
                        <a:pt x="1417" y="467"/>
                      </a:lnTo>
                      <a:lnTo>
                        <a:pt x="1422" y="465"/>
                      </a:lnTo>
                      <a:lnTo>
                        <a:pt x="1427" y="464"/>
                      </a:lnTo>
                      <a:lnTo>
                        <a:pt x="1433" y="461"/>
                      </a:lnTo>
                      <a:lnTo>
                        <a:pt x="1438" y="459"/>
                      </a:lnTo>
                      <a:lnTo>
                        <a:pt x="1445" y="455"/>
                      </a:lnTo>
                      <a:lnTo>
                        <a:pt x="1450" y="453"/>
                      </a:lnTo>
                      <a:lnTo>
                        <a:pt x="1455" y="449"/>
                      </a:lnTo>
                      <a:lnTo>
                        <a:pt x="1460" y="447"/>
                      </a:lnTo>
                      <a:lnTo>
                        <a:pt x="1465" y="445"/>
                      </a:lnTo>
                      <a:lnTo>
                        <a:pt x="1470" y="443"/>
                      </a:lnTo>
                      <a:lnTo>
                        <a:pt x="1479" y="442"/>
                      </a:lnTo>
                      <a:lnTo>
                        <a:pt x="1489" y="440"/>
                      </a:lnTo>
                      <a:lnTo>
                        <a:pt x="1501" y="439"/>
                      </a:lnTo>
                      <a:lnTo>
                        <a:pt x="1507" y="440"/>
                      </a:lnTo>
                      <a:lnTo>
                        <a:pt x="1513" y="441"/>
                      </a:lnTo>
                      <a:lnTo>
                        <a:pt x="1516" y="442"/>
                      </a:lnTo>
                      <a:lnTo>
                        <a:pt x="1520" y="442"/>
                      </a:lnTo>
                      <a:lnTo>
                        <a:pt x="1523" y="441"/>
                      </a:lnTo>
                      <a:lnTo>
                        <a:pt x="1526" y="440"/>
                      </a:lnTo>
                      <a:lnTo>
                        <a:pt x="1527" y="436"/>
                      </a:lnTo>
                      <a:lnTo>
                        <a:pt x="1529" y="432"/>
                      </a:lnTo>
                      <a:lnTo>
                        <a:pt x="1529" y="428"/>
                      </a:lnTo>
                      <a:lnTo>
                        <a:pt x="1527" y="426"/>
                      </a:lnTo>
                      <a:lnTo>
                        <a:pt x="1523" y="422"/>
                      </a:lnTo>
                      <a:lnTo>
                        <a:pt x="1520" y="419"/>
                      </a:lnTo>
                      <a:lnTo>
                        <a:pt x="1515" y="409"/>
                      </a:lnTo>
                      <a:lnTo>
                        <a:pt x="1508" y="391"/>
                      </a:lnTo>
                      <a:lnTo>
                        <a:pt x="1504" y="389"/>
                      </a:lnTo>
                      <a:lnTo>
                        <a:pt x="1502" y="388"/>
                      </a:lnTo>
                      <a:lnTo>
                        <a:pt x="1494" y="388"/>
                      </a:lnTo>
                      <a:lnTo>
                        <a:pt x="1489" y="385"/>
                      </a:lnTo>
                      <a:lnTo>
                        <a:pt x="1478" y="378"/>
                      </a:lnTo>
                      <a:lnTo>
                        <a:pt x="1476" y="377"/>
                      </a:lnTo>
                      <a:lnTo>
                        <a:pt x="1478" y="376"/>
                      </a:lnTo>
                      <a:lnTo>
                        <a:pt x="1479" y="375"/>
                      </a:lnTo>
                      <a:lnTo>
                        <a:pt x="1492" y="376"/>
                      </a:lnTo>
                      <a:lnTo>
                        <a:pt x="1503" y="378"/>
                      </a:lnTo>
                      <a:lnTo>
                        <a:pt x="1515" y="381"/>
                      </a:lnTo>
                      <a:lnTo>
                        <a:pt x="1521" y="381"/>
                      </a:lnTo>
                      <a:lnTo>
                        <a:pt x="1527" y="379"/>
                      </a:lnTo>
                      <a:lnTo>
                        <a:pt x="1534" y="377"/>
                      </a:lnTo>
                      <a:lnTo>
                        <a:pt x="1540" y="373"/>
                      </a:lnTo>
                      <a:lnTo>
                        <a:pt x="1545" y="369"/>
                      </a:lnTo>
                      <a:lnTo>
                        <a:pt x="1550" y="364"/>
                      </a:lnTo>
                      <a:lnTo>
                        <a:pt x="1553" y="358"/>
                      </a:lnTo>
                      <a:lnTo>
                        <a:pt x="1553" y="352"/>
                      </a:lnTo>
                      <a:lnTo>
                        <a:pt x="1551" y="346"/>
                      </a:lnTo>
                      <a:lnTo>
                        <a:pt x="1546" y="339"/>
                      </a:lnTo>
                      <a:lnTo>
                        <a:pt x="1546" y="337"/>
                      </a:lnTo>
                      <a:lnTo>
                        <a:pt x="1548" y="336"/>
                      </a:lnTo>
                      <a:lnTo>
                        <a:pt x="1556" y="336"/>
                      </a:lnTo>
                      <a:lnTo>
                        <a:pt x="1565" y="334"/>
                      </a:lnTo>
                      <a:lnTo>
                        <a:pt x="1567" y="334"/>
                      </a:lnTo>
                      <a:lnTo>
                        <a:pt x="1567" y="336"/>
                      </a:lnTo>
                      <a:lnTo>
                        <a:pt x="1567" y="338"/>
                      </a:lnTo>
                      <a:lnTo>
                        <a:pt x="1563" y="341"/>
                      </a:lnTo>
                      <a:lnTo>
                        <a:pt x="1562" y="346"/>
                      </a:lnTo>
                      <a:lnTo>
                        <a:pt x="1564" y="350"/>
                      </a:lnTo>
                      <a:lnTo>
                        <a:pt x="1568" y="353"/>
                      </a:lnTo>
                      <a:lnTo>
                        <a:pt x="1573" y="356"/>
                      </a:lnTo>
                      <a:lnTo>
                        <a:pt x="1577" y="356"/>
                      </a:lnTo>
                      <a:lnTo>
                        <a:pt x="1579" y="356"/>
                      </a:lnTo>
                      <a:lnTo>
                        <a:pt x="1586" y="356"/>
                      </a:lnTo>
                      <a:lnTo>
                        <a:pt x="1596" y="353"/>
                      </a:lnTo>
                      <a:lnTo>
                        <a:pt x="1601" y="355"/>
                      </a:lnTo>
                      <a:lnTo>
                        <a:pt x="1606" y="356"/>
                      </a:lnTo>
                      <a:lnTo>
                        <a:pt x="1609" y="358"/>
                      </a:lnTo>
                      <a:lnTo>
                        <a:pt x="1611" y="362"/>
                      </a:lnTo>
                      <a:lnTo>
                        <a:pt x="1614" y="369"/>
                      </a:lnTo>
                      <a:lnTo>
                        <a:pt x="1617" y="373"/>
                      </a:lnTo>
                      <a:lnTo>
                        <a:pt x="1619" y="375"/>
                      </a:lnTo>
                      <a:lnTo>
                        <a:pt x="1621" y="376"/>
                      </a:lnTo>
                      <a:lnTo>
                        <a:pt x="1634" y="381"/>
                      </a:lnTo>
                      <a:lnTo>
                        <a:pt x="1645" y="385"/>
                      </a:lnTo>
                      <a:lnTo>
                        <a:pt x="1657" y="389"/>
                      </a:lnTo>
                      <a:lnTo>
                        <a:pt x="1659" y="389"/>
                      </a:lnTo>
                      <a:lnTo>
                        <a:pt x="1663" y="389"/>
                      </a:lnTo>
                      <a:lnTo>
                        <a:pt x="1666" y="388"/>
                      </a:lnTo>
                      <a:lnTo>
                        <a:pt x="1667" y="387"/>
                      </a:lnTo>
                      <a:lnTo>
                        <a:pt x="1669" y="381"/>
                      </a:lnTo>
                      <a:lnTo>
                        <a:pt x="1672" y="376"/>
                      </a:lnTo>
                      <a:lnTo>
                        <a:pt x="1676" y="370"/>
                      </a:lnTo>
                      <a:lnTo>
                        <a:pt x="1676" y="363"/>
                      </a:lnTo>
                      <a:lnTo>
                        <a:pt x="1675" y="359"/>
                      </a:lnTo>
                      <a:lnTo>
                        <a:pt x="1673" y="357"/>
                      </a:lnTo>
                      <a:lnTo>
                        <a:pt x="1671" y="355"/>
                      </a:lnTo>
                      <a:lnTo>
                        <a:pt x="1667" y="353"/>
                      </a:lnTo>
                      <a:lnTo>
                        <a:pt x="1667" y="351"/>
                      </a:lnTo>
                      <a:lnTo>
                        <a:pt x="1673" y="352"/>
                      </a:lnTo>
                      <a:lnTo>
                        <a:pt x="1680" y="353"/>
                      </a:lnTo>
                      <a:lnTo>
                        <a:pt x="1692" y="358"/>
                      </a:lnTo>
                      <a:lnTo>
                        <a:pt x="1694" y="357"/>
                      </a:lnTo>
                      <a:lnTo>
                        <a:pt x="1695" y="357"/>
                      </a:lnTo>
                      <a:lnTo>
                        <a:pt x="1695" y="355"/>
                      </a:lnTo>
                      <a:lnTo>
                        <a:pt x="1696" y="352"/>
                      </a:lnTo>
                      <a:lnTo>
                        <a:pt x="1696" y="350"/>
                      </a:lnTo>
                      <a:lnTo>
                        <a:pt x="1701" y="349"/>
                      </a:lnTo>
                      <a:lnTo>
                        <a:pt x="1706" y="347"/>
                      </a:lnTo>
                      <a:lnTo>
                        <a:pt x="1710" y="345"/>
                      </a:lnTo>
                      <a:lnTo>
                        <a:pt x="1713" y="341"/>
                      </a:lnTo>
                      <a:lnTo>
                        <a:pt x="1714" y="338"/>
                      </a:lnTo>
                      <a:lnTo>
                        <a:pt x="1714" y="337"/>
                      </a:lnTo>
                      <a:lnTo>
                        <a:pt x="1713" y="334"/>
                      </a:lnTo>
                      <a:lnTo>
                        <a:pt x="1711" y="333"/>
                      </a:lnTo>
                      <a:lnTo>
                        <a:pt x="1704" y="328"/>
                      </a:lnTo>
                      <a:lnTo>
                        <a:pt x="1697" y="324"/>
                      </a:lnTo>
                      <a:lnTo>
                        <a:pt x="1692" y="318"/>
                      </a:lnTo>
                      <a:lnTo>
                        <a:pt x="1687" y="314"/>
                      </a:lnTo>
                      <a:lnTo>
                        <a:pt x="1683" y="312"/>
                      </a:lnTo>
                      <a:lnTo>
                        <a:pt x="1680" y="312"/>
                      </a:lnTo>
                      <a:lnTo>
                        <a:pt x="1671" y="311"/>
                      </a:lnTo>
                      <a:lnTo>
                        <a:pt x="1661" y="311"/>
                      </a:lnTo>
                      <a:lnTo>
                        <a:pt x="1652" y="312"/>
                      </a:lnTo>
                      <a:lnTo>
                        <a:pt x="1643" y="314"/>
                      </a:lnTo>
                      <a:lnTo>
                        <a:pt x="1642" y="315"/>
                      </a:lnTo>
                      <a:lnTo>
                        <a:pt x="1642" y="317"/>
                      </a:lnTo>
                      <a:lnTo>
                        <a:pt x="1643" y="320"/>
                      </a:lnTo>
                      <a:lnTo>
                        <a:pt x="1645" y="328"/>
                      </a:lnTo>
                      <a:lnTo>
                        <a:pt x="1645" y="332"/>
                      </a:lnTo>
                      <a:lnTo>
                        <a:pt x="1645" y="333"/>
                      </a:lnTo>
                      <a:lnTo>
                        <a:pt x="1643" y="334"/>
                      </a:lnTo>
                      <a:lnTo>
                        <a:pt x="1642" y="336"/>
                      </a:lnTo>
                      <a:lnTo>
                        <a:pt x="1639" y="336"/>
                      </a:lnTo>
                      <a:lnTo>
                        <a:pt x="1638" y="333"/>
                      </a:lnTo>
                      <a:lnTo>
                        <a:pt x="1636" y="332"/>
                      </a:lnTo>
                      <a:lnTo>
                        <a:pt x="1635" y="318"/>
                      </a:lnTo>
                      <a:lnTo>
                        <a:pt x="1634" y="311"/>
                      </a:lnTo>
                      <a:lnTo>
                        <a:pt x="1631" y="305"/>
                      </a:lnTo>
                      <a:lnTo>
                        <a:pt x="1629" y="300"/>
                      </a:lnTo>
                      <a:lnTo>
                        <a:pt x="1625" y="296"/>
                      </a:lnTo>
                      <a:lnTo>
                        <a:pt x="1621" y="294"/>
                      </a:lnTo>
                      <a:lnTo>
                        <a:pt x="1615" y="292"/>
                      </a:lnTo>
                      <a:lnTo>
                        <a:pt x="1602" y="289"/>
                      </a:lnTo>
                      <a:lnTo>
                        <a:pt x="1589" y="286"/>
                      </a:lnTo>
                      <a:lnTo>
                        <a:pt x="1578" y="281"/>
                      </a:lnTo>
                      <a:lnTo>
                        <a:pt x="1567" y="275"/>
                      </a:lnTo>
                      <a:lnTo>
                        <a:pt x="1562" y="274"/>
                      </a:lnTo>
                      <a:lnTo>
                        <a:pt x="1556" y="273"/>
                      </a:lnTo>
                      <a:lnTo>
                        <a:pt x="1545" y="270"/>
                      </a:lnTo>
                      <a:lnTo>
                        <a:pt x="1541" y="269"/>
                      </a:lnTo>
                      <a:lnTo>
                        <a:pt x="1537" y="266"/>
                      </a:lnTo>
                      <a:lnTo>
                        <a:pt x="1534" y="260"/>
                      </a:lnTo>
                      <a:lnTo>
                        <a:pt x="1531" y="257"/>
                      </a:lnTo>
                      <a:lnTo>
                        <a:pt x="1527" y="255"/>
                      </a:lnTo>
                      <a:lnTo>
                        <a:pt x="1525" y="255"/>
                      </a:lnTo>
                      <a:lnTo>
                        <a:pt x="1523" y="255"/>
                      </a:lnTo>
                      <a:lnTo>
                        <a:pt x="1521" y="256"/>
                      </a:lnTo>
                      <a:lnTo>
                        <a:pt x="1518" y="255"/>
                      </a:lnTo>
                      <a:lnTo>
                        <a:pt x="1501" y="247"/>
                      </a:lnTo>
                      <a:lnTo>
                        <a:pt x="1492" y="243"/>
                      </a:lnTo>
                      <a:lnTo>
                        <a:pt x="1483" y="241"/>
                      </a:lnTo>
                      <a:lnTo>
                        <a:pt x="1483" y="240"/>
                      </a:lnTo>
                      <a:lnTo>
                        <a:pt x="1468" y="237"/>
                      </a:lnTo>
                      <a:lnTo>
                        <a:pt x="1454" y="235"/>
                      </a:lnTo>
                      <a:lnTo>
                        <a:pt x="1424" y="231"/>
                      </a:lnTo>
                      <a:lnTo>
                        <a:pt x="1418" y="231"/>
                      </a:lnTo>
                      <a:lnTo>
                        <a:pt x="1413" y="232"/>
                      </a:lnTo>
                      <a:lnTo>
                        <a:pt x="1403" y="235"/>
                      </a:lnTo>
                      <a:lnTo>
                        <a:pt x="1399" y="235"/>
                      </a:lnTo>
                      <a:lnTo>
                        <a:pt x="1396" y="234"/>
                      </a:lnTo>
                      <a:lnTo>
                        <a:pt x="1393" y="234"/>
                      </a:lnTo>
                      <a:lnTo>
                        <a:pt x="1390" y="236"/>
                      </a:lnTo>
                      <a:lnTo>
                        <a:pt x="1390" y="237"/>
                      </a:lnTo>
                      <a:lnTo>
                        <a:pt x="1390" y="238"/>
                      </a:lnTo>
                      <a:lnTo>
                        <a:pt x="1390" y="240"/>
                      </a:lnTo>
                      <a:lnTo>
                        <a:pt x="1390" y="241"/>
                      </a:lnTo>
                      <a:lnTo>
                        <a:pt x="1388" y="243"/>
                      </a:lnTo>
                      <a:lnTo>
                        <a:pt x="1386" y="247"/>
                      </a:lnTo>
                      <a:lnTo>
                        <a:pt x="1385" y="251"/>
                      </a:lnTo>
                      <a:lnTo>
                        <a:pt x="1386" y="263"/>
                      </a:lnTo>
                      <a:lnTo>
                        <a:pt x="1385" y="268"/>
                      </a:lnTo>
                      <a:lnTo>
                        <a:pt x="1382" y="273"/>
                      </a:lnTo>
                      <a:lnTo>
                        <a:pt x="1377" y="276"/>
                      </a:lnTo>
                      <a:lnTo>
                        <a:pt x="1374" y="279"/>
                      </a:lnTo>
                      <a:lnTo>
                        <a:pt x="1370" y="279"/>
                      </a:lnTo>
                      <a:lnTo>
                        <a:pt x="1366" y="277"/>
                      </a:lnTo>
                      <a:lnTo>
                        <a:pt x="1363" y="276"/>
                      </a:lnTo>
                      <a:lnTo>
                        <a:pt x="1361" y="273"/>
                      </a:lnTo>
                      <a:lnTo>
                        <a:pt x="1356" y="267"/>
                      </a:lnTo>
                      <a:lnTo>
                        <a:pt x="1352" y="262"/>
                      </a:lnTo>
                      <a:lnTo>
                        <a:pt x="1344" y="257"/>
                      </a:lnTo>
                      <a:lnTo>
                        <a:pt x="1338" y="251"/>
                      </a:lnTo>
                      <a:lnTo>
                        <a:pt x="1333" y="245"/>
                      </a:lnTo>
                      <a:lnTo>
                        <a:pt x="1329" y="238"/>
                      </a:lnTo>
                      <a:lnTo>
                        <a:pt x="1322" y="242"/>
                      </a:lnTo>
                      <a:lnTo>
                        <a:pt x="1318" y="243"/>
                      </a:lnTo>
                      <a:lnTo>
                        <a:pt x="1313" y="244"/>
                      </a:lnTo>
                      <a:lnTo>
                        <a:pt x="1302" y="243"/>
                      </a:lnTo>
                      <a:lnTo>
                        <a:pt x="1292" y="242"/>
                      </a:lnTo>
                      <a:lnTo>
                        <a:pt x="1281" y="242"/>
                      </a:lnTo>
                      <a:lnTo>
                        <a:pt x="1276" y="242"/>
                      </a:lnTo>
                      <a:lnTo>
                        <a:pt x="1272" y="244"/>
                      </a:lnTo>
                      <a:lnTo>
                        <a:pt x="1264" y="245"/>
                      </a:lnTo>
                      <a:lnTo>
                        <a:pt x="1257" y="245"/>
                      </a:lnTo>
                      <a:lnTo>
                        <a:pt x="1257" y="244"/>
                      </a:lnTo>
                      <a:lnTo>
                        <a:pt x="1244" y="244"/>
                      </a:lnTo>
                      <a:lnTo>
                        <a:pt x="1236" y="244"/>
                      </a:lnTo>
                      <a:lnTo>
                        <a:pt x="1231" y="247"/>
                      </a:lnTo>
                      <a:lnTo>
                        <a:pt x="1221" y="251"/>
                      </a:lnTo>
                      <a:lnTo>
                        <a:pt x="1220" y="253"/>
                      </a:lnTo>
                      <a:lnTo>
                        <a:pt x="1219" y="255"/>
                      </a:lnTo>
                      <a:lnTo>
                        <a:pt x="1216" y="258"/>
                      </a:lnTo>
                      <a:lnTo>
                        <a:pt x="1216" y="260"/>
                      </a:lnTo>
                      <a:lnTo>
                        <a:pt x="1214" y="258"/>
                      </a:lnTo>
                      <a:lnTo>
                        <a:pt x="1211" y="257"/>
                      </a:lnTo>
                      <a:lnTo>
                        <a:pt x="1203" y="250"/>
                      </a:lnTo>
                      <a:lnTo>
                        <a:pt x="1196" y="243"/>
                      </a:lnTo>
                      <a:lnTo>
                        <a:pt x="1193" y="241"/>
                      </a:lnTo>
                      <a:lnTo>
                        <a:pt x="1192" y="238"/>
                      </a:lnTo>
                      <a:lnTo>
                        <a:pt x="1192" y="234"/>
                      </a:lnTo>
                      <a:lnTo>
                        <a:pt x="1192" y="229"/>
                      </a:lnTo>
                      <a:lnTo>
                        <a:pt x="1192" y="225"/>
                      </a:lnTo>
                      <a:lnTo>
                        <a:pt x="1191" y="221"/>
                      </a:lnTo>
                      <a:lnTo>
                        <a:pt x="1186" y="216"/>
                      </a:lnTo>
                      <a:lnTo>
                        <a:pt x="1179" y="212"/>
                      </a:lnTo>
                      <a:lnTo>
                        <a:pt x="1174" y="209"/>
                      </a:lnTo>
                      <a:lnTo>
                        <a:pt x="1160" y="204"/>
                      </a:lnTo>
                      <a:lnTo>
                        <a:pt x="1146" y="202"/>
                      </a:lnTo>
                      <a:lnTo>
                        <a:pt x="1132" y="202"/>
                      </a:lnTo>
                      <a:lnTo>
                        <a:pt x="1112" y="204"/>
                      </a:lnTo>
                      <a:lnTo>
                        <a:pt x="1092" y="208"/>
                      </a:lnTo>
                      <a:lnTo>
                        <a:pt x="1085" y="209"/>
                      </a:lnTo>
                      <a:lnTo>
                        <a:pt x="1079" y="208"/>
                      </a:lnTo>
                      <a:lnTo>
                        <a:pt x="1079" y="210"/>
                      </a:lnTo>
                      <a:lnTo>
                        <a:pt x="1071" y="209"/>
                      </a:lnTo>
                      <a:lnTo>
                        <a:pt x="1064" y="209"/>
                      </a:lnTo>
                      <a:lnTo>
                        <a:pt x="1052" y="206"/>
                      </a:lnTo>
                      <a:lnTo>
                        <a:pt x="1042" y="204"/>
                      </a:lnTo>
                      <a:lnTo>
                        <a:pt x="1038" y="203"/>
                      </a:lnTo>
                      <a:lnTo>
                        <a:pt x="1035" y="200"/>
                      </a:lnTo>
                      <a:lnTo>
                        <a:pt x="1028" y="194"/>
                      </a:lnTo>
                      <a:lnTo>
                        <a:pt x="1028" y="193"/>
                      </a:lnTo>
                      <a:lnTo>
                        <a:pt x="1027" y="189"/>
                      </a:lnTo>
                      <a:lnTo>
                        <a:pt x="1024" y="185"/>
                      </a:lnTo>
                      <a:lnTo>
                        <a:pt x="1019" y="178"/>
                      </a:lnTo>
                      <a:lnTo>
                        <a:pt x="1019" y="175"/>
                      </a:lnTo>
                      <a:lnTo>
                        <a:pt x="1021" y="172"/>
                      </a:lnTo>
                      <a:lnTo>
                        <a:pt x="1021" y="170"/>
                      </a:lnTo>
                      <a:lnTo>
                        <a:pt x="1019" y="168"/>
                      </a:lnTo>
                      <a:lnTo>
                        <a:pt x="1005" y="165"/>
                      </a:lnTo>
                      <a:lnTo>
                        <a:pt x="989" y="162"/>
                      </a:lnTo>
                      <a:lnTo>
                        <a:pt x="981" y="162"/>
                      </a:lnTo>
                      <a:lnTo>
                        <a:pt x="975" y="164"/>
                      </a:lnTo>
                      <a:lnTo>
                        <a:pt x="969" y="166"/>
                      </a:lnTo>
                      <a:lnTo>
                        <a:pt x="963" y="171"/>
                      </a:lnTo>
                      <a:lnTo>
                        <a:pt x="960" y="175"/>
                      </a:lnTo>
                      <a:lnTo>
                        <a:pt x="957" y="181"/>
                      </a:lnTo>
                      <a:lnTo>
                        <a:pt x="953" y="186"/>
                      </a:lnTo>
                      <a:lnTo>
                        <a:pt x="948" y="191"/>
                      </a:lnTo>
                      <a:lnTo>
                        <a:pt x="944" y="191"/>
                      </a:lnTo>
                      <a:lnTo>
                        <a:pt x="943" y="190"/>
                      </a:lnTo>
                      <a:lnTo>
                        <a:pt x="942" y="189"/>
                      </a:lnTo>
                      <a:lnTo>
                        <a:pt x="941" y="186"/>
                      </a:lnTo>
                      <a:lnTo>
                        <a:pt x="941" y="184"/>
                      </a:lnTo>
                      <a:lnTo>
                        <a:pt x="943" y="179"/>
                      </a:lnTo>
                      <a:lnTo>
                        <a:pt x="946" y="175"/>
                      </a:lnTo>
                      <a:lnTo>
                        <a:pt x="951" y="174"/>
                      </a:lnTo>
                      <a:lnTo>
                        <a:pt x="953" y="172"/>
                      </a:lnTo>
                      <a:lnTo>
                        <a:pt x="955" y="170"/>
                      </a:lnTo>
                      <a:lnTo>
                        <a:pt x="955" y="167"/>
                      </a:lnTo>
                      <a:lnTo>
                        <a:pt x="947" y="170"/>
                      </a:lnTo>
                      <a:lnTo>
                        <a:pt x="937" y="171"/>
                      </a:lnTo>
                      <a:lnTo>
                        <a:pt x="933" y="170"/>
                      </a:lnTo>
                      <a:lnTo>
                        <a:pt x="929" y="168"/>
                      </a:lnTo>
                      <a:lnTo>
                        <a:pt x="927" y="167"/>
                      </a:lnTo>
                      <a:lnTo>
                        <a:pt x="927" y="164"/>
                      </a:lnTo>
                      <a:lnTo>
                        <a:pt x="927" y="160"/>
                      </a:lnTo>
                      <a:lnTo>
                        <a:pt x="929" y="158"/>
                      </a:lnTo>
                      <a:lnTo>
                        <a:pt x="933" y="158"/>
                      </a:lnTo>
                      <a:lnTo>
                        <a:pt x="938" y="158"/>
                      </a:lnTo>
                      <a:lnTo>
                        <a:pt x="948" y="159"/>
                      </a:lnTo>
                      <a:lnTo>
                        <a:pt x="953" y="159"/>
                      </a:lnTo>
                      <a:lnTo>
                        <a:pt x="957" y="158"/>
                      </a:lnTo>
                      <a:lnTo>
                        <a:pt x="930" y="153"/>
                      </a:lnTo>
                      <a:lnTo>
                        <a:pt x="904" y="147"/>
                      </a:lnTo>
                      <a:lnTo>
                        <a:pt x="896" y="147"/>
                      </a:lnTo>
                      <a:lnTo>
                        <a:pt x="890" y="148"/>
                      </a:lnTo>
                      <a:lnTo>
                        <a:pt x="876" y="151"/>
                      </a:lnTo>
                      <a:lnTo>
                        <a:pt x="873" y="151"/>
                      </a:lnTo>
                      <a:lnTo>
                        <a:pt x="869" y="149"/>
                      </a:lnTo>
                      <a:lnTo>
                        <a:pt x="867" y="149"/>
                      </a:lnTo>
                      <a:lnTo>
                        <a:pt x="864" y="149"/>
                      </a:lnTo>
                      <a:lnTo>
                        <a:pt x="862" y="151"/>
                      </a:lnTo>
                      <a:lnTo>
                        <a:pt x="861" y="154"/>
                      </a:lnTo>
                      <a:lnTo>
                        <a:pt x="861" y="157"/>
                      </a:lnTo>
                      <a:lnTo>
                        <a:pt x="859" y="158"/>
                      </a:lnTo>
                      <a:lnTo>
                        <a:pt x="854" y="159"/>
                      </a:lnTo>
                      <a:lnTo>
                        <a:pt x="848" y="159"/>
                      </a:lnTo>
                      <a:lnTo>
                        <a:pt x="844" y="160"/>
                      </a:lnTo>
                      <a:lnTo>
                        <a:pt x="843" y="161"/>
                      </a:lnTo>
                      <a:lnTo>
                        <a:pt x="843" y="164"/>
                      </a:lnTo>
                      <a:lnTo>
                        <a:pt x="844" y="166"/>
                      </a:lnTo>
                      <a:lnTo>
                        <a:pt x="847" y="168"/>
                      </a:lnTo>
                      <a:lnTo>
                        <a:pt x="849" y="170"/>
                      </a:lnTo>
                      <a:lnTo>
                        <a:pt x="852" y="171"/>
                      </a:lnTo>
                      <a:lnTo>
                        <a:pt x="852" y="172"/>
                      </a:lnTo>
                      <a:lnTo>
                        <a:pt x="849" y="174"/>
                      </a:lnTo>
                      <a:lnTo>
                        <a:pt x="847" y="175"/>
                      </a:lnTo>
                      <a:lnTo>
                        <a:pt x="845" y="178"/>
                      </a:lnTo>
                      <a:lnTo>
                        <a:pt x="844" y="180"/>
                      </a:lnTo>
                      <a:lnTo>
                        <a:pt x="844" y="185"/>
                      </a:lnTo>
                      <a:lnTo>
                        <a:pt x="847" y="190"/>
                      </a:lnTo>
                      <a:lnTo>
                        <a:pt x="845" y="191"/>
                      </a:lnTo>
                      <a:lnTo>
                        <a:pt x="839" y="190"/>
                      </a:lnTo>
                      <a:lnTo>
                        <a:pt x="833" y="189"/>
                      </a:lnTo>
                      <a:lnTo>
                        <a:pt x="826" y="189"/>
                      </a:lnTo>
                      <a:lnTo>
                        <a:pt x="824" y="189"/>
                      </a:lnTo>
                      <a:lnTo>
                        <a:pt x="821" y="191"/>
                      </a:lnTo>
                      <a:lnTo>
                        <a:pt x="820" y="191"/>
                      </a:lnTo>
                      <a:lnTo>
                        <a:pt x="820" y="193"/>
                      </a:lnTo>
                      <a:lnTo>
                        <a:pt x="821" y="194"/>
                      </a:lnTo>
                      <a:lnTo>
                        <a:pt x="820" y="196"/>
                      </a:lnTo>
                      <a:lnTo>
                        <a:pt x="819" y="196"/>
                      </a:lnTo>
                      <a:lnTo>
                        <a:pt x="816" y="196"/>
                      </a:lnTo>
                      <a:lnTo>
                        <a:pt x="814" y="198"/>
                      </a:lnTo>
                      <a:lnTo>
                        <a:pt x="810" y="199"/>
                      </a:lnTo>
                      <a:lnTo>
                        <a:pt x="807" y="199"/>
                      </a:lnTo>
                      <a:lnTo>
                        <a:pt x="803" y="199"/>
                      </a:lnTo>
                      <a:lnTo>
                        <a:pt x="796" y="197"/>
                      </a:lnTo>
                      <a:lnTo>
                        <a:pt x="789" y="193"/>
                      </a:lnTo>
                      <a:lnTo>
                        <a:pt x="782" y="192"/>
                      </a:lnTo>
                      <a:lnTo>
                        <a:pt x="776" y="191"/>
                      </a:lnTo>
                      <a:lnTo>
                        <a:pt x="768" y="192"/>
                      </a:lnTo>
                      <a:lnTo>
                        <a:pt x="760" y="196"/>
                      </a:lnTo>
                      <a:lnTo>
                        <a:pt x="756" y="197"/>
                      </a:lnTo>
                      <a:lnTo>
                        <a:pt x="753" y="197"/>
                      </a:lnTo>
                      <a:lnTo>
                        <a:pt x="748" y="197"/>
                      </a:lnTo>
                      <a:lnTo>
                        <a:pt x="744" y="194"/>
                      </a:lnTo>
                      <a:lnTo>
                        <a:pt x="740" y="192"/>
                      </a:lnTo>
                      <a:lnTo>
                        <a:pt x="737" y="190"/>
                      </a:lnTo>
                      <a:lnTo>
                        <a:pt x="735" y="186"/>
                      </a:lnTo>
                      <a:lnTo>
                        <a:pt x="735" y="183"/>
                      </a:lnTo>
                      <a:lnTo>
                        <a:pt x="732" y="183"/>
                      </a:lnTo>
                      <a:lnTo>
                        <a:pt x="729" y="187"/>
                      </a:lnTo>
                      <a:lnTo>
                        <a:pt x="725" y="191"/>
                      </a:lnTo>
                      <a:lnTo>
                        <a:pt x="721" y="194"/>
                      </a:lnTo>
                      <a:lnTo>
                        <a:pt x="718" y="196"/>
                      </a:lnTo>
                      <a:lnTo>
                        <a:pt x="715" y="196"/>
                      </a:lnTo>
                      <a:lnTo>
                        <a:pt x="713" y="197"/>
                      </a:lnTo>
                      <a:lnTo>
                        <a:pt x="712" y="198"/>
                      </a:lnTo>
                      <a:lnTo>
                        <a:pt x="711" y="200"/>
                      </a:lnTo>
                      <a:lnTo>
                        <a:pt x="711" y="203"/>
                      </a:lnTo>
                      <a:lnTo>
                        <a:pt x="711" y="209"/>
                      </a:lnTo>
                      <a:lnTo>
                        <a:pt x="709" y="213"/>
                      </a:lnTo>
                      <a:lnTo>
                        <a:pt x="709" y="215"/>
                      </a:lnTo>
                      <a:lnTo>
                        <a:pt x="708" y="215"/>
                      </a:lnTo>
                      <a:lnTo>
                        <a:pt x="703" y="213"/>
                      </a:lnTo>
                      <a:lnTo>
                        <a:pt x="699" y="210"/>
                      </a:lnTo>
                      <a:lnTo>
                        <a:pt x="690" y="202"/>
                      </a:lnTo>
                      <a:lnTo>
                        <a:pt x="687" y="199"/>
                      </a:lnTo>
                      <a:lnTo>
                        <a:pt x="678" y="197"/>
                      </a:lnTo>
                      <a:lnTo>
                        <a:pt x="669" y="193"/>
                      </a:lnTo>
                      <a:lnTo>
                        <a:pt x="665" y="191"/>
                      </a:lnTo>
                      <a:lnTo>
                        <a:pt x="662" y="187"/>
                      </a:lnTo>
                      <a:lnTo>
                        <a:pt x="660" y="184"/>
                      </a:lnTo>
                      <a:lnTo>
                        <a:pt x="659" y="180"/>
                      </a:lnTo>
                      <a:lnTo>
                        <a:pt x="655" y="179"/>
                      </a:lnTo>
                      <a:lnTo>
                        <a:pt x="651" y="177"/>
                      </a:lnTo>
                      <a:lnTo>
                        <a:pt x="647" y="173"/>
                      </a:lnTo>
                      <a:lnTo>
                        <a:pt x="645" y="170"/>
                      </a:lnTo>
                      <a:lnTo>
                        <a:pt x="652" y="170"/>
                      </a:lnTo>
                      <a:lnTo>
                        <a:pt x="655" y="168"/>
                      </a:lnTo>
                      <a:lnTo>
                        <a:pt x="657" y="166"/>
                      </a:lnTo>
                      <a:lnTo>
                        <a:pt x="657" y="159"/>
                      </a:lnTo>
                      <a:lnTo>
                        <a:pt x="655" y="152"/>
                      </a:lnTo>
                      <a:lnTo>
                        <a:pt x="651" y="147"/>
                      </a:lnTo>
                      <a:lnTo>
                        <a:pt x="646" y="142"/>
                      </a:lnTo>
                      <a:lnTo>
                        <a:pt x="638" y="139"/>
                      </a:lnTo>
                      <a:lnTo>
                        <a:pt x="632" y="135"/>
                      </a:lnTo>
                      <a:lnTo>
                        <a:pt x="617" y="132"/>
                      </a:lnTo>
                      <a:lnTo>
                        <a:pt x="614" y="129"/>
                      </a:lnTo>
                      <a:lnTo>
                        <a:pt x="613" y="127"/>
                      </a:lnTo>
                      <a:lnTo>
                        <a:pt x="609" y="127"/>
                      </a:lnTo>
                      <a:lnTo>
                        <a:pt x="608" y="129"/>
                      </a:lnTo>
                      <a:lnTo>
                        <a:pt x="603" y="134"/>
                      </a:lnTo>
                      <a:lnTo>
                        <a:pt x="594" y="133"/>
                      </a:lnTo>
                      <a:lnTo>
                        <a:pt x="585" y="132"/>
                      </a:lnTo>
                      <a:lnTo>
                        <a:pt x="577" y="128"/>
                      </a:lnTo>
                      <a:lnTo>
                        <a:pt x="570" y="125"/>
                      </a:lnTo>
                      <a:lnTo>
                        <a:pt x="567" y="125"/>
                      </a:lnTo>
                      <a:lnTo>
                        <a:pt x="566" y="125"/>
                      </a:lnTo>
                      <a:lnTo>
                        <a:pt x="563" y="126"/>
                      </a:lnTo>
                      <a:lnTo>
                        <a:pt x="562" y="126"/>
                      </a:lnTo>
                      <a:lnTo>
                        <a:pt x="558" y="123"/>
                      </a:lnTo>
                      <a:lnTo>
                        <a:pt x="557" y="122"/>
                      </a:lnTo>
                      <a:lnTo>
                        <a:pt x="556" y="125"/>
                      </a:lnTo>
                      <a:lnTo>
                        <a:pt x="556" y="136"/>
                      </a:lnTo>
                      <a:lnTo>
                        <a:pt x="556" y="145"/>
                      </a:lnTo>
                      <a:lnTo>
                        <a:pt x="556" y="147"/>
                      </a:lnTo>
                      <a:lnTo>
                        <a:pt x="555" y="149"/>
                      </a:lnTo>
                      <a:lnTo>
                        <a:pt x="549" y="154"/>
                      </a:lnTo>
                      <a:lnTo>
                        <a:pt x="547" y="154"/>
                      </a:lnTo>
                      <a:lnTo>
                        <a:pt x="543" y="154"/>
                      </a:lnTo>
                      <a:lnTo>
                        <a:pt x="539" y="153"/>
                      </a:lnTo>
                      <a:lnTo>
                        <a:pt x="536" y="154"/>
                      </a:lnTo>
                      <a:lnTo>
                        <a:pt x="533" y="154"/>
                      </a:lnTo>
                      <a:lnTo>
                        <a:pt x="530" y="153"/>
                      </a:lnTo>
                      <a:lnTo>
                        <a:pt x="529" y="152"/>
                      </a:lnTo>
                      <a:lnTo>
                        <a:pt x="527" y="152"/>
                      </a:lnTo>
                      <a:lnTo>
                        <a:pt x="525" y="152"/>
                      </a:lnTo>
                      <a:lnTo>
                        <a:pt x="523" y="152"/>
                      </a:lnTo>
                      <a:lnTo>
                        <a:pt x="520" y="154"/>
                      </a:lnTo>
                      <a:lnTo>
                        <a:pt x="518" y="154"/>
                      </a:lnTo>
                      <a:lnTo>
                        <a:pt x="513" y="154"/>
                      </a:lnTo>
                      <a:lnTo>
                        <a:pt x="508" y="152"/>
                      </a:lnTo>
                      <a:lnTo>
                        <a:pt x="504" y="149"/>
                      </a:lnTo>
                      <a:lnTo>
                        <a:pt x="501" y="149"/>
                      </a:lnTo>
                      <a:lnTo>
                        <a:pt x="499" y="149"/>
                      </a:lnTo>
                      <a:lnTo>
                        <a:pt x="496" y="148"/>
                      </a:lnTo>
                      <a:lnTo>
                        <a:pt x="495" y="147"/>
                      </a:lnTo>
                      <a:lnTo>
                        <a:pt x="494" y="142"/>
                      </a:lnTo>
                      <a:lnTo>
                        <a:pt x="491" y="141"/>
                      </a:lnTo>
                      <a:lnTo>
                        <a:pt x="483" y="141"/>
                      </a:lnTo>
                      <a:lnTo>
                        <a:pt x="476" y="139"/>
                      </a:lnTo>
                      <a:lnTo>
                        <a:pt x="473" y="139"/>
                      </a:lnTo>
                      <a:lnTo>
                        <a:pt x="472" y="140"/>
                      </a:lnTo>
                      <a:lnTo>
                        <a:pt x="468" y="141"/>
                      </a:lnTo>
                      <a:lnTo>
                        <a:pt x="467" y="141"/>
                      </a:lnTo>
                      <a:lnTo>
                        <a:pt x="464" y="141"/>
                      </a:lnTo>
                      <a:lnTo>
                        <a:pt x="462" y="139"/>
                      </a:lnTo>
                      <a:lnTo>
                        <a:pt x="458" y="138"/>
                      </a:lnTo>
                      <a:lnTo>
                        <a:pt x="450" y="136"/>
                      </a:lnTo>
                      <a:lnTo>
                        <a:pt x="443" y="135"/>
                      </a:lnTo>
                      <a:lnTo>
                        <a:pt x="435" y="134"/>
                      </a:lnTo>
                      <a:lnTo>
                        <a:pt x="426" y="134"/>
                      </a:lnTo>
                      <a:lnTo>
                        <a:pt x="420" y="135"/>
                      </a:lnTo>
                      <a:lnTo>
                        <a:pt x="417" y="135"/>
                      </a:lnTo>
                      <a:lnTo>
                        <a:pt x="415" y="135"/>
                      </a:lnTo>
                      <a:lnTo>
                        <a:pt x="411" y="134"/>
                      </a:lnTo>
                      <a:lnTo>
                        <a:pt x="407" y="132"/>
                      </a:lnTo>
                      <a:lnTo>
                        <a:pt x="401" y="127"/>
                      </a:lnTo>
                      <a:lnTo>
                        <a:pt x="398" y="125"/>
                      </a:lnTo>
                      <a:lnTo>
                        <a:pt x="396" y="125"/>
                      </a:lnTo>
                      <a:lnTo>
                        <a:pt x="393" y="125"/>
                      </a:lnTo>
                      <a:lnTo>
                        <a:pt x="392" y="127"/>
                      </a:lnTo>
                      <a:lnTo>
                        <a:pt x="392" y="130"/>
                      </a:lnTo>
                      <a:lnTo>
                        <a:pt x="393" y="133"/>
                      </a:lnTo>
                      <a:lnTo>
                        <a:pt x="395" y="135"/>
                      </a:lnTo>
                      <a:lnTo>
                        <a:pt x="396" y="138"/>
                      </a:lnTo>
                      <a:lnTo>
                        <a:pt x="397" y="141"/>
                      </a:lnTo>
                      <a:lnTo>
                        <a:pt x="396" y="145"/>
                      </a:lnTo>
                      <a:lnTo>
                        <a:pt x="395" y="147"/>
                      </a:lnTo>
                      <a:lnTo>
                        <a:pt x="393" y="148"/>
                      </a:lnTo>
                      <a:lnTo>
                        <a:pt x="391" y="147"/>
                      </a:lnTo>
                      <a:lnTo>
                        <a:pt x="389" y="145"/>
                      </a:lnTo>
                      <a:lnTo>
                        <a:pt x="386" y="139"/>
                      </a:lnTo>
                      <a:lnTo>
                        <a:pt x="379" y="130"/>
                      </a:lnTo>
                      <a:lnTo>
                        <a:pt x="373" y="122"/>
                      </a:lnTo>
                      <a:lnTo>
                        <a:pt x="368" y="119"/>
                      </a:lnTo>
                      <a:lnTo>
                        <a:pt x="364" y="116"/>
                      </a:lnTo>
                      <a:lnTo>
                        <a:pt x="359" y="114"/>
                      </a:lnTo>
                      <a:lnTo>
                        <a:pt x="353" y="114"/>
                      </a:lnTo>
                      <a:lnTo>
                        <a:pt x="350" y="114"/>
                      </a:lnTo>
                      <a:lnTo>
                        <a:pt x="346" y="115"/>
                      </a:lnTo>
                      <a:lnTo>
                        <a:pt x="340" y="119"/>
                      </a:lnTo>
                      <a:lnTo>
                        <a:pt x="337" y="120"/>
                      </a:lnTo>
                      <a:lnTo>
                        <a:pt x="336" y="122"/>
                      </a:lnTo>
                      <a:lnTo>
                        <a:pt x="337" y="129"/>
                      </a:lnTo>
                      <a:lnTo>
                        <a:pt x="332" y="129"/>
                      </a:lnTo>
                      <a:lnTo>
                        <a:pt x="329" y="132"/>
                      </a:lnTo>
                      <a:lnTo>
                        <a:pt x="318" y="135"/>
                      </a:lnTo>
                      <a:lnTo>
                        <a:pt x="311" y="138"/>
                      </a:lnTo>
                      <a:lnTo>
                        <a:pt x="307" y="139"/>
                      </a:lnTo>
                      <a:lnTo>
                        <a:pt x="303" y="138"/>
                      </a:lnTo>
                      <a:lnTo>
                        <a:pt x="298" y="136"/>
                      </a:lnTo>
                      <a:lnTo>
                        <a:pt x="293" y="136"/>
                      </a:lnTo>
                      <a:lnTo>
                        <a:pt x="288" y="138"/>
                      </a:lnTo>
                      <a:lnTo>
                        <a:pt x="283" y="139"/>
                      </a:lnTo>
                      <a:lnTo>
                        <a:pt x="274" y="145"/>
                      </a:lnTo>
                      <a:lnTo>
                        <a:pt x="265" y="151"/>
                      </a:lnTo>
                      <a:lnTo>
                        <a:pt x="262" y="152"/>
                      </a:lnTo>
                      <a:lnTo>
                        <a:pt x="261" y="152"/>
                      </a:lnTo>
                      <a:lnTo>
                        <a:pt x="256" y="152"/>
                      </a:lnTo>
                      <a:lnTo>
                        <a:pt x="251" y="149"/>
                      </a:lnTo>
                      <a:lnTo>
                        <a:pt x="246" y="149"/>
                      </a:lnTo>
                      <a:lnTo>
                        <a:pt x="245" y="149"/>
                      </a:lnTo>
                      <a:lnTo>
                        <a:pt x="243" y="149"/>
                      </a:lnTo>
                      <a:lnTo>
                        <a:pt x="242" y="148"/>
                      </a:lnTo>
                      <a:lnTo>
                        <a:pt x="242" y="147"/>
                      </a:lnTo>
                      <a:lnTo>
                        <a:pt x="249" y="145"/>
                      </a:lnTo>
                      <a:lnTo>
                        <a:pt x="255" y="142"/>
                      </a:lnTo>
                      <a:lnTo>
                        <a:pt x="261" y="140"/>
                      </a:lnTo>
                      <a:lnTo>
                        <a:pt x="266" y="136"/>
                      </a:lnTo>
                      <a:lnTo>
                        <a:pt x="273" y="134"/>
                      </a:lnTo>
                      <a:lnTo>
                        <a:pt x="279" y="132"/>
                      </a:lnTo>
                      <a:lnTo>
                        <a:pt x="284" y="130"/>
                      </a:lnTo>
                      <a:lnTo>
                        <a:pt x="288" y="128"/>
                      </a:lnTo>
                      <a:lnTo>
                        <a:pt x="292" y="125"/>
                      </a:lnTo>
                      <a:lnTo>
                        <a:pt x="296" y="120"/>
                      </a:lnTo>
                      <a:lnTo>
                        <a:pt x="301" y="117"/>
                      </a:lnTo>
                      <a:lnTo>
                        <a:pt x="307" y="116"/>
                      </a:lnTo>
                      <a:lnTo>
                        <a:pt x="309" y="116"/>
                      </a:lnTo>
                      <a:lnTo>
                        <a:pt x="313" y="115"/>
                      </a:lnTo>
                      <a:lnTo>
                        <a:pt x="318" y="111"/>
                      </a:lnTo>
                      <a:lnTo>
                        <a:pt x="322" y="108"/>
                      </a:lnTo>
                      <a:lnTo>
                        <a:pt x="327" y="104"/>
                      </a:lnTo>
                      <a:lnTo>
                        <a:pt x="331" y="102"/>
                      </a:lnTo>
                      <a:lnTo>
                        <a:pt x="335" y="101"/>
                      </a:lnTo>
                      <a:lnTo>
                        <a:pt x="337" y="101"/>
                      </a:lnTo>
                      <a:lnTo>
                        <a:pt x="345" y="100"/>
                      </a:lnTo>
                      <a:lnTo>
                        <a:pt x="349" y="97"/>
                      </a:lnTo>
                      <a:lnTo>
                        <a:pt x="353" y="95"/>
                      </a:lnTo>
                      <a:lnTo>
                        <a:pt x="362" y="89"/>
                      </a:lnTo>
                      <a:lnTo>
                        <a:pt x="372" y="84"/>
                      </a:lnTo>
                      <a:lnTo>
                        <a:pt x="381" y="81"/>
                      </a:lnTo>
                      <a:lnTo>
                        <a:pt x="382" y="79"/>
                      </a:lnTo>
                      <a:lnTo>
                        <a:pt x="383" y="78"/>
                      </a:lnTo>
                      <a:lnTo>
                        <a:pt x="384" y="75"/>
                      </a:lnTo>
                      <a:lnTo>
                        <a:pt x="387" y="70"/>
                      </a:lnTo>
                      <a:lnTo>
                        <a:pt x="387" y="69"/>
                      </a:lnTo>
                      <a:lnTo>
                        <a:pt x="386" y="66"/>
                      </a:lnTo>
                      <a:lnTo>
                        <a:pt x="386" y="62"/>
                      </a:lnTo>
                      <a:lnTo>
                        <a:pt x="388" y="56"/>
                      </a:lnTo>
                      <a:lnTo>
                        <a:pt x="391" y="50"/>
                      </a:lnTo>
                      <a:lnTo>
                        <a:pt x="389" y="47"/>
                      </a:lnTo>
                      <a:lnTo>
                        <a:pt x="387" y="44"/>
                      </a:lnTo>
                      <a:lnTo>
                        <a:pt x="384" y="42"/>
                      </a:lnTo>
                      <a:lnTo>
                        <a:pt x="382" y="42"/>
                      </a:lnTo>
                      <a:lnTo>
                        <a:pt x="377" y="42"/>
                      </a:lnTo>
                      <a:lnTo>
                        <a:pt x="373" y="39"/>
                      </a:lnTo>
                      <a:lnTo>
                        <a:pt x="370" y="36"/>
                      </a:lnTo>
                      <a:lnTo>
                        <a:pt x="365" y="34"/>
                      </a:lnTo>
                      <a:lnTo>
                        <a:pt x="355" y="33"/>
                      </a:lnTo>
                      <a:lnTo>
                        <a:pt x="341" y="33"/>
                      </a:lnTo>
                      <a:lnTo>
                        <a:pt x="336" y="34"/>
                      </a:lnTo>
                      <a:lnTo>
                        <a:pt x="334" y="36"/>
                      </a:lnTo>
                      <a:lnTo>
                        <a:pt x="329" y="37"/>
                      </a:lnTo>
                      <a:lnTo>
                        <a:pt x="321" y="34"/>
                      </a:lnTo>
                      <a:lnTo>
                        <a:pt x="316" y="33"/>
                      </a:lnTo>
                      <a:lnTo>
                        <a:pt x="311" y="33"/>
                      </a:lnTo>
                      <a:lnTo>
                        <a:pt x="301" y="34"/>
                      </a:lnTo>
                      <a:lnTo>
                        <a:pt x="289" y="34"/>
                      </a:lnTo>
                      <a:lnTo>
                        <a:pt x="284" y="36"/>
                      </a:lnTo>
                      <a:lnTo>
                        <a:pt x="279" y="37"/>
                      </a:lnTo>
                      <a:lnTo>
                        <a:pt x="275" y="39"/>
                      </a:lnTo>
                      <a:lnTo>
                        <a:pt x="273" y="39"/>
                      </a:lnTo>
                      <a:lnTo>
                        <a:pt x="271" y="39"/>
                      </a:lnTo>
                      <a:lnTo>
                        <a:pt x="269" y="36"/>
                      </a:lnTo>
                      <a:lnTo>
                        <a:pt x="268" y="34"/>
                      </a:lnTo>
                      <a:lnTo>
                        <a:pt x="269" y="32"/>
                      </a:lnTo>
                      <a:lnTo>
                        <a:pt x="273" y="30"/>
                      </a:lnTo>
                      <a:lnTo>
                        <a:pt x="276" y="27"/>
                      </a:lnTo>
                      <a:lnTo>
                        <a:pt x="280" y="25"/>
                      </a:lnTo>
                      <a:lnTo>
                        <a:pt x="282" y="24"/>
                      </a:lnTo>
                      <a:lnTo>
                        <a:pt x="282" y="21"/>
                      </a:lnTo>
                      <a:lnTo>
                        <a:pt x="280" y="14"/>
                      </a:lnTo>
                      <a:lnTo>
                        <a:pt x="279" y="10"/>
                      </a:lnTo>
                      <a:lnTo>
                        <a:pt x="275" y="7"/>
                      </a:lnTo>
                      <a:lnTo>
                        <a:pt x="270" y="6"/>
                      </a:lnTo>
                      <a:lnTo>
                        <a:pt x="261" y="5"/>
                      </a:lnTo>
                      <a:lnTo>
                        <a:pt x="255" y="5"/>
                      </a:lnTo>
                      <a:lnTo>
                        <a:pt x="241" y="2"/>
                      </a:lnTo>
                      <a:lnTo>
                        <a:pt x="236" y="1"/>
                      </a:lnTo>
                      <a:lnTo>
                        <a:pt x="233" y="0"/>
                      </a:lnTo>
                      <a:lnTo>
                        <a:pt x="231" y="0"/>
                      </a:lnTo>
                      <a:lnTo>
                        <a:pt x="223" y="2"/>
                      </a:lnTo>
                      <a:lnTo>
                        <a:pt x="217" y="5"/>
                      </a:lnTo>
                      <a:lnTo>
                        <a:pt x="205" y="11"/>
                      </a:lnTo>
                      <a:lnTo>
                        <a:pt x="199" y="13"/>
                      </a:lnTo>
                      <a:lnTo>
                        <a:pt x="195" y="15"/>
                      </a:lnTo>
                      <a:lnTo>
                        <a:pt x="193" y="18"/>
                      </a:lnTo>
                      <a:lnTo>
                        <a:pt x="191" y="21"/>
                      </a:lnTo>
                      <a:lnTo>
                        <a:pt x="191" y="24"/>
                      </a:lnTo>
                      <a:lnTo>
                        <a:pt x="190" y="25"/>
                      </a:lnTo>
                      <a:lnTo>
                        <a:pt x="185" y="26"/>
                      </a:lnTo>
                      <a:lnTo>
                        <a:pt x="182" y="27"/>
                      </a:lnTo>
                      <a:lnTo>
                        <a:pt x="180" y="31"/>
                      </a:lnTo>
                      <a:lnTo>
                        <a:pt x="179" y="36"/>
                      </a:lnTo>
                      <a:lnTo>
                        <a:pt x="177" y="36"/>
                      </a:lnTo>
                      <a:lnTo>
                        <a:pt x="175" y="36"/>
                      </a:lnTo>
                      <a:lnTo>
                        <a:pt x="174" y="36"/>
                      </a:lnTo>
                      <a:lnTo>
                        <a:pt x="174" y="34"/>
                      </a:lnTo>
                      <a:lnTo>
                        <a:pt x="170" y="34"/>
                      </a:lnTo>
                      <a:lnTo>
                        <a:pt x="166" y="33"/>
                      </a:lnTo>
                      <a:lnTo>
                        <a:pt x="158" y="30"/>
                      </a:lnTo>
                      <a:lnTo>
                        <a:pt x="157" y="28"/>
                      </a:lnTo>
                      <a:lnTo>
                        <a:pt x="156" y="30"/>
                      </a:lnTo>
                      <a:lnTo>
                        <a:pt x="155" y="32"/>
                      </a:lnTo>
                      <a:lnTo>
                        <a:pt x="155" y="33"/>
                      </a:lnTo>
                      <a:lnTo>
                        <a:pt x="157" y="38"/>
                      </a:lnTo>
                      <a:lnTo>
                        <a:pt x="160" y="43"/>
                      </a:lnTo>
                      <a:lnTo>
                        <a:pt x="165" y="45"/>
                      </a:lnTo>
                      <a:lnTo>
                        <a:pt x="170" y="47"/>
                      </a:lnTo>
                      <a:lnTo>
                        <a:pt x="171" y="49"/>
                      </a:lnTo>
                      <a:lnTo>
                        <a:pt x="172" y="50"/>
                      </a:lnTo>
                      <a:lnTo>
                        <a:pt x="172" y="52"/>
                      </a:lnTo>
                      <a:lnTo>
                        <a:pt x="171" y="53"/>
                      </a:lnTo>
                      <a:lnTo>
                        <a:pt x="170" y="55"/>
                      </a:lnTo>
                      <a:lnTo>
                        <a:pt x="167" y="53"/>
                      </a:lnTo>
                      <a:lnTo>
                        <a:pt x="163" y="52"/>
                      </a:lnTo>
                      <a:lnTo>
                        <a:pt x="157" y="51"/>
                      </a:lnTo>
                      <a:lnTo>
                        <a:pt x="151" y="52"/>
                      </a:lnTo>
                      <a:lnTo>
                        <a:pt x="146" y="53"/>
                      </a:lnTo>
                      <a:lnTo>
                        <a:pt x="142" y="57"/>
                      </a:lnTo>
                      <a:lnTo>
                        <a:pt x="139" y="58"/>
                      </a:lnTo>
                      <a:lnTo>
                        <a:pt x="137" y="57"/>
                      </a:lnTo>
                      <a:lnTo>
                        <a:pt x="130" y="52"/>
                      </a:lnTo>
                      <a:lnTo>
                        <a:pt x="124" y="50"/>
                      </a:lnTo>
                      <a:lnTo>
                        <a:pt x="116" y="49"/>
                      </a:lnTo>
                      <a:lnTo>
                        <a:pt x="109" y="49"/>
                      </a:lnTo>
                      <a:lnTo>
                        <a:pt x="108" y="49"/>
                      </a:lnTo>
                      <a:lnTo>
                        <a:pt x="105" y="47"/>
                      </a:lnTo>
                      <a:lnTo>
                        <a:pt x="101" y="45"/>
                      </a:lnTo>
                      <a:lnTo>
                        <a:pt x="100" y="45"/>
                      </a:lnTo>
                      <a:lnTo>
                        <a:pt x="99" y="46"/>
                      </a:lnTo>
                      <a:lnTo>
                        <a:pt x="96" y="46"/>
                      </a:lnTo>
                      <a:lnTo>
                        <a:pt x="95" y="46"/>
                      </a:lnTo>
                      <a:lnTo>
                        <a:pt x="92" y="45"/>
                      </a:lnTo>
                      <a:lnTo>
                        <a:pt x="86" y="47"/>
                      </a:lnTo>
                      <a:lnTo>
                        <a:pt x="80" y="50"/>
                      </a:lnTo>
                      <a:lnTo>
                        <a:pt x="72" y="50"/>
                      </a:lnTo>
                      <a:lnTo>
                        <a:pt x="66" y="49"/>
                      </a:lnTo>
                      <a:lnTo>
                        <a:pt x="61" y="47"/>
                      </a:lnTo>
                      <a:lnTo>
                        <a:pt x="54" y="47"/>
                      </a:lnTo>
                      <a:lnTo>
                        <a:pt x="42" y="49"/>
                      </a:lnTo>
                      <a:lnTo>
                        <a:pt x="35" y="50"/>
                      </a:lnTo>
                      <a:lnTo>
                        <a:pt x="33" y="51"/>
                      </a:lnTo>
                      <a:lnTo>
                        <a:pt x="31" y="52"/>
                      </a:lnTo>
                      <a:lnTo>
                        <a:pt x="29" y="57"/>
                      </a:lnTo>
                      <a:lnTo>
                        <a:pt x="26" y="59"/>
                      </a:lnTo>
                      <a:lnTo>
                        <a:pt x="22" y="62"/>
                      </a:lnTo>
                      <a:lnTo>
                        <a:pt x="17" y="63"/>
                      </a:lnTo>
                      <a:lnTo>
                        <a:pt x="9" y="64"/>
                      </a:lnTo>
                      <a:lnTo>
                        <a:pt x="0" y="65"/>
                      </a:lnTo>
                      <a:lnTo>
                        <a:pt x="11" y="7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5" name="Freeform 1165">
                  <a:extLst>
                    <a:ext uri="{FF2B5EF4-FFF2-40B4-BE49-F238E27FC236}">
                      <a16:creationId xmlns:a16="http://schemas.microsoft.com/office/drawing/2014/main" id="{253C9339-1221-3D44-9B0C-237056F7FA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8538" y="2635337"/>
                  <a:ext cx="59195" cy="60674"/>
                </a:xfrm>
                <a:custGeom>
                  <a:avLst/>
                  <a:gdLst>
                    <a:gd name="T0" fmla="*/ 2147483647 w 44"/>
                    <a:gd name="T1" fmla="*/ 2147483647 h 41"/>
                    <a:gd name="T2" fmla="*/ 2147483647 w 44"/>
                    <a:gd name="T3" fmla="*/ 2147483647 h 41"/>
                    <a:gd name="T4" fmla="*/ 2147483647 w 44"/>
                    <a:gd name="T5" fmla="*/ 2147483647 h 41"/>
                    <a:gd name="T6" fmla="*/ 2147483647 w 44"/>
                    <a:gd name="T7" fmla="*/ 2147483647 h 41"/>
                    <a:gd name="T8" fmla="*/ 2147483647 w 44"/>
                    <a:gd name="T9" fmla="*/ 2147483647 h 41"/>
                    <a:gd name="T10" fmla="*/ 2147483647 w 44"/>
                    <a:gd name="T11" fmla="*/ 2147483647 h 41"/>
                    <a:gd name="T12" fmla="*/ 2147483647 w 44"/>
                    <a:gd name="T13" fmla="*/ 2147483647 h 41"/>
                    <a:gd name="T14" fmla="*/ 2147483647 w 44"/>
                    <a:gd name="T15" fmla="*/ 2147483647 h 41"/>
                    <a:gd name="T16" fmla="*/ 2147483647 w 44"/>
                    <a:gd name="T17" fmla="*/ 0 h 41"/>
                    <a:gd name="T18" fmla="*/ 2147483647 w 44"/>
                    <a:gd name="T19" fmla="*/ 0 h 41"/>
                    <a:gd name="T20" fmla="*/ 2147483647 w 44"/>
                    <a:gd name="T21" fmla="*/ 0 h 41"/>
                    <a:gd name="T22" fmla="*/ 2147483647 w 44"/>
                    <a:gd name="T23" fmla="*/ 2147483647 h 41"/>
                    <a:gd name="T24" fmla="*/ 2147483647 w 44"/>
                    <a:gd name="T25" fmla="*/ 2147483647 h 41"/>
                    <a:gd name="T26" fmla="*/ 2147483647 w 44"/>
                    <a:gd name="T27" fmla="*/ 0 h 41"/>
                    <a:gd name="T28" fmla="*/ 2147483647 w 44"/>
                    <a:gd name="T29" fmla="*/ 0 h 41"/>
                    <a:gd name="T30" fmla="*/ 2147483647 w 44"/>
                    <a:gd name="T31" fmla="*/ 2147483647 h 41"/>
                    <a:gd name="T32" fmla="*/ 2147483647 w 44"/>
                    <a:gd name="T33" fmla="*/ 2147483647 h 41"/>
                    <a:gd name="T34" fmla="*/ 2147483647 w 44"/>
                    <a:gd name="T35" fmla="*/ 2147483647 h 41"/>
                    <a:gd name="T36" fmla="*/ 0 w 44"/>
                    <a:gd name="T37" fmla="*/ 2147483647 h 41"/>
                    <a:gd name="T38" fmla="*/ 0 w 44"/>
                    <a:gd name="T39" fmla="*/ 2147483647 h 41"/>
                    <a:gd name="T40" fmla="*/ 0 w 44"/>
                    <a:gd name="T41" fmla="*/ 2147483647 h 41"/>
                    <a:gd name="T42" fmla="*/ 2147483647 w 44"/>
                    <a:gd name="T43" fmla="*/ 2147483647 h 41"/>
                    <a:gd name="T44" fmla="*/ 2147483647 w 44"/>
                    <a:gd name="T45" fmla="*/ 2147483647 h 41"/>
                    <a:gd name="T46" fmla="*/ 2147483647 w 44"/>
                    <a:gd name="T47" fmla="*/ 2147483647 h 41"/>
                    <a:gd name="T48" fmla="*/ 2147483647 w 44"/>
                    <a:gd name="T49" fmla="*/ 2147483647 h 41"/>
                    <a:gd name="T50" fmla="*/ 2147483647 w 44"/>
                    <a:gd name="T51" fmla="*/ 2147483647 h 41"/>
                    <a:gd name="T52" fmla="*/ 2147483647 w 44"/>
                    <a:gd name="T53" fmla="*/ 2147483647 h 41"/>
                    <a:gd name="T54" fmla="*/ 2147483647 w 44"/>
                    <a:gd name="T55" fmla="*/ 2147483647 h 41"/>
                    <a:gd name="T56" fmla="*/ 2147483647 w 44"/>
                    <a:gd name="T57" fmla="*/ 2147483647 h 41"/>
                    <a:gd name="T58" fmla="*/ 2147483647 w 44"/>
                    <a:gd name="T59" fmla="*/ 2147483647 h 41"/>
                    <a:gd name="T60" fmla="*/ 2147483647 w 44"/>
                    <a:gd name="T61" fmla="*/ 2147483647 h 41"/>
                    <a:gd name="T62" fmla="*/ 2147483647 w 44"/>
                    <a:gd name="T63" fmla="*/ 2147483647 h 41"/>
                    <a:gd name="T64" fmla="*/ 2147483647 w 44"/>
                    <a:gd name="T65" fmla="*/ 2147483647 h 41"/>
                    <a:gd name="T66" fmla="*/ 2147483647 w 44"/>
                    <a:gd name="T67" fmla="*/ 2147483647 h 41"/>
                    <a:gd name="T68" fmla="*/ 2147483647 w 44"/>
                    <a:gd name="T69" fmla="*/ 2147483647 h 41"/>
                    <a:gd name="T70" fmla="*/ 2147483647 w 44"/>
                    <a:gd name="T71" fmla="*/ 2147483647 h 41"/>
                    <a:gd name="T72" fmla="*/ 2147483647 w 44"/>
                    <a:gd name="T73" fmla="*/ 2147483647 h 4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44"/>
                    <a:gd name="T112" fmla="*/ 0 h 41"/>
                    <a:gd name="T113" fmla="*/ 44 w 44"/>
                    <a:gd name="T114" fmla="*/ 41 h 4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44" h="41">
                      <a:moveTo>
                        <a:pt x="44" y="26"/>
                      </a:moveTo>
                      <a:lnTo>
                        <a:pt x="44" y="22"/>
                      </a:lnTo>
                      <a:lnTo>
                        <a:pt x="43" y="20"/>
                      </a:lnTo>
                      <a:lnTo>
                        <a:pt x="39" y="14"/>
                      </a:lnTo>
                      <a:lnTo>
                        <a:pt x="34" y="11"/>
                      </a:lnTo>
                      <a:lnTo>
                        <a:pt x="26" y="7"/>
                      </a:lnTo>
                      <a:lnTo>
                        <a:pt x="25" y="5"/>
                      </a:lnTo>
                      <a:lnTo>
                        <a:pt x="24" y="2"/>
                      </a:lnTo>
                      <a:lnTo>
                        <a:pt x="23" y="0"/>
                      </a:lnTo>
                      <a:lnTo>
                        <a:pt x="21" y="0"/>
                      </a:lnTo>
                      <a:lnTo>
                        <a:pt x="20" y="0"/>
                      </a:lnTo>
                      <a:lnTo>
                        <a:pt x="16" y="1"/>
                      </a:lnTo>
                      <a:lnTo>
                        <a:pt x="14" y="2"/>
                      </a:lnTo>
                      <a:lnTo>
                        <a:pt x="10" y="0"/>
                      </a:lnTo>
                      <a:lnTo>
                        <a:pt x="7" y="0"/>
                      </a:lnTo>
                      <a:lnTo>
                        <a:pt x="6" y="1"/>
                      </a:lnTo>
                      <a:lnTo>
                        <a:pt x="4" y="6"/>
                      </a:lnTo>
                      <a:lnTo>
                        <a:pt x="2" y="7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7" y="19"/>
                      </a:lnTo>
                      <a:lnTo>
                        <a:pt x="9" y="24"/>
                      </a:lnTo>
                      <a:lnTo>
                        <a:pt x="10" y="28"/>
                      </a:lnTo>
                      <a:lnTo>
                        <a:pt x="14" y="37"/>
                      </a:lnTo>
                      <a:lnTo>
                        <a:pt x="16" y="39"/>
                      </a:lnTo>
                      <a:lnTo>
                        <a:pt x="19" y="41"/>
                      </a:lnTo>
                      <a:lnTo>
                        <a:pt x="24" y="41"/>
                      </a:lnTo>
                      <a:lnTo>
                        <a:pt x="29" y="41"/>
                      </a:lnTo>
                      <a:lnTo>
                        <a:pt x="40" y="38"/>
                      </a:lnTo>
                      <a:lnTo>
                        <a:pt x="42" y="38"/>
                      </a:lnTo>
                      <a:lnTo>
                        <a:pt x="43" y="37"/>
                      </a:lnTo>
                      <a:lnTo>
                        <a:pt x="44" y="33"/>
                      </a:lnTo>
                      <a:lnTo>
                        <a:pt x="43" y="30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6" name="Freeform 1166">
                  <a:extLst>
                    <a:ext uri="{FF2B5EF4-FFF2-40B4-BE49-F238E27FC236}">
                      <a16:creationId xmlns:a16="http://schemas.microsoft.com/office/drawing/2014/main" id="{FBF443A9-46A7-5941-8A0E-B77CE7084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7694" y="2582058"/>
                  <a:ext cx="48835" cy="81392"/>
                </a:xfrm>
                <a:custGeom>
                  <a:avLst/>
                  <a:gdLst>
                    <a:gd name="T0" fmla="*/ 2147483647 w 36"/>
                    <a:gd name="T1" fmla="*/ 2147483647 h 55"/>
                    <a:gd name="T2" fmla="*/ 2147483647 w 36"/>
                    <a:gd name="T3" fmla="*/ 2147483647 h 55"/>
                    <a:gd name="T4" fmla="*/ 2147483647 w 36"/>
                    <a:gd name="T5" fmla="*/ 2147483647 h 55"/>
                    <a:gd name="T6" fmla="*/ 2147483647 w 36"/>
                    <a:gd name="T7" fmla="*/ 2147483647 h 55"/>
                    <a:gd name="T8" fmla="*/ 2147483647 w 36"/>
                    <a:gd name="T9" fmla="*/ 2147483647 h 55"/>
                    <a:gd name="T10" fmla="*/ 2147483647 w 36"/>
                    <a:gd name="T11" fmla="*/ 2147483647 h 55"/>
                    <a:gd name="T12" fmla="*/ 2147483647 w 36"/>
                    <a:gd name="T13" fmla="*/ 2147483647 h 55"/>
                    <a:gd name="T14" fmla="*/ 2147483647 w 36"/>
                    <a:gd name="T15" fmla="*/ 2147483647 h 55"/>
                    <a:gd name="T16" fmla="*/ 2147483647 w 36"/>
                    <a:gd name="T17" fmla="*/ 2147483647 h 55"/>
                    <a:gd name="T18" fmla="*/ 2147483647 w 36"/>
                    <a:gd name="T19" fmla="*/ 2147483647 h 55"/>
                    <a:gd name="T20" fmla="*/ 2147483647 w 36"/>
                    <a:gd name="T21" fmla="*/ 0 h 55"/>
                    <a:gd name="T22" fmla="*/ 2147483647 w 36"/>
                    <a:gd name="T23" fmla="*/ 0 h 55"/>
                    <a:gd name="T24" fmla="*/ 2147483647 w 36"/>
                    <a:gd name="T25" fmla="*/ 2147483647 h 55"/>
                    <a:gd name="T26" fmla="*/ 2147483647 w 36"/>
                    <a:gd name="T27" fmla="*/ 2147483647 h 55"/>
                    <a:gd name="T28" fmla="*/ 2147483647 w 36"/>
                    <a:gd name="T29" fmla="*/ 2147483647 h 55"/>
                    <a:gd name="T30" fmla="*/ 2147483647 w 36"/>
                    <a:gd name="T31" fmla="*/ 2147483647 h 55"/>
                    <a:gd name="T32" fmla="*/ 2147483647 w 36"/>
                    <a:gd name="T33" fmla="*/ 2147483647 h 55"/>
                    <a:gd name="T34" fmla="*/ 2147483647 w 36"/>
                    <a:gd name="T35" fmla="*/ 2147483647 h 55"/>
                    <a:gd name="T36" fmla="*/ 2147483647 w 36"/>
                    <a:gd name="T37" fmla="*/ 2147483647 h 55"/>
                    <a:gd name="T38" fmla="*/ 2147483647 w 36"/>
                    <a:gd name="T39" fmla="*/ 2147483647 h 55"/>
                    <a:gd name="T40" fmla="*/ 2147483647 w 36"/>
                    <a:gd name="T41" fmla="*/ 2147483647 h 55"/>
                    <a:gd name="T42" fmla="*/ 2147483647 w 36"/>
                    <a:gd name="T43" fmla="*/ 2147483647 h 55"/>
                    <a:gd name="T44" fmla="*/ 2147483647 w 36"/>
                    <a:gd name="T45" fmla="*/ 2147483647 h 55"/>
                    <a:gd name="T46" fmla="*/ 2147483647 w 36"/>
                    <a:gd name="T47" fmla="*/ 2147483647 h 55"/>
                    <a:gd name="T48" fmla="*/ 2147483647 w 36"/>
                    <a:gd name="T49" fmla="*/ 2147483647 h 55"/>
                    <a:gd name="T50" fmla="*/ 2147483647 w 36"/>
                    <a:gd name="T51" fmla="*/ 2147483647 h 55"/>
                    <a:gd name="T52" fmla="*/ 0 w 36"/>
                    <a:gd name="T53" fmla="*/ 2147483647 h 55"/>
                    <a:gd name="T54" fmla="*/ 2147483647 w 36"/>
                    <a:gd name="T55" fmla="*/ 2147483647 h 55"/>
                    <a:gd name="T56" fmla="*/ 2147483647 w 36"/>
                    <a:gd name="T57" fmla="*/ 2147483647 h 55"/>
                    <a:gd name="T58" fmla="*/ 2147483647 w 36"/>
                    <a:gd name="T59" fmla="*/ 2147483647 h 55"/>
                    <a:gd name="T60" fmla="*/ 2147483647 w 36"/>
                    <a:gd name="T61" fmla="*/ 2147483647 h 55"/>
                    <a:gd name="T62" fmla="*/ 2147483647 w 36"/>
                    <a:gd name="T63" fmla="*/ 2147483647 h 55"/>
                    <a:gd name="T64" fmla="*/ 2147483647 w 36"/>
                    <a:gd name="T65" fmla="*/ 2147483647 h 55"/>
                    <a:gd name="T66" fmla="*/ 2147483647 w 36"/>
                    <a:gd name="T67" fmla="*/ 2147483647 h 55"/>
                    <a:gd name="T68" fmla="*/ 2147483647 w 36"/>
                    <a:gd name="T69" fmla="*/ 2147483647 h 55"/>
                    <a:gd name="T70" fmla="*/ 2147483647 w 36"/>
                    <a:gd name="T71" fmla="*/ 2147483647 h 55"/>
                    <a:gd name="T72" fmla="*/ 2147483647 w 36"/>
                    <a:gd name="T73" fmla="*/ 2147483647 h 55"/>
                    <a:gd name="T74" fmla="*/ 2147483647 w 36"/>
                    <a:gd name="T75" fmla="*/ 2147483647 h 55"/>
                    <a:gd name="T76" fmla="*/ 2147483647 w 36"/>
                    <a:gd name="T77" fmla="*/ 2147483647 h 55"/>
                    <a:gd name="T78" fmla="*/ 2147483647 w 36"/>
                    <a:gd name="T79" fmla="*/ 2147483647 h 55"/>
                    <a:gd name="T80" fmla="*/ 2147483647 w 36"/>
                    <a:gd name="T81" fmla="*/ 2147483647 h 55"/>
                    <a:gd name="T82" fmla="*/ 2147483647 w 36"/>
                    <a:gd name="T83" fmla="*/ 2147483647 h 55"/>
                    <a:gd name="T84" fmla="*/ 2147483647 w 36"/>
                    <a:gd name="T85" fmla="*/ 2147483647 h 5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6"/>
                    <a:gd name="T130" fmla="*/ 0 h 55"/>
                    <a:gd name="T131" fmla="*/ 36 w 36"/>
                    <a:gd name="T132" fmla="*/ 55 h 5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6" h="55">
                      <a:moveTo>
                        <a:pt x="35" y="45"/>
                      </a:moveTo>
                      <a:lnTo>
                        <a:pt x="31" y="36"/>
                      </a:lnTo>
                      <a:lnTo>
                        <a:pt x="27" y="26"/>
                      </a:lnTo>
                      <a:lnTo>
                        <a:pt x="24" y="17"/>
                      </a:lnTo>
                      <a:lnTo>
                        <a:pt x="23" y="6"/>
                      </a:lnTo>
                      <a:lnTo>
                        <a:pt x="22" y="6"/>
                      </a:lnTo>
                      <a:lnTo>
                        <a:pt x="21" y="6"/>
                      </a:lnTo>
                      <a:lnTo>
                        <a:pt x="19" y="6"/>
                      </a:lnTo>
                      <a:lnTo>
                        <a:pt x="17" y="6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6"/>
                      </a:lnTo>
                      <a:lnTo>
                        <a:pt x="7" y="7"/>
                      </a:lnTo>
                      <a:lnTo>
                        <a:pt x="9" y="10"/>
                      </a:lnTo>
                      <a:lnTo>
                        <a:pt x="13" y="13"/>
                      </a:lnTo>
                      <a:lnTo>
                        <a:pt x="14" y="15"/>
                      </a:lnTo>
                      <a:lnTo>
                        <a:pt x="16" y="16"/>
                      </a:lnTo>
                      <a:lnTo>
                        <a:pt x="14" y="20"/>
                      </a:lnTo>
                      <a:lnTo>
                        <a:pt x="13" y="22"/>
                      </a:lnTo>
                      <a:lnTo>
                        <a:pt x="12" y="22"/>
                      </a:lnTo>
                      <a:lnTo>
                        <a:pt x="7" y="19"/>
                      </a:lnTo>
                      <a:lnTo>
                        <a:pt x="4" y="18"/>
                      </a:lnTo>
                      <a:lnTo>
                        <a:pt x="2" y="20"/>
                      </a:lnTo>
                      <a:lnTo>
                        <a:pt x="0" y="24"/>
                      </a:lnTo>
                      <a:lnTo>
                        <a:pt x="2" y="28"/>
                      </a:lnTo>
                      <a:lnTo>
                        <a:pt x="4" y="35"/>
                      </a:lnTo>
                      <a:lnTo>
                        <a:pt x="5" y="36"/>
                      </a:lnTo>
                      <a:lnTo>
                        <a:pt x="7" y="36"/>
                      </a:lnTo>
                      <a:lnTo>
                        <a:pt x="11" y="36"/>
                      </a:lnTo>
                      <a:lnTo>
                        <a:pt x="14" y="37"/>
                      </a:lnTo>
                      <a:lnTo>
                        <a:pt x="16" y="38"/>
                      </a:lnTo>
                      <a:lnTo>
                        <a:pt x="19" y="44"/>
                      </a:lnTo>
                      <a:lnTo>
                        <a:pt x="22" y="51"/>
                      </a:lnTo>
                      <a:lnTo>
                        <a:pt x="24" y="54"/>
                      </a:lnTo>
                      <a:lnTo>
                        <a:pt x="27" y="55"/>
                      </a:lnTo>
                      <a:lnTo>
                        <a:pt x="30" y="55"/>
                      </a:lnTo>
                      <a:lnTo>
                        <a:pt x="33" y="52"/>
                      </a:lnTo>
                      <a:lnTo>
                        <a:pt x="36" y="49"/>
                      </a:lnTo>
                      <a:lnTo>
                        <a:pt x="36" y="48"/>
                      </a:lnTo>
                      <a:lnTo>
                        <a:pt x="3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7" name="Freeform 1167">
                  <a:extLst>
                    <a:ext uri="{FF2B5EF4-FFF2-40B4-BE49-F238E27FC236}">
                      <a16:creationId xmlns:a16="http://schemas.microsoft.com/office/drawing/2014/main" id="{BEC647AD-C1B2-0C47-80EE-06C6CD9CCF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38857" y="1935354"/>
                  <a:ext cx="2342637" cy="1374801"/>
                </a:xfrm>
                <a:custGeom>
                  <a:avLst/>
                  <a:gdLst>
                    <a:gd name="T0" fmla="*/ 2147483647 w 1715"/>
                    <a:gd name="T1" fmla="*/ 2147483647 h 929"/>
                    <a:gd name="T2" fmla="*/ 2147483647 w 1715"/>
                    <a:gd name="T3" fmla="*/ 2147483647 h 929"/>
                    <a:gd name="T4" fmla="*/ 2147483647 w 1715"/>
                    <a:gd name="T5" fmla="*/ 2147483647 h 929"/>
                    <a:gd name="T6" fmla="*/ 2147483647 w 1715"/>
                    <a:gd name="T7" fmla="*/ 2147483647 h 929"/>
                    <a:gd name="T8" fmla="*/ 2147483647 w 1715"/>
                    <a:gd name="T9" fmla="*/ 2147483647 h 929"/>
                    <a:gd name="T10" fmla="*/ 2147483647 w 1715"/>
                    <a:gd name="T11" fmla="*/ 2147483647 h 929"/>
                    <a:gd name="T12" fmla="*/ 2147483647 w 1715"/>
                    <a:gd name="T13" fmla="*/ 2147483647 h 929"/>
                    <a:gd name="T14" fmla="*/ 2147483647 w 1715"/>
                    <a:gd name="T15" fmla="*/ 2147483647 h 929"/>
                    <a:gd name="T16" fmla="*/ 2147483647 w 1715"/>
                    <a:gd name="T17" fmla="*/ 2147483647 h 929"/>
                    <a:gd name="T18" fmla="*/ 2147483647 w 1715"/>
                    <a:gd name="T19" fmla="*/ 2147483647 h 929"/>
                    <a:gd name="T20" fmla="*/ 2147483647 w 1715"/>
                    <a:gd name="T21" fmla="*/ 2147483647 h 929"/>
                    <a:gd name="T22" fmla="*/ 2147483647 w 1715"/>
                    <a:gd name="T23" fmla="*/ 2147483647 h 929"/>
                    <a:gd name="T24" fmla="*/ 2147483647 w 1715"/>
                    <a:gd name="T25" fmla="*/ 2147483647 h 929"/>
                    <a:gd name="T26" fmla="*/ 2147483647 w 1715"/>
                    <a:gd name="T27" fmla="*/ 2147483647 h 929"/>
                    <a:gd name="T28" fmla="*/ 2147483647 w 1715"/>
                    <a:gd name="T29" fmla="*/ 2147483647 h 929"/>
                    <a:gd name="T30" fmla="*/ 2147483647 w 1715"/>
                    <a:gd name="T31" fmla="*/ 2147483647 h 929"/>
                    <a:gd name="T32" fmla="*/ 2147483647 w 1715"/>
                    <a:gd name="T33" fmla="*/ 2147483647 h 929"/>
                    <a:gd name="T34" fmla="*/ 2147483647 w 1715"/>
                    <a:gd name="T35" fmla="*/ 2147483647 h 929"/>
                    <a:gd name="T36" fmla="*/ 2147483647 w 1715"/>
                    <a:gd name="T37" fmla="*/ 2147483647 h 929"/>
                    <a:gd name="T38" fmla="*/ 2147483647 w 1715"/>
                    <a:gd name="T39" fmla="*/ 2147483647 h 929"/>
                    <a:gd name="T40" fmla="*/ 2147483647 w 1715"/>
                    <a:gd name="T41" fmla="*/ 2147483647 h 929"/>
                    <a:gd name="T42" fmla="*/ 2147483647 w 1715"/>
                    <a:gd name="T43" fmla="*/ 2147483647 h 929"/>
                    <a:gd name="T44" fmla="*/ 2147483647 w 1715"/>
                    <a:gd name="T45" fmla="*/ 2147483647 h 929"/>
                    <a:gd name="T46" fmla="*/ 2147483647 w 1715"/>
                    <a:gd name="T47" fmla="*/ 2147483647 h 929"/>
                    <a:gd name="T48" fmla="*/ 2147483647 w 1715"/>
                    <a:gd name="T49" fmla="*/ 2147483647 h 929"/>
                    <a:gd name="T50" fmla="*/ 2147483647 w 1715"/>
                    <a:gd name="T51" fmla="*/ 2147483647 h 929"/>
                    <a:gd name="T52" fmla="*/ 2147483647 w 1715"/>
                    <a:gd name="T53" fmla="*/ 2147483647 h 929"/>
                    <a:gd name="T54" fmla="*/ 2147483647 w 1715"/>
                    <a:gd name="T55" fmla="*/ 2147483647 h 929"/>
                    <a:gd name="T56" fmla="*/ 2147483647 w 1715"/>
                    <a:gd name="T57" fmla="*/ 2147483647 h 929"/>
                    <a:gd name="T58" fmla="*/ 2147483647 w 1715"/>
                    <a:gd name="T59" fmla="*/ 2147483647 h 929"/>
                    <a:gd name="T60" fmla="*/ 2147483647 w 1715"/>
                    <a:gd name="T61" fmla="*/ 2147483647 h 929"/>
                    <a:gd name="T62" fmla="*/ 2147483647 w 1715"/>
                    <a:gd name="T63" fmla="*/ 2147483647 h 929"/>
                    <a:gd name="T64" fmla="*/ 2147483647 w 1715"/>
                    <a:gd name="T65" fmla="*/ 2147483647 h 929"/>
                    <a:gd name="T66" fmla="*/ 2147483647 w 1715"/>
                    <a:gd name="T67" fmla="*/ 2147483647 h 929"/>
                    <a:gd name="T68" fmla="*/ 2147483647 w 1715"/>
                    <a:gd name="T69" fmla="*/ 2147483647 h 929"/>
                    <a:gd name="T70" fmla="*/ 2147483647 w 1715"/>
                    <a:gd name="T71" fmla="*/ 2147483647 h 929"/>
                    <a:gd name="T72" fmla="*/ 2147483647 w 1715"/>
                    <a:gd name="T73" fmla="*/ 2147483647 h 929"/>
                    <a:gd name="T74" fmla="*/ 2147483647 w 1715"/>
                    <a:gd name="T75" fmla="*/ 2147483647 h 929"/>
                    <a:gd name="T76" fmla="*/ 2147483647 w 1715"/>
                    <a:gd name="T77" fmla="*/ 2147483647 h 929"/>
                    <a:gd name="T78" fmla="*/ 2147483647 w 1715"/>
                    <a:gd name="T79" fmla="*/ 2147483647 h 929"/>
                    <a:gd name="T80" fmla="*/ 2147483647 w 1715"/>
                    <a:gd name="T81" fmla="*/ 2147483647 h 929"/>
                    <a:gd name="T82" fmla="*/ 2147483647 w 1715"/>
                    <a:gd name="T83" fmla="*/ 2147483647 h 929"/>
                    <a:gd name="T84" fmla="*/ 2147483647 w 1715"/>
                    <a:gd name="T85" fmla="*/ 2147483647 h 929"/>
                    <a:gd name="T86" fmla="*/ 2147483647 w 1715"/>
                    <a:gd name="T87" fmla="*/ 2147483647 h 929"/>
                    <a:gd name="T88" fmla="*/ 2147483647 w 1715"/>
                    <a:gd name="T89" fmla="*/ 2147483647 h 929"/>
                    <a:gd name="T90" fmla="*/ 2147483647 w 1715"/>
                    <a:gd name="T91" fmla="*/ 2147483647 h 929"/>
                    <a:gd name="T92" fmla="*/ 2147483647 w 1715"/>
                    <a:gd name="T93" fmla="*/ 2147483647 h 929"/>
                    <a:gd name="T94" fmla="*/ 2147483647 w 1715"/>
                    <a:gd name="T95" fmla="*/ 2147483647 h 929"/>
                    <a:gd name="T96" fmla="*/ 2147483647 w 1715"/>
                    <a:gd name="T97" fmla="*/ 2147483647 h 929"/>
                    <a:gd name="T98" fmla="*/ 2147483647 w 1715"/>
                    <a:gd name="T99" fmla="*/ 2147483647 h 929"/>
                    <a:gd name="T100" fmla="*/ 2147483647 w 1715"/>
                    <a:gd name="T101" fmla="*/ 2147483647 h 929"/>
                    <a:gd name="T102" fmla="*/ 2147483647 w 1715"/>
                    <a:gd name="T103" fmla="*/ 2147483647 h 929"/>
                    <a:gd name="T104" fmla="*/ 2147483647 w 1715"/>
                    <a:gd name="T105" fmla="*/ 2147483647 h 929"/>
                    <a:gd name="T106" fmla="*/ 2147483647 w 1715"/>
                    <a:gd name="T107" fmla="*/ 2147483647 h 929"/>
                    <a:gd name="T108" fmla="*/ 2147483647 w 1715"/>
                    <a:gd name="T109" fmla="*/ 2147483647 h 929"/>
                    <a:gd name="T110" fmla="*/ 2147483647 w 1715"/>
                    <a:gd name="T111" fmla="*/ 2147483647 h 929"/>
                    <a:gd name="T112" fmla="*/ 2147483647 w 1715"/>
                    <a:gd name="T113" fmla="*/ 2147483647 h 929"/>
                    <a:gd name="T114" fmla="*/ 2147483647 w 1715"/>
                    <a:gd name="T115" fmla="*/ 2147483647 h 929"/>
                    <a:gd name="T116" fmla="*/ 2147483647 w 1715"/>
                    <a:gd name="T117" fmla="*/ 2147483647 h 929"/>
                    <a:gd name="T118" fmla="*/ 2147483647 w 1715"/>
                    <a:gd name="T119" fmla="*/ 2147483647 h 929"/>
                    <a:gd name="T120" fmla="*/ 2147483647 w 1715"/>
                    <a:gd name="T121" fmla="*/ 2147483647 h 929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715"/>
                    <a:gd name="T184" fmla="*/ 0 h 929"/>
                    <a:gd name="T185" fmla="*/ 1715 w 1715"/>
                    <a:gd name="T186" fmla="*/ 929 h 929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715" h="929">
                      <a:moveTo>
                        <a:pt x="12" y="746"/>
                      </a:moveTo>
                      <a:lnTo>
                        <a:pt x="12" y="746"/>
                      </a:lnTo>
                      <a:lnTo>
                        <a:pt x="16" y="743"/>
                      </a:lnTo>
                      <a:lnTo>
                        <a:pt x="21" y="741"/>
                      </a:lnTo>
                      <a:lnTo>
                        <a:pt x="26" y="741"/>
                      </a:lnTo>
                      <a:lnTo>
                        <a:pt x="31" y="741"/>
                      </a:lnTo>
                      <a:lnTo>
                        <a:pt x="41" y="741"/>
                      </a:lnTo>
                      <a:lnTo>
                        <a:pt x="52" y="743"/>
                      </a:lnTo>
                      <a:lnTo>
                        <a:pt x="54" y="742"/>
                      </a:lnTo>
                      <a:lnTo>
                        <a:pt x="55" y="740"/>
                      </a:lnTo>
                      <a:lnTo>
                        <a:pt x="56" y="738"/>
                      </a:lnTo>
                      <a:lnTo>
                        <a:pt x="59" y="737"/>
                      </a:lnTo>
                      <a:lnTo>
                        <a:pt x="61" y="738"/>
                      </a:lnTo>
                      <a:lnTo>
                        <a:pt x="64" y="740"/>
                      </a:lnTo>
                      <a:lnTo>
                        <a:pt x="65" y="742"/>
                      </a:lnTo>
                      <a:lnTo>
                        <a:pt x="66" y="743"/>
                      </a:lnTo>
                      <a:lnTo>
                        <a:pt x="73" y="746"/>
                      </a:lnTo>
                      <a:lnTo>
                        <a:pt x="77" y="749"/>
                      </a:lnTo>
                      <a:lnTo>
                        <a:pt x="82" y="753"/>
                      </a:lnTo>
                      <a:lnTo>
                        <a:pt x="85" y="756"/>
                      </a:lnTo>
                      <a:lnTo>
                        <a:pt x="89" y="756"/>
                      </a:lnTo>
                      <a:lnTo>
                        <a:pt x="92" y="756"/>
                      </a:lnTo>
                      <a:lnTo>
                        <a:pt x="98" y="755"/>
                      </a:lnTo>
                      <a:lnTo>
                        <a:pt x="102" y="755"/>
                      </a:lnTo>
                      <a:lnTo>
                        <a:pt x="106" y="756"/>
                      </a:lnTo>
                      <a:lnTo>
                        <a:pt x="110" y="757"/>
                      </a:lnTo>
                      <a:lnTo>
                        <a:pt x="112" y="759"/>
                      </a:lnTo>
                      <a:lnTo>
                        <a:pt x="127" y="757"/>
                      </a:lnTo>
                      <a:lnTo>
                        <a:pt x="135" y="756"/>
                      </a:lnTo>
                      <a:lnTo>
                        <a:pt x="143" y="757"/>
                      </a:lnTo>
                      <a:lnTo>
                        <a:pt x="145" y="756"/>
                      </a:lnTo>
                      <a:lnTo>
                        <a:pt x="148" y="755"/>
                      </a:lnTo>
                      <a:lnTo>
                        <a:pt x="149" y="751"/>
                      </a:lnTo>
                      <a:lnTo>
                        <a:pt x="149" y="748"/>
                      </a:lnTo>
                      <a:lnTo>
                        <a:pt x="144" y="742"/>
                      </a:lnTo>
                      <a:lnTo>
                        <a:pt x="140" y="735"/>
                      </a:lnTo>
                      <a:lnTo>
                        <a:pt x="139" y="729"/>
                      </a:lnTo>
                      <a:lnTo>
                        <a:pt x="139" y="725"/>
                      </a:lnTo>
                      <a:lnTo>
                        <a:pt x="140" y="723"/>
                      </a:lnTo>
                      <a:lnTo>
                        <a:pt x="144" y="719"/>
                      </a:lnTo>
                      <a:lnTo>
                        <a:pt x="149" y="717"/>
                      </a:lnTo>
                      <a:lnTo>
                        <a:pt x="160" y="711"/>
                      </a:lnTo>
                      <a:lnTo>
                        <a:pt x="163" y="710"/>
                      </a:lnTo>
                      <a:lnTo>
                        <a:pt x="167" y="710"/>
                      </a:lnTo>
                      <a:lnTo>
                        <a:pt x="174" y="711"/>
                      </a:lnTo>
                      <a:lnTo>
                        <a:pt x="182" y="714"/>
                      </a:lnTo>
                      <a:lnTo>
                        <a:pt x="190" y="715"/>
                      </a:lnTo>
                      <a:lnTo>
                        <a:pt x="191" y="716"/>
                      </a:lnTo>
                      <a:lnTo>
                        <a:pt x="193" y="718"/>
                      </a:lnTo>
                      <a:lnTo>
                        <a:pt x="195" y="721"/>
                      </a:lnTo>
                      <a:lnTo>
                        <a:pt x="198" y="722"/>
                      </a:lnTo>
                      <a:lnTo>
                        <a:pt x="198" y="724"/>
                      </a:lnTo>
                      <a:lnTo>
                        <a:pt x="205" y="725"/>
                      </a:lnTo>
                      <a:lnTo>
                        <a:pt x="206" y="728"/>
                      </a:lnTo>
                      <a:lnTo>
                        <a:pt x="207" y="730"/>
                      </a:lnTo>
                      <a:lnTo>
                        <a:pt x="210" y="736"/>
                      </a:lnTo>
                      <a:lnTo>
                        <a:pt x="212" y="742"/>
                      </a:lnTo>
                      <a:lnTo>
                        <a:pt x="216" y="747"/>
                      </a:lnTo>
                      <a:lnTo>
                        <a:pt x="220" y="751"/>
                      </a:lnTo>
                      <a:lnTo>
                        <a:pt x="228" y="756"/>
                      </a:lnTo>
                      <a:lnTo>
                        <a:pt x="234" y="759"/>
                      </a:lnTo>
                      <a:lnTo>
                        <a:pt x="242" y="760"/>
                      </a:lnTo>
                      <a:lnTo>
                        <a:pt x="248" y="759"/>
                      </a:lnTo>
                      <a:lnTo>
                        <a:pt x="252" y="756"/>
                      </a:lnTo>
                      <a:lnTo>
                        <a:pt x="254" y="754"/>
                      </a:lnTo>
                      <a:lnTo>
                        <a:pt x="259" y="751"/>
                      </a:lnTo>
                      <a:lnTo>
                        <a:pt x="262" y="750"/>
                      </a:lnTo>
                      <a:lnTo>
                        <a:pt x="266" y="751"/>
                      </a:lnTo>
                      <a:lnTo>
                        <a:pt x="280" y="757"/>
                      </a:lnTo>
                      <a:lnTo>
                        <a:pt x="284" y="759"/>
                      </a:lnTo>
                      <a:lnTo>
                        <a:pt x="287" y="759"/>
                      </a:lnTo>
                      <a:lnTo>
                        <a:pt x="291" y="759"/>
                      </a:lnTo>
                      <a:lnTo>
                        <a:pt x="295" y="759"/>
                      </a:lnTo>
                      <a:lnTo>
                        <a:pt x="298" y="759"/>
                      </a:lnTo>
                      <a:lnTo>
                        <a:pt x="299" y="761"/>
                      </a:lnTo>
                      <a:lnTo>
                        <a:pt x="300" y="765"/>
                      </a:lnTo>
                      <a:lnTo>
                        <a:pt x="304" y="769"/>
                      </a:lnTo>
                      <a:lnTo>
                        <a:pt x="305" y="773"/>
                      </a:lnTo>
                      <a:lnTo>
                        <a:pt x="308" y="774"/>
                      </a:lnTo>
                      <a:lnTo>
                        <a:pt x="311" y="774"/>
                      </a:lnTo>
                      <a:lnTo>
                        <a:pt x="314" y="774"/>
                      </a:lnTo>
                      <a:lnTo>
                        <a:pt x="318" y="773"/>
                      </a:lnTo>
                      <a:lnTo>
                        <a:pt x="320" y="773"/>
                      </a:lnTo>
                      <a:lnTo>
                        <a:pt x="334" y="775"/>
                      </a:lnTo>
                      <a:lnTo>
                        <a:pt x="347" y="775"/>
                      </a:lnTo>
                      <a:lnTo>
                        <a:pt x="353" y="774"/>
                      </a:lnTo>
                      <a:lnTo>
                        <a:pt x="360" y="773"/>
                      </a:lnTo>
                      <a:lnTo>
                        <a:pt x="366" y="770"/>
                      </a:lnTo>
                      <a:lnTo>
                        <a:pt x="372" y="766"/>
                      </a:lnTo>
                      <a:lnTo>
                        <a:pt x="379" y="762"/>
                      </a:lnTo>
                      <a:lnTo>
                        <a:pt x="385" y="760"/>
                      </a:lnTo>
                      <a:lnTo>
                        <a:pt x="400" y="756"/>
                      </a:lnTo>
                      <a:lnTo>
                        <a:pt x="404" y="755"/>
                      </a:lnTo>
                      <a:lnTo>
                        <a:pt x="409" y="755"/>
                      </a:lnTo>
                      <a:lnTo>
                        <a:pt x="418" y="756"/>
                      </a:lnTo>
                      <a:lnTo>
                        <a:pt x="426" y="759"/>
                      </a:lnTo>
                      <a:lnTo>
                        <a:pt x="430" y="759"/>
                      </a:lnTo>
                      <a:lnTo>
                        <a:pt x="433" y="757"/>
                      </a:lnTo>
                      <a:lnTo>
                        <a:pt x="438" y="757"/>
                      </a:lnTo>
                      <a:lnTo>
                        <a:pt x="444" y="759"/>
                      </a:lnTo>
                      <a:lnTo>
                        <a:pt x="449" y="761"/>
                      </a:lnTo>
                      <a:lnTo>
                        <a:pt x="454" y="765"/>
                      </a:lnTo>
                      <a:lnTo>
                        <a:pt x="459" y="767"/>
                      </a:lnTo>
                      <a:lnTo>
                        <a:pt x="464" y="768"/>
                      </a:lnTo>
                      <a:lnTo>
                        <a:pt x="468" y="767"/>
                      </a:lnTo>
                      <a:lnTo>
                        <a:pt x="471" y="766"/>
                      </a:lnTo>
                      <a:lnTo>
                        <a:pt x="475" y="763"/>
                      </a:lnTo>
                      <a:lnTo>
                        <a:pt x="483" y="757"/>
                      </a:lnTo>
                      <a:lnTo>
                        <a:pt x="489" y="749"/>
                      </a:lnTo>
                      <a:lnTo>
                        <a:pt x="494" y="740"/>
                      </a:lnTo>
                      <a:lnTo>
                        <a:pt x="504" y="723"/>
                      </a:lnTo>
                      <a:lnTo>
                        <a:pt x="513" y="709"/>
                      </a:lnTo>
                      <a:lnTo>
                        <a:pt x="518" y="702"/>
                      </a:lnTo>
                      <a:lnTo>
                        <a:pt x="520" y="695"/>
                      </a:lnTo>
                      <a:lnTo>
                        <a:pt x="520" y="692"/>
                      </a:lnTo>
                      <a:lnTo>
                        <a:pt x="518" y="692"/>
                      </a:lnTo>
                      <a:lnTo>
                        <a:pt x="515" y="692"/>
                      </a:lnTo>
                      <a:lnTo>
                        <a:pt x="511" y="692"/>
                      </a:lnTo>
                      <a:lnTo>
                        <a:pt x="506" y="692"/>
                      </a:lnTo>
                      <a:lnTo>
                        <a:pt x="512" y="682"/>
                      </a:lnTo>
                      <a:lnTo>
                        <a:pt x="517" y="677"/>
                      </a:lnTo>
                      <a:lnTo>
                        <a:pt x="524" y="674"/>
                      </a:lnTo>
                      <a:lnTo>
                        <a:pt x="532" y="672"/>
                      </a:lnTo>
                      <a:lnTo>
                        <a:pt x="543" y="672"/>
                      </a:lnTo>
                      <a:lnTo>
                        <a:pt x="554" y="672"/>
                      </a:lnTo>
                      <a:lnTo>
                        <a:pt x="565" y="673"/>
                      </a:lnTo>
                      <a:lnTo>
                        <a:pt x="586" y="677"/>
                      </a:lnTo>
                      <a:lnTo>
                        <a:pt x="595" y="679"/>
                      </a:lnTo>
                      <a:lnTo>
                        <a:pt x="602" y="683"/>
                      </a:lnTo>
                      <a:lnTo>
                        <a:pt x="606" y="683"/>
                      </a:lnTo>
                      <a:lnTo>
                        <a:pt x="607" y="685"/>
                      </a:lnTo>
                      <a:lnTo>
                        <a:pt x="610" y="691"/>
                      </a:lnTo>
                      <a:lnTo>
                        <a:pt x="611" y="698"/>
                      </a:lnTo>
                      <a:lnTo>
                        <a:pt x="614" y="705"/>
                      </a:lnTo>
                      <a:lnTo>
                        <a:pt x="618" y="714"/>
                      </a:lnTo>
                      <a:lnTo>
                        <a:pt x="621" y="722"/>
                      </a:lnTo>
                      <a:lnTo>
                        <a:pt x="626" y="730"/>
                      </a:lnTo>
                      <a:lnTo>
                        <a:pt x="629" y="740"/>
                      </a:lnTo>
                      <a:lnTo>
                        <a:pt x="631" y="744"/>
                      </a:lnTo>
                      <a:lnTo>
                        <a:pt x="637" y="749"/>
                      </a:lnTo>
                      <a:lnTo>
                        <a:pt x="639" y="750"/>
                      </a:lnTo>
                      <a:lnTo>
                        <a:pt x="643" y="751"/>
                      </a:lnTo>
                      <a:lnTo>
                        <a:pt x="647" y="751"/>
                      </a:lnTo>
                      <a:lnTo>
                        <a:pt x="649" y="750"/>
                      </a:lnTo>
                      <a:lnTo>
                        <a:pt x="652" y="749"/>
                      </a:lnTo>
                      <a:lnTo>
                        <a:pt x="653" y="750"/>
                      </a:lnTo>
                      <a:lnTo>
                        <a:pt x="654" y="753"/>
                      </a:lnTo>
                      <a:lnTo>
                        <a:pt x="659" y="754"/>
                      </a:lnTo>
                      <a:lnTo>
                        <a:pt x="664" y="755"/>
                      </a:lnTo>
                      <a:lnTo>
                        <a:pt x="673" y="755"/>
                      </a:lnTo>
                      <a:lnTo>
                        <a:pt x="677" y="756"/>
                      </a:lnTo>
                      <a:lnTo>
                        <a:pt x="680" y="759"/>
                      </a:lnTo>
                      <a:lnTo>
                        <a:pt x="680" y="761"/>
                      </a:lnTo>
                      <a:lnTo>
                        <a:pt x="680" y="763"/>
                      </a:lnTo>
                      <a:lnTo>
                        <a:pt x="680" y="766"/>
                      </a:lnTo>
                      <a:lnTo>
                        <a:pt x="681" y="768"/>
                      </a:lnTo>
                      <a:lnTo>
                        <a:pt x="686" y="773"/>
                      </a:lnTo>
                      <a:lnTo>
                        <a:pt x="689" y="779"/>
                      </a:lnTo>
                      <a:lnTo>
                        <a:pt x="690" y="786"/>
                      </a:lnTo>
                      <a:lnTo>
                        <a:pt x="690" y="793"/>
                      </a:lnTo>
                      <a:lnTo>
                        <a:pt x="691" y="800"/>
                      </a:lnTo>
                      <a:lnTo>
                        <a:pt x="692" y="804"/>
                      </a:lnTo>
                      <a:lnTo>
                        <a:pt x="695" y="806"/>
                      </a:lnTo>
                      <a:lnTo>
                        <a:pt x="698" y="808"/>
                      </a:lnTo>
                      <a:lnTo>
                        <a:pt x="703" y="811"/>
                      </a:lnTo>
                      <a:lnTo>
                        <a:pt x="708" y="812"/>
                      </a:lnTo>
                      <a:lnTo>
                        <a:pt x="713" y="812"/>
                      </a:lnTo>
                      <a:lnTo>
                        <a:pt x="715" y="811"/>
                      </a:lnTo>
                      <a:lnTo>
                        <a:pt x="718" y="810"/>
                      </a:lnTo>
                      <a:lnTo>
                        <a:pt x="722" y="806"/>
                      </a:lnTo>
                      <a:lnTo>
                        <a:pt x="728" y="797"/>
                      </a:lnTo>
                      <a:lnTo>
                        <a:pt x="729" y="795"/>
                      </a:lnTo>
                      <a:lnTo>
                        <a:pt x="732" y="793"/>
                      </a:lnTo>
                      <a:lnTo>
                        <a:pt x="739" y="792"/>
                      </a:lnTo>
                      <a:lnTo>
                        <a:pt x="747" y="793"/>
                      </a:lnTo>
                      <a:lnTo>
                        <a:pt x="755" y="794"/>
                      </a:lnTo>
                      <a:lnTo>
                        <a:pt x="756" y="794"/>
                      </a:lnTo>
                      <a:lnTo>
                        <a:pt x="756" y="795"/>
                      </a:lnTo>
                      <a:lnTo>
                        <a:pt x="756" y="799"/>
                      </a:lnTo>
                      <a:lnTo>
                        <a:pt x="753" y="806"/>
                      </a:lnTo>
                      <a:lnTo>
                        <a:pt x="753" y="808"/>
                      </a:lnTo>
                      <a:lnTo>
                        <a:pt x="753" y="811"/>
                      </a:lnTo>
                      <a:lnTo>
                        <a:pt x="757" y="814"/>
                      </a:lnTo>
                      <a:lnTo>
                        <a:pt x="757" y="816"/>
                      </a:lnTo>
                      <a:lnTo>
                        <a:pt x="752" y="820"/>
                      </a:lnTo>
                      <a:lnTo>
                        <a:pt x="747" y="825"/>
                      </a:lnTo>
                      <a:lnTo>
                        <a:pt x="746" y="827"/>
                      </a:lnTo>
                      <a:lnTo>
                        <a:pt x="744" y="831"/>
                      </a:lnTo>
                      <a:lnTo>
                        <a:pt x="744" y="833"/>
                      </a:lnTo>
                      <a:lnTo>
                        <a:pt x="746" y="837"/>
                      </a:lnTo>
                      <a:lnTo>
                        <a:pt x="746" y="838"/>
                      </a:lnTo>
                      <a:lnTo>
                        <a:pt x="746" y="840"/>
                      </a:lnTo>
                      <a:lnTo>
                        <a:pt x="742" y="844"/>
                      </a:lnTo>
                      <a:lnTo>
                        <a:pt x="739" y="850"/>
                      </a:lnTo>
                      <a:lnTo>
                        <a:pt x="737" y="857"/>
                      </a:lnTo>
                      <a:lnTo>
                        <a:pt x="732" y="863"/>
                      </a:lnTo>
                      <a:lnTo>
                        <a:pt x="729" y="864"/>
                      </a:lnTo>
                      <a:lnTo>
                        <a:pt x="725" y="866"/>
                      </a:lnTo>
                      <a:lnTo>
                        <a:pt x="720" y="868"/>
                      </a:lnTo>
                      <a:lnTo>
                        <a:pt x="715" y="866"/>
                      </a:lnTo>
                      <a:lnTo>
                        <a:pt x="705" y="863"/>
                      </a:lnTo>
                      <a:lnTo>
                        <a:pt x="703" y="863"/>
                      </a:lnTo>
                      <a:lnTo>
                        <a:pt x="700" y="863"/>
                      </a:lnTo>
                      <a:lnTo>
                        <a:pt x="698" y="865"/>
                      </a:lnTo>
                      <a:lnTo>
                        <a:pt x="696" y="866"/>
                      </a:lnTo>
                      <a:lnTo>
                        <a:pt x="695" y="871"/>
                      </a:lnTo>
                      <a:lnTo>
                        <a:pt x="694" y="875"/>
                      </a:lnTo>
                      <a:lnTo>
                        <a:pt x="695" y="883"/>
                      </a:lnTo>
                      <a:lnTo>
                        <a:pt x="696" y="890"/>
                      </a:lnTo>
                      <a:lnTo>
                        <a:pt x="700" y="899"/>
                      </a:lnTo>
                      <a:lnTo>
                        <a:pt x="701" y="902"/>
                      </a:lnTo>
                      <a:lnTo>
                        <a:pt x="701" y="906"/>
                      </a:lnTo>
                      <a:lnTo>
                        <a:pt x="701" y="910"/>
                      </a:lnTo>
                      <a:lnTo>
                        <a:pt x="699" y="914"/>
                      </a:lnTo>
                      <a:lnTo>
                        <a:pt x="695" y="921"/>
                      </a:lnTo>
                      <a:lnTo>
                        <a:pt x="690" y="928"/>
                      </a:lnTo>
                      <a:lnTo>
                        <a:pt x="694" y="925"/>
                      </a:lnTo>
                      <a:lnTo>
                        <a:pt x="698" y="922"/>
                      </a:lnTo>
                      <a:lnTo>
                        <a:pt x="705" y="917"/>
                      </a:lnTo>
                      <a:lnTo>
                        <a:pt x="708" y="917"/>
                      </a:lnTo>
                      <a:lnTo>
                        <a:pt x="709" y="919"/>
                      </a:lnTo>
                      <a:lnTo>
                        <a:pt x="710" y="923"/>
                      </a:lnTo>
                      <a:lnTo>
                        <a:pt x="714" y="927"/>
                      </a:lnTo>
                      <a:lnTo>
                        <a:pt x="719" y="929"/>
                      </a:lnTo>
                      <a:lnTo>
                        <a:pt x="724" y="929"/>
                      </a:lnTo>
                      <a:lnTo>
                        <a:pt x="729" y="929"/>
                      </a:lnTo>
                      <a:lnTo>
                        <a:pt x="734" y="929"/>
                      </a:lnTo>
                      <a:lnTo>
                        <a:pt x="744" y="926"/>
                      </a:lnTo>
                      <a:lnTo>
                        <a:pt x="750" y="922"/>
                      </a:lnTo>
                      <a:lnTo>
                        <a:pt x="753" y="920"/>
                      </a:lnTo>
                      <a:lnTo>
                        <a:pt x="758" y="916"/>
                      </a:lnTo>
                      <a:lnTo>
                        <a:pt x="764" y="915"/>
                      </a:lnTo>
                      <a:lnTo>
                        <a:pt x="766" y="915"/>
                      </a:lnTo>
                      <a:lnTo>
                        <a:pt x="767" y="914"/>
                      </a:lnTo>
                      <a:lnTo>
                        <a:pt x="770" y="910"/>
                      </a:lnTo>
                      <a:lnTo>
                        <a:pt x="790" y="883"/>
                      </a:lnTo>
                      <a:lnTo>
                        <a:pt x="800" y="871"/>
                      </a:lnTo>
                      <a:lnTo>
                        <a:pt x="813" y="858"/>
                      </a:lnTo>
                      <a:lnTo>
                        <a:pt x="817" y="853"/>
                      </a:lnTo>
                      <a:lnTo>
                        <a:pt x="819" y="848"/>
                      </a:lnTo>
                      <a:lnTo>
                        <a:pt x="824" y="837"/>
                      </a:lnTo>
                      <a:lnTo>
                        <a:pt x="828" y="827"/>
                      </a:lnTo>
                      <a:lnTo>
                        <a:pt x="833" y="818"/>
                      </a:lnTo>
                      <a:lnTo>
                        <a:pt x="847" y="802"/>
                      </a:lnTo>
                      <a:lnTo>
                        <a:pt x="849" y="798"/>
                      </a:lnTo>
                      <a:lnTo>
                        <a:pt x="850" y="793"/>
                      </a:lnTo>
                      <a:lnTo>
                        <a:pt x="850" y="788"/>
                      </a:lnTo>
                      <a:lnTo>
                        <a:pt x="852" y="784"/>
                      </a:lnTo>
                      <a:lnTo>
                        <a:pt x="858" y="774"/>
                      </a:lnTo>
                      <a:lnTo>
                        <a:pt x="859" y="768"/>
                      </a:lnTo>
                      <a:lnTo>
                        <a:pt x="860" y="765"/>
                      </a:lnTo>
                      <a:lnTo>
                        <a:pt x="855" y="751"/>
                      </a:lnTo>
                      <a:lnTo>
                        <a:pt x="855" y="744"/>
                      </a:lnTo>
                      <a:lnTo>
                        <a:pt x="856" y="738"/>
                      </a:lnTo>
                      <a:lnTo>
                        <a:pt x="859" y="731"/>
                      </a:lnTo>
                      <a:lnTo>
                        <a:pt x="863" y="725"/>
                      </a:lnTo>
                      <a:lnTo>
                        <a:pt x="866" y="718"/>
                      </a:lnTo>
                      <a:lnTo>
                        <a:pt x="870" y="711"/>
                      </a:lnTo>
                      <a:lnTo>
                        <a:pt x="869" y="706"/>
                      </a:lnTo>
                      <a:lnTo>
                        <a:pt x="868" y="702"/>
                      </a:lnTo>
                      <a:lnTo>
                        <a:pt x="866" y="698"/>
                      </a:lnTo>
                      <a:lnTo>
                        <a:pt x="864" y="693"/>
                      </a:lnTo>
                      <a:lnTo>
                        <a:pt x="864" y="691"/>
                      </a:lnTo>
                      <a:lnTo>
                        <a:pt x="865" y="689"/>
                      </a:lnTo>
                      <a:lnTo>
                        <a:pt x="866" y="684"/>
                      </a:lnTo>
                      <a:lnTo>
                        <a:pt x="868" y="679"/>
                      </a:lnTo>
                      <a:lnTo>
                        <a:pt x="866" y="676"/>
                      </a:lnTo>
                      <a:lnTo>
                        <a:pt x="865" y="671"/>
                      </a:lnTo>
                      <a:lnTo>
                        <a:pt x="863" y="667"/>
                      </a:lnTo>
                      <a:lnTo>
                        <a:pt x="855" y="661"/>
                      </a:lnTo>
                      <a:lnTo>
                        <a:pt x="851" y="659"/>
                      </a:lnTo>
                      <a:lnTo>
                        <a:pt x="847" y="658"/>
                      </a:lnTo>
                      <a:lnTo>
                        <a:pt x="830" y="654"/>
                      </a:lnTo>
                      <a:lnTo>
                        <a:pt x="831" y="654"/>
                      </a:lnTo>
                      <a:lnTo>
                        <a:pt x="827" y="653"/>
                      </a:lnTo>
                      <a:lnTo>
                        <a:pt x="824" y="653"/>
                      </a:lnTo>
                      <a:lnTo>
                        <a:pt x="824" y="654"/>
                      </a:lnTo>
                      <a:lnTo>
                        <a:pt x="824" y="658"/>
                      </a:lnTo>
                      <a:lnTo>
                        <a:pt x="826" y="663"/>
                      </a:lnTo>
                      <a:lnTo>
                        <a:pt x="826" y="666"/>
                      </a:lnTo>
                      <a:lnTo>
                        <a:pt x="824" y="667"/>
                      </a:lnTo>
                      <a:lnTo>
                        <a:pt x="822" y="669"/>
                      </a:lnTo>
                      <a:lnTo>
                        <a:pt x="821" y="669"/>
                      </a:lnTo>
                      <a:lnTo>
                        <a:pt x="819" y="669"/>
                      </a:lnTo>
                      <a:lnTo>
                        <a:pt x="817" y="667"/>
                      </a:lnTo>
                      <a:lnTo>
                        <a:pt x="813" y="669"/>
                      </a:lnTo>
                      <a:lnTo>
                        <a:pt x="809" y="671"/>
                      </a:lnTo>
                      <a:lnTo>
                        <a:pt x="807" y="671"/>
                      </a:lnTo>
                      <a:lnTo>
                        <a:pt x="805" y="671"/>
                      </a:lnTo>
                      <a:lnTo>
                        <a:pt x="805" y="670"/>
                      </a:lnTo>
                      <a:lnTo>
                        <a:pt x="805" y="665"/>
                      </a:lnTo>
                      <a:lnTo>
                        <a:pt x="807" y="659"/>
                      </a:lnTo>
                      <a:lnTo>
                        <a:pt x="809" y="654"/>
                      </a:lnTo>
                      <a:lnTo>
                        <a:pt x="809" y="652"/>
                      </a:lnTo>
                      <a:lnTo>
                        <a:pt x="808" y="650"/>
                      </a:lnTo>
                      <a:lnTo>
                        <a:pt x="805" y="648"/>
                      </a:lnTo>
                      <a:lnTo>
                        <a:pt x="804" y="647"/>
                      </a:lnTo>
                      <a:lnTo>
                        <a:pt x="799" y="650"/>
                      </a:lnTo>
                      <a:lnTo>
                        <a:pt x="797" y="653"/>
                      </a:lnTo>
                      <a:lnTo>
                        <a:pt x="795" y="658"/>
                      </a:lnTo>
                      <a:lnTo>
                        <a:pt x="793" y="661"/>
                      </a:lnTo>
                      <a:lnTo>
                        <a:pt x="791" y="663"/>
                      </a:lnTo>
                      <a:lnTo>
                        <a:pt x="789" y="664"/>
                      </a:lnTo>
                      <a:lnTo>
                        <a:pt x="788" y="664"/>
                      </a:lnTo>
                      <a:lnTo>
                        <a:pt x="788" y="659"/>
                      </a:lnTo>
                      <a:lnTo>
                        <a:pt x="789" y="654"/>
                      </a:lnTo>
                      <a:lnTo>
                        <a:pt x="789" y="651"/>
                      </a:lnTo>
                      <a:lnTo>
                        <a:pt x="788" y="648"/>
                      </a:lnTo>
                      <a:lnTo>
                        <a:pt x="786" y="647"/>
                      </a:lnTo>
                      <a:lnTo>
                        <a:pt x="785" y="647"/>
                      </a:lnTo>
                      <a:lnTo>
                        <a:pt x="783" y="647"/>
                      </a:lnTo>
                      <a:lnTo>
                        <a:pt x="778" y="650"/>
                      </a:lnTo>
                      <a:lnTo>
                        <a:pt x="776" y="650"/>
                      </a:lnTo>
                      <a:lnTo>
                        <a:pt x="774" y="650"/>
                      </a:lnTo>
                      <a:lnTo>
                        <a:pt x="771" y="646"/>
                      </a:lnTo>
                      <a:lnTo>
                        <a:pt x="770" y="642"/>
                      </a:lnTo>
                      <a:lnTo>
                        <a:pt x="771" y="639"/>
                      </a:lnTo>
                      <a:lnTo>
                        <a:pt x="781" y="626"/>
                      </a:lnTo>
                      <a:lnTo>
                        <a:pt x="793" y="615"/>
                      </a:lnTo>
                      <a:lnTo>
                        <a:pt x="817" y="595"/>
                      </a:lnTo>
                      <a:lnTo>
                        <a:pt x="828" y="583"/>
                      </a:lnTo>
                      <a:lnTo>
                        <a:pt x="833" y="578"/>
                      </a:lnTo>
                      <a:lnTo>
                        <a:pt x="840" y="572"/>
                      </a:lnTo>
                      <a:lnTo>
                        <a:pt x="842" y="572"/>
                      </a:lnTo>
                      <a:lnTo>
                        <a:pt x="844" y="572"/>
                      </a:lnTo>
                      <a:lnTo>
                        <a:pt x="844" y="571"/>
                      </a:lnTo>
                      <a:lnTo>
                        <a:pt x="846" y="569"/>
                      </a:lnTo>
                      <a:lnTo>
                        <a:pt x="850" y="568"/>
                      </a:lnTo>
                      <a:lnTo>
                        <a:pt x="855" y="564"/>
                      </a:lnTo>
                      <a:lnTo>
                        <a:pt x="863" y="555"/>
                      </a:lnTo>
                      <a:lnTo>
                        <a:pt x="869" y="543"/>
                      </a:lnTo>
                      <a:lnTo>
                        <a:pt x="874" y="539"/>
                      </a:lnTo>
                      <a:lnTo>
                        <a:pt x="878" y="535"/>
                      </a:lnTo>
                      <a:lnTo>
                        <a:pt x="883" y="530"/>
                      </a:lnTo>
                      <a:lnTo>
                        <a:pt x="888" y="526"/>
                      </a:lnTo>
                      <a:lnTo>
                        <a:pt x="892" y="525"/>
                      </a:lnTo>
                      <a:lnTo>
                        <a:pt x="896" y="524"/>
                      </a:lnTo>
                      <a:lnTo>
                        <a:pt x="944" y="524"/>
                      </a:lnTo>
                      <a:lnTo>
                        <a:pt x="945" y="524"/>
                      </a:lnTo>
                      <a:lnTo>
                        <a:pt x="946" y="526"/>
                      </a:lnTo>
                      <a:lnTo>
                        <a:pt x="950" y="531"/>
                      </a:lnTo>
                      <a:lnTo>
                        <a:pt x="951" y="531"/>
                      </a:lnTo>
                      <a:lnTo>
                        <a:pt x="953" y="531"/>
                      </a:lnTo>
                      <a:lnTo>
                        <a:pt x="959" y="529"/>
                      </a:lnTo>
                      <a:lnTo>
                        <a:pt x="973" y="529"/>
                      </a:lnTo>
                      <a:lnTo>
                        <a:pt x="987" y="530"/>
                      </a:lnTo>
                      <a:lnTo>
                        <a:pt x="992" y="530"/>
                      </a:lnTo>
                      <a:lnTo>
                        <a:pt x="996" y="532"/>
                      </a:lnTo>
                      <a:lnTo>
                        <a:pt x="1001" y="532"/>
                      </a:lnTo>
                      <a:lnTo>
                        <a:pt x="1005" y="532"/>
                      </a:lnTo>
                      <a:lnTo>
                        <a:pt x="1007" y="531"/>
                      </a:lnTo>
                      <a:lnTo>
                        <a:pt x="1004" y="529"/>
                      </a:lnTo>
                      <a:lnTo>
                        <a:pt x="1001" y="527"/>
                      </a:lnTo>
                      <a:lnTo>
                        <a:pt x="1001" y="525"/>
                      </a:lnTo>
                      <a:lnTo>
                        <a:pt x="1002" y="524"/>
                      </a:lnTo>
                      <a:lnTo>
                        <a:pt x="1005" y="524"/>
                      </a:lnTo>
                      <a:lnTo>
                        <a:pt x="1007" y="523"/>
                      </a:lnTo>
                      <a:lnTo>
                        <a:pt x="1009" y="521"/>
                      </a:lnTo>
                      <a:lnTo>
                        <a:pt x="1009" y="519"/>
                      </a:lnTo>
                      <a:lnTo>
                        <a:pt x="1007" y="517"/>
                      </a:lnTo>
                      <a:lnTo>
                        <a:pt x="1004" y="512"/>
                      </a:lnTo>
                      <a:lnTo>
                        <a:pt x="1004" y="510"/>
                      </a:lnTo>
                      <a:lnTo>
                        <a:pt x="1005" y="508"/>
                      </a:lnTo>
                      <a:lnTo>
                        <a:pt x="1007" y="508"/>
                      </a:lnTo>
                      <a:lnTo>
                        <a:pt x="1010" y="508"/>
                      </a:lnTo>
                      <a:lnTo>
                        <a:pt x="1016" y="513"/>
                      </a:lnTo>
                      <a:lnTo>
                        <a:pt x="1024" y="517"/>
                      </a:lnTo>
                      <a:lnTo>
                        <a:pt x="1028" y="518"/>
                      </a:lnTo>
                      <a:lnTo>
                        <a:pt x="1031" y="519"/>
                      </a:lnTo>
                      <a:lnTo>
                        <a:pt x="1035" y="518"/>
                      </a:lnTo>
                      <a:lnTo>
                        <a:pt x="1039" y="516"/>
                      </a:lnTo>
                      <a:lnTo>
                        <a:pt x="1040" y="516"/>
                      </a:lnTo>
                      <a:lnTo>
                        <a:pt x="1043" y="517"/>
                      </a:lnTo>
                      <a:lnTo>
                        <a:pt x="1045" y="519"/>
                      </a:lnTo>
                      <a:lnTo>
                        <a:pt x="1047" y="521"/>
                      </a:lnTo>
                      <a:lnTo>
                        <a:pt x="1049" y="525"/>
                      </a:lnTo>
                      <a:lnTo>
                        <a:pt x="1052" y="527"/>
                      </a:lnTo>
                      <a:lnTo>
                        <a:pt x="1053" y="529"/>
                      </a:lnTo>
                      <a:lnTo>
                        <a:pt x="1053" y="530"/>
                      </a:lnTo>
                      <a:lnTo>
                        <a:pt x="1049" y="532"/>
                      </a:lnTo>
                      <a:lnTo>
                        <a:pt x="1044" y="535"/>
                      </a:lnTo>
                      <a:lnTo>
                        <a:pt x="1040" y="536"/>
                      </a:lnTo>
                      <a:lnTo>
                        <a:pt x="1037" y="539"/>
                      </a:lnTo>
                      <a:lnTo>
                        <a:pt x="1035" y="542"/>
                      </a:lnTo>
                      <a:lnTo>
                        <a:pt x="1037" y="544"/>
                      </a:lnTo>
                      <a:lnTo>
                        <a:pt x="1039" y="545"/>
                      </a:lnTo>
                      <a:lnTo>
                        <a:pt x="1042" y="545"/>
                      </a:lnTo>
                      <a:lnTo>
                        <a:pt x="1052" y="543"/>
                      </a:lnTo>
                      <a:lnTo>
                        <a:pt x="1061" y="543"/>
                      </a:lnTo>
                      <a:lnTo>
                        <a:pt x="1066" y="542"/>
                      </a:lnTo>
                      <a:lnTo>
                        <a:pt x="1070" y="542"/>
                      </a:lnTo>
                      <a:lnTo>
                        <a:pt x="1073" y="539"/>
                      </a:lnTo>
                      <a:lnTo>
                        <a:pt x="1077" y="537"/>
                      </a:lnTo>
                      <a:lnTo>
                        <a:pt x="1080" y="536"/>
                      </a:lnTo>
                      <a:lnTo>
                        <a:pt x="1081" y="537"/>
                      </a:lnTo>
                      <a:lnTo>
                        <a:pt x="1084" y="538"/>
                      </a:lnTo>
                      <a:lnTo>
                        <a:pt x="1085" y="538"/>
                      </a:lnTo>
                      <a:lnTo>
                        <a:pt x="1087" y="536"/>
                      </a:lnTo>
                      <a:lnTo>
                        <a:pt x="1090" y="533"/>
                      </a:lnTo>
                      <a:lnTo>
                        <a:pt x="1091" y="533"/>
                      </a:lnTo>
                      <a:lnTo>
                        <a:pt x="1094" y="533"/>
                      </a:lnTo>
                      <a:lnTo>
                        <a:pt x="1095" y="535"/>
                      </a:lnTo>
                      <a:lnTo>
                        <a:pt x="1099" y="536"/>
                      </a:lnTo>
                      <a:lnTo>
                        <a:pt x="1103" y="535"/>
                      </a:lnTo>
                      <a:lnTo>
                        <a:pt x="1109" y="531"/>
                      </a:lnTo>
                      <a:lnTo>
                        <a:pt x="1109" y="530"/>
                      </a:lnTo>
                      <a:lnTo>
                        <a:pt x="1099" y="524"/>
                      </a:lnTo>
                      <a:lnTo>
                        <a:pt x="1095" y="521"/>
                      </a:lnTo>
                      <a:lnTo>
                        <a:pt x="1091" y="518"/>
                      </a:lnTo>
                      <a:lnTo>
                        <a:pt x="1091" y="514"/>
                      </a:lnTo>
                      <a:lnTo>
                        <a:pt x="1092" y="511"/>
                      </a:lnTo>
                      <a:lnTo>
                        <a:pt x="1095" y="510"/>
                      </a:lnTo>
                      <a:lnTo>
                        <a:pt x="1099" y="507"/>
                      </a:lnTo>
                      <a:lnTo>
                        <a:pt x="1108" y="505"/>
                      </a:lnTo>
                      <a:lnTo>
                        <a:pt x="1115" y="503"/>
                      </a:lnTo>
                      <a:lnTo>
                        <a:pt x="1125" y="495"/>
                      </a:lnTo>
                      <a:lnTo>
                        <a:pt x="1129" y="492"/>
                      </a:lnTo>
                      <a:lnTo>
                        <a:pt x="1134" y="487"/>
                      </a:lnTo>
                      <a:lnTo>
                        <a:pt x="1138" y="482"/>
                      </a:lnTo>
                      <a:lnTo>
                        <a:pt x="1141" y="479"/>
                      </a:lnTo>
                      <a:lnTo>
                        <a:pt x="1146" y="472"/>
                      </a:lnTo>
                      <a:lnTo>
                        <a:pt x="1152" y="467"/>
                      </a:lnTo>
                      <a:lnTo>
                        <a:pt x="1158" y="463"/>
                      </a:lnTo>
                      <a:lnTo>
                        <a:pt x="1162" y="462"/>
                      </a:lnTo>
                      <a:lnTo>
                        <a:pt x="1166" y="461"/>
                      </a:lnTo>
                      <a:lnTo>
                        <a:pt x="1170" y="462"/>
                      </a:lnTo>
                      <a:lnTo>
                        <a:pt x="1174" y="462"/>
                      </a:lnTo>
                      <a:lnTo>
                        <a:pt x="1178" y="465"/>
                      </a:lnTo>
                      <a:lnTo>
                        <a:pt x="1180" y="466"/>
                      </a:lnTo>
                      <a:lnTo>
                        <a:pt x="1183" y="466"/>
                      </a:lnTo>
                      <a:lnTo>
                        <a:pt x="1186" y="463"/>
                      </a:lnTo>
                      <a:lnTo>
                        <a:pt x="1190" y="461"/>
                      </a:lnTo>
                      <a:lnTo>
                        <a:pt x="1195" y="456"/>
                      </a:lnTo>
                      <a:lnTo>
                        <a:pt x="1200" y="450"/>
                      </a:lnTo>
                      <a:lnTo>
                        <a:pt x="1204" y="446"/>
                      </a:lnTo>
                      <a:lnTo>
                        <a:pt x="1208" y="444"/>
                      </a:lnTo>
                      <a:lnTo>
                        <a:pt x="1211" y="443"/>
                      </a:lnTo>
                      <a:lnTo>
                        <a:pt x="1208" y="452"/>
                      </a:lnTo>
                      <a:lnTo>
                        <a:pt x="1204" y="460"/>
                      </a:lnTo>
                      <a:lnTo>
                        <a:pt x="1204" y="465"/>
                      </a:lnTo>
                      <a:lnTo>
                        <a:pt x="1203" y="468"/>
                      </a:lnTo>
                      <a:lnTo>
                        <a:pt x="1203" y="471"/>
                      </a:lnTo>
                      <a:lnTo>
                        <a:pt x="1200" y="473"/>
                      </a:lnTo>
                      <a:lnTo>
                        <a:pt x="1198" y="474"/>
                      </a:lnTo>
                      <a:lnTo>
                        <a:pt x="1193" y="479"/>
                      </a:lnTo>
                      <a:lnTo>
                        <a:pt x="1193" y="480"/>
                      </a:lnTo>
                      <a:lnTo>
                        <a:pt x="1193" y="482"/>
                      </a:lnTo>
                      <a:lnTo>
                        <a:pt x="1194" y="485"/>
                      </a:lnTo>
                      <a:lnTo>
                        <a:pt x="1198" y="487"/>
                      </a:lnTo>
                      <a:lnTo>
                        <a:pt x="1199" y="489"/>
                      </a:lnTo>
                      <a:lnTo>
                        <a:pt x="1202" y="492"/>
                      </a:lnTo>
                      <a:lnTo>
                        <a:pt x="1204" y="493"/>
                      </a:lnTo>
                      <a:lnTo>
                        <a:pt x="1208" y="493"/>
                      </a:lnTo>
                      <a:lnTo>
                        <a:pt x="1211" y="491"/>
                      </a:lnTo>
                      <a:lnTo>
                        <a:pt x="1213" y="487"/>
                      </a:lnTo>
                      <a:lnTo>
                        <a:pt x="1216" y="482"/>
                      </a:lnTo>
                      <a:lnTo>
                        <a:pt x="1217" y="476"/>
                      </a:lnTo>
                      <a:lnTo>
                        <a:pt x="1219" y="472"/>
                      </a:lnTo>
                      <a:lnTo>
                        <a:pt x="1222" y="471"/>
                      </a:lnTo>
                      <a:lnTo>
                        <a:pt x="1223" y="471"/>
                      </a:lnTo>
                      <a:lnTo>
                        <a:pt x="1226" y="469"/>
                      </a:lnTo>
                      <a:lnTo>
                        <a:pt x="1227" y="469"/>
                      </a:lnTo>
                      <a:lnTo>
                        <a:pt x="1230" y="465"/>
                      </a:lnTo>
                      <a:lnTo>
                        <a:pt x="1231" y="460"/>
                      </a:lnTo>
                      <a:lnTo>
                        <a:pt x="1232" y="456"/>
                      </a:lnTo>
                      <a:lnTo>
                        <a:pt x="1233" y="454"/>
                      </a:lnTo>
                      <a:lnTo>
                        <a:pt x="1235" y="453"/>
                      </a:lnTo>
                      <a:lnTo>
                        <a:pt x="1242" y="449"/>
                      </a:lnTo>
                      <a:lnTo>
                        <a:pt x="1250" y="448"/>
                      </a:lnTo>
                      <a:lnTo>
                        <a:pt x="1252" y="448"/>
                      </a:lnTo>
                      <a:lnTo>
                        <a:pt x="1254" y="449"/>
                      </a:lnTo>
                      <a:lnTo>
                        <a:pt x="1254" y="450"/>
                      </a:lnTo>
                      <a:lnTo>
                        <a:pt x="1250" y="454"/>
                      </a:lnTo>
                      <a:lnTo>
                        <a:pt x="1247" y="459"/>
                      </a:lnTo>
                      <a:lnTo>
                        <a:pt x="1242" y="467"/>
                      </a:lnTo>
                      <a:lnTo>
                        <a:pt x="1240" y="471"/>
                      </a:lnTo>
                      <a:lnTo>
                        <a:pt x="1240" y="473"/>
                      </a:lnTo>
                      <a:lnTo>
                        <a:pt x="1242" y="478"/>
                      </a:lnTo>
                      <a:lnTo>
                        <a:pt x="1244" y="480"/>
                      </a:lnTo>
                      <a:lnTo>
                        <a:pt x="1245" y="482"/>
                      </a:lnTo>
                      <a:lnTo>
                        <a:pt x="1244" y="485"/>
                      </a:lnTo>
                      <a:lnTo>
                        <a:pt x="1240" y="488"/>
                      </a:lnTo>
                      <a:lnTo>
                        <a:pt x="1236" y="491"/>
                      </a:lnTo>
                      <a:lnTo>
                        <a:pt x="1231" y="493"/>
                      </a:lnTo>
                      <a:lnTo>
                        <a:pt x="1227" y="497"/>
                      </a:lnTo>
                      <a:lnTo>
                        <a:pt x="1218" y="505"/>
                      </a:lnTo>
                      <a:lnTo>
                        <a:pt x="1208" y="512"/>
                      </a:lnTo>
                      <a:lnTo>
                        <a:pt x="1198" y="519"/>
                      </a:lnTo>
                      <a:lnTo>
                        <a:pt x="1188" y="526"/>
                      </a:lnTo>
                      <a:lnTo>
                        <a:pt x="1185" y="531"/>
                      </a:lnTo>
                      <a:lnTo>
                        <a:pt x="1184" y="536"/>
                      </a:lnTo>
                      <a:lnTo>
                        <a:pt x="1183" y="542"/>
                      </a:lnTo>
                      <a:lnTo>
                        <a:pt x="1183" y="543"/>
                      </a:lnTo>
                      <a:lnTo>
                        <a:pt x="1180" y="544"/>
                      </a:lnTo>
                      <a:lnTo>
                        <a:pt x="1178" y="545"/>
                      </a:lnTo>
                      <a:lnTo>
                        <a:pt x="1175" y="548"/>
                      </a:lnTo>
                      <a:lnTo>
                        <a:pt x="1172" y="551"/>
                      </a:lnTo>
                      <a:lnTo>
                        <a:pt x="1171" y="556"/>
                      </a:lnTo>
                      <a:lnTo>
                        <a:pt x="1170" y="557"/>
                      </a:lnTo>
                      <a:lnTo>
                        <a:pt x="1167" y="558"/>
                      </a:lnTo>
                      <a:lnTo>
                        <a:pt x="1152" y="561"/>
                      </a:lnTo>
                      <a:lnTo>
                        <a:pt x="1144" y="563"/>
                      </a:lnTo>
                      <a:lnTo>
                        <a:pt x="1141" y="564"/>
                      </a:lnTo>
                      <a:lnTo>
                        <a:pt x="1137" y="568"/>
                      </a:lnTo>
                      <a:lnTo>
                        <a:pt x="1131" y="575"/>
                      </a:lnTo>
                      <a:lnTo>
                        <a:pt x="1128" y="577"/>
                      </a:lnTo>
                      <a:lnTo>
                        <a:pt x="1124" y="578"/>
                      </a:lnTo>
                      <a:lnTo>
                        <a:pt x="1123" y="581"/>
                      </a:lnTo>
                      <a:lnTo>
                        <a:pt x="1122" y="587"/>
                      </a:lnTo>
                      <a:lnTo>
                        <a:pt x="1120" y="594"/>
                      </a:lnTo>
                      <a:lnTo>
                        <a:pt x="1118" y="599"/>
                      </a:lnTo>
                      <a:lnTo>
                        <a:pt x="1117" y="602"/>
                      </a:lnTo>
                      <a:lnTo>
                        <a:pt x="1117" y="606"/>
                      </a:lnTo>
                      <a:lnTo>
                        <a:pt x="1117" y="610"/>
                      </a:lnTo>
                      <a:lnTo>
                        <a:pt x="1117" y="614"/>
                      </a:lnTo>
                      <a:lnTo>
                        <a:pt x="1113" y="621"/>
                      </a:lnTo>
                      <a:lnTo>
                        <a:pt x="1111" y="626"/>
                      </a:lnTo>
                      <a:lnTo>
                        <a:pt x="1111" y="629"/>
                      </a:lnTo>
                      <a:lnTo>
                        <a:pt x="1119" y="648"/>
                      </a:lnTo>
                      <a:lnTo>
                        <a:pt x="1124" y="667"/>
                      </a:lnTo>
                      <a:lnTo>
                        <a:pt x="1128" y="686"/>
                      </a:lnTo>
                      <a:lnTo>
                        <a:pt x="1131" y="706"/>
                      </a:lnTo>
                      <a:lnTo>
                        <a:pt x="1132" y="709"/>
                      </a:lnTo>
                      <a:lnTo>
                        <a:pt x="1133" y="716"/>
                      </a:lnTo>
                      <a:lnTo>
                        <a:pt x="1136" y="722"/>
                      </a:lnTo>
                      <a:lnTo>
                        <a:pt x="1142" y="734"/>
                      </a:lnTo>
                      <a:lnTo>
                        <a:pt x="1143" y="734"/>
                      </a:lnTo>
                      <a:lnTo>
                        <a:pt x="1144" y="734"/>
                      </a:lnTo>
                      <a:lnTo>
                        <a:pt x="1148" y="733"/>
                      </a:lnTo>
                      <a:lnTo>
                        <a:pt x="1155" y="724"/>
                      </a:lnTo>
                      <a:lnTo>
                        <a:pt x="1160" y="717"/>
                      </a:lnTo>
                      <a:lnTo>
                        <a:pt x="1166" y="709"/>
                      </a:lnTo>
                      <a:lnTo>
                        <a:pt x="1172" y="702"/>
                      </a:lnTo>
                      <a:lnTo>
                        <a:pt x="1175" y="699"/>
                      </a:lnTo>
                      <a:lnTo>
                        <a:pt x="1175" y="696"/>
                      </a:lnTo>
                      <a:lnTo>
                        <a:pt x="1172" y="689"/>
                      </a:lnTo>
                      <a:lnTo>
                        <a:pt x="1172" y="685"/>
                      </a:lnTo>
                      <a:lnTo>
                        <a:pt x="1174" y="683"/>
                      </a:lnTo>
                      <a:lnTo>
                        <a:pt x="1180" y="679"/>
                      </a:lnTo>
                      <a:lnTo>
                        <a:pt x="1183" y="678"/>
                      </a:lnTo>
                      <a:lnTo>
                        <a:pt x="1184" y="678"/>
                      </a:lnTo>
                      <a:lnTo>
                        <a:pt x="1188" y="679"/>
                      </a:lnTo>
                      <a:lnTo>
                        <a:pt x="1194" y="680"/>
                      </a:lnTo>
                      <a:lnTo>
                        <a:pt x="1197" y="680"/>
                      </a:lnTo>
                      <a:lnTo>
                        <a:pt x="1199" y="679"/>
                      </a:lnTo>
                      <a:lnTo>
                        <a:pt x="1199" y="678"/>
                      </a:lnTo>
                      <a:lnTo>
                        <a:pt x="1200" y="677"/>
                      </a:lnTo>
                      <a:lnTo>
                        <a:pt x="1199" y="672"/>
                      </a:lnTo>
                      <a:lnTo>
                        <a:pt x="1198" y="669"/>
                      </a:lnTo>
                      <a:lnTo>
                        <a:pt x="1197" y="665"/>
                      </a:lnTo>
                      <a:lnTo>
                        <a:pt x="1197" y="660"/>
                      </a:lnTo>
                      <a:lnTo>
                        <a:pt x="1199" y="658"/>
                      </a:lnTo>
                      <a:lnTo>
                        <a:pt x="1202" y="655"/>
                      </a:lnTo>
                      <a:lnTo>
                        <a:pt x="1207" y="654"/>
                      </a:lnTo>
                      <a:lnTo>
                        <a:pt x="1216" y="651"/>
                      </a:lnTo>
                      <a:lnTo>
                        <a:pt x="1219" y="650"/>
                      </a:lnTo>
                      <a:lnTo>
                        <a:pt x="1223" y="647"/>
                      </a:lnTo>
                      <a:lnTo>
                        <a:pt x="1224" y="645"/>
                      </a:lnTo>
                      <a:lnTo>
                        <a:pt x="1226" y="642"/>
                      </a:lnTo>
                      <a:lnTo>
                        <a:pt x="1224" y="638"/>
                      </a:lnTo>
                      <a:lnTo>
                        <a:pt x="1222" y="633"/>
                      </a:lnTo>
                      <a:lnTo>
                        <a:pt x="1219" y="627"/>
                      </a:lnTo>
                      <a:lnTo>
                        <a:pt x="1218" y="625"/>
                      </a:lnTo>
                      <a:lnTo>
                        <a:pt x="1219" y="621"/>
                      </a:lnTo>
                      <a:lnTo>
                        <a:pt x="1224" y="614"/>
                      </a:lnTo>
                      <a:lnTo>
                        <a:pt x="1233" y="604"/>
                      </a:lnTo>
                      <a:lnTo>
                        <a:pt x="1236" y="603"/>
                      </a:lnTo>
                      <a:lnTo>
                        <a:pt x="1237" y="602"/>
                      </a:lnTo>
                      <a:lnTo>
                        <a:pt x="1240" y="602"/>
                      </a:lnTo>
                      <a:lnTo>
                        <a:pt x="1242" y="603"/>
                      </a:lnTo>
                      <a:lnTo>
                        <a:pt x="1244" y="604"/>
                      </a:lnTo>
                      <a:lnTo>
                        <a:pt x="1245" y="604"/>
                      </a:lnTo>
                      <a:lnTo>
                        <a:pt x="1247" y="602"/>
                      </a:lnTo>
                      <a:lnTo>
                        <a:pt x="1250" y="600"/>
                      </a:lnTo>
                      <a:lnTo>
                        <a:pt x="1251" y="596"/>
                      </a:lnTo>
                      <a:lnTo>
                        <a:pt x="1251" y="594"/>
                      </a:lnTo>
                      <a:lnTo>
                        <a:pt x="1250" y="593"/>
                      </a:lnTo>
                      <a:lnTo>
                        <a:pt x="1246" y="591"/>
                      </a:lnTo>
                      <a:lnTo>
                        <a:pt x="1242" y="590"/>
                      </a:lnTo>
                      <a:lnTo>
                        <a:pt x="1241" y="589"/>
                      </a:lnTo>
                      <a:lnTo>
                        <a:pt x="1240" y="588"/>
                      </a:lnTo>
                      <a:lnTo>
                        <a:pt x="1237" y="582"/>
                      </a:lnTo>
                      <a:lnTo>
                        <a:pt x="1236" y="580"/>
                      </a:lnTo>
                      <a:lnTo>
                        <a:pt x="1236" y="576"/>
                      </a:lnTo>
                      <a:lnTo>
                        <a:pt x="1237" y="574"/>
                      </a:lnTo>
                      <a:lnTo>
                        <a:pt x="1240" y="572"/>
                      </a:lnTo>
                      <a:lnTo>
                        <a:pt x="1246" y="572"/>
                      </a:lnTo>
                      <a:lnTo>
                        <a:pt x="1247" y="571"/>
                      </a:lnTo>
                      <a:lnTo>
                        <a:pt x="1247" y="569"/>
                      </a:lnTo>
                      <a:lnTo>
                        <a:pt x="1247" y="568"/>
                      </a:lnTo>
                      <a:lnTo>
                        <a:pt x="1246" y="567"/>
                      </a:lnTo>
                      <a:lnTo>
                        <a:pt x="1240" y="563"/>
                      </a:lnTo>
                      <a:lnTo>
                        <a:pt x="1237" y="562"/>
                      </a:lnTo>
                      <a:lnTo>
                        <a:pt x="1235" y="559"/>
                      </a:lnTo>
                      <a:lnTo>
                        <a:pt x="1235" y="557"/>
                      </a:lnTo>
                      <a:lnTo>
                        <a:pt x="1236" y="555"/>
                      </a:lnTo>
                      <a:lnTo>
                        <a:pt x="1238" y="551"/>
                      </a:lnTo>
                      <a:lnTo>
                        <a:pt x="1240" y="549"/>
                      </a:lnTo>
                      <a:lnTo>
                        <a:pt x="1238" y="546"/>
                      </a:lnTo>
                      <a:lnTo>
                        <a:pt x="1235" y="545"/>
                      </a:lnTo>
                      <a:lnTo>
                        <a:pt x="1235" y="544"/>
                      </a:lnTo>
                      <a:lnTo>
                        <a:pt x="1235" y="542"/>
                      </a:lnTo>
                      <a:lnTo>
                        <a:pt x="1236" y="537"/>
                      </a:lnTo>
                      <a:lnTo>
                        <a:pt x="1240" y="532"/>
                      </a:lnTo>
                      <a:lnTo>
                        <a:pt x="1244" y="529"/>
                      </a:lnTo>
                      <a:lnTo>
                        <a:pt x="1249" y="525"/>
                      </a:lnTo>
                      <a:lnTo>
                        <a:pt x="1250" y="524"/>
                      </a:lnTo>
                      <a:lnTo>
                        <a:pt x="1250" y="521"/>
                      </a:lnTo>
                      <a:lnTo>
                        <a:pt x="1251" y="519"/>
                      </a:lnTo>
                      <a:lnTo>
                        <a:pt x="1252" y="517"/>
                      </a:lnTo>
                      <a:lnTo>
                        <a:pt x="1263" y="510"/>
                      </a:lnTo>
                      <a:lnTo>
                        <a:pt x="1268" y="508"/>
                      </a:lnTo>
                      <a:lnTo>
                        <a:pt x="1273" y="508"/>
                      </a:lnTo>
                      <a:lnTo>
                        <a:pt x="1279" y="511"/>
                      </a:lnTo>
                      <a:lnTo>
                        <a:pt x="1282" y="510"/>
                      </a:lnTo>
                      <a:lnTo>
                        <a:pt x="1283" y="508"/>
                      </a:lnTo>
                      <a:lnTo>
                        <a:pt x="1287" y="503"/>
                      </a:lnTo>
                      <a:lnTo>
                        <a:pt x="1289" y="497"/>
                      </a:lnTo>
                      <a:lnTo>
                        <a:pt x="1292" y="491"/>
                      </a:lnTo>
                      <a:lnTo>
                        <a:pt x="1293" y="491"/>
                      </a:lnTo>
                      <a:lnTo>
                        <a:pt x="1294" y="491"/>
                      </a:lnTo>
                      <a:lnTo>
                        <a:pt x="1296" y="495"/>
                      </a:lnTo>
                      <a:lnTo>
                        <a:pt x="1296" y="500"/>
                      </a:lnTo>
                      <a:lnTo>
                        <a:pt x="1294" y="505"/>
                      </a:lnTo>
                      <a:lnTo>
                        <a:pt x="1293" y="508"/>
                      </a:lnTo>
                      <a:lnTo>
                        <a:pt x="1294" y="511"/>
                      </a:lnTo>
                      <a:lnTo>
                        <a:pt x="1297" y="510"/>
                      </a:lnTo>
                      <a:lnTo>
                        <a:pt x="1299" y="510"/>
                      </a:lnTo>
                      <a:lnTo>
                        <a:pt x="1301" y="507"/>
                      </a:lnTo>
                      <a:lnTo>
                        <a:pt x="1303" y="505"/>
                      </a:lnTo>
                      <a:lnTo>
                        <a:pt x="1306" y="503"/>
                      </a:lnTo>
                      <a:lnTo>
                        <a:pt x="1311" y="500"/>
                      </a:lnTo>
                      <a:lnTo>
                        <a:pt x="1316" y="498"/>
                      </a:lnTo>
                      <a:lnTo>
                        <a:pt x="1326" y="492"/>
                      </a:lnTo>
                      <a:lnTo>
                        <a:pt x="1330" y="489"/>
                      </a:lnTo>
                      <a:lnTo>
                        <a:pt x="1334" y="488"/>
                      </a:lnTo>
                      <a:lnTo>
                        <a:pt x="1341" y="489"/>
                      </a:lnTo>
                      <a:lnTo>
                        <a:pt x="1349" y="492"/>
                      </a:lnTo>
                      <a:lnTo>
                        <a:pt x="1357" y="497"/>
                      </a:lnTo>
                      <a:lnTo>
                        <a:pt x="1359" y="497"/>
                      </a:lnTo>
                      <a:lnTo>
                        <a:pt x="1363" y="497"/>
                      </a:lnTo>
                      <a:lnTo>
                        <a:pt x="1364" y="499"/>
                      </a:lnTo>
                      <a:lnTo>
                        <a:pt x="1365" y="500"/>
                      </a:lnTo>
                      <a:lnTo>
                        <a:pt x="1367" y="503"/>
                      </a:lnTo>
                      <a:lnTo>
                        <a:pt x="1368" y="505"/>
                      </a:lnTo>
                      <a:lnTo>
                        <a:pt x="1368" y="506"/>
                      </a:lnTo>
                      <a:lnTo>
                        <a:pt x="1369" y="506"/>
                      </a:lnTo>
                      <a:lnTo>
                        <a:pt x="1372" y="504"/>
                      </a:lnTo>
                      <a:lnTo>
                        <a:pt x="1373" y="501"/>
                      </a:lnTo>
                      <a:lnTo>
                        <a:pt x="1376" y="497"/>
                      </a:lnTo>
                      <a:lnTo>
                        <a:pt x="1382" y="489"/>
                      </a:lnTo>
                      <a:lnTo>
                        <a:pt x="1387" y="485"/>
                      </a:lnTo>
                      <a:lnTo>
                        <a:pt x="1391" y="482"/>
                      </a:lnTo>
                      <a:lnTo>
                        <a:pt x="1400" y="478"/>
                      </a:lnTo>
                      <a:lnTo>
                        <a:pt x="1409" y="474"/>
                      </a:lnTo>
                      <a:lnTo>
                        <a:pt x="1418" y="467"/>
                      </a:lnTo>
                      <a:lnTo>
                        <a:pt x="1423" y="465"/>
                      </a:lnTo>
                      <a:lnTo>
                        <a:pt x="1428" y="463"/>
                      </a:lnTo>
                      <a:lnTo>
                        <a:pt x="1434" y="461"/>
                      </a:lnTo>
                      <a:lnTo>
                        <a:pt x="1439" y="459"/>
                      </a:lnTo>
                      <a:lnTo>
                        <a:pt x="1445" y="455"/>
                      </a:lnTo>
                      <a:lnTo>
                        <a:pt x="1451" y="453"/>
                      </a:lnTo>
                      <a:lnTo>
                        <a:pt x="1456" y="449"/>
                      </a:lnTo>
                      <a:lnTo>
                        <a:pt x="1461" y="447"/>
                      </a:lnTo>
                      <a:lnTo>
                        <a:pt x="1466" y="444"/>
                      </a:lnTo>
                      <a:lnTo>
                        <a:pt x="1471" y="443"/>
                      </a:lnTo>
                      <a:lnTo>
                        <a:pt x="1480" y="442"/>
                      </a:lnTo>
                      <a:lnTo>
                        <a:pt x="1490" y="440"/>
                      </a:lnTo>
                      <a:lnTo>
                        <a:pt x="1501" y="439"/>
                      </a:lnTo>
                      <a:lnTo>
                        <a:pt x="1508" y="440"/>
                      </a:lnTo>
                      <a:lnTo>
                        <a:pt x="1514" y="441"/>
                      </a:lnTo>
                      <a:lnTo>
                        <a:pt x="1517" y="442"/>
                      </a:lnTo>
                      <a:lnTo>
                        <a:pt x="1520" y="442"/>
                      </a:lnTo>
                      <a:lnTo>
                        <a:pt x="1524" y="441"/>
                      </a:lnTo>
                      <a:lnTo>
                        <a:pt x="1527" y="440"/>
                      </a:lnTo>
                      <a:lnTo>
                        <a:pt x="1528" y="436"/>
                      </a:lnTo>
                      <a:lnTo>
                        <a:pt x="1529" y="431"/>
                      </a:lnTo>
                      <a:lnTo>
                        <a:pt x="1529" y="428"/>
                      </a:lnTo>
                      <a:lnTo>
                        <a:pt x="1528" y="425"/>
                      </a:lnTo>
                      <a:lnTo>
                        <a:pt x="1524" y="422"/>
                      </a:lnTo>
                      <a:lnTo>
                        <a:pt x="1520" y="418"/>
                      </a:lnTo>
                      <a:lnTo>
                        <a:pt x="1515" y="409"/>
                      </a:lnTo>
                      <a:lnTo>
                        <a:pt x="1509" y="391"/>
                      </a:lnTo>
                      <a:lnTo>
                        <a:pt x="1505" y="389"/>
                      </a:lnTo>
                      <a:lnTo>
                        <a:pt x="1503" y="388"/>
                      </a:lnTo>
                      <a:lnTo>
                        <a:pt x="1495" y="388"/>
                      </a:lnTo>
                      <a:lnTo>
                        <a:pt x="1490" y="385"/>
                      </a:lnTo>
                      <a:lnTo>
                        <a:pt x="1478" y="378"/>
                      </a:lnTo>
                      <a:lnTo>
                        <a:pt x="1477" y="377"/>
                      </a:lnTo>
                      <a:lnTo>
                        <a:pt x="1478" y="376"/>
                      </a:lnTo>
                      <a:lnTo>
                        <a:pt x="1480" y="374"/>
                      </a:lnTo>
                      <a:lnTo>
                        <a:pt x="1492" y="376"/>
                      </a:lnTo>
                      <a:lnTo>
                        <a:pt x="1504" y="378"/>
                      </a:lnTo>
                      <a:lnTo>
                        <a:pt x="1515" y="380"/>
                      </a:lnTo>
                      <a:lnTo>
                        <a:pt x="1522" y="380"/>
                      </a:lnTo>
                      <a:lnTo>
                        <a:pt x="1528" y="379"/>
                      </a:lnTo>
                      <a:lnTo>
                        <a:pt x="1534" y="377"/>
                      </a:lnTo>
                      <a:lnTo>
                        <a:pt x="1541" y="373"/>
                      </a:lnTo>
                      <a:lnTo>
                        <a:pt x="1546" y="369"/>
                      </a:lnTo>
                      <a:lnTo>
                        <a:pt x="1551" y="364"/>
                      </a:lnTo>
                      <a:lnTo>
                        <a:pt x="1553" y="358"/>
                      </a:lnTo>
                      <a:lnTo>
                        <a:pt x="1553" y="352"/>
                      </a:lnTo>
                      <a:lnTo>
                        <a:pt x="1552" y="346"/>
                      </a:lnTo>
                      <a:lnTo>
                        <a:pt x="1547" y="339"/>
                      </a:lnTo>
                      <a:lnTo>
                        <a:pt x="1547" y="337"/>
                      </a:lnTo>
                      <a:lnTo>
                        <a:pt x="1548" y="335"/>
                      </a:lnTo>
                      <a:lnTo>
                        <a:pt x="1557" y="335"/>
                      </a:lnTo>
                      <a:lnTo>
                        <a:pt x="1566" y="334"/>
                      </a:lnTo>
                      <a:lnTo>
                        <a:pt x="1567" y="334"/>
                      </a:lnTo>
                      <a:lnTo>
                        <a:pt x="1567" y="335"/>
                      </a:lnTo>
                      <a:lnTo>
                        <a:pt x="1567" y="338"/>
                      </a:lnTo>
                      <a:lnTo>
                        <a:pt x="1564" y="341"/>
                      </a:lnTo>
                      <a:lnTo>
                        <a:pt x="1562" y="346"/>
                      </a:lnTo>
                      <a:lnTo>
                        <a:pt x="1565" y="350"/>
                      </a:lnTo>
                      <a:lnTo>
                        <a:pt x="1569" y="353"/>
                      </a:lnTo>
                      <a:lnTo>
                        <a:pt x="1574" y="356"/>
                      </a:lnTo>
                      <a:lnTo>
                        <a:pt x="1578" y="356"/>
                      </a:lnTo>
                      <a:lnTo>
                        <a:pt x="1580" y="356"/>
                      </a:lnTo>
                      <a:lnTo>
                        <a:pt x="1586" y="356"/>
                      </a:lnTo>
                      <a:lnTo>
                        <a:pt x="1597" y="353"/>
                      </a:lnTo>
                      <a:lnTo>
                        <a:pt x="1602" y="354"/>
                      </a:lnTo>
                      <a:lnTo>
                        <a:pt x="1607" y="356"/>
                      </a:lnTo>
                      <a:lnTo>
                        <a:pt x="1609" y="358"/>
                      </a:lnTo>
                      <a:lnTo>
                        <a:pt x="1612" y="361"/>
                      </a:lnTo>
                      <a:lnTo>
                        <a:pt x="1614" y="369"/>
                      </a:lnTo>
                      <a:lnTo>
                        <a:pt x="1618" y="373"/>
                      </a:lnTo>
                      <a:lnTo>
                        <a:pt x="1619" y="374"/>
                      </a:lnTo>
                      <a:lnTo>
                        <a:pt x="1622" y="376"/>
                      </a:lnTo>
                      <a:lnTo>
                        <a:pt x="1635" y="380"/>
                      </a:lnTo>
                      <a:lnTo>
                        <a:pt x="1646" y="385"/>
                      </a:lnTo>
                      <a:lnTo>
                        <a:pt x="1658" y="389"/>
                      </a:lnTo>
                      <a:lnTo>
                        <a:pt x="1660" y="389"/>
                      </a:lnTo>
                      <a:lnTo>
                        <a:pt x="1664" y="389"/>
                      </a:lnTo>
                      <a:lnTo>
                        <a:pt x="1666" y="388"/>
                      </a:lnTo>
                      <a:lnTo>
                        <a:pt x="1668" y="386"/>
                      </a:lnTo>
                      <a:lnTo>
                        <a:pt x="1670" y="380"/>
                      </a:lnTo>
                      <a:lnTo>
                        <a:pt x="1673" y="376"/>
                      </a:lnTo>
                      <a:lnTo>
                        <a:pt x="1677" y="370"/>
                      </a:lnTo>
                      <a:lnTo>
                        <a:pt x="1677" y="363"/>
                      </a:lnTo>
                      <a:lnTo>
                        <a:pt x="1675" y="359"/>
                      </a:lnTo>
                      <a:lnTo>
                        <a:pt x="1674" y="357"/>
                      </a:lnTo>
                      <a:lnTo>
                        <a:pt x="1671" y="354"/>
                      </a:lnTo>
                      <a:lnTo>
                        <a:pt x="1668" y="353"/>
                      </a:lnTo>
                      <a:lnTo>
                        <a:pt x="1668" y="351"/>
                      </a:lnTo>
                      <a:lnTo>
                        <a:pt x="1674" y="352"/>
                      </a:lnTo>
                      <a:lnTo>
                        <a:pt x="1680" y="353"/>
                      </a:lnTo>
                      <a:lnTo>
                        <a:pt x="1693" y="358"/>
                      </a:lnTo>
                      <a:lnTo>
                        <a:pt x="1694" y="357"/>
                      </a:lnTo>
                      <a:lnTo>
                        <a:pt x="1696" y="357"/>
                      </a:lnTo>
                      <a:lnTo>
                        <a:pt x="1696" y="354"/>
                      </a:lnTo>
                      <a:lnTo>
                        <a:pt x="1697" y="352"/>
                      </a:lnTo>
                      <a:lnTo>
                        <a:pt x="1697" y="350"/>
                      </a:lnTo>
                      <a:lnTo>
                        <a:pt x="1702" y="348"/>
                      </a:lnTo>
                      <a:lnTo>
                        <a:pt x="1707" y="347"/>
                      </a:lnTo>
                      <a:lnTo>
                        <a:pt x="1711" y="345"/>
                      </a:lnTo>
                      <a:lnTo>
                        <a:pt x="1713" y="341"/>
                      </a:lnTo>
                      <a:lnTo>
                        <a:pt x="1715" y="338"/>
                      </a:lnTo>
                      <a:lnTo>
                        <a:pt x="1715" y="337"/>
                      </a:lnTo>
                      <a:lnTo>
                        <a:pt x="1713" y="334"/>
                      </a:lnTo>
                      <a:lnTo>
                        <a:pt x="1712" y="333"/>
                      </a:lnTo>
                      <a:lnTo>
                        <a:pt x="1704" y="328"/>
                      </a:lnTo>
                      <a:lnTo>
                        <a:pt x="1698" y="324"/>
                      </a:lnTo>
                      <a:lnTo>
                        <a:pt x="1693" y="318"/>
                      </a:lnTo>
                      <a:lnTo>
                        <a:pt x="1688" y="314"/>
                      </a:lnTo>
                      <a:lnTo>
                        <a:pt x="1684" y="312"/>
                      </a:lnTo>
                      <a:lnTo>
                        <a:pt x="1680" y="312"/>
                      </a:lnTo>
                      <a:lnTo>
                        <a:pt x="1671" y="310"/>
                      </a:lnTo>
                      <a:lnTo>
                        <a:pt x="1661" y="310"/>
                      </a:lnTo>
                      <a:lnTo>
                        <a:pt x="1652" y="312"/>
                      </a:lnTo>
                      <a:lnTo>
                        <a:pt x="1644" y="314"/>
                      </a:lnTo>
                      <a:lnTo>
                        <a:pt x="1642" y="315"/>
                      </a:lnTo>
                      <a:lnTo>
                        <a:pt x="1642" y="316"/>
                      </a:lnTo>
                      <a:lnTo>
                        <a:pt x="1644" y="320"/>
                      </a:lnTo>
                      <a:lnTo>
                        <a:pt x="1646" y="328"/>
                      </a:lnTo>
                      <a:lnTo>
                        <a:pt x="1646" y="332"/>
                      </a:lnTo>
                      <a:lnTo>
                        <a:pt x="1646" y="333"/>
                      </a:lnTo>
                      <a:lnTo>
                        <a:pt x="1644" y="334"/>
                      </a:lnTo>
                      <a:lnTo>
                        <a:pt x="1642" y="335"/>
                      </a:lnTo>
                      <a:lnTo>
                        <a:pt x="1640" y="335"/>
                      </a:lnTo>
                      <a:lnTo>
                        <a:pt x="1638" y="333"/>
                      </a:lnTo>
                      <a:lnTo>
                        <a:pt x="1637" y="332"/>
                      </a:lnTo>
                      <a:lnTo>
                        <a:pt x="1636" y="318"/>
                      </a:lnTo>
                      <a:lnTo>
                        <a:pt x="1635" y="310"/>
                      </a:lnTo>
                      <a:lnTo>
                        <a:pt x="1632" y="305"/>
                      </a:lnTo>
                      <a:lnTo>
                        <a:pt x="1630" y="300"/>
                      </a:lnTo>
                      <a:lnTo>
                        <a:pt x="1626" y="296"/>
                      </a:lnTo>
                      <a:lnTo>
                        <a:pt x="1622" y="294"/>
                      </a:lnTo>
                      <a:lnTo>
                        <a:pt x="1616" y="291"/>
                      </a:lnTo>
                      <a:lnTo>
                        <a:pt x="1603" y="289"/>
                      </a:lnTo>
                      <a:lnTo>
                        <a:pt x="1590" y="286"/>
                      </a:lnTo>
                      <a:lnTo>
                        <a:pt x="1579" y="281"/>
                      </a:lnTo>
                      <a:lnTo>
                        <a:pt x="1567" y="275"/>
                      </a:lnTo>
                      <a:lnTo>
                        <a:pt x="1562" y="274"/>
                      </a:lnTo>
                      <a:lnTo>
                        <a:pt x="1557" y="273"/>
                      </a:lnTo>
                      <a:lnTo>
                        <a:pt x="1546" y="270"/>
                      </a:lnTo>
                      <a:lnTo>
                        <a:pt x="1542" y="269"/>
                      </a:lnTo>
                      <a:lnTo>
                        <a:pt x="1538" y="265"/>
                      </a:lnTo>
                      <a:lnTo>
                        <a:pt x="1534" y="259"/>
                      </a:lnTo>
                      <a:lnTo>
                        <a:pt x="1532" y="257"/>
                      </a:lnTo>
                      <a:lnTo>
                        <a:pt x="1528" y="255"/>
                      </a:lnTo>
                      <a:lnTo>
                        <a:pt x="1525" y="255"/>
                      </a:lnTo>
                      <a:lnTo>
                        <a:pt x="1524" y="255"/>
                      </a:lnTo>
                      <a:lnTo>
                        <a:pt x="1522" y="256"/>
                      </a:lnTo>
                      <a:lnTo>
                        <a:pt x="1519" y="255"/>
                      </a:lnTo>
                      <a:lnTo>
                        <a:pt x="1501" y="246"/>
                      </a:lnTo>
                      <a:lnTo>
                        <a:pt x="1492" y="243"/>
                      </a:lnTo>
                      <a:lnTo>
                        <a:pt x="1484" y="241"/>
                      </a:lnTo>
                      <a:lnTo>
                        <a:pt x="1484" y="239"/>
                      </a:lnTo>
                      <a:lnTo>
                        <a:pt x="1468" y="237"/>
                      </a:lnTo>
                      <a:lnTo>
                        <a:pt x="1454" y="235"/>
                      </a:lnTo>
                      <a:lnTo>
                        <a:pt x="1425" y="231"/>
                      </a:lnTo>
                      <a:lnTo>
                        <a:pt x="1419" y="231"/>
                      </a:lnTo>
                      <a:lnTo>
                        <a:pt x="1414" y="232"/>
                      </a:lnTo>
                      <a:lnTo>
                        <a:pt x="1404" y="235"/>
                      </a:lnTo>
                      <a:lnTo>
                        <a:pt x="1400" y="235"/>
                      </a:lnTo>
                      <a:lnTo>
                        <a:pt x="1397" y="233"/>
                      </a:lnTo>
                      <a:lnTo>
                        <a:pt x="1393" y="233"/>
                      </a:lnTo>
                      <a:lnTo>
                        <a:pt x="1391" y="236"/>
                      </a:lnTo>
                      <a:lnTo>
                        <a:pt x="1391" y="237"/>
                      </a:lnTo>
                      <a:lnTo>
                        <a:pt x="1391" y="238"/>
                      </a:lnTo>
                      <a:lnTo>
                        <a:pt x="1391" y="239"/>
                      </a:lnTo>
                      <a:lnTo>
                        <a:pt x="1391" y="241"/>
                      </a:lnTo>
                      <a:lnTo>
                        <a:pt x="1388" y="243"/>
                      </a:lnTo>
                      <a:lnTo>
                        <a:pt x="1387" y="246"/>
                      </a:lnTo>
                      <a:lnTo>
                        <a:pt x="1386" y="251"/>
                      </a:lnTo>
                      <a:lnTo>
                        <a:pt x="1387" y="263"/>
                      </a:lnTo>
                      <a:lnTo>
                        <a:pt x="1386" y="268"/>
                      </a:lnTo>
                      <a:lnTo>
                        <a:pt x="1383" y="273"/>
                      </a:lnTo>
                      <a:lnTo>
                        <a:pt x="1378" y="276"/>
                      </a:lnTo>
                      <a:lnTo>
                        <a:pt x="1374" y="278"/>
                      </a:lnTo>
                      <a:lnTo>
                        <a:pt x="1371" y="278"/>
                      </a:lnTo>
                      <a:lnTo>
                        <a:pt x="1367" y="277"/>
                      </a:lnTo>
                      <a:lnTo>
                        <a:pt x="1364" y="276"/>
                      </a:lnTo>
                      <a:lnTo>
                        <a:pt x="1362" y="273"/>
                      </a:lnTo>
                      <a:lnTo>
                        <a:pt x="1357" y="267"/>
                      </a:lnTo>
                      <a:lnTo>
                        <a:pt x="1353" y="262"/>
                      </a:lnTo>
                      <a:lnTo>
                        <a:pt x="1345" y="257"/>
                      </a:lnTo>
                      <a:lnTo>
                        <a:pt x="1339" y="251"/>
                      </a:lnTo>
                      <a:lnTo>
                        <a:pt x="1334" y="245"/>
                      </a:lnTo>
                      <a:lnTo>
                        <a:pt x="1330" y="238"/>
                      </a:lnTo>
                      <a:lnTo>
                        <a:pt x="1322" y="242"/>
                      </a:lnTo>
                      <a:lnTo>
                        <a:pt x="1318" y="243"/>
                      </a:lnTo>
                      <a:lnTo>
                        <a:pt x="1313" y="244"/>
                      </a:lnTo>
                      <a:lnTo>
                        <a:pt x="1303" y="243"/>
                      </a:lnTo>
                      <a:lnTo>
                        <a:pt x="1293" y="242"/>
                      </a:lnTo>
                      <a:lnTo>
                        <a:pt x="1282" y="242"/>
                      </a:lnTo>
                      <a:lnTo>
                        <a:pt x="1277" y="242"/>
                      </a:lnTo>
                      <a:lnTo>
                        <a:pt x="1273" y="244"/>
                      </a:lnTo>
                      <a:lnTo>
                        <a:pt x="1265" y="245"/>
                      </a:lnTo>
                      <a:lnTo>
                        <a:pt x="1258" y="245"/>
                      </a:lnTo>
                      <a:lnTo>
                        <a:pt x="1258" y="244"/>
                      </a:lnTo>
                      <a:lnTo>
                        <a:pt x="1245" y="244"/>
                      </a:lnTo>
                      <a:lnTo>
                        <a:pt x="1237" y="244"/>
                      </a:lnTo>
                      <a:lnTo>
                        <a:pt x="1232" y="246"/>
                      </a:lnTo>
                      <a:lnTo>
                        <a:pt x="1222" y="251"/>
                      </a:lnTo>
                      <a:lnTo>
                        <a:pt x="1221" y="252"/>
                      </a:lnTo>
                      <a:lnTo>
                        <a:pt x="1219" y="255"/>
                      </a:lnTo>
                      <a:lnTo>
                        <a:pt x="1217" y="258"/>
                      </a:lnTo>
                      <a:lnTo>
                        <a:pt x="1217" y="259"/>
                      </a:lnTo>
                      <a:lnTo>
                        <a:pt x="1214" y="258"/>
                      </a:lnTo>
                      <a:lnTo>
                        <a:pt x="1212" y="257"/>
                      </a:lnTo>
                      <a:lnTo>
                        <a:pt x="1204" y="250"/>
                      </a:lnTo>
                      <a:lnTo>
                        <a:pt x="1197" y="243"/>
                      </a:lnTo>
                      <a:lnTo>
                        <a:pt x="1194" y="241"/>
                      </a:lnTo>
                      <a:lnTo>
                        <a:pt x="1193" y="238"/>
                      </a:lnTo>
                      <a:lnTo>
                        <a:pt x="1193" y="233"/>
                      </a:lnTo>
                      <a:lnTo>
                        <a:pt x="1193" y="229"/>
                      </a:lnTo>
                      <a:lnTo>
                        <a:pt x="1193" y="225"/>
                      </a:lnTo>
                      <a:lnTo>
                        <a:pt x="1191" y="220"/>
                      </a:lnTo>
                      <a:lnTo>
                        <a:pt x="1186" y="216"/>
                      </a:lnTo>
                      <a:lnTo>
                        <a:pt x="1180" y="212"/>
                      </a:lnTo>
                      <a:lnTo>
                        <a:pt x="1175" y="209"/>
                      </a:lnTo>
                      <a:lnTo>
                        <a:pt x="1161" y="204"/>
                      </a:lnTo>
                      <a:lnTo>
                        <a:pt x="1147" y="201"/>
                      </a:lnTo>
                      <a:lnTo>
                        <a:pt x="1133" y="201"/>
                      </a:lnTo>
                      <a:lnTo>
                        <a:pt x="1113" y="204"/>
                      </a:lnTo>
                      <a:lnTo>
                        <a:pt x="1092" y="207"/>
                      </a:lnTo>
                      <a:lnTo>
                        <a:pt x="1086" y="209"/>
                      </a:lnTo>
                      <a:lnTo>
                        <a:pt x="1080" y="207"/>
                      </a:lnTo>
                      <a:lnTo>
                        <a:pt x="1080" y="210"/>
                      </a:lnTo>
                      <a:lnTo>
                        <a:pt x="1072" y="209"/>
                      </a:lnTo>
                      <a:lnTo>
                        <a:pt x="1064" y="209"/>
                      </a:lnTo>
                      <a:lnTo>
                        <a:pt x="1053" y="206"/>
                      </a:lnTo>
                      <a:lnTo>
                        <a:pt x="1043" y="204"/>
                      </a:lnTo>
                      <a:lnTo>
                        <a:pt x="1039" y="203"/>
                      </a:lnTo>
                      <a:lnTo>
                        <a:pt x="1035" y="200"/>
                      </a:lnTo>
                      <a:lnTo>
                        <a:pt x="1029" y="194"/>
                      </a:lnTo>
                      <a:lnTo>
                        <a:pt x="1029" y="193"/>
                      </a:lnTo>
                      <a:lnTo>
                        <a:pt x="1028" y="188"/>
                      </a:lnTo>
                      <a:lnTo>
                        <a:pt x="1025" y="185"/>
                      </a:lnTo>
                      <a:lnTo>
                        <a:pt x="1020" y="178"/>
                      </a:lnTo>
                      <a:lnTo>
                        <a:pt x="1020" y="175"/>
                      </a:lnTo>
                      <a:lnTo>
                        <a:pt x="1021" y="172"/>
                      </a:lnTo>
                      <a:lnTo>
                        <a:pt x="1021" y="169"/>
                      </a:lnTo>
                      <a:lnTo>
                        <a:pt x="1020" y="168"/>
                      </a:lnTo>
                      <a:lnTo>
                        <a:pt x="1006" y="165"/>
                      </a:lnTo>
                      <a:lnTo>
                        <a:pt x="990" y="162"/>
                      </a:lnTo>
                      <a:lnTo>
                        <a:pt x="982" y="162"/>
                      </a:lnTo>
                      <a:lnTo>
                        <a:pt x="976" y="163"/>
                      </a:lnTo>
                      <a:lnTo>
                        <a:pt x="969" y="166"/>
                      </a:lnTo>
                      <a:lnTo>
                        <a:pt x="964" y="171"/>
                      </a:lnTo>
                      <a:lnTo>
                        <a:pt x="960" y="175"/>
                      </a:lnTo>
                      <a:lnTo>
                        <a:pt x="958" y="181"/>
                      </a:lnTo>
                      <a:lnTo>
                        <a:pt x="954" y="186"/>
                      </a:lnTo>
                      <a:lnTo>
                        <a:pt x="949" y="191"/>
                      </a:lnTo>
                      <a:lnTo>
                        <a:pt x="945" y="191"/>
                      </a:lnTo>
                      <a:lnTo>
                        <a:pt x="944" y="190"/>
                      </a:lnTo>
                      <a:lnTo>
                        <a:pt x="943" y="188"/>
                      </a:lnTo>
                      <a:lnTo>
                        <a:pt x="941" y="186"/>
                      </a:lnTo>
                      <a:lnTo>
                        <a:pt x="941" y="184"/>
                      </a:lnTo>
                      <a:lnTo>
                        <a:pt x="944" y="179"/>
                      </a:lnTo>
                      <a:lnTo>
                        <a:pt x="946" y="175"/>
                      </a:lnTo>
                      <a:lnTo>
                        <a:pt x="951" y="174"/>
                      </a:lnTo>
                      <a:lnTo>
                        <a:pt x="954" y="172"/>
                      </a:lnTo>
                      <a:lnTo>
                        <a:pt x="955" y="169"/>
                      </a:lnTo>
                      <a:lnTo>
                        <a:pt x="955" y="167"/>
                      </a:lnTo>
                      <a:lnTo>
                        <a:pt x="948" y="169"/>
                      </a:lnTo>
                      <a:lnTo>
                        <a:pt x="938" y="171"/>
                      </a:lnTo>
                      <a:lnTo>
                        <a:pt x="934" y="169"/>
                      </a:lnTo>
                      <a:lnTo>
                        <a:pt x="930" y="168"/>
                      </a:lnTo>
                      <a:lnTo>
                        <a:pt x="927" y="167"/>
                      </a:lnTo>
                      <a:lnTo>
                        <a:pt x="927" y="163"/>
                      </a:lnTo>
                      <a:lnTo>
                        <a:pt x="927" y="160"/>
                      </a:lnTo>
                      <a:lnTo>
                        <a:pt x="930" y="158"/>
                      </a:lnTo>
                      <a:lnTo>
                        <a:pt x="934" y="158"/>
                      </a:lnTo>
                      <a:lnTo>
                        <a:pt x="939" y="158"/>
                      </a:lnTo>
                      <a:lnTo>
                        <a:pt x="949" y="159"/>
                      </a:lnTo>
                      <a:lnTo>
                        <a:pt x="954" y="159"/>
                      </a:lnTo>
                      <a:lnTo>
                        <a:pt x="958" y="158"/>
                      </a:lnTo>
                      <a:lnTo>
                        <a:pt x="931" y="153"/>
                      </a:lnTo>
                      <a:lnTo>
                        <a:pt x="904" y="147"/>
                      </a:lnTo>
                      <a:lnTo>
                        <a:pt x="897" y="147"/>
                      </a:lnTo>
                      <a:lnTo>
                        <a:pt x="891" y="148"/>
                      </a:lnTo>
                      <a:lnTo>
                        <a:pt x="877" y="150"/>
                      </a:lnTo>
                      <a:lnTo>
                        <a:pt x="874" y="150"/>
                      </a:lnTo>
                      <a:lnTo>
                        <a:pt x="870" y="149"/>
                      </a:lnTo>
                      <a:lnTo>
                        <a:pt x="868" y="149"/>
                      </a:lnTo>
                      <a:lnTo>
                        <a:pt x="865" y="149"/>
                      </a:lnTo>
                      <a:lnTo>
                        <a:pt x="863" y="150"/>
                      </a:lnTo>
                      <a:lnTo>
                        <a:pt x="861" y="154"/>
                      </a:lnTo>
                      <a:lnTo>
                        <a:pt x="861" y="156"/>
                      </a:lnTo>
                      <a:lnTo>
                        <a:pt x="860" y="158"/>
                      </a:lnTo>
                      <a:lnTo>
                        <a:pt x="855" y="159"/>
                      </a:lnTo>
                      <a:lnTo>
                        <a:pt x="849" y="159"/>
                      </a:lnTo>
                      <a:lnTo>
                        <a:pt x="845" y="160"/>
                      </a:lnTo>
                      <a:lnTo>
                        <a:pt x="844" y="161"/>
                      </a:lnTo>
                      <a:lnTo>
                        <a:pt x="844" y="163"/>
                      </a:lnTo>
                      <a:lnTo>
                        <a:pt x="845" y="166"/>
                      </a:lnTo>
                      <a:lnTo>
                        <a:pt x="847" y="168"/>
                      </a:lnTo>
                      <a:lnTo>
                        <a:pt x="850" y="169"/>
                      </a:lnTo>
                      <a:lnTo>
                        <a:pt x="852" y="171"/>
                      </a:lnTo>
                      <a:lnTo>
                        <a:pt x="852" y="172"/>
                      </a:lnTo>
                      <a:lnTo>
                        <a:pt x="850" y="174"/>
                      </a:lnTo>
                      <a:lnTo>
                        <a:pt x="847" y="175"/>
                      </a:lnTo>
                      <a:lnTo>
                        <a:pt x="846" y="178"/>
                      </a:lnTo>
                      <a:lnTo>
                        <a:pt x="845" y="180"/>
                      </a:lnTo>
                      <a:lnTo>
                        <a:pt x="845" y="185"/>
                      </a:lnTo>
                      <a:lnTo>
                        <a:pt x="847" y="190"/>
                      </a:lnTo>
                      <a:lnTo>
                        <a:pt x="846" y="191"/>
                      </a:lnTo>
                      <a:lnTo>
                        <a:pt x="840" y="190"/>
                      </a:lnTo>
                      <a:lnTo>
                        <a:pt x="833" y="188"/>
                      </a:lnTo>
                      <a:lnTo>
                        <a:pt x="827" y="188"/>
                      </a:lnTo>
                      <a:lnTo>
                        <a:pt x="824" y="188"/>
                      </a:lnTo>
                      <a:lnTo>
                        <a:pt x="822" y="191"/>
                      </a:lnTo>
                      <a:lnTo>
                        <a:pt x="821" y="191"/>
                      </a:lnTo>
                      <a:lnTo>
                        <a:pt x="821" y="193"/>
                      </a:lnTo>
                      <a:lnTo>
                        <a:pt x="822" y="194"/>
                      </a:lnTo>
                      <a:lnTo>
                        <a:pt x="821" y="195"/>
                      </a:lnTo>
                      <a:lnTo>
                        <a:pt x="819" y="195"/>
                      </a:lnTo>
                      <a:lnTo>
                        <a:pt x="817" y="195"/>
                      </a:lnTo>
                      <a:lnTo>
                        <a:pt x="814" y="198"/>
                      </a:lnTo>
                      <a:lnTo>
                        <a:pt x="811" y="199"/>
                      </a:lnTo>
                      <a:lnTo>
                        <a:pt x="808" y="199"/>
                      </a:lnTo>
                      <a:lnTo>
                        <a:pt x="804" y="199"/>
                      </a:lnTo>
                      <a:lnTo>
                        <a:pt x="797" y="197"/>
                      </a:lnTo>
                      <a:lnTo>
                        <a:pt x="790" y="193"/>
                      </a:lnTo>
                      <a:lnTo>
                        <a:pt x="783" y="192"/>
                      </a:lnTo>
                      <a:lnTo>
                        <a:pt x="776" y="191"/>
                      </a:lnTo>
                      <a:lnTo>
                        <a:pt x="769" y="192"/>
                      </a:lnTo>
                      <a:lnTo>
                        <a:pt x="761" y="195"/>
                      </a:lnTo>
                      <a:lnTo>
                        <a:pt x="757" y="197"/>
                      </a:lnTo>
                      <a:lnTo>
                        <a:pt x="753" y="197"/>
                      </a:lnTo>
                      <a:lnTo>
                        <a:pt x="748" y="197"/>
                      </a:lnTo>
                      <a:lnTo>
                        <a:pt x="744" y="194"/>
                      </a:lnTo>
                      <a:lnTo>
                        <a:pt x="741" y="192"/>
                      </a:lnTo>
                      <a:lnTo>
                        <a:pt x="738" y="190"/>
                      </a:lnTo>
                      <a:lnTo>
                        <a:pt x="736" y="186"/>
                      </a:lnTo>
                      <a:lnTo>
                        <a:pt x="736" y="182"/>
                      </a:lnTo>
                      <a:lnTo>
                        <a:pt x="733" y="182"/>
                      </a:lnTo>
                      <a:lnTo>
                        <a:pt x="729" y="187"/>
                      </a:lnTo>
                      <a:lnTo>
                        <a:pt x="725" y="191"/>
                      </a:lnTo>
                      <a:lnTo>
                        <a:pt x="722" y="194"/>
                      </a:lnTo>
                      <a:lnTo>
                        <a:pt x="719" y="195"/>
                      </a:lnTo>
                      <a:lnTo>
                        <a:pt x="715" y="195"/>
                      </a:lnTo>
                      <a:lnTo>
                        <a:pt x="714" y="197"/>
                      </a:lnTo>
                      <a:lnTo>
                        <a:pt x="713" y="198"/>
                      </a:lnTo>
                      <a:lnTo>
                        <a:pt x="711" y="200"/>
                      </a:lnTo>
                      <a:lnTo>
                        <a:pt x="711" y="203"/>
                      </a:lnTo>
                      <a:lnTo>
                        <a:pt x="711" y="209"/>
                      </a:lnTo>
                      <a:lnTo>
                        <a:pt x="710" y="213"/>
                      </a:lnTo>
                      <a:lnTo>
                        <a:pt x="710" y="214"/>
                      </a:lnTo>
                      <a:lnTo>
                        <a:pt x="709" y="214"/>
                      </a:lnTo>
                      <a:lnTo>
                        <a:pt x="704" y="213"/>
                      </a:lnTo>
                      <a:lnTo>
                        <a:pt x="700" y="210"/>
                      </a:lnTo>
                      <a:lnTo>
                        <a:pt x="691" y="201"/>
                      </a:lnTo>
                      <a:lnTo>
                        <a:pt x="687" y="199"/>
                      </a:lnTo>
                      <a:lnTo>
                        <a:pt x="678" y="197"/>
                      </a:lnTo>
                      <a:lnTo>
                        <a:pt x="670" y="193"/>
                      </a:lnTo>
                      <a:lnTo>
                        <a:pt x="666" y="191"/>
                      </a:lnTo>
                      <a:lnTo>
                        <a:pt x="663" y="187"/>
                      </a:lnTo>
                      <a:lnTo>
                        <a:pt x="661" y="184"/>
                      </a:lnTo>
                      <a:lnTo>
                        <a:pt x="659" y="180"/>
                      </a:lnTo>
                      <a:lnTo>
                        <a:pt x="656" y="179"/>
                      </a:lnTo>
                      <a:lnTo>
                        <a:pt x="652" y="176"/>
                      </a:lnTo>
                      <a:lnTo>
                        <a:pt x="648" y="173"/>
                      </a:lnTo>
                      <a:lnTo>
                        <a:pt x="645" y="169"/>
                      </a:lnTo>
                      <a:lnTo>
                        <a:pt x="653" y="169"/>
                      </a:lnTo>
                      <a:lnTo>
                        <a:pt x="656" y="168"/>
                      </a:lnTo>
                      <a:lnTo>
                        <a:pt x="658" y="166"/>
                      </a:lnTo>
                      <a:lnTo>
                        <a:pt x="658" y="159"/>
                      </a:lnTo>
                      <a:lnTo>
                        <a:pt x="656" y="152"/>
                      </a:lnTo>
                      <a:lnTo>
                        <a:pt x="652" y="147"/>
                      </a:lnTo>
                      <a:lnTo>
                        <a:pt x="647" y="142"/>
                      </a:lnTo>
                      <a:lnTo>
                        <a:pt x="639" y="139"/>
                      </a:lnTo>
                      <a:lnTo>
                        <a:pt x="633" y="135"/>
                      </a:lnTo>
                      <a:lnTo>
                        <a:pt x="618" y="131"/>
                      </a:lnTo>
                      <a:lnTo>
                        <a:pt x="615" y="129"/>
                      </a:lnTo>
                      <a:lnTo>
                        <a:pt x="614" y="127"/>
                      </a:lnTo>
                      <a:lnTo>
                        <a:pt x="610" y="127"/>
                      </a:lnTo>
                      <a:lnTo>
                        <a:pt x="609" y="129"/>
                      </a:lnTo>
                      <a:lnTo>
                        <a:pt x="604" y="134"/>
                      </a:lnTo>
                      <a:lnTo>
                        <a:pt x="595" y="133"/>
                      </a:lnTo>
                      <a:lnTo>
                        <a:pt x="586" y="131"/>
                      </a:lnTo>
                      <a:lnTo>
                        <a:pt x="578" y="128"/>
                      </a:lnTo>
                      <a:lnTo>
                        <a:pt x="571" y="124"/>
                      </a:lnTo>
                      <a:lnTo>
                        <a:pt x="568" y="124"/>
                      </a:lnTo>
                      <a:lnTo>
                        <a:pt x="567" y="124"/>
                      </a:lnTo>
                      <a:lnTo>
                        <a:pt x="564" y="126"/>
                      </a:lnTo>
                      <a:lnTo>
                        <a:pt x="563" y="126"/>
                      </a:lnTo>
                      <a:lnTo>
                        <a:pt x="559" y="123"/>
                      </a:lnTo>
                      <a:lnTo>
                        <a:pt x="558" y="122"/>
                      </a:lnTo>
                      <a:lnTo>
                        <a:pt x="557" y="124"/>
                      </a:lnTo>
                      <a:lnTo>
                        <a:pt x="557" y="136"/>
                      </a:lnTo>
                      <a:lnTo>
                        <a:pt x="557" y="144"/>
                      </a:lnTo>
                      <a:lnTo>
                        <a:pt x="557" y="147"/>
                      </a:lnTo>
                      <a:lnTo>
                        <a:pt x="555" y="149"/>
                      </a:lnTo>
                      <a:lnTo>
                        <a:pt x="550" y="154"/>
                      </a:lnTo>
                      <a:lnTo>
                        <a:pt x="548" y="154"/>
                      </a:lnTo>
                      <a:lnTo>
                        <a:pt x="544" y="154"/>
                      </a:lnTo>
                      <a:lnTo>
                        <a:pt x="540" y="153"/>
                      </a:lnTo>
                      <a:lnTo>
                        <a:pt x="536" y="154"/>
                      </a:lnTo>
                      <a:lnTo>
                        <a:pt x="534" y="154"/>
                      </a:lnTo>
                      <a:lnTo>
                        <a:pt x="531" y="153"/>
                      </a:lnTo>
                      <a:lnTo>
                        <a:pt x="530" y="152"/>
                      </a:lnTo>
                      <a:lnTo>
                        <a:pt x="527" y="152"/>
                      </a:lnTo>
                      <a:lnTo>
                        <a:pt x="526" y="152"/>
                      </a:lnTo>
                      <a:lnTo>
                        <a:pt x="524" y="152"/>
                      </a:lnTo>
                      <a:lnTo>
                        <a:pt x="521" y="154"/>
                      </a:lnTo>
                      <a:lnTo>
                        <a:pt x="518" y="154"/>
                      </a:lnTo>
                      <a:lnTo>
                        <a:pt x="513" y="154"/>
                      </a:lnTo>
                      <a:lnTo>
                        <a:pt x="508" y="152"/>
                      </a:lnTo>
                      <a:lnTo>
                        <a:pt x="504" y="149"/>
                      </a:lnTo>
                      <a:lnTo>
                        <a:pt x="502" y="149"/>
                      </a:lnTo>
                      <a:lnTo>
                        <a:pt x="499" y="149"/>
                      </a:lnTo>
                      <a:lnTo>
                        <a:pt x="497" y="148"/>
                      </a:lnTo>
                      <a:lnTo>
                        <a:pt x="496" y="147"/>
                      </a:lnTo>
                      <a:lnTo>
                        <a:pt x="494" y="142"/>
                      </a:lnTo>
                      <a:lnTo>
                        <a:pt x="492" y="141"/>
                      </a:lnTo>
                      <a:lnTo>
                        <a:pt x="484" y="141"/>
                      </a:lnTo>
                      <a:lnTo>
                        <a:pt x="477" y="139"/>
                      </a:lnTo>
                      <a:lnTo>
                        <a:pt x="474" y="139"/>
                      </a:lnTo>
                      <a:lnTo>
                        <a:pt x="473" y="140"/>
                      </a:lnTo>
                      <a:lnTo>
                        <a:pt x="469" y="141"/>
                      </a:lnTo>
                      <a:lnTo>
                        <a:pt x="468" y="141"/>
                      </a:lnTo>
                      <a:lnTo>
                        <a:pt x="465" y="141"/>
                      </a:lnTo>
                      <a:lnTo>
                        <a:pt x="463" y="139"/>
                      </a:lnTo>
                      <a:lnTo>
                        <a:pt x="459" y="137"/>
                      </a:lnTo>
                      <a:lnTo>
                        <a:pt x="451" y="136"/>
                      </a:lnTo>
                      <a:lnTo>
                        <a:pt x="444" y="135"/>
                      </a:lnTo>
                      <a:lnTo>
                        <a:pt x="436" y="134"/>
                      </a:lnTo>
                      <a:lnTo>
                        <a:pt x="427" y="134"/>
                      </a:lnTo>
                      <a:lnTo>
                        <a:pt x="421" y="135"/>
                      </a:lnTo>
                      <a:lnTo>
                        <a:pt x="418" y="135"/>
                      </a:lnTo>
                      <a:lnTo>
                        <a:pt x="416" y="135"/>
                      </a:lnTo>
                      <a:lnTo>
                        <a:pt x="412" y="134"/>
                      </a:lnTo>
                      <a:lnTo>
                        <a:pt x="408" y="131"/>
                      </a:lnTo>
                      <a:lnTo>
                        <a:pt x="402" y="127"/>
                      </a:lnTo>
                      <a:lnTo>
                        <a:pt x="399" y="124"/>
                      </a:lnTo>
                      <a:lnTo>
                        <a:pt x="397" y="124"/>
                      </a:lnTo>
                      <a:lnTo>
                        <a:pt x="394" y="124"/>
                      </a:lnTo>
                      <a:lnTo>
                        <a:pt x="393" y="127"/>
                      </a:lnTo>
                      <a:lnTo>
                        <a:pt x="393" y="130"/>
                      </a:lnTo>
                      <a:lnTo>
                        <a:pt x="394" y="133"/>
                      </a:lnTo>
                      <a:lnTo>
                        <a:pt x="395" y="135"/>
                      </a:lnTo>
                      <a:lnTo>
                        <a:pt x="397" y="137"/>
                      </a:lnTo>
                      <a:lnTo>
                        <a:pt x="398" y="141"/>
                      </a:lnTo>
                      <a:lnTo>
                        <a:pt x="397" y="144"/>
                      </a:lnTo>
                      <a:lnTo>
                        <a:pt x="395" y="147"/>
                      </a:lnTo>
                      <a:lnTo>
                        <a:pt x="394" y="148"/>
                      </a:lnTo>
                      <a:lnTo>
                        <a:pt x="391" y="147"/>
                      </a:lnTo>
                      <a:lnTo>
                        <a:pt x="390" y="144"/>
                      </a:lnTo>
                      <a:lnTo>
                        <a:pt x="386" y="139"/>
                      </a:lnTo>
                      <a:lnTo>
                        <a:pt x="380" y="130"/>
                      </a:lnTo>
                      <a:lnTo>
                        <a:pt x="374" y="122"/>
                      </a:lnTo>
                      <a:lnTo>
                        <a:pt x="369" y="118"/>
                      </a:lnTo>
                      <a:lnTo>
                        <a:pt x="365" y="116"/>
                      </a:lnTo>
                      <a:lnTo>
                        <a:pt x="360" y="114"/>
                      </a:lnTo>
                      <a:lnTo>
                        <a:pt x="353" y="114"/>
                      </a:lnTo>
                      <a:lnTo>
                        <a:pt x="351" y="114"/>
                      </a:lnTo>
                      <a:lnTo>
                        <a:pt x="347" y="115"/>
                      </a:lnTo>
                      <a:lnTo>
                        <a:pt x="341" y="118"/>
                      </a:lnTo>
                      <a:lnTo>
                        <a:pt x="338" y="120"/>
                      </a:lnTo>
                      <a:lnTo>
                        <a:pt x="337" y="122"/>
                      </a:lnTo>
                      <a:lnTo>
                        <a:pt x="338" y="129"/>
                      </a:lnTo>
                      <a:lnTo>
                        <a:pt x="333" y="129"/>
                      </a:lnTo>
                      <a:lnTo>
                        <a:pt x="329" y="131"/>
                      </a:lnTo>
                      <a:lnTo>
                        <a:pt x="319" y="135"/>
                      </a:lnTo>
                      <a:lnTo>
                        <a:pt x="311" y="137"/>
                      </a:lnTo>
                      <a:lnTo>
                        <a:pt x="308" y="139"/>
                      </a:lnTo>
                      <a:lnTo>
                        <a:pt x="304" y="137"/>
                      </a:lnTo>
                      <a:lnTo>
                        <a:pt x="299" y="136"/>
                      </a:lnTo>
                      <a:lnTo>
                        <a:pt x="294" y="136"/>
                      </a:lnTo>
                      <a:lnTo>
                        <a:pt x="289" y="137"/>
                      </a:lnTo>
                      <a:lnTo>
                        <a:pt x="284" y="139"/>
                      </a:lnTo>
                      <a:lnTo>
                        <a:pt x="275" y="144"/>
                      </a:lnTo>
                      <a:lnTo>
                        <a:pt x="266" y="150"/>
                      </a:lnTo>
                      <a:lnTo>
                        <a:pt x="263" y="152"/>
                      </a:lnTo>
                      <a:lnTo>
                        <a:pt x="262" y="152"/>
                      </a:lnTo>
                      <a:lnTo>
                        <a:pt x="257" y="152"/>
                      </a:lnTo>
                      <a:lnTo>
                        <a:pt x="252" y="149"/>
                      </a:lnTo>
                      <a:lnTo>
                        <a:pt x="247" y="149"/>
                      </a:lnTo>
                      <a:lnTo>
                        <a:pt x="245" y="149"/>
                      </a:lnTo>
                      <a:lnTo>
                        <a:pt x="244" y="149"/>
                      </a:lnTo>
                      <a:lnTo>
                        <a:pt x="243" y="148"/>
                      </a:lnTo>
                      <a:lnTo>
                        <a:pt x="243" y="147"/>
                      </a:lnTo>
                      <a:lnTo>
                        <a:pt x="249" y="144"/>
                      </a:lnTo>
                      <a:lnTo>
                        <a:pt x="256" y="142"/>
                      </a:lnTo>
                      <a:lnTo>
                        <a:pt x="262" y="140"/>
                      </a:lnTo>
                      <a:lnTo>
                        <a:pt x="267" y="136"/>
                      </a:lnTo>
                      <a:lnTo>
                        <a:pt x="273" y="134"/>
                      </a:lnTo>
                      <a:lnTo>
                        <a:pt x="280" y="131"/>
                      </a:lnTo>
                      <a:lnTo>
                        <a:pt x="285" y="130"/>
                      </a:lnTo>
                      <a:lnTo>
                        <a:pt x="289" y="128"/>
                      </a:lnTo>
                      <a:lnTo>
                        <a:pt x="292" y="124"/>
                      </a:lnTo>
                      <a:lnTo>
                        <a:pt x="296" y="120"/>
                      </a:lnTo>
                      <a:lnTo>
                        <a:pt x="301" y="117"/>
                      </a:lnTo>
                      <a:lnTo>
                        <a:pt x="308" y="116"/>
                      </a:lnTo>
                      <a:lnTo>
                        <a:pt x="310" y="116"/>
                      </a:lnTo>
                      <a:lnTo>
                        <a:pt x="314" y="115"/>
                      </a:lnTo>
                      <a:lnTo>
                        <a:pt x="319" y="111"/>
                      </a:lnTo>
                      <a:lnTo>
                        <a:pt x="323" y="108"/>
                      </a:lnTo>
                      <a:lnTo>
                        <a:pt x="328" y="104"/>
                      </a:lnTo>
                      <a:lnTo>
                        <a:pt x="332" y="102"/>
                      </a:lnTo>
                      <a:lnTo>
                        <a:pt x="336" y="101"/>
                      </a:lnTo>
                      <a:lnTo>
                        <a:pt x="338" y="101"/>
                      </a:lnTo>
                      <a:lnTo>
                        <a:pt x="346" y="99"/>
                      </a:lnTo>
                      <a:lnTo>
                        <a:pt x="350" y="97"/>
                      </a:lnTo>
                      <a:lnTo>
                        <a:pt x="353" y="95"/>
                      </a:lnTo>
                      <a:lnTo>
                        <a:pt x="362" y="89"/>
                      </a:lnTo>
                      <a:lnTo>
                        <a:pt x="372" y="84"/>
                      </a:lnTo>
                      <a:lnTo>
                        <a:pt x="381" y="80"/>
                      </a:lnTo>
                      <a:lnTo>
                        <a:pt x="383" y="79"/>
                      </a:lnTo>
                      <a:lnTo>
                        <a:pt x="384" y="78"/>
                      </a:lnTo>
                      <a:lnTo>
                        <a:pt x="385" y="75"/>
                      </a:lnTo>
                      <a:lnTo>
                        <a:pt x="388" y="70"/>
                      </a:lnTo>
                      <a:lnTo>
                        <a:pt x="388" y="69"/>
                      </a:lnTo>
                      <a:lnTo>
                        <a:pt x="386" y="66"/>
                      </a:lnTo>
                      <a:lnTo>
                        <a:pt x="386" y="61"/>
                      </a:lnTo>
                      <a:lnTo>
                        <a:pt x="389" y="56"/>
                      </a:lnTo>
                      <a:lnTo>
                        <a:pt x="391" y="50"/>
                      </a:lnTo>
                      <a:lnTo>
                        <a:pt x="390" y="47"/>
                      </a:lnTo>
                      <a:lnTo>
                        <a:pt x="388" y="44"/>
                      </a:lnTo>
                      <a:lnTo>
                        <a:pt x="385" y="41"/>
                      </a:lnTo>
                      <a:lnTo>
                        <a:pt x="383" y="41"/>
                      </a:lnTo>
                      <a:lnTo>
                        <a:pt x="378" y="41"/>
                      </a:lnTo>
                      <a:lnTo>
                        <a:pt x="374" y="39"/>
                      </a:lnTo>
                      <a:lnTo>
                        <a:pt x="371" y="35"/>
                      </a:lnTo>
                      <a:lnTo>
                        <a:pt x="366" y="34"/>
                      </a:lnTo>
                      <a:lnTo>
                        <a:pt x="356" y="33"/>
                      </a:lnTo>
                      <a:lnTo>
                        <a:pt x="342" y="33"/>
                      </a:lnTo>
                      <a:lnTo>
                        <a:pt x="337" y="34"/>
                      </a:lnTo>
                      <a:lnTo>
                        <a:pt x="334" y="35"/>
                      </a:lnTo>
                      <a:lnTo>
                        <a:pt x="329" y="37"/>
                      </a:lnTo>
                      <a:lnTo>
                        <a:pt x="322" y="34"/>
                      </a:lnTo>
                      <a:lnTo>
                        <a:pt x="317" y="33"/>
                      </a:lnTo>
                      <a:lnTo>
                        <a:pt x="311" y="33"/>
                      </a:lnTo>
                      <a:lnTo>
                        <a:pt x="301" y="34"/>
                      </a:lnTo>
                      <a:lnTo>
                        <a:pt x="290" y="34"/>
                      </a:lnTo>
                      <a:lnTo>
                        <a:pt x="285" y="35"/>
                      </a:lnTo>
                      <a:lnTo>
                        <a:pt x="280" y="37"/>
                      </a:lnTo>
                      <a:lnTo>
                        <a:pt x="276" y="39"/>
                      </a:lnTo>
                      <a:lnTo>
                        <a:pt x="273" y="39"/>
                      </a:lnTo>
                      <a:lnTo>
                        <a:pt x="272" y="39"/>
                      </a:lnTo>
                      <a:lnTo>
                        <a:pt x="270" y="35"/>
                      </a:lnTo>
                      <a:lnTo>
                        <a:pt x="268" y="34"/>
                      </a:lnTo>
                      <a:lnTo>
                        <a:pt x="270" y="32"/>
                      </a:lnTo>
                      <a:lnTo>
                        <a:pt x="273" y="29"/>
                      </a:lnTo>
                      <a:lnTo>
                        <a:pt x="277" y="27"/>
                      </a:lnTo>
                      <a:lnTo>
                        <a:pt x="281" y="25"/>
                      </a:lnTo>
                      <a:lnTo>
                        <a:pt x="282" y="24"/>
                      </a:lnTo>
                      <a:lnTo>
                        <a:pt x="282" y="21"/>
                      </a:lnTo>
                      <a:lnTo>
                        <a:pt x="281" y="14"/>
                      </a:lnTo>
                      <a:lnTo>
                        <a:pt x="280" y="9"/>
                      </a:lnTo>
                      <a:lnTo>
                        <a:pt x="276" y="7"/>
                      </a:lnTo>
                      <a:lnTo>
                        <a:pt x="271" y="6"/>
                      </a:lnTo>
                      <a:lnTo>
                        <a:pt x="262" y="5"/>
                      </a:lnTo>
                      <a:lnTo>
                        <a:pt x="256" y="5"/>
                      </a:lnTo>
                      <a:lnTo>
                        <a:pt x="242" y="2"/>
                      </a:lnTo>
                      <a:lnTo>
                        <a:pt x="237" y="1"/>
                      </a:lnTo>
                      <a:lnTo>
                        <a:pt x="234" y="0"/>
                      </a:lnTo>
                      <a:lnTo>
                        <a:pt x="231" y="0"/>
                      </a:lnTo>
                      <a:lnTo>
                        <a:pt x="224" y="2"/>
                      </a:lnTo>
                      <a:lnTo>
                        <a:pt x="218" y="5"/>
                      </a:lnTo>
                      <a:lnTo>
                        <a:pt x="206" y="11"/>
                      </a:lnTo>
                      <a:lnTo>
                        <a:pt x="200" y="13"/>
                      </a:lnTo>
                      <a:lnTo>
                        <a:pt x="196" y="15"/>
                      </a:lnTo>
                      <a:lnTo>
                        <a:pt x="193" y="18"/>
                      </a:lnTo>
                      <a:lnTo>
                        <a:pt x="192" y="21"/>
                      </a:lnTo>
                      <a:lnTo>
                        <a:pt x="192" y="24"/>
                      </a:lnTo>
                      <a:lnTo>
                        <a:pt x="191" y="25"/>
                      </a:lnTo>
                      <a:lnTo>
                        <a:pt x="186" y="26"/>
                      </a:lnTo>
                      <a:lnTo>
                        <a:pt x="183" y="27"/>
                      </a:lnTo>
                      <a:lnTo>
                        <a:pt x="181" y="31"/>
                      </a:lnTo>
                      <a:lnTo>
                        <a:pt x="179" y="35"/>
                      </a:lnTo>
                      <a:lnTo>
                        <a:pt x="178" y="35"/>
                      </a:lnTo>
                      <a:lnTo>
                        <a:pt x="176" y="35"/>
                      </a:lnTo>
                      <a:lnTo>
                        <a:pt x="174" y="35"/>
                      </a:lnTo>
                      <a:lnTo>
                        <a:pt x="174" y="34"/>
                      </a:lnTo>
                      <a:lnTo>
                        <a:pt x="171" y="34"/>
                      </a:lnTo>
                      <a:lnTo>
                        <a:pt x="167" y="33"/>
                      </a:lnTo>
                      <a:lnTo>
                        <a:pt x="159" y="29"/>
                      </a:lnTo>
                      <a:lnTo>
                        <a:pt x="158" y="28"/>
                      </a:lnTo>
                      <a:lnTo>
                        <a:pt x="157" y="29"/>
                      </a:lnTo>
                      <a:lnTo>
                        <a:pt x="155" y="32"/>
                      </a:lnTo>
                      <a:lnTo>
                        <a:pt x="155" y="33"/>
                      </a:lnTo>
                      <a:lnTo>
                        <a:pt x="158" y="38"/>
                      </a:lnTo>
                      <a:lnTo>
                        <a:pt x="160" y="43"/>
                      </a:lnTo>
                      <a:lnTo>
                        <a:pt x="165" y="45"/>
                      </a:lnTo>
                      <a:lnTo>
                        <a:pt x="171" y="47"/>
                      </a:lnTo>
                      <a:lnTo>
                        <a:pt x="172" y="48"/>
                      </a:lnTo>
                      <a:lnTo>
                        <a:pt x="173" y="50"/>
                      </a:lnTo>
                      <a:lnTo>
                        <a:pt x="173" y="52"/>
                      </a:lnTo>
                      <a:lnTo>
                        <a:pt x="172" y="53"/>
                      </a:lnTo>
                      <a:lnTo>
                        <a:pt x="171" y="54"/>
                      </a:lnTo>
                      <a:lnTo>
                        <a:pt x="168" y="53"/>
                      </a:lnTo>
                      <a:lnTo>
                        <a:pt x="164" y="52"/>
                      </a:lnTo>
                      <a:lnTo>
                        <a:pt x="158" y="51"/>
                      </a:lnTo>
                      <a:lnTo>
                        <a:pt x="151" y="52"/>
                      </a:lnTo>
                      <a:lnTo>
                        <a:pt x="146" y="53"/>
                      </a:lnTo>
                      <a:lnTo>
                        <a:pt x="143" y="57"/>
                      </a:lnTo>
                      <a:lnTo>
                        <a:pt x="140" y="58"/>
                      </a:lnTo>
                      <a:lnTo>
                        <a:pt x="138" y="57"/>
                      </a:lnTo>
                      <a:lnTo>
                        <a:pt x="131" y="52"/>
                      </a:lnTo>
                      <a:lnTo>
                        <a:pt x="125" y="50"/>
                      </a:lnTo>
                      <a:lnTo>
                        <a:pt x="117" y="48"/>
                      </a:lnTo>
                      <a:lnTo>
                        <a:pt x="110" y="48"/>
                      </a:lnTo>
                      <a:lnTo>
                        <a:pt x="108" y="48"/>
                      </a:lnTo>
                      <a:lnTo>
                        <a:pt x="106" y="47"/>
                      </a:lnTo>
                      <a:lnTo>
                        <a:pt x="102" y="45"/>
                      </a:lnTo>
                      <a:lnTo>
                        <a:pt x="101" y="45"/>
                      </a:lnTo>
                      <a:lnTo>
                        <a:pt x="99" y="46"/>
                      </a:lnTo>
                      <a:lnTo>
                        <a:pt x="97" y="46"/>
                      </a:lnTo>
                      <a:lnTo>
                        <a:pt x="96" y="46"/>
                      </a:lnTo>
                      <a:lnTo>
                        <a:pt x="93" y="45"/>
                      </a:lnTo>
                      <a:lnTo>
                        <a:pt x="87" y="47"/>
                      </a:lnTo>
                      <a:lnTo>
                        <a:pt x="80" y="50"/>
                      </a:lnTo>
                      <a:lnTo>
                        <a:pt x="73" y="50"/>
                      </a:lnTo>
                      <a:lnTo>
                        <a:pt x="66" y="48"/>
                      </a:lnTo>
                      <a:lnTo>
                        <a:pt x="61" y="47"/>
                      </a:lnTo>
                      <a:lnTo>
                        <a:pt x="55" y="47"/>
                      </a:lnTo>
                      <a:lnTo>
                        <a:pt x="42" y="48"/>
                      </a:lnTo>
                      <a:lnTo>
                        <a:pt x="36" y="50"/>
                      </a:lnTo>
                      <a:lnTo>
                        <a:pt x="33" y="51"/>
                      </a:lnTo>
                      <a:lnTo>
                        <a:pt x="32" y="52"/>
                      </a:lnTo>
                      <a:lnTo>
                        <a:pt x="30" y="57"/>
                      </a:lnTo>
                      <a:lnTo>
                        <a:pt x="27" y="59"/>
                      </a:lnTo>
                      <a:lnTo>
                        <a:pt x="23" y="61"/>
                      </a:lnTo>
                      <a:lnTo>
                        <a:pt x="18" y="63"/>
                      </a:lnTo>
                      <a:lnTo>
                        <a:pt x="9" y="64"/>
                      </a:lnTo>
                      <a:lnTo>
                        <a:pt x="0" y="65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8" name="Freeform 1168">
                  <a:extLst>
                    <a:ext uri="{FF2B5EF4-FFF2-40B4-BE49-F238E27FC236}">
                      <a16:creationId xmlns:a16="http://schemas.microsoft.com/office/drawing/2014/main" id="{19C4A992-4D1D-0641-BA47-7F0AAB597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6211" y="2580581"/>
                  <a:ext cx="50316" cy="81393"/>
                </a:xfrm>
                <a:custGeom>
                  <a:avLst/>
                  <a:gdLst>
                    <a:gd name="T0" fmla="*/ 2147483647 w 36"/>
                    <a:gd name="T1" fmla="*/ 2147483647 h 55"/>
                    <a:gd name="T2" fmla="*/ 2147483647 w 36"/>
                    <a:gd name="T3" fmla="*/ 2147483647 h 55"/>
                    <a:gd name="T4" fmla="*/ 2147483647 w 36"/>
                    <a:gd name="T5" fmla="*/ 2147483647 h 55"/>
                    <a:gd name="T6" fmla="*/ 2147483647 w 36"/>
                    <a:gd name="T7" fmla="*/ 2147483647 h 55"/>
                    <a:gd name="T8" fmla="*/ 2147483647 w 36"/>
                    <a:gd name="T9" fmla="*/ 2147483647 h 55"/>
                    <a:gd name="T10" fmla="*/ 2147483647 w 36"/>
                    <a:gd name="T11" fmla="*/ 2147483647 h 55"/>
                    <a:gd name="T12" fmla="*/ 2147483647 w 36"/>
                    <a:gd name="T13" fmla="*/ 2147483647 h 55"/>
                    <a:gd name="T14" fmla="*/ 2147483647 w 36"/>
                    <a:gd name="T15" fmla="*/ 2147483647 h 55"/>
                    <a:gd name="T16" fmla="*/ 2147483647 w 36"/>
                    <a:gd name="T17" fmla="*/ 2147483647 h 55"/>
                    <a:gd name="T18" fmla="*/ 2147483647 w 36"/>
                    <a:gd name="T19" fmla="*/ 2147483647 h 55"/>
                    <a:gd name="T20" fmla="*/ 2147483647 w 36"/>
                    <a:gd name="T21" fmla="*/ 2147483647 h 55"/>
                    <a:gd name="T22" fmla="*/ 2147483647 w 36"/>
                    <a:gd name="T23" fmla="*/ 2147483647 h 55"/>
                    <a:gd name="T24" fmla="*/ 2147483647 w 36"/>
                    <a:gd name="T25" fmla="*/ 2147483647 h 55"/>
                    <a:gd name="T26" fmla="*/ 2147483647 w 36"/>
                    <a:gd name="T27" fmla="*/ 0 h 55"/>
                    <a:gd name="T28" fmla="*/ 2147483647 w 36"/>
                    <a:gd name="T29" fmla="*/ 0 h 55"/>
                    <a:gd name="T30" fmla="*/ 2147483647 w 36"/>
                    <a:gd name="T31" fmla="*/ 0 h 55"/>
                    <a:gd name="T32" fmla="*/ 2147483647 w 36"/>
                    <a:gd name="T33" fmla="*/ 2147483647 h 55"/>
                    <a:gd name="T34" fmla="*/ 2147483647 w 36"/>
                    <a:gd name="T35" fmla="*/ 2147483647 h 55"/>
                    <a:gd name="T36" fmla="*/ 2147483647 w 36"/>
                    <a:gd name="T37" fmla="*/ 2147483647 h 55"/>
                    <a:gd name="T38" fmla="*/ 2147483647 w 36"/>
                    <a:gd name="T39" fmla="*/ 2147483647 h 55"/>
                    <a:gd name="T40" fmla="*/ 2147483647 w 36"/>
                    <a:gd name="T41" fmla="*/ 2147483647 h 55"/>
                    <a:gd name="T42" fmla="*/ 2147483647 w 36"/>
                    <a:gd name="T43" fmla="*/ 2147483647 h 55"/>
                    <a:gd name="T44" fmla="*/ 2147483647 w 36"/>
                    <a:gd name="T45" fmla="*/ 2147483647 h 55"/>
                    <a:gd name="T46" fmla="*/ 2147483647 w 36"/>
                    <a:gd name="T47" fmla="*/ 2147483647 h 55"/>
                    <a:gd name="T48" fmla="*/ 2147483647 w 36"/>
                    <a:gd name="T49" fmla="*/ 2147483647 h 55"/>
                    <a:gd name="T50" fmla="*/ 2147483647 w 36"/>
                    <a:gd name="T51" fmla="*/ 2147483647 h 55"/>
                    <a:gd name="T52" fmla="*/ 2147483647 w 36"/>
                    <a:gd name="T53" fmla="*/ 2147483647 h 55"/>
                    <a:gd name="T54" fmla="*/ 2147483647 w 36"/>
                    <a:gd name="T55" fmla="*/ 2147483647 h 55"/>
                    <a:gd name="T56" fmla="*/ 2147483647 w 36"/>
                    <a:gd name="T57" fmla="*/ 2147483647 h 55"/>
                    <a:gd name="T58" fmla="*/ 2147483647 w 36"/>
                    <a:gd name="T59" fmla="*/ 2147483647 h 55"/>
                    <a:gd name="T60" fmla="*/ 2147483647 w 36"/>
                    <a:gd name="T61" fmla="*/ 2147483647 h 55"/>
                    <a:gd name="T62" fmla="*/ 2147483647 w 36"/>
                    <a:gd name="T63" fmla="*/ 2147483647 h 55"/>
                    <a:gd name="T64" fmla="*/ 2147483647 w 36"/>
                    <a:gd name="T65" fmla="*/ 2147483647 h 55"/>
                    <a:gd name="T66" fmla="*/ 2147483647 w 36"/>
                    <a:gd name="T67" fmla="*/ 2147483647 h 55"/>
                    <a:gd name="T68" fmla="*/ 2147483647 w 36"/>
                    <a:gd name="T69" fmla="*/ 2147483647 h 55"/>
                    <a:gd name="T70" fmla="*/ 0 w 36"/>
                    <a:gd name="T71" fmla="*/ 2147483647 h 55"/>
                    <a:gd name="T72" fmla="*/ 2147483647 w 36"/>
                    <a:gd name="T73" fmla="*/ 2147483647 h 55"/>
                    <a:gd name="T74" fmla="*/ 2147483647 w 36"/>
                    <a:gd name="T75" fmla="*/ 2147483647 h 55"/>
                    <a:gd name="T76" fmla="*/ 2147483647 w 36"/>
                    <a:gd name="T77" fmla="*/ 2147483647 h 55"/>
                    <a:gd name="T78" fmla="*/ 2147483647 w 36"/>
                    <a:gd name="T79" fmla="*/ 2147483647 h 55"/>
                    <a:gd name="T80" fmla="*/ 2147483647 w 36"/>
                    <a:gd name="T81" fmla="*/ 2147483647 h 55"/>
                    <a:gd name="T82" fmla="*/ 2147483647 w 36"/>
                    <a:gd name="T83" fmla="*/ 2147483647 h 55"/>
                    <a:gd name="T84" fmla="*/ 2147483647 w 36"/>
                    <a:gd name="T85" fmla="*/ 2147483647 h 55"/>
                    <a:gd name="T86" fmla="*/ 2147483647 w 36"/>
                    <a:gd name="T87" fmla="*/ 2147483647 h 55"/>
                    <a:gd name="T88" fmla="*/ 2147483647 w 36"/>
                    <a:gd name="T89" fmla="*/ 2147483647 h 55"/>
                    <a:gd name="T90" fmla="*/ 2147483647 w 36"/>
                    <a:gd name="T91" fmla="*/ 2147483647 h 55"/>
                    <a:gd name="T92" fmla="*/ 2147483647 w 36"/>
                    <a:gd name="T93" fmla="*/ 2147483647 h 55"/>
                    <a:gd name="T94" fmla="*/ 2147483647 w 36"/>
                    <a:gd name="T95" fmla="*/ 2147483647 h 55"/>
                    <a:gd name="T96" fmla="*/ 2147483647 w 36"/>
                    <a:gd name="T97" fmla="*/ 2147483647 h 55"/>
                    <a:gd name="T98" fmla="*/ 2147483647 w 36"/>
                    <a:gd name="T99" fmla="*/ 2147483647 h 55"/>
                    <a:gd name="T100" fmla="*/ 2147483647 w 36"/>
                    <a:gd name="T101" fmla="*/ 2147483647 h 55"/>
                    <a:gd name="T102" fmla="*/ 2147483647 w 36"/>
                    <a:gd name="T103" fmla="*/ 2147483647 h 55"/>
                    <a:gd name="T104" fmla="*/ 2147483647 w 36"/>
                    <a:gd name="T105" fmla="*/ 2147483647 h 55"/>
                    <a:gd name="T106" fmla="*/ 2147483647 w 36"/>
                    <a:gd name="T107" fmla="*/ 2147483647 h 55"/>
                    <a:gd name="T108" fmla="*/ 2147483647 w 36"/>
                    <a:gd name="T109" fmla="*/ 2147483647 h 55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6"/>
                    <a:gd name="T166" fmla="*/ 0 h 55"/>
                    <a:gd name="T167" fmla="*/ 36 w 36"/>
                    <a:gd name="T168" fmla="*/ 55 h 55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6" h="55">
                      <a:moveTo>
                        <a:pt x="34" y="45"/>
                      </a:moveTo>
                      <a:lnTo>
                        <a:pt x="34" y="45"/>
                      </a:lnTo>
                      <a:lnTo>
                        <a:pt x="31" y="36"/>
                      </a:lnTo>
                      <a:lnTo>
                        <a:pt x="27" y="26"/>
                      </a:lnTo>
                      <a:lnTo>
                        <a:pt x="24" y="17"/>
                      </a:lnTo>
                      <a:lnTo>
                        <a:pt x="23" y="6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19" y="6"/>
                      </a:lnTo>
                      <a:lnTo>
                        <a:pt x="17" y="6"/>
                      </a:lnTo>
                      <a:lnTo>
                        <a:pt x="12" y="1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3" y="5"/>
                      </a:lnTo>
                      <a:lnTo>
                        <a:pt x="4" y="6"/>
                      </a:lnTo>
                      <a:lnTo>
                        <a:pt x="6" y="7"/>
                      </a:lnTo>
                      <a:lnTo>
                        <a:pt x="9" y="10"/>
                      </a:lnTo>
                      <a:lnTo>
                        <a:pt x="13" y="13"/>
                      </a:lnTo>
                      <a:lnTo>
                        <a:pt x="14" y="14"/>
                      </a:lnTo>
                      <a:lnTo>
                        <a:pt x="15" y="16"/>
                      </a:lnTo>
                      <a:lnTo>
                        <a:pt x="14" y="20"/>
                      </a:lnTo>
                      <a:lnTo>
                        <a:pt x="13" y="21"/>
                      </a:lnTo>
                      <a:lnTo>
                        <a:pt x="12" y="21"/>
                      </a:lnTo>
                      <a:lnTo>
                        <a:pt x="6" y="19"/>
                      </a:lnTo>
                      <a:lnTo>
                        <a:pt x="4" y="18"/>
                      </a:lnTo>
                      <a:lnTo>
                        <a:pt x="1" y="20"/>
                      </a:lnTo>
                      <a:lnTo>
                        <a:pt x="0" y="24"/>
                      </a:lnTo>
                      <a:lnTo>
                        <a:pt x="1" y="27"/>
                      </a:lnTo>
                      <a:lnTo>
                        <a:pt x="4" y="35"/>
                      </a:lnTo>
                      <a:lnTo>
                        <a:pt x="5" y="36"/>
                      </a:lnTo>
                      <a:lnTo>
                        <a:pt x="6" y="36"/>
                      </a:lnTo>
                      <a:lnTo>
                        <a:pt x="10" y="36"/>
                      </a:lnTo>
                      <a:lnTo>
                        <a:pt x="14" y="37"/>
                      </a:lnTo>
                      <a:lnTo>
                        <a:pt x="15" y="38"/>
                      </a:lnTo>
                      <a:lnTo>
                        <a:pt x="19" y="44"/>
                      </a:lnTo>
                      <a:lnTo>
                        <a:pt x="22" y="51"/>
                      </a:lnTo>
                      <a:lnTo>
                        <a:pt x="24" y="53"/>
                      </a:lnTo>
                      <a:lnTo>
                        <a:pt x="27" y="55"/>
                      </a:lnTo>
                      <a:lnTo>
                        <a:pt x="29" y="55"/>
                      </a:lnTo>
                      <a:lnTo>
                        <a:pt x="33" y="52"/>
                      </a:lnTo>
                      <a:lnTo>
                        <a:pt x="36" y="49"/>
                      </a:lnTo>
                      <a:lnTo>
                        <a:pt x="36" y="48"/>
                      </a:lnTo>
                      <a:lnTo>
                        <a:pt x="34" y="4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9" name="Freeform 1169">
                  <a:extLst>
                    <a:ext uri="{FF2B5EF4-FFF2-40B4-BE49-F238E27FC236}">
                      <a16:creationId xmlns:a16="http://schemas.microsoft.com/office/drawing/2014/main" id="{6681CB9C-8BD4-9340-A367-184FEC8510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7908" y="3342712"/>
                  <a:ext cx="76953" cy="53275"/>
                </a:xfrm>
                <a:custGeom>
                  <a:avLst/>
                  <a:gdLst>
                    <a:gd name="T0" fmla="*/ 0 w 56"/>
                    <a:gd name="T1" fmla="*/ 2147483647 h 36"/>
                    <a:gd name="T2" fmla="*/ 2147483647 w 56"/>
                    <a:gd name="T3" fmla="*/ 2147483647 h 36"/>
                    <a:gd name="T4" fmla="*/ 2147483647 w 56"/>
                    <a:gd name="T5" fmla="*/ 2147483647 h 36"/>
                    <a:gd name="T6" fmla="*/ 2147483647 w 56"/>
                    <a:gd name="T7" fmla="*/ 2147483647 h 36"/>
                    <a:gd name="T8" fmla="*/ 2147483647 w 56"/>
                    <a:gd name="T9" fmla="*/ 2147483647 h 36"/>
                    <a:gd name="T10" fmla="*/ 2147483647 w 56"/>
                    <a:gd name="T11" fmla="*/ 2147483647 h 36"/>
                    <a:gd name="T12" fmla="*/ 2147483647 w 56"/>
                    <a:gd name="T13" fmla="*/ 2147483647 h 36"/>
                    <a:gd name="T14" fmla="*/ 2147483647 w 56"/>
                    <a:gd name="T15" fmla="*/ 2147483647 h 36"/>
                    <a:gd name="T16" fmla="*/ 2147483647 w 56"/>
                    <a:gd name="T17" fmla="*/ 2147483647 h 36"/>
                    <a:gd name="T18" fmla="*/ 2147483647 w 56"/>
                    <a:gd name="T19" fmla="*/ 2147483647 h 36"/>
                    <a:gd name="T20" fmla="*/ 2147483647 w 56"/>
                    <a:gd name="T21" fmla="*/ 2147483647 h 36"/>
                    <a:gd name="T22" fmla="*/ 2147483647 w 56"/>
                    <a:gd name="T23" fmla="*/ 2147483647 h 36"/>
                    <a:gd name="T24" fmla="*/ 2147483647 w 56"/>
                    <a:gd name="T25" fmla="*/ 2147483647 h 36"/>
                    <a:gd name="T26" fmla="*/ 2147483647 w 56"/>
                    <a:gd name="T27" fmla="*/ 2147483647 h 36"/>
                    <a:gd name="T28" fmla="*/ 2147483647 w 56"/>
                    <a:gd name="T29" fmla="*/ 2147483647 h 36"/>
                    <a:gd name="T30" fmla="*/ 2147483647 w 56"/>
                    <a:gd name="T31" fmla="*/ 2147483647 h 36"/>
                    <a:gd name="T32" fmla="*/ 2147483647 w 56"/>
                    <a:gd name="T33" fmla="*/ 2147483647 h 36"/>
                    <a:gd name="T34" fmla="*/ 2147483647 w 56"/>
                    <a:gd name="T35" fmla="*/ 2147483647 h 36"/>
                    <a:gd name="T36" fmla="*/ 2147483647 w 56"/>
                    <a:gd name="T37" fmla="*/ 2147483647 h 36"/>
                    <a:gd name="T38" fmla="*/ 2147483647 w 56"/>
                    <a:gd name="T39" fmla="*/ 2147483647 h 36"/>
                    <a:gd name="T40" fmla="*/ 2147483647 w 56"/>
                    <a:gd name="T41" fmla="*/ 2147483647 h 36"/>
                    <a:gd name="T42" fmla="*/ 2147483647 w 56"/>
                    <a:gd name="T43" fmla="*/ 0 h 36"/>
                    <a:gd name="T44" fmla="*/ 2147483647 w 56"/>
                    <a:gd name="T45" fmla="*/ 2147483647 h 36"/>
                    <a:gd name="T46" fmla="*/ 2147483647 w 56"/>
                    <a:gd name="T47" fmla="*/ 2147483647 h 36"/>
                    <a:gd name="T48" fmla="*/ 2147483647 w 56"/>
                    <a:gd name="T49" fmla="*/ 2147483647 h 36"/>
                    <a:gd name="T50" fmla="*/ 2147483647 w 56"/>
                    <a:gd name="T51" fmla="*/ 2147483647 h 36"/>
                    <a:gd name="T52" fmla="*/ 2147483647 w 56"/>
                    <a:gd name="T53" fmla="*/ 2147483647 h 36"/>
                    <a:gd name="T54" fmla="*/ 2147483647 w 56"/>
                    <a:gd name="T55" fmla="*/ 2147483647 h 36"/>
                    <a:gd name="T56" fmla="*/ 2147483647 w 56"/>
                    <a:gd name="T57" fmla="*/ 2147483647 h 36"/>
                    <a:gd name="T58" fmla="*/ 0 w 56"/>
                    <a:gd name="T59" fmla="*/ 2147483647 h 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56"/>
                    <a:gd name="T91" fmla="*/ 0 h 36"/>
                    <a:gd name="T92" fmla="*/ 56 w 56"/>
                    <a:gd name="T93" fmla="*/ 36 h 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56" h="36">
                      <a:moveTo>
                        <a:pt x="0" y="30"/>
                      </a:moveTo>
                      <a:lnTo>
                        <a:pt x="8" y="35"/>
                      </a:lnTo>
                      <a:lnTo>
                        <a:pt x="12" y="36"/>
                      </a:lnTo>
                      <a:lnTo>
                        <a:pt x="16" y="35"/>
                      </a:lnTo>
                      <a:lnTo>
                        <a:pt x="22" y="30"/>
                      </a:lnTo>
                      <a:lnTo>
                        <a:pt x="26" y="28"/>
                      </a:lnTo>
                      <a:lnTo>
                        <a:pt x="30" y="28"/>
                      </a:lnTo>
                      <a:lnTo>
                        <a:pt x="38" y="28"/>
                      </a:lnTo>
                      <a:lnTo>
                        <a:pt x="47" y="28"/>
                      </a:lnTo>
                      <a:lnTo>
                        <a:pt x="51" y="27"/>
                      </a:lnTo>
                      <a:lnTo>
                        <a:pt x="55" y="25"/>
                      </a:lnTo>
                      <a:lnTo>
                        <a:pt x="56" y="21"/>
                      </a:lnTo>
                      <a:lnTo>
                        <a:pt x="55" y="19"/>
                      </a:lnTo>
                      <a:lnTo>
                        <a:pt x="55" y="17"/>
                      </a:lnTo>
                      <a:lnTo>
                        <a:pt x="51" y="15"/>
                      </a:lnTo>
                      <a:lnTo>
                        <a:pt x="49" y="14"/>
                      </a:lnTo>
                      <a:lnTo>
                        <a:pt x="45" y="14"/>
                      </a:lnTo>
                      <a:lnTo>
                        <a:pt x="41" y="14"/>
                      </a:lnTo>
                      <a:lnTo>
                        <a:pt x="40" y="13"/>
                      </a:lnTo>
                      <a:lnTo>
                        <a:pt x="38" y="10"/>
                      </a:lnTo>
                      <a:lnTo>
                        <a:pt x="36" y="4"/>
                      </a:lnTo>
                      <a:lnTo>
                        <a:pt x="31" y="0"/>
                      </a:lnTo>
                      <a:lnTo>
                        <a:pt x="23" y="2"/>
                      </a:lnTo>
                      <a:lnTo>
                        <a:pt x="12" y="3"/>
                      </a:lnTo>
                      <a:lnTo>
                        <a:pt x="14" y="7"/>
                      </a:lnTo>
                      <a:lnTo>
                        <a:pt x="16" y="10"/>
                      </a:lnTo>
                      <a:lnTo>
                        <a:pt x="14" y="14"/>
                      </a:lnTo>
                      <a:lnTo>
                        <a:pt x="12" y="17"/>
                      </a:lnTo>
                      <a:lnTo>
                        <a:pt x="7" y="25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0" name="Freeform 1170">
                  <a:extLst>
                    <a:ext uri="{FF2B5EF4-FFF2-40B4-BE49-F238E27FC236}">
                      <a16:creationId xmlns:a16="http://schemas.microsoft.com/office/drawing/2014/main" id="{CEDD8C54-09C0-5E41-8757-CDC0A5351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9747" y="3345672"/>
                  <a:ext cx="432123" cy="199782"/>
                </a:xfrm>
                <a:custGeom>
                  <a:avLst/>
                  <a:gdLst>
                    <a:gd name="T0" fmla="*/ 2147483647 w 316"/>
                    <a:gd name="T1" fmla="*/ 2147483647 h 135"/>
                    <a:gd name="T2" fmla="*/ 2147483647 w 316"/>
                    <a:gd name="T3" fmla="*/ 2147483647 h 135"/>
                    <a:gd name="T4" fmla="*/ 2147483647 w 316"/>
                    <a:gd name="T5" fmla="*/ 2147483647 h 135"/>
                    <a:gd name="T6" fmla="*/ 2147483647 w 316"/>
                    <a:gd name="T7" fmla="*/ 2147483647 h 135"/>
                    <a:gd name="T8" fmla="*/ 2147483647 w 316"/>
                    <a:gd name="T9" fmla="*/ 2147483647 h 135"/>
                    <a:gd name="T10" fmla="*/ 2147483647 w 316"/>
                    <a:gd name="T11" fmla="*/ 2147483647 h 135"/>
                    <a:gd name="T12" fmla="*/ 2147483647 w 316"/>
                    <a:gd name="T13" fmla="*/ 2147483647 h 135"/>
                    <a:gd name="T14" fmla="*/ 2147483647 w 316"/>
                    <a:gd name="T15" fmla="*/ 2147483647 h 135"/>
                    <a:gd name="T16" fmla="*/ 2147483647 w 316"/>
                    <a:gd name="T17" fmla="*/ 2147483647 h 135"/>
                    <a:gd name="T18" fmla="*/ 2147483647 w 316"/>
                    <a:gd name="T19" fmla="*/ 2147483647 h 135"/>
                    <a:gd name="T20" fmla="*/ 2147483647 w 316"/>
                    <a:gd name="T21" fmla="*/ 2147483647 h 135"/>
                    <a:gd name="T22" fmla="*/ 2147483647 w 316"/>
                    <a:gd name="T23" fmla="*/ 2147483647 h 135"/>
                    <a:gd name="T24" fmla="*/ 2147483647 w 316"/>
                    <a:gd name="T25" fmla="*/ 2147483647 h 135"/>
                    <a:gd name="T26" fmla="*/ 2147483647 w 316"/>
                    <a:gd name="T27" fmla="*/ 2147483647 h 135"/>
                    <a:gd name="T28" fmla="*/ 2147483647 w 316"/>
                    <a:gd name="T29" fmla="*/ 2147483647 h 135"/>
                    <a:gd name="T30" fmla="*/ 2147483647 w 316"/>
                    <a:gd name="T31" fmla="*/ 2147483647 h 135"/>
                    <a:gd name="T32" fmla="*/ 2147483647 w 316"/>
                    <a:gd name="T33" fmla="*/ 2147483647 h 135"/>
                    <a:gd name="T34" fmla="*/ 2147483647 w 316"/>
                    <a:gd name="T35" fmla="*/ 2147483647 h 135"/>
                    <a:gd name="T36" fmla="*/ 2147483647 w 316"/>
                    <a:gd name="T37" fmla="*/ 2147483647 h 135"/>
                    <a:gd name="T38" fmla="*/ 2147483647 w 316"/>
                    <a:gd name="T39" fmla="*/ 2147483647 h 135"/>
                    <a:gd name="T40" fmla="*/ 2147483647 w 316"/>
                    <a:gd name="T41" fmla="*/ 2147483647 h 135"/>
                    <a:gd name="T42" fmla="*/ 2147483647 w 316"/>
                    <a:gd name="T43" fmla="*/ 2147483647 h 135"/>
                    <a:gd name="T44" fmla="*/ 2147483647 w 316"/>
                    <a:gd name="T45" fmla="*/ 2147483647 h 135"/>
                    <a:gd name="T46" fmla="*/ 2147483647 w 316"/>
                    <a:gd name="T47" fmla="*/ 2147483647 h 135"/>
                    <a:gd name="T48" fmla="*/ 2147483647 w 316"/>
                    <a:gd name="T49" fmla="*/ 2147483647 h 135"/>
                    <a:gd name="T50" fmla="*/ 2147483647 w 316"/>
                    <a:gd name="T51" fmla="*/ 2147483647 h 135"/>
                    <a:gd name="T52" fmla="*/ 2147483647 w 316"/>
                    <a:gd name="T53" fmla="*/ 2147483647 h 135"/>
                    <a:gd name="T54" fmla="*/ 2147483647 w 316"/>
                    <a:gd name="T55" fmla="*/ 2147483647 h 135"/>
                    <a:gd name="T56" fmla="*/ 2147483647 w 316"/>
                    <a:gd name="T57" fmla="*/ 2147483647 h 135"/>
                    <a:gd name="T58" fmla="*/ 2147483647 w 316"/>
                    <a:gd name="T59" fmla="*/ 2147483647 h 135"/>
                    <a:gd name="T60" fmla="*/ 2147483647 w 316"/>
                    <a:gd name="T61" fmla="*/ 2147483647 h 135"/>
                    <a:gd name="T62" fmla="*/ 2147483647 w 316"/>
                    <a:gd name="T63" fmla="*/ 2147483647 h 135"/>
                    <a:gd name="T64" fmla="*/ 2147483647 w 316"/>
                    <a:gd name="T65" fmla="*/ 2147483647 h 135"/>
                    <a:gd name="T66" fmla="*/ 2147483647 w 316"/>
                    <a:gd name="T67" fmla="*/ 2147483647 h 135"/>
                    <a:gd name="T68" fmla="*/ 2147483647 w 316"/>
                    <a:gd name="T69" fmla="*/ 2147483647 h 135"/>
                    <a:gd name="T70" fmla="*/ 2147483647 w 316"/>
                    <a:gd name="T71" fmla="*/ 2147483647 h 135"/>
                    <a:gd name="T72" fmla="*/ 2147483647 w 316"/>
                    <a:gd name="T73" fmla="*/ 2147483647 h 135"/>
                    <a:gd name="T74" fmla="*/ 2147483647 w 316"/>
                    <a:gd name="T75" fmla="*/ 2147483647 h 135"/>
                    <a:gd name="T76" fmla="*/ 2147483647 w 316"/>
                    <a:gd name="T77" fmla="*/ 2147483647 h 135"/>
                    <a:gd name="T78" fmla="*/ 2147483647 w 316"/>
                    <a:gd name="T79" fmla="*/ 2147483647 h 135"/>
                    <a:gd name="T80" fmla="*/ 2147483647 w 316"/>
                    <a:gd name="T81" fmla="*/ 2147483647 h 135"/>
                    <a:gd name="T82" fmla="*/ 2147483647 w 316"/>
                    <a:gd name="T83" fmla="*/ 2147483647 h 135"/>
                    <a:gd name="T84" fmla="*/ 2147483647 w 316"/>
                    <a:gd name="T85" fmla="*/ 2147483647 h 135"/>
                    <a:gd name="T86" fmla="*/ 2147483647 w 316"/>
                    <a:gd name="T87" fmla="*/ 2147483647 h 135"/>
                    <a:gd name="T88" fmla="*/ 2147483647 w 316"/>
                    <a:gd name="T89" fmla="*/ 2147483647 h 135"/>
                    <a:gd name="T90" fmla="*/ 2147483647 w 316"/>
                    <a:gd name="T91" fmla="*/ 2147483647 h 135"/>
                    <a:gd name="T92" fmla="*/ 2147483647 w 316"/>
                    <a:gd name="T93" fmla="*/ 2147483647 h 135"/>
                    <a:gd name="T94" fmla="*/ 2147483647 w 316"/>
                    <a:gd name="T95" fmla="*/ 2147483647 h 135"/>
                    <a:gd name="T96" fmla="*/ 2147483647 w 316"/>
                    <a:gd name="T97" fmla="*/ 2147483647 h 135"/>
                    <a:gd name="T98" fmla="*/ 2147483647 w 316"/>
                    <a:gd name="T99" fmla="*/ 2147483647 h 135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316"/>
                    <a:gd name="T151" fmla="*/ 0 h 135"/>
                    <a:gd name="T152" fmla="*/ 316 w 316"/>
                    <a:gd name="T153" fmla="*/ 135 h 135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316" h="135">
                      <a:moveTo>
                        <a:pt x="165" y="135"/>
                      </a:moveTo>
                      <a:lnTo>
                        <a:pt x="169" y="135"/>
                      </a:lnTo>
                      <a:lnTo>
                        <a:pt x="173" y="134"/>
                      </a:lnTo>
                      <a:lnTo>
                        <a:pt x="175" y="132"/>
                      </a:lnTo>
                      <a:lnTo>
                        <a:pt x="178" y="129"/>
                      </a:lnTo>
                      <a:lnTo>
                        <a:pt x="180" y="122"/>
                      </a:lnTo>
                      <a:lnTo>
                        <a:pt x="180" y="114"/>
                      </a:lnTo>
                      <a:lnTo>
                        <a:pt x="182" y="113"/>
                      </a:lnTo>
                      <a:lnTo>
                        <a:pt x="183" y="110"/>
                      </a:lnTo>
                      <a:lnTo>
                        <a:pt x="184" y="110"/>
                      </a:lnTo>
                      <a:lnTo>
                        <a:pt x="187" y="110"/>
                      </a:lnTo>
                      <a:lnTo>
                        <a:pt x="194" y="114"/>
                      </a:lnTo>
                      <a:lnTo>
                        <a:pt x="199" y="115"/>
                      </a:lnTo>
                      <a:lnTo>
                        <a:pt x="203" y="115"/>
                      </a:lnTo>
                      <a:lnTo>
                        <a:pt x="207" y="114"/>
                      </a:lnTo>
                      <a:lnTo>
                        <a:pt x="211" y="111"/>
                      </a:lnTo>
                      <a:lnTo>
                        <a:pt x="216" y="108"/>
                      </a:lnTo>
                      <a:lnTo>
                        <a:pt x="220" y="108"/>
                      </a:lnTo>
                      <a:lnTo>
                        <a:pt x="223" y="108"/>
                      </a:lnTo>
                      <a:lnTo>
                        <a:pt x="230" y="109"/>
                      </a:lnTo>
                      <a:lnTo>
                        <a:pt x="239" y="109"/>
                      </a:lnTo>
                      <a:lnTo>
                        <a:pt x="245" y="107"/>
                      </a:lnTo>
                      <a:lnTo>
                        <a:pt x="248" y="104"/>
                      </a:lnTo>
                      <a:lnTo>
                        <a:pt x="249" y="103"/>
                      </a:lnTo>
                      <a:lnTo>
                        <a:pt x="254" y="102"/>
                      </a:lnTo>
                      <a:lnTo>
                        <a:pt x="259" y="101"/>
                      </a:lnTo>
                      <a:lnTo>
                        <a:pt x="265" y="96"/>
                      </a:lnTo>
                      <a:lnTo>
                        <a:pt x="269" y="96"/>
                      </a:lnTo>
                      <a:lnTo>
                        <a:pt x="273" y="97"/>
                      </a:lnTo>
                      <a:lnTo>
                        <a:pt x="279" y="103"/>
                      </a:lnTo>
                      <a:lnTo>
                        <a:pt x="286" y="101"/>
                      </a:lnTo>
                      <a:lnTo>
                        <a:pt x="292" y="100"/>
                      </a:lnTo>
                      <a:lnTo>
                        <a:pt x="303" y="102"/>
                      </a:lnTo>
                      <a:lnTo>
                        <a:pt x="314" y="102"/>
                      </a:lnTo>
                      <a:lnTo>
                        <a:pt x="310" y="94"/>
                      </a:lnTo>
                      <a:lnTo>
                        <a:pt x="309" y="84"/>
                      </a:lnTo>
                      <a:lnTo>
                        <a:pt x="307" y="75"/>
                      </a:lnTo>
                      <a:lnTo>
                        <a:pt x="307" y="65"/>
                      </a:lnTo>
                      <a:lnTo>
                        <a:pt x="309" y="62"/>
                      </a:lnTo>
                      <a:lnTo>
                        <a:pt x="310" y="61"/>
                      </a:lnTo>
                      <a:lnTo>
                        <a:pt x="312" y="58"/>
                      </a:lnTo>
                      <a:lnTo>
                        <a:pt x="315" y="58"/>
                      </a:lnTo>
                      <a:lnTo>
                        <a:pt x="316" y="55"/>
                      </a:lnTo>
                      <a:lnTo>
                        <a:pt x="316" y="52"/>
                      </a:lnTo>
                      <a:lnTo>
                        <a:pt x="312" y="45"/>
                      </a:lnTo>
                      <a:lnTo>
                        <a:pt x="309" y="39"/>
                      </a:lnTo>
                      <a:lnTo>
                        <a:pt x="302" y="24"/>
                      </a:lnTo>
                      <a:lnTo>
                        <a:pt x="300" y="19"/>
                      </a:lnTo>
                      <a:lnTo>
                        <a:pt x="297" y="15"/>
                      </a:lnTo>
                      <a:lnTo>
                        <a:pt x="292" y="14"/>
                      </a:lnTo>
                      <a:lnTo>
                        <a:pt x="288" y="12"/>
                      </a:lnTo>
                      <a:lnTo>
                        <a:pt x="277" y="12"/>
                      </a:lnTo>
                      <a:lnTo>
                        <a:pt x="267" y="12"/>
                      </a:lnTo>
                      <a:lnTo>
                        <a:pt x="260" y="18"/>
                      </a:lnTo>
                      <a:lnTo>
                        <a:pt x="254" y="24"/>
                      </a:lnTo>
                      <a:lnTo>
                        <a:pt x="250" y="25"/>
                      </a:lnTo>
                      <a:lnTo>
                        <a:pt x="245" y="26"/>
                      </a:lnTo>
                      <a:lnTo>
                        <a:pt x="241" y="26"/>
                      </a:lnTo>
                      <a:lnTo>
                        <a:pt x="237" y="25"/>
                      </a:lnTo>
                      <a:lnTo>
                        <a:pt x="232" y="24"/>
                      </a:lnTo>
                      <a:lnTo>
                        <a:pt x="229" y="23"/>
                      </a:lnTo>
                      <a:lnTo>
                        <a:pt x="221" y="20"/>
                      </a:lnTo>
                      <a:lnTo>
                        <a:pt x="217" y="20"/>
                      </a:lnTo>
                      <a:lnTo>
                        <a:pt x="213" y="20"/>
                      </a:lnTo>
                      <a:lnTo>
                        <a:pt x="207" y="21"/>
                      </a:lnTo>
                      <a:lnTo>
                        <a:pt x="201" y="21"/>
                      </a:lnTo>
                      <a:lnTo>
                        <a:pt x="196" y="21"/>
                      </a:lnTo>
                      <a:lnTo>
                        <a:pt x="189" y="19"/>
                      </a:lnTo>
                      <a:lnTo>
                        <a:pt x="185" y="19"/>
                      </a:lnTo>
                      <a:lnTo>
                        <a:pt x="182" y="19"/>
                      </a:lnTo>
                      <a:lnTo>
                        <a:pt x="175" y="14"/>
                      </a:lnTo>
                      <a:lnTo>
                        <a:pt x="171" y="12"/>
                      </a:lnTo>
                      <a:lnTo>
                        <a:pt x="168" y="10"/>
                      </a:lnTo>
                      <a:lnTo>
                        <a:pt x="164" y="10"/>
                      </a:lnTo>
                      <a:lnTo>
                        <a:pt x="161" y="11"/>
                      </a:lnTo>
                      <a:lnTo>
                        <a:pt x="157" y="11"/>
                      </a:lnTo>
                      <a:lnTo>
                        <a:pt x="155" y="10"/>
                      </a:lnTo>
                      <a:lnTo>
                        <a:pt x="152" y="6"/>
                      </a:lnTo>
                      <a:lnTo>
                        <a:pt x="151" y="4"/>
                      </a:lnTo>
                      <a:lnTo>
                        <a:pt x="150" y="2"/>
                      </a:lnTo>
                      <a:lnTo>
                        <a:pt x="146" y="2"/>
                      </a:lnTo>
                      <a:lnTo>
                        <a:pt x="141" y="2"/>
                      </a:lnTo>
                      <a:lnTo>
                        <a:pt x="136" y="4"/>
                      </a:lnTo>
                      <a:lnTo>
                        <a:pt x="129" y="4"/>
                      </a:lnTo>
                      <a:lnTo>
                        <a:pt x="126" y="2"/>
                      </a:lnTo>
                      <a:lnTo>
                        <a:pt x="118" y="0"/>
                      </a:lnTo>
                      <a:lnTo>
                        <a:pt x="114" y="0"/>
                      </a:lnTo>
                      <a:lnTo>
                        <a:pt x="112" y="1"/>
                      </a:lnTo>
                      <a:lnTo>
                        <a:pt x="103" y="7"/>
                      </a:lnTo>
                      <a:lnTo>
                        <a:pt x="99" y="11"/>
                      </a:lnTo>
                      <a:lnTo>
                        <a:pt x="95" y="15"/>
                      </a:lnTo>
                      <a:lnTo>
                        <a:pt x="91" y="18"/>
                      </a:lnTo>
                      <a:lnTo>
                        <a:pt x="88" y="20"/>
                      </a:lnTo>
                      <a:lnTo>
                        <a:pt x="84" y="20"/>
                      </a:lnTo>
                      <a:lnTo>
                        <a:pt x="79" y="20"/>
                      </a:lnTo>
                      <a:lnTo>
                        <a:pt x="70" y="20"/>
                      </a:lnTo>
                      <a:lnTo>
                        <a:pt x="65" y="21"/>
                      </a:lnTo>
                      <a:lnTo>
                        <a:pt x="61" y="23"/>
                      </a:lnTo>
                      <a:lnTo>
                        <a:pt x="58" y="24"/>
                      </a:lnTo>
                      <a:lnTo>
                        <a:pt x="56" y="27"/>
                      </a:lnTo>
                      <a:lnTo>
                        <a:pt x="55" y="30"/>
                      </a:lnTo>
                      <a:lnTo>
                        <a:pt x="52" y="32"/>
                      </a:lnTo>
                      <a:lnTo>
                        <a:pt x="41" y="39"/>
                      </a:lnTo>
                      <a:lnTo>
                        <a:pt x="38" y="39"/>
                      </a:lnTo>
                      <a:lnTo>
                        <a:pt x="36" y="39"/>
                      </a:lnTo>
                      <a:lnTo>
                        <a:pt x="30" y="39"/>
                      </a:lnTo>
                      <a:lnTo>
                        <a:pt x="25" y="39"/>
                      </a:lnTo>
                      <a:lnTo>
                        <a:pt x="20" y="39"/>
                      </a:lnTo>
                      <a:lnTo>
                        <a:pt x="15" y="39"/>
                      </a:lnTo>
                      <a:lnTo>
                        <a:pt x="9" y="42"/>
                      </a:lnTo>
                      <a:lnTo>
                        <a:pt x="6" y="40"/>
                      </a:lnTo>
                      <a:lnTo>
                        <a:pt x="4" y="40"/>
                      </a:lnTo>
                      <a:lnTo>
                        <a:pt x="2" y="44"/>
                      </a:lnTo>
                      <a:lnTo>
                        <a:pt x="1" y="47"/>
                      </a:lnTo>
                      <a:lnTo>
                        <a:pt x="0" y="52"/>
                      </a:lnTo>
                      <a:lnTo>
                        <a:pt x="1" y="56"/>
                      </a:lnTo>
                      <a:lnTo>
                        <a:pt x="4" y="57"/>
                      </a:lnTo>
                      <a:lnTo>
                        <a:pt x="6" y="58"/>
                      </a:lnTo>
                      <a:lnTo>
                        <a:pt x="8" y="59"/>
                      </a:lnTo>
                      <a:lnTo>
                        <a:pt x="9" y="61"/>
                      </a:lnTo>
                      <a:lnTo>
                        <a:pt x="10" y="64"/>
                      </a:lnTo>
                      <a:lnTo>
                        <a:pt x="10" y="69"/>
                      </a:lnTo>
                      <a:lnTo>
                        <a:pt x="13" y="72"/>
                      </a:lnTo>
                      <a:lnTo>
                        <a:pt x="15" y="76"/>
                      </a:lnTo>
                      <a:lnTo>
                        <a:pt x="15" y="77"/>
                      </a:lnTo>
                      <a:lnTo>
                        <a:pt x="14" y="79"/>
                      </a:lnTo>
                      <a:lnTo>
                        <a:pt x="11" y="82"/>
                      </a:lnTo>
                      <a:lnTo>
                        <a:pt x="10" y="82"/>
                      </a:lnTo>
                      <a:lnTo>
                        <a:pt x="8" y="79"/>
                      </a:lnTo>
                      <a:lnTo>
                        <a:pt x="5" y="77"/>
                      </a:lnTo>
                      <a:lnTo>
                        <a:pt x="4" y="77"/>
                      </a:lnTo>
                      <a:lnTo>
                        <a:pt x="4" y="78"/>
                      </a:lnTo>
                      <a:lnTo>
                        <a:pt x="4" y="82"/>
                      </a:lnTo>
                      <a:lnTo>
                        <a:pt x="6" y="85"/>
                      </a:lnTo>
                      <a:lnTo>
                        <a:pt x="9" y="93"/>
                      </a:lnTo>
                      <a:lnTo>
                        <a:pt x="10" y="94"/>
                      </a:lnTo>
                      <a:lnTo>
                        <a:pt x="11" y="95"/>
                      </a:lnTo>
                      <a:lnTo>
                        <a:pt x="14" y="95"/>
                      </a:lnTo>
                      <a:lnTo>
                        <a:pt x="19" y="95"/>
                      </a:lnTo>
                      <a:lnTo>
                        <a:pt x="22" y="96"/>
                      </a:lnTo>
                      <a:lnTo>
                        <a:pt x="23" y="97"/>
                      </a:lnTo>
                      <a:lnTo>
                        <a:pt x="22" y="97"/>
                      </a:lnTo>
                      <a:lnTo>
                        <a:pt x="20" y="98"/>
                      </a:lnTo>
                      <a:lnTo>
                        <a:pt x="18" y="100"/>
                      </a:lnTo>
                      <a:lnTo>
                        <a:pt x="18" y="102"/>
                      </a:lnTo>
                      <a:lnTo>
                        <a:pt x="18" y="104"/>
                      </a:lnTo>
                      <a:lnTo>
                        <a:pt x="18" y="106"/>
                      </a:lnTo>
                      <a:lnTo>
                        <a:pt x="20" y="107"/>
                      </a:lnTo>
                      <a:lnTo>
                        <a:pt x="24" y="107"/>
                      </a:lnTo>
                      <a:lnTo>
                        <a:pt x="29" y="107"/>
                      </a:lnTo>
                      <a:lnTo>
                        <a:pt x="30" y="107"/>
                      </a:lnTo>
                      <a:lnTo>
                        <a:pt x="30" y="108"/>
                      </a:lnTo>
                      <a:lnTo>
                        <a:pt x="25" y="113"/>
                      </a:lnTo>
                      <a:lnTo>
                        <a:pt x="24" y="114"/>
                      </a:lnTo>
                      <a:lnTo>
                        <a:pt x="24" y="116"/>
                      </a:lnTo>
                      <a:lnTo>
                        <a:pt x="25" y="119"/>
                      </a:lnTo>
                      <a:lnTo>
                        <a:pt x="28" y="119"/>
                      </a:lnTo>
                      <a:lnTo>
                        <a:pt x="32" y="119"/>
                      </a:lnTo>
                      <a:lnTo>
                        <a:pt x="37" y="117"/>
                      </a:lnTo>
                      <a:lnTo>
                        <a:pt x="42" y="116"/>
                      </a:lnTo>
                      <a:lnTo>
                        <a:pt x="44" y="116"/>
                      </a:lnTo>
                      <a:lnTo>
                        <a:pt x="47" y="117"/>
                      </a:lnTo>
                      <a:lnTo>
                        <a:pt x="51" y="122"/>
                      </a:lnTo>
                      <a:lnTo>
                        <a:pt x="53" y="125"/>
                      </a:lnTo>
                      <a:lnTo>
                        <a:pt x="56" y="126"/>
                      </a:lnTo>
                      <a:lnTo>
                        <a:pt x="70" y="130"/>
                      </a:lnTo>
                      <a:lnTo>
                        <a:pt x="71" y="132"/>
                      </a:lnTo>
                      <a:lnTo>
                        <a:pt x="74" y="132"/>
                      </a:lnTo>
                      <a:lnTo>
                        <a:pt x="74" y="128"/>
                      </a:lnTo>
                      <a:lnTo>
                        <a:pt x="75" y="125"/>
                      </a:lnTo>
                      <a:lnTo>
                        <a:pt x="75" y="121"/>
                      </a:lnTo>
                      <a:lnTo>
                        <a:pt x="77" y="117"/>
                      </a:lnTo>
                      <a:lnTo>
                        <a:pt x="81" y="116"/>
                      </a:lnTo>
                      <a:lnTo>
                        <a:pt x="85" y="116"/>
                      </a:lnTo>
                      <a:lnTo>
                        <a:pt x="89" y="117"/>
                      </a:lnTo>
                      <a:lnTo>
                        <a:pt x="96" y="121"/>
                      </a:lnTo>
                      <a:lnTo>
                        <a:pt x="103" y="126"/>
                      </a:lnTo>
                      <a:lnTo>
                        <a:pt x="110" y="129"/>
                      </a:lnTo>
                      <a:lnTo>
                        <a:pt x="114" y="130"/>
                      </a:lnTo>
                      <a:lnTo>
                        <a:pt x="118" y="130"/>
                      </a:lnTo>
                      <a:lnTo>
                        <a:pt x="127" y="130"/>
                      </a:lnTo>
                      <a:lnTo>
                        <a:pt x="131" y="129"/>
                      </a:lnTo>
                      <a:lnTo>
                        <a:pt x="135" y="128"/>
                      </a:lnTo>
                      <a:lnTo>
                        <a:pt x="137" y="123"/>
                      </a:lnTo>
                      <a:lnTo>
                        <a:pt x="138" y="121"/>
                      </a:lnTo>
                      <a:lnTo>
                        <a:pt x="140" y="120"/>
                      </a:lnTo>
                      <a:lnTo>
                        <a:pt x="143" y="119"/>
                      </a:lnTo>
                      <a:lnTo>
                        <a:pt x="147" y="120"/>
                      </a:lnTo>
                      <a:lnTo>
                        <a:pt x="150" y="121"/>
                      </a:lnTo>
                      <a:lnTo>
                        <a:pt x="154" y="121"/>
                      </a:lnTo>
                      <a:lnTo>
                        <a:pt x="159" y="120"/>
                      </a:lnTo>
                      <a:lnTo>
                        <a:pt x="165" y="115"/>
                      </a:lnTo>
                      <a:lnTo>
                        <a:pt x="169" y="114"/>
                      </a:lnTo>
                      <a:lnTo>
                        <a:pt x="171" y="114"/>
                      </a:lnTo>
                      <a:lnTo>
                        <a:pt x="173" y="115"/>
                      </a:lnTo>
                      <a:lnTo>
                        <a:pt x="171" y="117"/>
                      </a:lnTo>
                      <a:lnTo>
                        <a:pt x="169" y="120"/>
                      </a:lnTo>
                      <a:lnTo>
                        <a:pt x="166" y="121"/>
                      </a:lnTo>
                      <a:lnTo>
                        <a:pt x="164" y="125"/>
                      </a:lnTo>
                      <a:lnTo>
                        <a:pt x="165" y="130"/>
                      </a:lnTo>
                      <a:lnTo>
                        <a:pt x="165" y="1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1" name="Freeform 1171">
                  <a:extLst>
                    <a:ext uri="{FF2B5EF4-FFF2-40B4-BE49-F238E27FC236}">
                      <a16:creationId xmlns:a16="http://schemas.microsoft.com/office/drawing/2014/main" id="{08D13317-3DC8-EA45-B3EC-1F4B6D2C31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7911" y="3339753"/>
                  <a:ext cx="75474" cy="54755"/>
                </a:xfrm>
                <a:custGeom>
                  <a:avLst/>
                  <a:gdLst>
                    <a:gd name="T0" fmla="*/ 0 w 56"/>
                    <a:gd name="T1" fmla="*/ 2147483647 h 37"/>
                    <a:gd name="T2" fmla="*/ 0 w 56"/>
                    <a:gd name="T3" fmla="*/ 2147483647 h 37"/>
                    <a:gd name="T4" fmla="*/ 2147483647 w 56"/>
                    <a:gd name="T5" fmla="*/ 2147483647 h 37"/>
                    <a:gd name="T6" fmla="*/ 2147483647 w 56"/>
                    <a:gd name="T7" fmla="*/ 2147483647 h 37"/>
                    <a:gd name="T8" fmla="*/ 2147483647 w 56"/>
                    <a:gd name="T9" fmla="*/ 2147483647 h 37"/>
                    <a:gd name="T10" fmla="*/ 2147483647 w 56"/>
                    <a:gd name="T11" fmla="*/ 2147483647 h 37"/>
                    <a:gd name="T12" fmla="*/ 2147483647 w 56"/>
                    <a:gd name="T13" fmla="*/ 2147483647 h 37"/>
                    <a:gd name="T14" fmla="*/ 2147483647 w 56"/>
                    <a:gd name="T15" fmla="*/ 2147483647 h 37"/>
                    <a:gd name="T16" fmla="*/ 2147483647 w 56"/>
                    <a:gd name="T17" fmla="*/ 2147483647 h 37"/>
                    <a:gd name="T18" fmla="*/ 2147483647 w 56"/>
                    <a:gd name="T19" fmla="*/ 2147483647 h 37"/>
                    <a:gd name="T20" fmla="*/ 2147483647 w 56"/>
                    <a:gd name="T21" fmla="*/ 2147483647 h 37"/>
                    <a:gd name="T22" fmla="*/ 2147483647 w 56"/>
                    <a:gd name="T23" fmla="*/ 2147483647 h 37"/>
                    <a:gd name="T24" fmla="*/ 2147483647 w 56"/>
                    <a:gd name="T25" fmla="*/ 2147483647 h 37"/>
                    <a:gd name="T26" fmla="*/ 2147483647 w 56"/>
                    <a:gd name="T27" fmla="*/ 2147483647 h 37"/>
                    <a:gd name="T28" fmla="*/ 2147483647 w 56"/>
                    <a:gd name="T29" fmla="*/ 2147483647 h 37"/>
                    <a:gd name="T30" fmla="*/ 2147483647 w 56"/>
                    <a:gd name="T31" fmla="*/ 2147483647 h 37"/>
                    <a:gd name="T32" fmla="*/ 2147483647 w 56"/>
                    <a:gd name="T33" fmla="*/ 2147483647 h 37"/>
                    <a:gd name="T34" fmla="*/ 2147483647 w 56"/>
                    <a:gd name="T35" fmla="*/ 2147483647 h 37"/>
                    <a:gd name="T36" fmla="*/ 2147483647 w 56"/>
                    <a:gd name="T37" fmla="*/ 2147483647 h 37"/>
                    <a:gd name="T38" fmla="*/ 2147483647 w 56"/>
                    <a:gd name="T39" fmla="*/ 2147483647 h 37"/>
                    <a:gd name="T40" fmla="*/ 2147483647 w 56"/>
                    <a:gd name="T41" fmla="*/ 2147483647 h 37"/>
                    <a:gd name="T42" fmla="*/ 2147483647 w 56"/>
                    <a:gd name="T43" fmla="*/ 2147483647 h 37"/>
                    <a:gd name="T44" fmla="*/ 2147483647 w 56"/>
                    <a:gd name="T45" fmla="*/ 2147483647 h 37"/>
                    <a:gd name="T46" fmla="*/ 2147483647 w 56"/>
                    <a:gd name="T47" fmla="*/ 2147483647 h 37"/>
                    <a:gd name="T48" fmla="*/ 2147483647 w 56"/>
                    <a:gd name="T49" fmla="*/ 2147483647 h 37"/>
                    <a:gd name="T50" fmla="*/ 2147483647 w 56"/>
                    <a:gd name="T51" fmla="*/ 2147483647 h 37"/>
                    <a:gd name="T52" fmla="*/ 2147483647 w 56"/>
                    <a:gd name="T53" fmla="*/ 2147483647 h 37"/>
                    <a:gd name="T54" fmla="*/ 2147483647 w 56"/>
                    <a:gd name="T55" fmla="*/ 2147483647 h 37"/>
                    <a:gd name="T56" fmla="*/ 2147483647 w 56"/>
                    <a:gd name="T57" fmla="*/ 2147483647 h 37"/>
                    <a:gd name="T58" fmla="*/ 2147483647 w 56"/>
                    <a:gd name="T59" fmla="*/ 0 h 37"/>
                    <a:gd name="T60" fmla="*/ 2147483647 w 56"/>
                    <a:gd name="T61" fmla="*/ 0 h 37"/>
                    <a:gd name="T62" fmla="*/ 2147483647 w 56"/>
                    <a:gd name="T63" fmla="*/ 2147483647 h 37"/>
                    <a:gd name="T64" fmla="*/ 2147483647 w 56"/>
                    <a:gd name="T65" fmla="*/ 2147483647 h 37"/>
                    <a:gd name="T66" fmla="*/ 2147483647 w 56"/>
                    <a:gd name="T67" fmla="*/ 2147483647 h 37"/>
                    <a:gd name="T68" fmla="*/ 2147483647 w 56"/>
                    <a:gd name="T69" fmla="*/ 2147483647 h 37"/>
                    <a:gd name="T70" fmla="*/ 2147483647 w 56"/>
                    <a:gd name="T71" fmla="*/ 2147483647 h 37"/>
                    <a:gd name="T72" fmla="*/ 2147483647 w 56"/>
                    <a:gd name="T73" fmla="*/ 2147483647 h 37"/>
                    <a:gd name="T74" fmla="*/ 2147483647 w 56"/>
                    <a:gd name="T75" fmla="*/ 2147483647 h 37"/>
                    <a:gd name="T76" fmla="*/ 2147483647 w 56"/>
                    <a:gd name="T77" fmla="*/ 2147483647 h 37"/>
                    <a:gd name="T78" fmla="*/ 0 w 56"/>
                    <a:gd name="T79" fmla="*/ 2147483647 h 37"/>
                    <a:gd name="T80" fmla="*/ 0 w 56"/>
                    <a:gd name="T81" fmla="*/ 2147483647 h 37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6"/>
                    <a:gd name="T124" fmla="*/ 0 h 37"/>
                    <a:gd name="T125" fmla="*/ 56 w 56"/>
                    <a:gd name="T126" fmla="*/ 37 h 37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6" h="37">
                      <a:moveTo>
                        <a:pt x="0" y="31"/>
                      </a:moveTo>
                      <a:lnTo>
                        <a:pt x="0" y="31"/>
                      </a:lnTo>
                      <a:lnTo>
                        <a:pt x="8" y="36"/>
                      </a:lnTo>
                      <a:lnTo>
                        <a:pt x="11" y="37"/>
                      </a:lnTo>
                      <a:lnTo>
                        <a:pt x="15" y="36"/>
                      </a:lnTo>
                      <a:lnTo>
                        <a:pt x="22" y="31"/>
                      </a:lnTo>
                      <a:lnTo>
                        <a:pt x="25" y="29"/>
                      </a:lnTo>
                      <a:lnTo>
                        <a:pt x="29" y="29"/>
                      </a:lnTo>
                      <a:lnTo>
                        <a:pt x="38" y="29"/>
                      </a:lnTo>
                      <a:lnTo>
                        <a:pt x="47" y="29"/>
                      </a:lnTo>
                      <a:lnTo>
                        <a:pt x="51" y="28"/>
                      </a:lnTo>
                      <a:lnTo>
                        <a:pt x="55" y="25"/>
                      </a:lnTo>
                      <a:lnTo>
                        <a:pt x="56" y="22"/>
                      </a:lnTo>
                      <a:lnTo>
                        <a:pt x="55" y="19"/>
                      </a:lnTo>
                      <a:lnTo>
                        <a:pt x="55" y="18"/>
                      </a:lnTo>
                      <a:lnTo>
                        <a:pt x="51" y="16"/>
                      </a:lnTo>
                      <a:lnTo>
                        <a:pt x="48" y="15"/>
                      </a:lnTo>
                      <a:lnTo>
                        <a:pt x="45" y="15"/>
                      </a:lnTo>
                      <a:lnTo>
                        <a:pt x="41" y="15"/>
                      </a:lnTo>
                      <a:lnTo>
                        <a:pt x="39" y="14"/>
                      </a:lnTo>
                      <a:lnTo>
                        <a:pt x="38" y="11"/>
                      </a:lnTo>
                      <a:lnTo>
                        <a:pt x="36" y="5"/>
                      </a:lnTo>
                      <a:lnTo>
                        <a:pt x="31" y="0"/>
                      </a:lnTo>
                      <a:lnTo>
                        <a:pt x="23" y="3"/>
                      </a:lnTo>
                      <a:lnTo>
                        <a:pt x="11" y="4"/>
                      </a:lnTo>
                      <a:lnTo>
                        <a:pt x="14" y="8"/>
                      </a:lnTo>
                      <a:lnTo>
                        <a:pt x="15" y="11"/>
                      </a:lnTo>
                      <a:lnTo>
                        <a:pt x="14" y="15"/>
                      </a:lnTo>
                      <a:lnTo>
                        <a:pt x="11" y="18"/>
                      </a:lnTo>
                      <a:lnTo>
                        <a:pt x="6" y="25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2" name="Freeform 1172">
                  <a:extLst>
                    <a:ext uri="{FF2B5EF4-FFF2-40B4-BE49-F238E27FC236}">
                      <a16:creationId xmlns:a16="http://schemas.microsoft.com/office/drawing/2014/main" id="{EB1270C5-7D27-7F49-A790-B5A8E9F74A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268" y="3344195"/>
                  <a:ext cx="432123" cy="199783"/>
                </a:xfrm>
                <a:custGeom>
                  <a:avLst/>
                  <a:gdLst>
                    <a:gd name="T0" fmla="*/ 2147483647 w 316"/>
                    <a:gd name="T1" fmla="*/ 2147483647 h 135"/>
                    <a:gd name="T2" fmla="*/ 2147483647 w 316"/>
                    <a:gd name="T3" fmla="*/ 2147483647 h 135"/>
                    <a:gd name="T4" fmla="*/ 2147483647 w 316"/>
                    <a:gd name="T5" fmla="*/ 2147483647 h 135"/>
                    <a:gd name="T6" fmla="*/ 2147483647 w 316"/>
                    <a:gd name="T7" fmla="*/ 2147483647 h 135"/>
                    <a:gd name="T8" fmla="*/ 2147483647 w 316"/>
                    <a:gd name="T9" fmla="*/ 2147483647 h 135"/>
                    <a:gd name="T10" fmla="*/ 2147483647 w 316"/>
                    <a:gd name="T11" fmla="*/ 2147483647 h 135"/>
                    <a:gd name="T12" fmla="*/ 2147483647 w 316"/>
                    <a:gd name="T13" fmla="*/ 2147483647 h 135"/>
                    <a:gd name="T14" fmla="*/ 2147483647 w 316"/>
                    <a:gd name="T15" fmla="*/ 2147483647 h 135"/>
                    <a:gd name="T16" fmla="*/ 2147483647 w 316"/>
                    <a:gd name="T17" fmla="*/ 2147483647 h 135"/>
                    <a:gd name="T18" fmla="*/ 2147483647 w 316"/>
                    <a:gd name="T19" fmla="*/ 2147483647 h 135"/>
                    <a:gd name="T20" fmla="*/ 2147483647 w 316"/>
                    <a:gd name="T21" fmla="*/ 2147483647 h 135"/>
                    <a:gd name="T22" fmla="*/ 2147483647 w 316"/>
                    <a:gd name="T23" fmla="*/ 2147483647 h 135"/>
                    <a:gd name="T24" fmla="*/ 2147483647 w 316"/>
                    <a:gd name="T25" fmla="*/ 2147483647 h 135"/>
                    <a:gd name="T26" fmla="*/ 2147483647 w 316"/>
                    <a:gd name="T27" fmla="*/ 2147483647 h 135"/>
                    <a:gd name="T28" fmla="*/ 2147483647 w 316"/>
                    <a:gd name="T29" fmla="*/ 2147483647 h 135"/>
                    <a:gd name="T30" fmla="*/ 2147483647 w 316"/>
                    <a:gd name="T31" fmla="*/ 2147483647 h 135"/>
                    <a:gd name="T32" fmla="*/ 2147483647 w 316"/>
                    <a:gd name="T33" fmla="*/ 2147483647 h 135"/>
                    <a:gd name="T34" fmla="*/ 2147483647 w 316"/>
                    <a:gd name="T35" fmla="*/ 2147483647 h 135"/>
                    <a:gd name="T36" fmla="*/ 2147483647 w 316"/>
                    <a:gd name="T37" fmla="*/ 2147483647 h 135"/>
                    <a:gd name="T38" fmla="*/ 2147483647 w 316"/>
                    <a:gd name="T39" fmla="*/ 2147483647 h 135"/>
                    <a:gd name="T40" fmla="*/ 2147483647 w 316"/>
                    <a:gd name="T41" fmla="*/ 2147483647 h 135"/>
                    <a:gd name="T42" fmla="*/ 2147483647 w 316"/>
                    <a:gd name="T43" fmla="*/ 2147483647 h 135"/>
                    <a:gd name="T44" fmla="*/ 2147483647 w 316"/>
                    <a:gd name="T45" fmla="*/ 2147483647 h 135"/>
                    <a:gd name="T46" fmla="*/ 2147483647 w 316"/>
                    <a:gd name="T47" fmla="*/ 2147483647 h 135"/>
                    <a:gd name="T48" fmla="*/ 2147483647 w 316"/>
                    <a:gd name="T49" fmla="*/ 2147483647 h 135"/>
                    <a:gd name="T50" fmla="*/ 2147483647 w 316"/>
                    <a:gd name="T51" fmla="*/ 2147483647 h 135"/>
                    <a:gd name="T52" fmla="*/ 2147483647 w 316"/>
                    <a:gd name="T53" fmla="*/ 2147483647 h 135"/>
                    <a:gd name="T54" fmla="*/ 2147483647 w 316"/>
                    <a:gd name="T55" fmla="*/ 2147483647 h 135"/>
                    <a:gd name="T56" fmla="*/ 2147483647 w 316"/>
                    <a:gd name="T57" fmla="*/ 2147483647 h 135"/>
                    <a:gd name="T58" fmla="*/ 2147483647 w 316"/>
                    <a:gd name="T59" fmla="*/ 2147483647 h 135"/>
                    <a:gd name="T60" fmla="*/ 2147483647 w 316"/>
                    <a:gd name="T61" fmla="*/ 2147483647 h 135"/>
                    <a:gd name="T62" fmla="*/ 2147483647 w 316"/>
                    <a:gd name="T63" fmla="*/ 2147483647 h 135"/>
                    <a:gd name="T64" fmla="*/ 2147483647 w 316"/>
                    <a:gd name="T65" fmla="*/ 2147483647 h 135"/>
                    <a:gd name="T66" fmla="*/ 2147483647 w 316"/>
                    <a:gd name="T67" fmla="*/ 2147483647 h 135"/>
                    <a:gd name="T68" fmla="*/ 2147483647 w 316"/>
                    <a:gd name="T69" fmla="*/ 2147483647 h 135"/>
                    <a:gd name="T70" fmla="*/ 2147483647 w 316"/>
                    <a:gd name="T71" fmla="*/ 2147483647 h 135"/>
                    <a:gd name="T72" fmla="*/ 2147483647 w 316"/>
                    <a:gd name="T73" fmla="*/ 2147483647 h 135"/>
                    <a:gd name="T74" fmla="*/ 2147483647 w 316"/>
                    <a:gd name="T75" fmla="*/ 2147483647 h 135"/>
                    <a:gd name="T76" fmla="*/ 2147483647 w 316"/>
                    <a:gd name="T77" fmla="*/ 2147483647 h 135"/>
                    <a:gd name="T78" fmla="*/ 2147483647 w 316"/>
                    <a:gd name="T79" fmla="*/ 2147483647 h 135"/>
                    <a:gd name="T80" fmla="*/ 2147483647 w 316"/>
                    <a:gd name="T81" fmla="*/ 2147483647 h 135"/>
                    <a:gd name="T82" fmla="*/ 2147483647 w 316"/>
                    <a:gd name="T83" fmla="*/ 2147483647 h 135"/>
                    <a:gd name="T84" fmla="*/ 2147483647 w 316"/>
                    <a:gd name="T85" fmla="*/ 2147483647 h 135"/>
                    <a:gd name="T86" fmla="*/ 2147483647 w 316"/>
                    <a:gd name="T87" fmla="*/ 2147483647 h 135"/>
                    <a:gd name="T88" fmla="*/ 2147483647 w 316"/>
                    <a:gd name="T89" fmla="*/ 2147483647 h 135"/>
                    <a:gd name="T90" fmla="*/ 2147483647 w 316"/>
                    <a:gd name="T91" fmla="*/ 2147483647 h 135"/>
                    <a:gd name="T92" fmla="*/ 2147483647 w 316"/>
                    <a:gd name="T93" fmla="*/ 2147483647 h 135"/>
                    <a:gd name="T94" fmla="*/ 2147483647 w 316"/>
                    <a:gd name="T95" fmla="*/ 2147483647 h 135"/>
                    <a:gd name="T96" fmla="*/ 2147483647 w 316"/>
                    <a:gd name="T97" fmla="*/ 2147483647 h 135"/>
                    <a:gd name="T98" fmla="*/ 2147483647 w 316"/>
                    <a:gd name="T99" fmla="*/ 2147483647 h 135"/>
                    <a:gd name="T100" fmla="*/ 2147483647 w 316"/>
                    <a:gd name="T101" fmla="*/ 2147483647 h 135"/>
                    <a:gd name="T102" fmla="*/ 2147483647 w 316"/>
                    <a:gd name="T103" fmla="*/ 2147483647 h 135"/>
                    <a:gd name="T104" fmla="*/ 2147483647 w 316"/>
                    <a:gd name="T105" fmla="*/ 2147483647 h 135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16"/>
                    <a:gd name="T160" fmla="*/ 0 h 135"/>
                    <a:gd name="T161" fmla="*/ 316 w 316"/>
                    <a:gd name="T162" fmla="*/ 135 h 135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16" h="135">
                      <a:moveTo>
                        <a:pt x="165" y="135"/>
                      </a:moveTo>
                      <a:lnTo>
                        <a:pt x="165" y="135"/>
                      </a:lnTo>
                      <a:lnTo>
                        <a:pt x="169" y="135"/>
                      </a:lnTo>
                      <a:lnTo>
                        <a:pt x="172" y="134"/>
                      </a:lnTo>
                      <a:lnTo>
                        <a:pt x="175" y="131"/>
                      </a:lnTo>
                      <a:lnTo>
                        <a:pt x="177" y="129"/>
                      </a:lnTo>
                      <a:lnTo>
                        <a:pt x="180" y="122"/>
                      </a:lnTo>
                      <a:lnTo>
                        <a:pt x="180" y="114"/>
                      </a:lnTo>
                      <a:lnTo>
                        <a:pt x="181" y="112"/>
                      </a:lnTo>
                      <a:lnTo>
                        <a:pt x="183" y="110"/>
                      </a:lnTo>
                      <a:lnTo>
                        <a:pt x="184" y="110"/>
                      </a:lnTo>
                      <a:lnTo>
                        <a:pt x="186" y="110"/>
                      </a:lnTo>
                      <a:lnTo>
                        <a:pt x="194" y="114"/>
                      </a:lnTo>
                      <a:lnTo>
                        <a:pt x="199" y="115"/>
                      </a:lnTo>
                      <a:lnTo>
                        <a:pt x="203" y="115"/>
                      </a:lnTo>
                      <a:lnTo>
                        <a:pt x="207" y="114"/>
                      </a:lnTo>
                      <a:lnTo>
                        <a:pt x="210" y="111"/>
                      </a:lnTo>
                      <a:lnTo>
                        <a:pt x="216" y="108"/>
                      </a:lnTo>
                      <a:lnTo>
                        <a:pt x="219" y="108"/>
                      </a:lnTo>
                      <a:lnTo>
                        <a:pt x="223" y="108"/>
                      </a:lnTo>
                      <a:lnTo>
                        <a:pt x="230" y="109"/>
                      </a:lnTo>
                      <a:lnTo>
                        <a:pt x="238" y="109"/>
                      </a:lnTo>
                      <a:lnTo>
                        <a:pt x="245" y="107"/>
                      </a:lnTo>
                      <a:lnTo>
                        <a:pt x="247" y="104"/>
                      </a:lnTo>
                      <a:lnTo>
                        <a:pt x="249" y="103"/>
                      </a:lnTo>
                      <a:lnTo>
                        <a:pt x="254" y="102"/>
                      </a:lnTo>
                      <a:lnTo>
                        <a:pt x="259" y="101"/>
                      </a:lnTo>
                      <a:lnTo>
                        <a:pt x="265" y="96"/>
                      </a:lnTo>
                      <a:lnTo>
                        <a:pt x="269" y="96"/>
                      </a:lnTo>
                      <a:lnTo>
                        <a:pt x="273" y="97"/>
                      </a:lnTo>
                      <a:lnTo>
                        <a:pt x="279" y="103"/>
                      </a:lnTo>
                      <a:lnTo>
                        <a:pt x="285" y="101"/>
                      </a:lnTo>
                      <a:lnTo>
                        <a:pt x="292" y="99"/>
                      </a:lnTo>
                      <a:lnTo>
                        <a:pt x="303" y="102"/>
                      </a:lnTo>
                      <a:lnTo>
                        <a:pt x="313" y="102"/>
                      </a:lnTo>
                      <a:lnTo>
                        <a:pt x="310" y="94"/>
                      </a:lnTo>
                      <a:lnTo>
                        <a:pt x="308" y="84"/>
                      </a:lnTo>
                      <a:lnTo>
                        <a:pt x="307" y="75"/>
                      </a:lnTo>
                      <a:lnTo>
                        <a:pt x="307" y="65"/>
                      </a:lnTo>
                      <a:lnTo>
                        <a:pt x="308" y="62"/>
                      </a:lnTo>
                      <a:lnTo>
                        <a:pt x="310" y="60"/>
                      </a:lnTo>
                      <a:lnTo>
                        <a:pt x="312" y="58"/>
                      </a:lnTo>
                      <a:lnTo>
                        <a:pt x="315" y="58"/>
                      </a:lnTo>
                      <a:lnTo>
                        <a:pt x="316" y="54"/>
                      </a:lnTo>
                      <a:lnTo>
                        <a:pt x="316" y="52"/>
                      </a:lnTo>
                      <a:lnTo>
                        <a:pt x="312" y="45"/>
                      </a:lnTo>
                      <a:lnTo>
                        <a:pt x="308" y="39"/>
                      </a:lnTo>
                      <a:lnTo>
                        <a:pt x="302" y="24"/>
                      </a:lnTo>
                      <a:lnTo>
                        <a:pt x="299" y="19"/>
                      </a:lnTo>
                      <a:lnTo>
                        <a:pt x="297" y="15"/>
                      </a:lnTo>
                      <a:lnTo>
                        <a:pt x="292" y="14"/>
                      </a:lnTo>
                      <a:lnTo>
                        <a:pt x="288" y="12"/>
                      </a:lnTo>
                      <a:lnTo>
                        <a:pt x="277" y="12"/>
                      </a:lnTo>
                      <a:lnTo>
                        <a:pt x="266" y="12"/>
                      </a:lnTo>
                      <a:lnTo>
                        <a:pt x="260" y="18"/>
                      </a:lnTo>
                      <a:lnTo>
                        <a:pt x="254" y="24"/>
                      </a:lnTo>
                      <a:lnTo>
                        <a:pt x="250" y="25"/>
                      </a:lnTo>
                      <a:lnTo>
                        <a:pt x="245" y="26"/>
                      </a:lnTo>
                      <a:lnTo>
                        <a:pt x="241" y="26"/>
                      </a:lnTo>
                      <a:lnTo>
                        <a:pt x="237" y="25"/>
                      </a:lnTo>
                      <a:lnTo>
                        <a:pt x="232" y="24"/>
                      </a:lnTo>
                      <a:lnTo>
                        <a:pt x="228" y="22"/>
                      </a:lnTo>
                      <a:lnTo>
                        <a:pt x="221" y="20"/>
                      </a:lnTo>
                      <a:lnTo>
                        <a:pt x="217" y="20"/>
                      </a:lnTo>
                      <a:lnTo>
                        <a:pt x="213" y="20"/>
                      </a:lnTo>
                      <a:lnTo>
                        <a:pt x="207" y="21"/>
                      </a:lnTo>
                      <a:lnTo>
                        <a:pt x="200" y="21"/>
                      </a:lnTo>
                      <a:lnTo>
                        <a:pt x="195" y="21"/>
                      </a:lnTo>
                      <a:lnTo>
                        <a:pt x="189" y="19"/>
                      </a:lnTo>
                      <a:lnTo>
                        <a:pt x="185" y="19"/>
                      </a:lnTo>
                      <a:lnTo>
                        <a:pt x="181" y="19"/>
                      </a:lnTo>
                      <a:lnTo>
                        <a:pt x="175" y="14"/>
                      </a:lnTo>
                      <a:lnTo>
                        <a:pt x="171" y="12"/>
                      </a:lnTo>
                      <a:lnTo>
                        <a:pt x="167" y="9"/>
                      </a:lnTo>
                      <a:lnTo>
                        <a:pt x="163" y="9"/>
                      </a:lnTo>
                      <a:lnTo>
                        <a:pt x="161" y="11"/>
                      </a:lnTo>
                      <a:lnTo>
                        <a:pt x="157" y="11"/>
                      </a:lnTo>
                      <a:lnTo>
                        <a:pt x="155" y="9"/>
                      </a:lnTo>
                      <a:lnTo>
                        <a:pt x="152" y="6"/>
                      </a:lnTo>
                      <a:lnTo>
                        <a:pt x="151" y="3"/>
                      </a:lnTo>
                      <a:lnTo>
                        <a:pt x="150" y="2"/>
                      </a:lnTo>
                      <a:lnTo>
                        <a:pt x="146" y="2"/>
                      </a:lnTo>
                      <a:lnTo>
                        <a:pt x="141" y="2"/>
                      </a:lnTo>
                      <a:lnTo>
                        <a:pt x="136" y="3"/>
                      </a:lnTo>
                      <a:lnTo>
                        <a:pt x="129" y="3"/>
                      </a:lnTo>
                      <a:lnTo>
                        <a:pt x="125" y="2"/>
                      </a:lnTo>
                      <a:lnTo>
                        <a:pt x="118" y="0"/>
                      </a:lnTo>
                      <a:lnTo>
                        <a:pt x="114" y="0"/>
                      </a:lnTo>
                      <a:lnTo>
                        <a:pt x="111" y="1"/>
                      </a:lnTo>
                      <a:lnTo>
                        <a:pt x="103" y="7"/>
                      </a:lnTo>
                      <a:lnTo>
                        <a:pt x="99" y="11"/>
                      </a:lnTo>
                      <a:lnTo>
                        <a:pt x="95" y="15"/>
                      </a:lnTo>
                      <a:lnTo>
                        <a:pt x="91" y="18"/>
                      </a:lnTo>
                      <a:lnTo>
                        <a:pt x="87" y="20"/>
                      </a:lnTo>
                      <a:lnTo>
                        <a:pt x="83" y="20"/>
                      </a:lnTo>
                      <a:lnTo>
                        <a:pt x="78" y="20"/>
                      </a:lnTo>
                      <a:lnTo>
                        <a:pt x="70" y="20"/>
                      </a:lnTo>
                      <a:lnTo>
                        <a:pt x="64" y="21"/>
                      </a:lnTo>
                      <a:lnTo>
                        <a:pt x="61" y="22"/>
                      </a:lnTo>
                      <a:lnTo>
                        <a:pt x="58" y="24"/>
                      </a:lnTo>
                      <a:lnTo>
                        <a:pt x="56" y="27"/>
                      </a:lnTo>
                      <a:lnTo>
                        <a:pt x="54" y="29"/>
                      </a:lnTo>
                      <a:lnTo>
                        <a:pt x="52" y="32"/>
                      </a:lnTo>
                      <a:lnTo>
                        <a:pt x="40" y="39"/>
                      </a:lnTo>
                      <a:lnTo>
                        <a:pt x="38" y="39"/>
                      </a:lnTo>
                      <a:lnTo>
                        <a:pt x="35" y="39"/>
                      </a:lnTo>
                      <a:lnTo>
                        <a:pt x="30" y="39"/>
                      </a:lnTo>
                      <a:lnTo>
                        <a:pt x="25" y="39"/>
                      </a:lnTo>
                      <a:lnTo>
                        <a:pt x="20" y="39"/>
                      </a:lnTo>
                      <a:lnTo>
                        <a:pt x="15" y="39"/>
                      </a:lnTo>
                      <a:lnTo>
                        <a:pt x="9" y="41"/>
                      </a:lnTo>
                      <a:lnTo>
                        <a:pt x="6" y="40"/>
                      </a:lnTo>
                      <a:lnTo>
                        <a:pt x="3" y="40"/>
                      </a:lnTo>
                      <a:lnTo>
                        <a:pt x="2" y="44"/>
                      </a:lnTo>
                      <a:lnTo>
                        <a:pt x="1" y="47"/>
                      </a:lnTo>
                      <a:lnTo>
                        <a:pt x="0" y="52"/>
                      </a:lnTo>
                      <a:lnTo>
                        <a:pt x="1" y="56"/>
                      </a:lnTo>
                      <a:lnTo>
                        <a:pt x="3" y="57"/>
                      </a:lnTo>
                      <a:lnTo>
                        <a:pt x="6" y="58"/>
                      </a:lnTo>
                      <a:lnTo>
                        <a:pt x="7" y="59"/>
                      </a:lnTo>
                      <a:lnTo>
                        <a:pt x="9" y="60"/>
                      </a:lnTo>
                      <a:lnTo>
                        <a:pt x="10" y="64"/>
                      </a:lnTo>
                      <a:lnTo>
                        <a:pt x="10" y="69"/>
                      </a:lnTo>
                      <a:lnTo>
                        <a:pt x="12" y="72"/>
                      </a:lnTo>
                      <a:lnTo>
                        <a:pt x="15" y="76"/>
                      </a:lnTo>
                      <a:lnTo>
                        <a:pt x="15" y="77"/>
                      </a:lnTo>
                      <a:lnTo>
                        <a:pt x="14" y="79"/>
                      </a:lnTo>
                      <a:lnTo>
                        <a:pt x="11" y="82"/>
                      </a:lnTo>
                      <a:lnTo>
                        <a:pt x="10" y="82"/>
                      </a:lnTo>
                      <a:lnTo>
                        <a:pt x="7" y="79"/>
                      </a:lnTo>
                      <a:lnTo>
                        <a:pt x="5" y="77"/>
                      </a:lnTo>
                      <a:lnTo>
                        <a:pt x="3" y="77"/>
                      </a:lnTo>
                      <a:lnTo>
                        <a:pt x="3" y="78"/>
                      </a:lnTo>
                      <a:lnTo>
                        <a:pt x="3" y="82"/>
                      </a:lnTo>
                      <a:lnTo>
                        <a:pt x="6" y="85"/>
                      </a:lnTo>
                      <a:lnTo>
                        <a:pt x="9" y="92"/>
                      </a:lnTo>
                      <a:lnTo>
                        <a:pt x="10" y="94"/>
                      </a:lnTo>
                      <a:lnTo>
                        <a:pt x="11" y="95"/>
                      </a:lnTo>
                      <a:lnTo>
                        <a:pt x="14" y="95"/>
                      </a:lnTo>
                      <a:lnTo>
                        <a:pt x="19" y="95"/>
                      </a:lnTo>
                      <a:lnTo>
                        <a:pt x="21" y="96"/>
                      </a:lnTo>
                      <a:lnTo>
                        <a:pt x="23" y="97"/>
                      </a:lnTo>
                      <a:lnTo>
                        <a:pt x="21" y="97"/>
                      </a:lnTo>
                      <a:lnTo>
                        <a:pt x="20" y="98"/>
                      </a:lnTo>
                      <a:lnTo>
                        <a:pt x="17" y="99"/>
                      </a:lnTo>
                      <a:lnTo>
                        <a:pt x="17" y="102"/>
                      </a:lnTo>
                      <a:lnTo>
                        <a:pt x="17" y="104"/>
                      </a:lnTo>
                      <a:lnTo>
                        <a:pt x="17" y="105"/>
                      </a:lnTo>
                      <a:lnTo>
                        <a:pt x="20" y="107"/>
                      </a:lnTo>
                      <a:lnTo>
                        <a:pt x="24" y="107"/>
                      </a:lnTo>
                      <a:lnTo>
                        <a:pt x="29" y="107"/>
                      </a:lnTo>
                      <a:lnTo>
                        <a:pt x="30" y="107"/>
                      </a:lnTo>
                      <a:lnTo>
                        <a:pt x="30" y="108"/>
                      </a:lnTo>
                      <a:lnTo>
                        <a:pt x="25" y="112"/>
                      </a:lnTo>
                      <a:lnTo>
                        <a:pt x="24" y="114"/>
                      </a:lnTo>
                      <a:lnTo>
                        <a:pt x="24" y="116"/>
                      </a:lnTo>
                      <a:lnTo>
                        <a:pt x="25" y="118"/>
                      </a:lnTo>
                      <a:lnTo>
                        <a:pt x="28" y="118"/>
                      </a:lnTo>
                      <a:lnTo>
                        <a:pt x="31" y="118"/>
                      </a:lnTo>
                      <a:lnTo>
                        <a:pt x="37" y="117"/>
                      </a:lnTo>
                      <a:lnTo>
                        <a:pt x="42" y="116"/>
                      </a:lnTo>
                      <a:lnTo>
                        <a:pt x="44" y="116"/>
                      </a:lnTo>
                      <a:lnTo>
                        <a:pt x="47" y="117"/>
                      </a:lnTo>
                      <a:lnTo>
                        <a:pt x="50" y="122"/>
                      </a:lnTo>
                      <a:lnTo>
                        <a:pt x="53" y="124"/>
                      </a:lnTo>
                      <a:lnTo>
                        <a:pt x="56" y="126"/>
                      </a:lnTo>
                      <a:lnTo>
                        <a:pt x="70" y="130"/>
                      </a:lnTo>
                      <a:lnTo>
                        <a:pt x="71" y="131"/>
                      </a:lnTo>
                      <a:lnTo>
                        <a:pt x="73" y="131"/>
                      </a:lnTo>
                      <a:lnTo>
                        <a:pt x="73" y="128"/>
                      </a:lnTo>
                      <a:lnTo>
                        <a:pt x="75" y="124"/>
                      </a:lnTo>
                      <a:lnTo>
                        <a:pt x="75" y="121"/>
                      </a:lnTo>
                      <a:lnTo>
                        <a:pt x="77" y="117"/>
                      </a:lnTo>
                      <a:lnTo>
                        <a:pt x="81" y="116"/>
                      </a:lnTo>
                      <a:lnTo>
                        <a:pt x="85" y="116"/>
                      </a:lnTo>
                      <a:lnTo>
                        <a:pt x="89" y="117"/>
                      </a:lnTo>
                      <a:lnTo>
                        <a:pt x="96" y="121"/>
                      </a:lnTo>
                      <a:lnTo>
                        <a:pt x="103" y="126"/>
                      </a:lnTo>
                      <a:lnTo>
                        <a:pt x="110" y="129"/>
                      </a:lnTo>
                      <a:lnTo>
                        <a:pt x="114" y="130"/>
                      </a:lnTo>
                      <a:lnTo>
                        <a:pt x="118" y="130"/>
                      </a:lnTo>
                      <a:lnTo>
                        <a:pt x="127" y="130"/>
                      </a:lnTo>
                      <a:lnTo>
                        <a:pt x="130" y="129"/>
                      </a:lnTo>
                      <a:lnTo>
                        <a:pt x="134" y="128"/>
                      </a:lnTo>
                      <a:lnTo>
                        <a:pt x="137" y="123"/>
                      </a:lnTo>
                      <a:lnTo>
                        <a:pt x="138" y="121"/>
                      </a:lnTo>
                      <a:lnTo>
                        <a:pt x="139" y="120"/>
                      </a:lnTo>
                      <a:lnTo>
                        <a:pt x="143" y="118"/>
                      </a:lnTo>
                      <a:lnTo>
                        <a:pt x="147" y="120"/>
                      </a:lnTo>
                      <a:lnTo>
                        <a:pt x="150" y="121"/>
                      </a:lnTo>
                      <a:lnTo>
                        <a:pt x="153" y="121"/>
                      </a:lnTo>
                      <a:lnTo>
                        <a:pt x="158" y="120"/>
                      </a:lnTo>
                      <a:lnTo>
                        <a:pt x="165" y="115"/>
                      </a:lnTo>
                      <a:lnTo>
                        <a:pt x="169" y="114"/>
                      </a:lnTo>
                      <a:lnTo>
                        <a:pt x="171" y="114"/>
                      </a:lnTo>
                      <a:lnTo>
                        <a:pt x="172" y="115"/>
                      </a:lnTo>
                      <a:lnTo>
                        <a:pt x="171" y="117"/>
                      </a:lnTo>
                      <a:lnTo>
                        <a:pt x="169" y="120"/>
                      </a:lnTo>
                      <a:lnTo>
                        <a:pt x="166" y="121"/>
                      </a:lnTo>
                      <a:lnTo>
                        <a:pt x="163" y="124"/>
                      </a:lnTo>
                      <a:lnTo>
                        <a:pt x="165" y="130"/>
                      </a:lnTo>
                      <a:lnTo>
                        <a:pt x="165" y="13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3" name="Freeform 1173">
                  <a:extLst>
                    <a:ext uri="{FF2B5EF4-FFF2-40B4-BE49-F238E27FC236}">
                      <a16:creationId xmlns:a16="http://schemas.microsoft.com/office/drawing/2014/main" id="{0ABF45A3-4A11-D94B-B6C1-1B35CF75D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8441" y="3437425"/>
                  <a:ext cx="5919" cy="10359"/>
                </a:xfrm>
                <a:custGeom>
                  <a:avLst/>
                  <a:gdLst>
                    <a:gd name="T0" fmla="*/ 2147483647 w 4"/>
                    <a:gd name="T1" fmla="*/ 2147483647 h 7"/>
                    <a:gd name="T2" fmla="*/ 2147483647 w 4"/>
                    <a:gd name="T3" fmla="*/ 2147483647 h 7"/>
                    <a:gd name="T4" fmla="*/ 2147483647 w 4"/>
                    <a:gd name="T5" fmla="*/ 2147483647 h 7"/>
                    <a:gd name="T6" fmla="*/ 2147483647 w 4"/>
                    <a:gd name="T7" fmla="*/ 2147483647 h 7"/>
                    <a:gd name="T8" fmla="*/ 0 w 4"/>
                    <a:gd name="T9" fmla="*/ 2147483647 h 7"/>
                    <a:gd name="T10" fmla="*/ 2147483647 w 4"/>
                    <a:gd name="T11" fmla="*/ 0 h 7"/>
                    <a:gd name="T12" fmla="*/ 2147483647 w 4"/>
                    <a:gd name="T13" fmla="*/ 0 h 7"/>
                    <a:gd name="T14" fmla="*/ 2147483647 w 4"/>
                    <a:gd name="T15" fmla="*/ 2147483647 h 7"/>
                    <a:gd name="T16" fmla="*/ 2147483647 w 4"/>
                    <a:gd name="T17" fmla="*/ 2147483647 h 7"/>
                    <a:gd name="T18" fmla="*/ 2147483647 w 4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"/>
                    <a:gd name="T31" fmla="*/ 0 h 7"/>
                    <a:gd name="T32" fmla="*/ 4 w 4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" h="7">
                      <a:moveTo>
                        <a:pt x="4" y="4"/>
                      </a:move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4" y="3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4" name="Freeform 1174">
                  <a:extLst>
                    <a:ext uri="{FF2B5EF4-FFF2-40B4-BE49-F238E27FC236}">
                      <a16:creationId xmlns:a16="http://schemas.microsoft.com/office/drawing/2014/main" id="{AE299DD7-6791-5547-A6A2-64066674C6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7678" y="3469981"/>
                  <a:ext cx="13319" cy="10359"/>
                </a:xfrm>
                <a:custGeom>
                  <a:avLst/>
                  <a:gdLst>
                    <a:gd name="T0" fmla="*/ 2147483647 w 10"/>
                    <a:gd name="T1" fmla="*/ 2147483647 h 7"/>
                    <a:gd name="T2" fmla="*/ 2147483647 w 10"/>
                    <a:gd name="T3" fmla="*/ 2147483647 h 7"/>
                    <a:gd name="T4" fmla="*/ 2147483647 w 10"/>
                    <a:gd name="T5" fmla="*/ 2147483647 h 7"/>
                    <a:gd name="T6" fmla="*/ 2147483647 w 10"/>
                    <a:gd name="T7" fmla="*/ 2147483647 h 7"/>
                    <a:gd name="T8" fmla="*/ 2147483647 w 10"/>
                    <a:gd name="T9" fmla="*/ 2147483647 h 7"/>
                    <a:gd name="T10" fmla="*/ 2147483647 w 10"/>
                    <a:gd name="T11" fmla="*/ 2147483647 h 7"/>
                    <a:gd name="T12" fmla="*/ 2147483647 w 10"/>
                    <a:gd name="T13" fmla="*/ 2147483647 h 7"/>
                    <a:gd name="T14" fmla="*/ 0 w 10"/>
                    <a:gd name="T15" fmla="*/ 2147483647 h 7"/>
                    <a:gd name="T16" fmla="*/ 2147483647 w 10"/>
                    <a:gd name="T17" fmla="*/ 2147483647 h 7"/>
                    <a:gd name="T18" fmla="*/ 2147483647 w 10"/>
                    <a:gd name="T19" fmla="*/ 0 h 7"/>
                    <a:gd name="T20" fmla="*/ 2147483647 w 10"/>
                    <a:gd name="T21" fmla="*/ 2147483647 h 7"/>
                    <a:gd name="T22" fmla="*/ 2147483647 w 10"/>
                    <a:gd name="T23" fmla="*/ 2147483647 h 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"/>
                    <a:gd name="T37" fmla="*/ 0 h 7"/>
                    <a:gd name="T38" fmla="*/ 10 w 10"/>
                    <a:gd name="T39" fmla="*/ 7 h 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" h="7">
                      <a:moveTo>
                        <a:pt x="10" y="4"/>
                      </a:move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6" y="7"/>
                      </a:lnTo>
                      <a:lnTo>
                        <a:pt x="2" y="7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1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5" name="Freeform 1175">
                  <a:extLst>
                    <a:ext uri="{FF2B5EF4-FFF2-40B4-BE49-F238E27FC236}">
                      <a16:creationId xmlns:a16="http://schemas.microsoft.com/office/drawing/2014/main" id="{5F891171-9020-0F40-B0C5-0EC99CCF21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6962" y="3435944"/>
                  <a:ext cx="4440" cy="10360"/>
                </a:xfrm>
                <a:custGeom>
                  <a:avLst/>
                  <a:gdLst>
                    <a:gd name="T0" fmla="*/ 2147483647 w 3"/>
                    <a:gd name="T1" fmla="*/ 2147483647 h 7"/>
                    <a:gd name="T2" fmla="*/ 2147483647 w 3"/>
                    <a:gd name="T3" fmla="*/ 2147483647 h 7"/>
                    <a:gd name="T4" fmla="*/ 2147483647 w 3"/>
                    <a:gd name="T5" fmla="*/ 2147483647 h 7"/>
                    <a:gd name="T6" fmla="*/ 2147483647 w 3"/>
                    <a:gd name="T7" fmla="*/ 2147483647 h 7"/>
                    <a:gd name="T8" fmla="*/ 2147483647 w 3"/>
                    <a:gd name="T9" fmla="*/ 2147483647 h 7"/>
                    <a:gd name="T10" fmla="*/ 2147483647 w 3"/>
                    <a:gd name="T11" fmla="*/ 2147483647 h 7"/>
                    <a:gd name="T12" fmla="*/ 0 w 3"/>
                    <a:gd name="T13" fmla="*/ 2147483647 h 7"/>
                    <a:gd name="T14" fmla="*/ 2147483647 w 3"/>
                    <a:gd name="T15" fmla="*/ 0 h 7"/>
                    <a:gd name="T16" fmla="*/ 2147483647 w 3"/>
                    <a:gd name="T17" fmla="*/ 0 h 7"/>
                    <a:gd name="T18" fmla="*/ 2147483647 w 3"/>
                    <a:gd name="T19" fmla="*/ 0 h 7"/>
                    <a:gd name="T20" fmla="*/ 2147483647 w 3"/>
                    <a:gd name="T21" fmla="*/ 2147483647 h 7"/>
                    <a:gd name="T22" fmla="*/ 2147483647 w 3"/>
                    <a:gd name="T23" fmla="*/ 2147483647 h 7"/>
                    <a:gd name="T24" fmla="*/ 2147483647 w 3"/>
                    <a:gd name="T25" fmla="*/ 2147483647 h 7"/>
                    <a:gd name="T26" fmla="*/ 2147483647 w 3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"/>
                    <a:gd name="T43" fmla="*/ 0 h 7"/>
                    <a:gd name="T44" fmla="*/ 3 w 3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" h="7">
                      <a:moveTo>
                        <a:pt x="3" y="4"/>
                      </a:moveTo>
                      <a:lnTo>
                        <a:pt x="3" y="4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6" name="Freeform 1176">
                  <a:extLst>
                    <a:ext uri="{FF2B5EF4-FFF2-40B4-BE49-F238E27FC236}">
                      <a16:creationId xmlns:a16="http://schemas.microsoft.com/office/drawing/2014/main" id="{B3376F76-C91F-E340-9B06-2C662DB12C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6203" y="3468501"/>
                  <a:ext cx="13318" cy="10360"/>
                </a:xfrm>
                <a:custGeom>
                  <a:avLst/>
                  <a:gdLst>
                    <a:gd name="T0" fmla="*/ 2147483647 w 10"/>
                    <a:gd name="T1" fmla="*/ 2147483647 h 7"/>
                    <a:gd name="T2" fmla="*/ 2147483647 w 10"/>
                    <a:gd name="T3" fmla="*/ 2147483647 h 7"/>
                    <a:gd name="T4" fmla="*/ 2147483647 w 10"/>
                    <a:gd name="T5" fmla="*/ 2147483647 h 7"/>
                    <a:gd name="T6" fmla="*/ 2147483647 w 10"/>
                    <a:gd name="T7" fmla="*/ 2147483647 h 7"/>
                    <a:gd name="T8" fmla="*/ 2147483647 w 10"/>
                    <a:gd name="T9" fmla="*/ 2147483647 h 7"/>
                    <a:gd name="T10" fmla="*/ 2147483647 w 10"/>
                    <a:gd name="T11" fmla="*/ 2147483647 h 7"/>
                    <a:gd name="T12" fmla="*/ 2147483647 w 10"/>
                    <a:gd name="T13" fmla="*/ 2147483647 h 7"/>
                    <a:gd name="T14" fmla="*/ 2147483647 w 10"/>
                    <a:gd name="T15" fmla="*/ 2147483647 h 7"/>
                    <a:gd name="T16" fmla="*/ 2147483647 w 10"/>
                    <a:gd name="T17" fmla="*/ 2147483647 h 7"/>
                    <a:gd name="T18" fmla="*/ 0 w 10"/>
                    <a:gd name="T19" fmla="*/ 2147483647 h 7"/>
                    <a:gd name="T20" fmla="*/ 0 w 10"/>
                    <a:gd name="T21" fmla="*/ 2147483647 h 7"/>
                    <a:gd name="T22" fmla="*/ 2147483647 w 10"/>
                    <a:gd name="T23" fmla="*/ 2147483647 h 7"/>
                    <a:gd name="T24" fmla="*/ 2147483647 w 10"/>
                    <a:gd name="T25" fmla="*/ 0 h 7"/>
                    <a:gd name="T26" fmla="*/ 2147483647 w 10"/>
                    <a:gd name="T27" fmla="*/ 2147483647 h 7"/>
                    <a:gd name="T28" fmla="*/ 2147483647 w 10"/>
                    <a:gd name="T29" fmla="*/ 2147483647 h 7"/>
                    <a:gd name="T30" fmla="*/ 2147483647 w 10"/>
                    <a:gd name="T31" fmla="*/ 2147483647 h 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0"/>
                    <a:gd name="T49" fmla="*/ 0 h 7"/>
                    <a:gd name="T50" fmla="*/ 10 w 10"/>
                    <a:gd name="T51" fmla="*/ 7 h 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0" h="7"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8" y="7"/>
                      </a:lnTo>
                      <a:lnTo>
                        <a:pt x="6" y="7"/>
                      </a:lnTo>
                      <a:lnTo>
                        <a:pt x="2" y="7"/>
                      </a:lnTo>
                      <a:lnTo>
                        <a:pt x="1" y="5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7" y="1"/>
                      </a:lnTo>
                      <a:lnTo>
                        <a:pt x="10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7" name="Freeform 1177">
                  <a:extLst>
                    <a:ext uri="{FF2B5EF4-FFF2-40B4-BE49-F238E27FC236}">
                      <a16:creationId xmlns:a16="http://schemas.microsoft.com/office/drawing/2014/main" id="{93CD0412-2756-A44D-8C29-65DD220565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4947" y="3465545"/>
                  <a:ext cx="7400" cy="14799"/>
                </a:xfrm>
                <a:custGeom>
                  <a:avLst/>
                  <a:gdLst>
                    <a:gd name="T0" fmla="*/ 2147483647 w 6"/>
                    <a:gd name="T1" fmla="*/ 2147483647 h 10"/>
                    <a:gd name="T2" fmla="*/ 2147483647 w 6"/>
                    <a:gd name="T3" fmla="*/ 2147483647 h 10"/>
                    <a:gd name="T4" fmla="*/ 2147483647 w 6"/>
                    <a:gd name="T5" fmla="*/ 2147483647 h 10"/>
                    <a:gd name="T6" fmla="*/ 2147483647 w 6"/>
                    <a:gd name="T7" fmla="*/ 2147483647 h 10"/>
                    <a:gd name="T8" fmla="*/ 2147483647 w 6"/>
                    <a:gd name="T9" fmla="*/ 2147483647 h 10"/>
                    <a:gd name="T10" fmla="*/ 0 w 6"/>
                    <a:gd name="T11" fmla="*/ 2147483647 h 10"/>
                    <a:gd name="T12" fmla="*/ 0 w 6"/>
                    <a:gd name="T13" fmla="*/ 2147483647 h 10"/>
                    <a:gd name="T14" fmla="*/ 2147483647 w 6"/>
                    <a:gd name="T15" fmla="*/ 2147483647 h 10"/>
                    <a:gd name="T16" fmla="*/ 2147483647 w 6"/>
                    <a:gd name="T17" fmla="*/ 0 h 10"/>
                    <a:gd name="T18" fmla="*/ 2147483647 w 6"/>
                    <a:gd name="T19" fmla="*/ 2147483647 h 10"/>
                    <a:gd name="T20" fmla="*/ 2147483647 w 6"/>
                    <a:gd name="T21" fmla="*/ 2147483647 h 1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10"/>
                    <a:gd name="T35" fmla="*/ 6 w 6"/>
                    <a:gd name="T36" fmla="*/ 10 h 1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10">
                      <a:moveTo>
                        <a:pt x="6" y="6"/>
                      </a:moveTo>
                      <a:lnTo>
                        <a:pt x="6" y="8"/>
                      </a:lnTo>
                      <a:lnTo>
                        <a:pt x="5" y="10"/>
                      </a:lnTo>
                      <a:lnTo>
                        <a:pt x="3" y="10"/>
                      </a:lnTo>
                      <a:lnTo>
                        <a:pt x="1" y="9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8" name="Freeform 1178">
                  <a:extLst>
                    <a:ext uri="{FF2B5EF4-FFF2-40B4-BE49-F238E27FC236}">
                      <a16:creationId xmlns:a16="http://schemas.microsoft.com/office/drawing/2014/main" id="{4FE358D6-878E-E04B-A910-45F311FEE8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1589" y="3514381"/>
                  <a:ext cx="10360" cy="7399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2147483647 w 7"/>
                    <a:gd name="T3" fmla="*/ 2147483647 h 5"/>
                    <a:gd name="T4" fmla="*/ 2147483647 w 7"/>
                    <a:gd name="T5" fmla="*/ 2147483647 h 5"/>
                    <a:gd name="T6" fmla="*/ 0 w 7"/>
                    <a:gd name="T7" fmla="*/ 2147483647 h 5"/>
                    <a:gd name="T8" fmla="*/ 0 w 7"/>
                    <a:gd name="T9" fmla="*/ 2147483647 h 5"/>
                    <a:gd name="T10" fmla="*/ 2147483647 w 7"/>
                    <a:gd name="T11" fmla="*/ 2147483647 h 5"/>
                    <a:gd name="T12" fmla="*/ 2147483647 w 7"/>
                    <a:gd name="T13" fmla="*/ 2147483647 h 5"/>
                    <a:gd name="T14" fmla="*/ 2147483647 w 7"/>
                    <a:gd name="T15" fmla="*/ 0 h 5"/>
                    <a:gd name="T16" fmla="*/ 2147483647 w 7"/>
                    <a:gd name="T17" fmla="*/ 2147483647 h 5"/>
                    <a:gd name="T18" fmla="*/ 2147483647 w 7"/>
                    <a:gd name="T19" fmla="*/ 2147483647 h 5"/>
                    <a:gd name="T20" fmla="*/ 2147483647 w 7"/>
                    <a:gd name="T21" fmla="*/ 2147483647 h 5"/>
                    <a:gd name="T22" fmla="*/ 2147483647 w 7"/>
                    <a:gd name="T23" fmla="*/ 2147483647 h 5"/>
                    <a:gd name="T24" fmla="*/ 2147483647 w 7"/>
                    <a:gd name="T25" fmla="*/ 2147483647 h 5"/>
                    <a:gd name="T26" fmla="*/ 2147483647 w 7"/>
                    <a:gd name="T27" fmla="*/ 2147483647 h 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"/>
                    <a:gd name="T43" fmla="*/ 0 h 5"/>
                    <a:gd name="T44" fmla="*/ 7 w 7"/>
                    <a:gd name="T45" fmla="*/ 5 h 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" h="5">
                      <a:moveTo>
                        <a:pt x="4" y="3"/>
                      </a:move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6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9" name="Freeform 1179">
                  <a:extLst>
                    <a:ext uri="{FF2B5EF4-FFF2-40B4-BE49-F238E27FC236}">
                      <a16:creationId xmlns:a16="http://schemas.microsoft.com/office/drawing/2014/main" id="{AC8E424C-D0F3-E941-ACE0-BD0C6EEBC8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1989" y="3462585"/>
                  <a:ext cx="8879" cy="16279"/>
                </a:xfrm>
                <a:custGeom>
                  <a:avLst/>
                  <a:gdLst>
                    <a:gd name="T0" fmla="*/ 2147483647 w 7"/>
                    <a:gd name="T1" fmla="*/ 2147483647 h 11"/>
                    <a:gd name="T2" fmla="*/ 2147483647 w 7"/>
                    <a:gd name="T3" fmla="*/ 2147483647 h 11"/>
                    <a:gd name="T4" fmla="*/ 2147483647 w 7"/>
                    <a:gd name="T5" fmla="*/ 2147483647 h 11"/>
                    <a:gd name="T6" fmla="*/ 2147483647 w 7"/>
                    <a:gd name="T7" fmla="*/ 2147483647 h 11"/>
                    <a:gd name="T8" fmla="*/ 2147483647 w 7"/>
                    <a:gd name="T9" fmla="*/ 2147483647 h 11"/>
                    <a:gd name="T10" fmla="*/ 2147483647 w 7"/>
                    <a:gd name="T11" fmla="*/ 2147483647 h 11"/>
                    <a:gd name="T12" fmla="*/ 2147483647 w 7"/>
                    <a:gd name="T13" fmla="*/ 2147483647 h 11"/>
                    <a:gd name="T14" fmla="*/ 0 w 7"/>
                    <a:gd name="T15" fmla="*/ 2147483647 h 11"/>
                    <a:gd name="T16" fmla="*/ 0 w 7"/>
                    <a:gd name="T17" fmla="*/ 2147483647 h 11"/>
                    <a:gd name="T18" fmla="*/ 2147483647 w 7"/>
                    <a:gd name="T19" fmla="*/ 2147483647 h 11"/>
                    <a:gd name="T20" fmla="*/ 2147483647 w 7"/>
                    <a:gd name="T21" fmla="*/ 2147483647 h 11"/>
                    <a:gd name="T22" fmla="*/ 2147483647 w 7"/>
                    <a:gd name="T23" fmla="*/ 0 h 11"/>
                    <a:gd name="T24" fmla="*/ 2147483647 w 7"/>
                    <a:gd name="T25" fmla="*/ 2147483647 h 11"/>
                    <a:gd name="T26" fmla="*/ 2147483647 w 7"/>
                    <a:gd name="T27" fmla="*/ 2147483647 h 11"/>
                    <a:gd name="T28" fmla="*/ 2147483647 w 7"/>
                    <a:gd name="T29" fmla="*/ 2147483647 h 1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"/>
                    <a:gd name="T46" fmla="*/ 0 h 11"/>
                    <a:gd name="T47" fmla="*/ 7 w 7"/>
                    <a:gd name="T48" fmla="*/ 11 h 1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" h="11">
                      <a:moveTo>
                        <a:pt x="7" y="6"/>
                      </a:moveTo>
                      <a:lnTo>
                        <a:pt x="7" y="6"/>
                      </a:lnTo>
                      <a:lnTo>
                        <a:pt x="7" y="9"/>
                      </a:lnTo>
                      <a:lnTo>
                        <a:pt x="5" y="11"/>
                      </a:lnTo>
                      <a:lnTo>
                        <a:pt x="4" y="11"/>
                      </a:lnTo>
                      <a:lnTo>
                        <a:pt x="2" y="10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0" name="Freeform 1180">
                  <a:extLst>
                    <a:ext uri="{FF2B5EF4-FFF2-40B4-BE49-F238E27FC236}">
                      <a16:creationId xmlns:a16="http://schemas.microsoft.com/office/drawing/2014/main" id="{B4784CE0-09D8-E542-AC48-5E085E94E8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0106" y="3512897"/>
                  <a:ext cx="10359" cy="5919"/>
                </a:xfrm>
                <a:custGeom>
                  <a:avLst/>
                  <a:gdLst>
                    <a:gd name="T0" fmla="*/ 2147483647 w 7"/>
                    <a:gd name="T1" fmla="*/ 2147483647 h 4"/>
                    <a:gd name="T2" fmla="*/ 2147483647 w 7"/>
                    <a:gd name="T3" fmla="*/ 2147483647 h 4"/>
                    <a:gd name="T4" fmla="*/ 2147483647 w 7"/>
                    <a:gd name="T5" fmla="*/ 2147483647 h 4"/>
                    <a:gd name="T6" fmla="*/ 2147483647 w 7"/>
                    <a:gd name="T7" fmla="*/ 2147483647 h 4"/>
                    <a:gd name="T8" fmla="*/ 0 w 7"/>
                    <a:gd name="T9" fmla="*/ 2147483647 h 4"/>
                    <a:gd name="T10" fmla="*/ 0 w 7"/>
                    <a:gd name="T11" fmla="*/ 2147483647 h 4"/>
                    <a:gd name="T12" fmla="*/ 0 w 7"/>
                    <a:gd name="T13" fmla="*/ 2147483647 h 4"/>
                    <a:gd name="T14" fmla="*/ 2147483647 w 7"/>
                    <a:gd name="T15" fmla="*/ 2147483647 h 4"/>
                    <a:gd name="T16" fmla="*/ 2147483647 w 7"/>
                    <a:gd name="T17" fmla="*/ 2147483647 h 4"/>
                    <a:gd name="T18" fmla="*/ 2147483647 w 7"/>
                    <a:gd name="T19" fmla="*/ 0 h 4"/>
                    <a:gd name="T20" fmla="*/ 2147483647 w 7"/>
                    <a:gd name="T21" fmla="*/ 0 h 4"/>
                    <a:gd name="T22" fmla="*/ 2147483647 w 7"/>
                    <a:gd name="T23" fmla="*/ 2147483647 h 4"/>
                    <a:gd name="T24" fmla="*/ 2147483647 w 7"/>
                    <a:gd name="T25" fmla="*/ 2147483647 h 4"/>
                    <a:gd name="T26" fmla="*/ 2147483647 w 7"/>
                    <a:gd name="T27" fmla="*/ 2147483647 h 4"/>
                    <a:gd name="T28" fmla="*/ 2147483647 w 7"/>
                    <a:gd name="T29" fmla="*/ 2147483647 h 4"/>
                    <a:gd name="T30" fmla="*/ 2147483647 w 7"/>
                    <a:gd name="T31" fmla="*/ 2147483647 h 4"/>
                    <a:gd name="T32" fmla="*/ 2147483647 w 7"/>
                    <a:gd name="T33" fmla="*/ 2147483647 h 4"/>
                    <a:gd name="T34" fmla="*/ 2147483647 w 7"/>
                    <a:gd name="T35" fmla="*/ 2147483647 h 4"/>
                    <a:gd name="T36" fmla="*/ 2147483647 w 7"/>
                    <a:gd name="T37" fmla="*/ 2147483647 h 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7"/>
                    <a:gd name="T58" fmla="*/ 0 h 4"/>
                    <a:gd name="T59" fmla="*/ 7 w 7"/>
                    <a:gd name="T60" fmla="*/ 4 h 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7" h="4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6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1" name="Freeform 1181">
                  <a:extLst>
                    <a:ext uri="{FF2B5EF4-FFF2-40B4-BE49-F238E27FC236}">
                      <a16:creationId xmlns:a16="http://schemas.microsoft.com/office/drawing/2014/main" id="{59A4D8B5-2FB1-1445-BBB7-201B597418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6384" y="3532139"/>
                  <a:ext cx="13319" cy="19238"/>
                </a:xfrm>
                <a:custGeom>
                  <a:avLst/>
                  <a:gdLst>
                    <a:gd name="T0" fmla="*/ 2147483647 w 9"/>
                    <a:gd name="T1" fmla="*/ 2147483647 h 13"/>
                    <a:gd name="T2" fmla="*/ 2147483647 w 9"/>
                    <a:gd name="T3" fmla="*/ 2147483647 h 13"/>
                    <a:gd name="T4" fmla="*/ 2147483647 w 9"/>
                    <a:gd name="T5" fmla="*/ 2147483647 h 13"/>
                    <a:gd name="T6" fmla="*/ 2147483647 w 9"/>
                    <a:gd name="T7" fmla="*/ 0 h 13"/>
                    <a:gd name="T8" fmla="*/ 2147483647 w 9"/>
                    <a:gd name="T9" fmla="*/ 2147483647 h 13"/>
                    <a:gd name="T10" fmla="*/ 2147483647 w 9"/>
                    <a:gd name="T11" fmla="*/ 2147483647 h 13"/>
                    <a:gd name="T12" fmla="*/ 2147483647 w 9"/>
                    <a:gd name="T13" fmla="*/ 2147483647 h 13"/>
                    <a:gd name="T14" fmla="*/ 2147483647 w 9"/>
                    <a:gd name="T15" fmla="*/ 2147483647 h 13"/>
                    <a:gd name="T16" fmla="*/ 2147483647 w 9"/>
                    <a:gd name="T17" fmla="*/ 2147483647 h 13"/>
                    <a:gd name="T18" fmla="*/ 2147483647 w 9"/>
                    <a:gd name="T19" fmla="*/ 2147483647 h 13"/>
                    <a:gd name="T20" fmla="*/ 2147483647 w 9"/>
                    <a:gd name="T21" fmla="*/ 2147483647 h 13"/>
                    <a:gd name="T22" fmla="*/ 0 w 9"/>
                    <a:gd name="T23" fmla="*/ 2147483647 h 13"/>
                    <a:gd name="T24" fmla="*/ 0 w 9"/>
                    <a:gd name="T25" fmla="*/ 2147483647 h 13"/>
                    <a:gd name="T26" fmla="*/ 2147483647 w 9"/>
                    <a:gd name="T27" fmla="*/ 2147483647 h 13"/>
                    <a:gd name="T28" fmla="*/ 2147483647 w 9"/>
                    <a:gd name="T29" fmla="*/ 2147483647 h 1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13"/>
                    <a:gd name="T47" fmla="*/ 9 w 9"/>
                    <a:gd name="T48" fmla="*/ 13 h 1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13">
                      <a:moveTo>
                        <a:pt x="4" y="6"/>
                      </a:move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9" y="2"/>
                      </a:lnTo>
                      <a:lnTo>
                        <a:pt x="9" y="6"/>
                      </a:lnTo>
                      <a:lnTo>
                        <a:pt x="7" y="12"/>
                      </a:lnTo>
                      <a:lnTo>
                        <a:pt x="5" y="13"/>
                      </a:lnTo>
                      <a:lnTo>
                        <a:pt x="3" y="13"/>
                      </a:lnTo>
                      <a:lnTo>
                        <a:pt x="2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2" y="8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2" name="Freeform 1182">
                  <a:extLst>
                    <a:ext uri="{FF2B5EF4-FFF2-40B4-BE49-F238E27FC236}">
                      <a16:creationId xmlns:a16="http://schemas.microsoft.com/office/drawing/2014/main" id="{55B32C1C-91EE-A94A-B922-0C69466CC6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8712" y="3566175"/>
                  <a:ext cx="72514" cy="19239"/>
                </a:xfrm>
                <a:custGeom>
                  <a:avLst/>
                  <a:gdLst>
                    <a:gd name="T0" fmla="*/ 2147483647 w 53"/>
                    <a:gd name="T1" fmla="*/ 2147483647 h 13"/>
                    <a:gd name="T2" fmla="*/ 2147483647 w 53"/>
                    <a:gd name="T3" fmla="*/ 2147483647 h 13"/>
                    <a:gd name="T4" fmla="*/ 2147483647 w 53"/>
                    <a:gd name="T5" fmla="*/ 2147483647 h 13"/>
                    <a:gd name="T6" fmla="*/ 2147483647 w 53"/>
                    <a:gd name="T7" fmla="*/ 2147483647 h 13"/>
                    <a:gd name="T8" fmla="*/ 2147483647 w 53"/>
                    <a:gd name="T9" fmla="*/ 2147483647 h 13"/>
                    <a:gd name="T10" fmla="*/ 2147483647 w 53"/>
                    <a:gd name="T11" fmla="*/ 2147483647 h 13"/>
                    <a:gd name="T12" fmla="*/ 2147483647 w 53"/>
                    <a:gd name="T13" fmla="*/ 2147483647 h 13"/>
                    <a:gd name="T14" fmla="*/ 2147483647 w 53"/>
                    <a:gd name="T15" fmla="*/ 2147483647 h 13"/>
                    <a:gd name="T16" fmla="*/ 2147483647 w 53"/>
                    <a:gd name="T17" fmla="*/ 2147483647 h 13"/>
                    <a:gd name="T18" fmla="*/ 2147483647 w 53"/>
                    <a:gd name="T19" fmla="*/ 2147483647 h 13"/>
                    <a:gd name="T20" fmla="*/ 2147483647 w 53"/>
                    <a:gd name="T21" fmla="*/ 2147483647 h 13"/>
                    <a:gd name="T22" fmla="*/ 2147483647 w 53"/>
                    <a:gd name="T23" fmla="*/ 2147483647 h 13"/>
                    <a:gd name="T24" fmla="*/ 2147483647 w 53"/>
                    <a:gd name="T25" fmla="*/ 0 h 13"/>
                    <a:gd name="T26" fmla="*/ 2147483647 w 53"/>
                    <a:gd name="T27" fmla="*/ 0 h 13"/>
                    <a:gd name="T28" fmla="*/ 2147483647 w 53"/>
                    <a:gd name="T29" fmla="*/ 0 h 13"/>
                    <a:gd name="T30" fmla="*/ 2147483647 w 53"/>
                    <a:gd name="T31" fmla="*/ 2147483647 h 13"/>
                    <a:gd name="T32" fmla="*/ 2147483647 w 53"/>
                    <a:gd name="T33" fmla="*/ 2147483647 h 13"/>
                    <a:gd name="T34" fmla="*/ 2147483647 w 53"/>
                    <a:gd name="T35" fmla="*/ 2147483647 h 13"/>
                    <a:gd name="T36" fmla="*/ 2147483647 w 53"/>
                    <a:gd name="T37" fmla="*/ 2147483647 h 13"/>
                    <a:gd name="T38" fmla="*/ 2147483647 w 53"/>
                    <a:gd name="T39" fmla="*/ 2147483647 h 13"/>
                    <a:gd name="T40" fmla="*/ 0 w 53"/>
                    <a:gd name="T41" fmla="*/ 2147483647 h 13"/>
                    <a:gd name="T42" fmla="*/ 0 w 53"/>
                    <a:gd name="T43" fmla="*/ 2147483647 h 13"/>
                    <a:gd name="T44" fmla="*/ 2147483647 w 53"/>
                    <a:gd name="T45" fmla="*/ 2147483647 h 13"/>
                    <a:gd name="T46" fmla="*/ 2147483647 w 53"/>
                    <a:gd name="T47" fmla="*/ 2147483647 h 13"/>
                    <a:gd name="T48" fmla="*/ 2147483647 w 53"/>
                    <a:gd name="T49" fmla="*/ 2147483647 h 13"/>
                    <a:gd name="T50" fmla="*/ 2147483647 w 53"/>
                    <a:gd name="T51" fmla="*/ 2147483647 h 13"/>
                    <a:gd name="T52" fmla="*/ 2147483647 w 53"/>
                    <a:gd name="T53" fmla="*/ 2147483647 h 13"/>
                    <a:gd name="T54" fmla="*/ 2147483647 w 53"/>
                    <a:gd name="T55" fmla="*/ 2147483647 h 13"/>
                    <a:gd name="T56" fmla="*/ 2147483647 w 53"/>
                    <a:gd name="T57" fmla="*/ 2147483647 h 13"/>
                    <a:gd name="T58" fmla="*/ 2147483647 w 53"/>
                    <a:gd name="T59" fmla="*/ 2147483647 h 13"/>
                    <a:gd name="T60" fmla="*/ 2147483647 w 53"/>
                    <a:gd name="T61" fmla="*/ 2147483647 h 13"/>
                    <a:gd name="T62" fmla="*/ 2147483647 w 53"/>
                    <a:gd name="T63" fmla="*/ 2147483647 h 1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3"/>
                    <a:gd name="T97" fmla="*/ 0 h 13"/>
                    <a:gd name="T98" fmla="*/ 53 w 53"/>
                    <a:gd name="T99" fmla="*/ 13 h 1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3" h="13">
                      <a:moveTo>
                        <a:pt x="48" y="12"/>
                      </a:moveTo>
                      <a:lnTo>
                        <a:pt x="49" y="12"/>
                      </a:lnTo>
                      <a:lnTo>
                        <a:pt x="51" y="12"/>
                      </a:lnTo>
                      <a:lnTo>
                        <a:pt x="53" y="10"/>
                      </a:lnTo>
                      <a:lnTo>
                        <a:pt x="53" y="9"/>
                      </a:lnTo>
                      <a:lnTo>
                        <a:pt x="53" y="6"/>
                      </a:lnTo>
                      <a:lnTo>
                        <a:pt x="52" y="4"/>
                      </a:lnTo>
                      <a:lnTo>
                        <a:pt x="51" y="4"/>
                      </a:lnTo>
                      <a:lnTo>
                        <a:pt x="48" y="4"/>
                      </a:lnTo>
                      <a:lnTo>
                        <a:pt x="47" y="5"/>
                      </a:lnTo>
                      <a:lnTo>
                        <a:pt x="44" y="5"/>
                      </a:lnTo>
                      <a:lnTo>
                        <a:pt x="37" y="3"/>
                      </a:lnTo>
                      <a:lnTo>
                        <a:pt x="28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9" y="2"/>
                      </a:lnTo>
                      <a:lnTo>
                        <a:pt x="8" y="3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2" y="9"/>
                      </a:lnTo>
                      <a:lnTo>
                        <a:pt x="18" y="9"/>
                      </a:lnTo>
                      <a:lnTo>
                        <a:pt x="25" y="9"/>
                      </a:lnTo>
                      <a:lnTo>
                        <a:pt x="29" y="11"/>
                      </a:lnTo>
                      <a:lnTo>
                        <a:pt x="32" y="12"/>
                      </a:lnTo>
                      <a:lnTo>
                        <a:pt x="35" y="13"/>
                      </a:lnTo>
                      <a:lnTo>
                        <a:pt x="41" y="13"/>
                      </a:lnTo>
                      <a:lnTo>
                        <a:pt x="44" y="12"/>
                      </a:lnTo>
                      <a:lnTo>
                        <a:pt x="48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3" name="Freeform 1183">
                  <a:extLst>
                    <a:ext uri="{FF2B5EF4-FFF2-40B4-BE49-F238E27FC236}">
                      <a16:creationId xmlns:a16="http://schemas.microsoft.com/office/drawing/2014/main" id="{99862CA7-E401-2045-8564-18E8BF11F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4907" y="3530656"/>
                  <a:ext cx="13318" cy="19239"/>
                </a:xfrm>
                <a:custGeom>
                  <a:avLst/>
                  <a:gdLst>
                    <a:gd name="T0" fmla="*/ 2147483647 w 9"/>
                    <a:gd name="T1" fmla="*/ 2147483647 h 13"/>
                    <a:gd name="T2" fmla="*/ 2147483647 w 9"/>
                    <a:gd name="T3" fmla="*/ 2147483647 h 13"/>
                    <a:gd name="T4" fmla="*/ 2147483647 w 9"/>
                    <a:gd name="T5" fmla="*/ 2147483647 h 13"/>
                    <a:gd name="T6" fmla="*/ 2147483647 w 9"/>
                    <a:gd name="T7" fmla="*/ 2147483647 h 13"/>
                    <a:gd name="T8" fmla="*/ 2147483647 w 9"/>
                    <a:gd name="T9" fmla="*/ 0 h 13"/>
                    <a:gd name="T10" fmla="*/ 2147483647 w 9"/>
                    <a:gd name="T11" fmla="*/ 0 h 13"/>
                    <a:gd name="T12" fmla="*/ 2147483647 w 9"/>
                    <a:gd name="T13" fmla="*/ 2147483647 h 13"/>
                    <a:gd name="T14" fmla="*/ 2147483647 w 9"/>
                    <a:gd name="T15" fmla="*/ 2147483647 h 13"/>
                    <a:gd name="T16" fmla="*/ 2147483647 w 9"/>
                    <a:gd name="T17" fmla="*/ 2147483647 h 13"/>
                    <a:gd name="T18" fmla="*/ 2147483647 w 9"/>
                    <a:gd name="T19" fmla="*/ 2147483647 h 13"/>
                    <a:gd name="T20" fmla="*/ 2147483647 w 9"/>
                    <a:gd name="T21" fmla="*/ 2147483647 h 13"/>
                    <a:gd name="T22" fmla="*/ 2147483647 w 9"/>
                    <a:gd name="T23" fmla="*/ 2147483647 h 13"/>
                    <a:gd name="T24" fmla="*/ 2147483647 w 9"/>
                    <a:gd name="T25" fmla="*/ 2147483647 h 13"/>
                    <a:gd name="T26" fmla="*/ 2147483647 w 9"/>
                    <a:gd name="T27" fmla="*/ 2147483647 h 13"/>
                    <a:gd name="T28" fmla="*/ 0 w 9"/>
                    <a:gd name="T29" fmla="*/ 2147483647 h 13"/>
                    <a:gd name="T30" fmla="*/ 0 w 9"/>
                    <a:gd name="T31" fmla="*/ 2147483647 h 13"/>
                    <a:gd name="T32" fmla="*/ 0 w 9"/>
                    <a:gd name="T33" fmla="*/ 2147483647 h 13"/>
                    <a:gd name="T34" fmla="*/ 2147483647 w 9"/>
                    <a:gd name="T35" fmla="*/ 2147483647 h 13"/>
                    <a:gd name="T36" fmla="*/ 2147483647 w 9"/>
                    <a:gd name="T37" fmla="*/ 2147483647 h 13"/>
                    <a:gd name="T38" fmla="*/ 2147483647 w 9"/>
                    <a:gd name="T39" fmla="*/ 2147483647 h 1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"/>
                    <a:gd name="T61" fmla="*/ 0 h 13"/>
                    <a:gd name="T62" fmla="*/ 9 w 9"/>
                    <a:gd name="T63" fmla="*/ 13 h 1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" h="13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5" y="3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9" y="1"/>
                      </a:lnTo>
                      <a:lnTo>
                        <a:pt x="9" y="2"/>
                      </a:lnTo>
                      <a:lnTo>
                        <a:pt x="9" y="5"/>
                      </a:lnTo>
                      <a:lnTo>
                        <a:pt x="6" y="11"/>
                      </a:lnTo>
                      <a:lnTo>
                        <a:pt x="5" y="13"/>
                      </a:lnTo>
                      <a:lnTo>
                        <a:pt x="3" y="13"/>
                      </a:lnTo>
                      <a:lnTo>
                        <a:pt x="1" y="13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4" name="Freeform 1184">
                  <a:extLst>
                    <a:ext uri="{FF2B5EF4-FFF2-40B4-BE49-F238E27FC236}">
                      <a16:creationId xmlns:a16="http://schemas.microsoft.com/office/drawing/2014/main" id="{F30024E4-DCDD-D747-935D-0F12A6BA8D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7236" y="3564693"/>
                  <a:ext cx="72513" cy="19238"/>
                </a:xfrm>
                <a:custGeom>
                  <a:avLst/>
                  <a:gdLst>
                    <a:gd name="T0" fmla="*/ 2147483647 w 53"/>
                    <a:gd name="T1" fmla="*/ 2147483647 h 13"/>
                    <a:gd name="T2" fmla="*/ 2147483647 w 53"/>
                    <a:gd name="T3" fmla="*/ 2147483647 h 13"/>
                    <a:gd name="T4" fmla="*/ 2147483647 w 53"/>
                    <a:gd name="T5" fmla="*/ 2147483647 h 13"/>
                    <a:gd name="T6" fmla="*/ 2147483647 w 53"/>
                    <a:gd name="T7" fmla="*/ 2147483647 h 13"/>
                    <a:gd name="T8" fmla="*/ 2147483647 w 53"/>
                    <a:gd name="T9" fmla="*/ 2147483647 h 13"/>
                    <a:gd name="T10" fmla="*/ 2147483647 w 53"/>
                    <a:gd name="T11" fmla="*/ 2147483647 h 13"/>
                    <a:gd name="T12" fmla="*/ 2147483647 w 53"/>
                    <a:gd name="T13" fmla="*/ 2147483647 h 13"/>
                    <a:gd name="T14" fmla="*/ 2147483647 w 53"/>
                    <a:gd name="T15" fmla="*/ 2147483647 h 13"/>
                    <a:gd name="T16" fmla="*/ 2147483647 w 53"/>
                    <a:gd name="T17" fmla="*/ 2147483647 h 13"/>
                    <a:gd name="T18" fmla="*/ 2147483647 w 53"/>
                    <a:gd name="T19" fmla="*/ 2147483647 h 13"/>
                    <a:gd name="T20" fmla="*/ 2147483647 w 53"/>
                    <a:gd name="T21" fmla="*/ 2147483647 h 13"/>
                    <a:gd name="T22" fmla="*/ 2147483647 w 53"/>
                    <a:gd name="T23" fmla="*/ 2147483647 h 13"/>
                    <a:gd name="T24" fmla="*/ 2147483647 w 53"/>
                    <a:gd name="T25" fmla="*/ 2147483647 h 13"/>
                    <a:gd name="T26" fmla="*/ 2147483647 w 53"/>
                    <a:gd name="T27" fmla="*/ 2147483647 h 13"/>
                    <a:gd name="T28" fmla="*/ 2147483647 w 53"/>
                    <a:gd name="T29" fmla="*/ 2147483647 h 13"/>
                    <a:gd name="T30" fmla="*/ 2147483647 w 53"/>
                    <a:gd name="T31" fmla="*/ 2147483647 h 13"/>
                    <a:gd name="T32" fmla="*/ 2147483647 w 53"/>
                    <a:gd name="T33" fmla="*/ 0 h 13"/>
                    <a:gd name="T34" fmla="*/ 2147483647 w 53"/>
                    <a:gd name="T35" fmla="*/ 0 h 13"/>
                    <a:gd name="T36" fmla="*/ 2147483647 w 53"/>
                    <a:gd name="T37" fmla="*/ 0 h 13"/>
                    <a:gd name="T38" fmla="*/ 2147483647 w 53"/>
                    <a:gd name="T39" fmla="*/ 0 h 13"/>
                    <a:gd name="T40" fmla="*/ 2147483647 w 53"/>
                    <a:gd name="T41" fmla="*/ 2147483647 h 13"/>
                    <a:gd name="T42" fmla="*/ 2147483647 w 53"/>
                    <a:gd name="T43" fmla="*/ 2147483647 h 13"/>
                    <a:gd name="T44" fmla="*/ 2147483647 w 53"/>
                    <a:gd name="T45" fmla="*/ 2147483647 h 13"/>
                    <a:gd name="T46" fmla="*/ 2147483647 w 53"/>
                    <a:gd name="T47" fmla="*/ 2147483647 h 13"/>
                    <a:gd name="T48" fmla="*/ 2147483647 w 53"/>
                    <a:gd name="T49" fmla="*/ 2147483647 h 13"/>
                    <a:gd name="T50" fmla="*/ 2147483647 w 53"/>
                    <a:gd name="T51" fmla="*/ 2147483647 h 13"/>
                    <a:gd name="T52" fmla="*/ 2147483647 w 53"/>
                    <a:gd name="T53" fmla="*/ 2147483647 h 13"/>
                    <a:gd name="T54" fmla="*/ 0 w 53"/>
                    <a:gd name="T55" fmla="*/ 2147483647 h 13"/>
                    <a:gd name="T56" fmla="*/ 0 w 53"/>
                    <a:gd name="T57" fmla="*/ 2147483647 h 13"/>
                    <a:gd name="T58" fmla="*/ 2147483647 w 53"/>
                    <a:gd name="T59" fmla="*/ 2147483647 h 13"/>
                    <a:gd name="T60" fmla="*/ 2147483647 w 53"/>
                    <a:gd name="T61" fmla="*/ 2147483647 h 13"/>
                    <a:gd name="T62" fmla="*/ 2147483647 w 53"/>
                    <a:gd name="T63" fmla="*/ 2147483647 h 13"/>
                    <a:gd name="T64" fmla="*/ 2147483647 w 53"/>
                    <a:gd name="T65" fmla="*/ 2147483647 h 13"/>
                    <a:gd name="T66" fmla="*/ 2147483647 w 53"/>
                    <a:gd name="T67" fmla="*/ 2147483647 h 13"/>
                    <a:gd name="T68" fmla="*/ 2147483647 w 53"/>
                    <a:gd name="T69" fmla="*/ 2147483647 h 13"/>
                    <a:gd name="T70" fmla="*/ 2147483647 w 53"/>
                    <a:gd name="T71" fmla="*/ 2147483647 h 13"/>
                    <a:gd name="T72" fmla="*/ 2147483647 w 53"/>
                    <a:gd name="T73" fmla="*/ 2147483647 h 13"/>
                    <a:gd name="T74" fmla="*/ 2147483647 w 53"/>
                    <a:gd name="T75" fmla="*/ 2147483647 h 13"/>
                    <a:gd name="T76" fmla="*/ 2147483647 w 53"/>
                    <a:gd name="T77" fmla="*/ 2147483647 h 13"/>
                    <a:gd name="T78" fmla="*/ 2147483647 w 53"/>
                    <a:gd name="T79" fmla="*/ 2147483647 h 13"/>
                    <a:gd name="T80" fmla="*/ 2147483647 w 53"/>
                    <a:gd name="T81" fmla="*/ 2147483647 h 13"/>
                    <a:gd name="T82" fmla="*/ 2147483647 w 53"/>
                    <a:gd name="T83" fmla="*/ 2147483647 h 1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3"/>
                    <a:gd name="T127" fmla="*/ 0 h 13"/>
                    <a:gd name="T128" fmla="*/ 53 w 53"/>
                    <a:gd name="T129" fmla="*/ 13 h 1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3" h="13">
                      <a:moveTo>
                        <a:pt x="48" y="12"/>
                      </a:moveTo>
                      <a:lnTo>
                        <a:pt x="48" y="12"/>
                      </a:lnTo>
                      <a:lnTo>
                        <a:pt x="49" y="12"/>
                      </a:lnTo>
                      <a:lnTo>
                        <a:pt x="50" y="12"/>
                      </a:lnTo>
                      <a:lnTo>
                        <a:pt x="53" y="10"/>
                      </a:lnTo>
                      <a:lnTo>
                        <a:pt x="53" y="9"/>
                      </a:lnTo>
                      <a:lnTo>
                        <a:pt x="53" y="6"/>
                      </a:lnTo>
                      <a:lnTo>
                        <a:pt x="52" y="4"/>
                      </a:lnTo>
                      <a:lnTo>
                        <a:pt x="50" y="4"/>
                      </a:lnTo>
                      <a:lnTo>
                        <a:pt x="48" y="4"/>
                      </a:lnTo>
                      <a:lnTo>
                        <a:pt x="47" y="5"/>
                      </a:lnTo>
                      <a:lnTo>
                        <a:pt x="44" y="5"/>
                      </a:lnTo>
                      <a:lnTo>
                        <a:pt x="36" y="3"/>
                      </a:lnTo>
                      <a:lnTo>
                        <a:pt x="28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7" y="3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7"/>
                      </a:lnTo>
                      <a:lnTo>
                        <a:pt x="2" y="9"/>
                      </a:lnTo>
                      <a:lnTo>
                        <a:pt x="17" y="9"/>
                      </a:lnTo>
                      <a:lnTo>
                        <a:pt x="25" y="9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5" y="13"/>
                      </a:lnTo>
                      <a:lnTo>
                        <a:pt x="40" y="13"/>
                      </a:lnTo>
                      <a:lnTo>
                        <a:pt x="44" y="12"/>
                      </a:lnTo>
                      <a:lnTo>
                        <a:pt x="48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5" name="Freeform 1185">
                  <a:extLst>
                    <a:ext uri="{FF2B5EF4-FFF2-40B4-BE49-F238E27FC236}">
                      <a16:creationId xmlns:a16="http://schemas.microsoft.com/office/drawing/2014/main" id="{C36C2E91-B015-3044-83C9-BB1A291BAC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6113" y="3441864"/>
                  <a:ext cx="34037" cy="41436"/>
                </a:xfrm>
                <a:custGeom>
                  <a:avLst/>
                  <a:gdLst>
                    <a:gd name="T0" fmla="*/ 2147483647 w 24"/>
                    <a:gd name="T1" fmla="*/ 2147483647 h 28"/>
                    <a:gd name="T2" fmla="*/ 2147483647 w 24"/>
                    <a:gd name="T3" fmla="*/ 2147483647 h 28"/>
                    <a:gd name="T4" fmla="*/ 2147483647 w 24"/>
                    <a:gd name="T5" fmla="*/ 2147483647 h 28"/>
                    <a:gd name="T6" fmla="*/ 2147483647 w 24"/>
                    <a:gd name="T7" fmla="*/ 2147483647 h 28"/>
                    <a:gd name="T8" fmla="*/ 2147483647 w 24"/>
                    <a:gd name="T9" fmla="*/ 2147483647 h 28"/>
                    <a:gd name="T10" fmla="*/ 2147483647 w 24"/>
                    <a:gd name="T11" fmla="*/ 2147483647 h 28"/>
                    <a:gd name="T12" fmla="*/ 2147483647 w 24"/>
                    <a:gd name="T13" fmla="*/ 2147483647 h 28"/>
                    <a:gd name="T14" fmla="*/ 2147483647 w 24"/>
                    <a:gd name="T15" fmla="*/ 0 h 28"/>
                    <a:gd name="T16" fmla="*/ 2147483647 w 24"/>
                    <a:gd name="T17" fmla="*/ 2147483647 h 28"/>
                    <a:gd name="T18" fmla="*/ 0 w 24"/>
                    <a:gd name="T19" fmla="*/ 2147483647 h 28"/>
                    <a:gd name="T20" fmla="*/ 2147483647 w 24"/>
                    <a:gd name="T21" fmla="*/ 2147483647 h 28"/>
                    <a:gd name="T22" fmla="*/ 2147483647 w 24"/>
                    <a:gd name="T23" fmla="*/ 2147483647 h 28"/>
                    <a:gd name="T24" fmla="*/ 2147483647 w 24"/>
                    <a:gd name="T25" fmla="*/ 2147483647 h 28"/>
                    <a:gd name="T26" fmla="*/ 2147483647 w 24"/>
                    <a:gd name="T27" fmla="*/ 2147483647 h 28"/>
                    <a:gd name="T28" fmla="*/ 2147483647 w 24"/>
                    <a:gd name="T29" fmla="*/ 2147483647 h 28"/>
                    <a:gd name="T30" fmla="*/ 2147483647 w 24"/>
                    <a:gd name="T31" fmla="*/ 2147483647 h 28"/>
                    <a:gd name="T32" fmla="*/ 2147483647 w 24"/>
                    <a:gd name="T33" fmla="*/ 2147483647 h 28"/>
                    <a:gd name="T34" fmla="*/ 2147483647 w 24"/>
                    <a:gd name="T35" fmla="*/ 2147483647 h 28"/>
                    <a:gd name="T36" fmla="*/ 2147483647 w 24"/>
                    <a:gd name="T37" fmla="*/ 2147483647 h 28"/>
                    <a:gd name="T38" fmla="*/ 2147483647 w 24"/>
                    <a:gd name="T39" fmla="*/ 2147483647 h 28"/>
                    <a:gd name="T40" fmla="*/ 2147483647 w 24"/>
                    <a:gd name="T41" fmla="*/ 2147483647 h 2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4"/>
                    <a:gd name="T64" fmla="*/ 0 h 28"/>
                    <a:gd name="T65" fmla="*/ 24 w 24"/>
                    <a:gd name="T66" fmla="*/ 28 h 2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4" h="28">
                      <a:moveTo>
                        <a:pt x="21" y="20"/>
                      </a:moveTo>
                      <a:lnTo>
                        <a:pt x="18" y="19"/>
                      </a:lnTo>
                      <a:lnTo>
                        <a:pt x="15" y="17"/>
                      </a:lnTo>
                      <a:lnTo>
                        <a:pt x="13" y="12"/>
                      </a:lnTo>
                      <a:lnTo>
                        <a:pt x="10" y="6"/>
                      </a:lnTo>
                      <a:lnTo>
                        <a:pt x="7" y="3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9"/>
                      </a:lnTo>
                      <a:lnTo>
                        <a:pt x="4" y="12"/>
                      </a:lnTo>
                      <a:lnTo>
                        <a:pt x="8" y="18"/>
                      </a:lnTo>
                      <a:lnTo>
                        <a:pt x="10" y="23"/>
                      </a:lnTo>
                      <a:lnTo>
                        <a:pt x="14" y="25"/>
                      </a:lnTo>
                      <a:lnTo>
                        <a:pt x="19" y="28"/>
                      </a:lnTo>
                      <a:lnTo>
                        <a:pt x="23" y="28"/>
                      </a:lnTo>
                      <a:lnTo>
                        <a:pt x="24" y="26"/>
                      </a:lnTo>
                      <a:lnTo>
                        <a:pt x="24" y="24"/>
                      </a:lnTo>
                      <a:lnTo>
                        <a:pt x="21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6" name="Freeform 1186">
                  <a:extLst>
                    <a:ext uri="{FF2B5EF4-FFF2-40B4-BE49-F238E27FC236}">
                      <a16:creationId xmlns:a16="http://schemas.microsoft.com/office/drawing/2014/main" id="{D3385007-ED19-084B-A2B7-1DB6BEEC2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2351" y="3437425"/>
                  <a:ext cx="13318" cy="13319"/>
                </a:xfrm>
                <a:custGeom>
                  <a:avLst/>
                  <a:gdLst>
                    <a:gd name="T0" fmla="*/ 2147483647 w 10"/>
                    <a:gd name="T1" fmla="*/ 2147483647 h 9"/>
                    <a:gd name="T2" fmla="*/ 2147483647 w 10"/>
                    <a:gd name="T3" fmla="*/ 2147483647 h 9"/>
                    <a:gd name="T4" fmla="*/ 2147483647 w 10"/>
                    <a:gd name="T5" fmla="*/ 2147483647 h 9"/>
                    <a:gd name="T6" fmla="*/ 2147483647 w 10"/>
                    <a:gd name="T7" fmla="*/ 2147483647 h 9"/>
                    <a:gd name="T8" fmla="*/ 2147483647 w 10"/>
                    <a:gd name="T9" fmla="*/ 2147483647 h 9"/>
                    <a:gd name="T10" fmla="*/ 2147483647 w 10"/>
                    <a:gd name="T11" fmla="*/ 2147483647 h 9"/>
                    <a:gd name="T12" fmla="*/ 0 w 10"/>
                    <a:gd name="T13" fmla="*/ 2147483647 h 9"/>
                    <a:gd name="T14" fmla="*/ 0 w 10"/>
                    <a:gd name="T15" fmla="*/ 2147483647 h 9"/>
                    <a:gd name="T16" fmla="*/ 2147483647 w 10"/>
                    <a:gd name="T17" fmla="*/ 2147483647 h 9"/>
                    <a:gd name="T18" fmla="*/ 2147483647 w 10"/>
                    <a:gd name="T19" fmla="*/ 0 h 9"/>
                    <a:gd name="T20" fmla="*/ 2147483647 w 10"/>
                    <a:gd name="T21" fmla="*/ 0 h 9"/>
                    <a:gd name="T22" fmla="*/ 2147483647 w 10"/>
                    <a:gd name="T23" fmla="*/ 2147483647 h 9"/>
                    <a:gd name="T24" fmla="*/ 2147483647 w 10"/>
                    <a:gd name="T25" fmla="*/ 2147483647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9"/>
                    <a:gd name="T41" fmla="*/ 10 w 10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9">
                      <a:moveTo>
                        <a:pt x="9" y="6"/>
                      </a:moveTo>
                      <a:lnTo>
                        <a:pt x="10" y="7"/>
                      </a:lnTo>
                      <a:lnTo>
                        <a:pt x="10" y="8"/>
                      </a:ln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7" name="Freeform 1187">
                  <a:extLst>
                    <a:ext uri="{FF2B5EF4-FFF2-40B4-BE49-F238E27FC236}">
                      <a16:creationId xmlns:a16="http://schemas.microsoft.com/office/drawing/2014/main" id="{A9BDA13D-5AFC-114A-9B83-C2D83B824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4636" y="3440384"/>
                  <a:ext cx="34038" cy="39956"/>
                </a:xfrm>
                <a:custGeom>
                  <a:avLst/>
                  <a:gdLst>
                    <a:gd name="T0" fmla="*/ 2147483647 w 24"/>
                    <a:gd name="T1" fmla="*/ 2147483647 h 27"/>
                    <a:gd name="T2" fmla="*/ 2147483647 w 24"/>
                    <a:gd name="T3" fmla="*/ 2147483647 h 27"/>
                    <a:gd name="T4" fmla="*/ 2147483647 w 24"/>
                    <a:gd name="T5" fmla="*/ 2147483647 h 27"/>
                    <a:gd name="T6" fmla="*/ 2147483647 w 24"/>
                    <a:gd name="T7" fmla="*/ 2147483647 h 27"/>
                    <a:gd name="T8" fmla="*/ 2147483647 w 24"/>
                    <a:gd name="T9" fmla="*/ 2147483647 h 27"/>
                    <a:gd name="T10" fmla="*/ 2147483647 w 24"/>
                    <a:gd name="T11" fmla="*/ 2147483647 h 27"/>
                    <a:gd name="T12" fmla="*/ 2147483647 w 24"/>
                    <a:gd name="T13" fmla="*/ 2147483647 h 27"/>
                    <a:gd name="T14" fmla="*/ 2147483647 w 24"/>
                    <a:gd name="T15" fmla="*/ 2147483647 h 27"/>
                    <a:gd name="T16" fmla="*/ 2147483647 w 24"/>
                    <a:gd name="T17" fmla="*/ 2147483647 h 27"/>
                    <a:gd name="T18" fmla="*/ 2147483647 w 24"/>
                    <a:gd name="T19" fmla="*/ 0 h 27"/>
                    <a:gd name="T20" fmla="*/ 2147483647 w 24"/>
                    <a:gd name="T21" fmla="*/ 0 h 27"/>
                    <a:gd name="T22" fmla="*/ 2147483647 w 24"/>
                    <a:gd name="T23" fmla="*/ 2147483647 h 27"/>
                    <a:gd name="T24" fmla="*/ 0 w 24"/>
                    <a:gd name="T25" fmla="*/ 2147483647 h 27"/>
                    <a:gd name="T26" fmla="*/ 2147483647 w 24"/>
                    <a:gd name="T27" fmla="*/ 2147483647 h 27"/>
                    <a:gd name="T28" fmla="*/ 2147483647 w 24"/>
                    <a:gd name="T29" fmla="*/ 2147483647 h 27"/>
                    <a:gd name="T30" fmla="*/ 2147483647 w 24"/>
                    <a:gd name="T31" fmla="*/ 2147483647 h 27"/>
                    <a:gd name="T32" fmla="*/ 2147483647 w 24"/>
                    <a:gd name="T33" fmla="*/ 2147483647 h 27"/>
                    <a:gd name="T34" fmla="*/ 2147483647 w 24"/>
                    <a:gd name="T35" fmla="*/ 2147483647 h 27"/>
                    <a:gd name="T36" fmla="*/ 2147483647 w 24"/>
                    <a:gd name="T37" fmla="*/ 2147483647 h 27"/>
                    <a:gd name="T38" fmla="*/ 2147483647 w 24"/>
                    <a:gd name="T39" fmla="*/ 2147483647 h 27"/>
                    <a:gd name="T40" fmla="*/ 2147483647 w 24"/>
                    <a:gd name="T41" fmla="*/ 2147483647 h 27"/>
                    <a:gd name="T42" fmla="*/ 2147483647 w 24"/>
                    <a:gd name="T43" fmla="*/ 2147483647 h 27"/>
                    <a:gd name="T44" fmla="*/ 2147483647 w 24"/>
                    <a:gd name="T45" fmla="*/ 2147483647 h 27"/>
                    <a:gd name="T46" fmla="*/ 2147483647 w 24"/>
                    <a:gd name="T47" fmla="*/ 2147483647 h 27"/>
                    <a:gd name="T48" fmla="*/ 2147483647 w 24"/>
                    <a:gd name="T49" fmla="*/ 2147483647 h 27"/>
                    <a:gd name="T50" fmla="*/ 2147483647 w 24"/>
                    <a:gd name="T51" fmla="*/ 2147483647 h 27"/>
                    <a:gd name="T52" fmla="*/ 2147483647 w 24"/>
                    <a:gd name="T53" fmla="*/ 2147483647 h 27"/>
                    <a:gd name="T54" fmla="*/ 2147483647 w 24"/>
                    <a:gd name="T55" fmla="*/ 2147483647 h 27"/>
                    <a:gd name="T56" fmla="*/ 2147483647 w 24"/>
                    <a:gd name="T57" fmla="*/ 2147483647 h 27"/>
                    <a:gd name="T58" fmla="*/ 2147483647 w 24"/>
                    <a:gd name="T59" fmla="*/ 2147483647 h 2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4"/>
                    <a:gd name="T91" fmla="*/ 0 h 27"/>
                    <a:gd name="T92" fmla="*/ 24 w 24"/>
                    <a:gd name="T93" fmla="*/ 27 h 2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4" h="27">
                      <a:moveTo>
                        <a:pt x="20" y="20"/>
                      </a:moveTo>
                      <a:lnTo>
                        <a:pt x="20" y="20"/>
                      </a:lnTo>
                      <a:lnTo>
                        <a:pt x="18" y="19"/>
                      </a:lnTo>
                      <a:lnTo>
                        <a:pt x="15" y="17"/>
                      </a:lnTo>
                      <a:lnTo>
                        <a:pt x="13" y="12"/>
                      </a:lnTo>
                      <a:lnTo>
                        <a:pt x="10" y="6"/>
                      </a:lnTo>
                      <a:lnTo>
                        <a:pt x="6" y="2"/>
                      </a:ln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6"/>
                      </a:lnTo>
                      <a:lnTo>
                        <a:pt x="3" y="8"/>
                      </a:lnTo>
                      <a:lnTo>
                        <a:pt x="4" y="12"/>
                      </a:lnTo>
                      <a:lnTo>
                        <a:pt x="8" y="18"/>
                      </a:lnTo>
                      <a:lnTo>
                        <a:pt x="10" y="23"/>
                      </a:lnTo>
                      <a:lnTo>
                        <a:pt x="14" y="25"/>
                      </a:lnTo>
                      <a:lnTo>
                        <a:pt x="19" y="27"/>
                      </a:lnTo>
                      <a:lnTo>
                        <a:pt x="23" y="27"/>
                      </a:lnTo>
                      <a:lnTo>
                        <a:pt x="24" y="26"/>
                      </a:lnTo>
                      <a:lnTo>
                        <a:pt x="24" y="24"/>
                      </a:lnTo>
                      <a:lnTo>
                        <a:pt x="20" y="2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8" name="Freeform 1188">
                  <a:extLst>
                    <a:ext uri="{FF2B5EF4-FFF2-40B4-BE49-F238E27FC236}">
                      <a16:creationId xmlns:a16="http://schemas.microsoft.com/office/drawing/2014/main" id="{F9B5580B-106D-0243-914D-6B5D9EF2F6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0868" y="3435943"/>
                  <a:ext cx="14799" cy="13319"/>
                </a:xfrm>
                <a:custGeom>
                  <a:avLst/>
                  <a:gdLst>
                    <a:gd name="T0" fmla="*/ 2147483647 w 10"/>
                    <a:gd name="T1" fmla="*/ 2147483647 h 9"/>
                    <a:gd name="T2" fmla="*/ 2147483647 w 10"/>
                    <a:gd name="T3" fmla="*/ 2147483647 h 9"/>
                    <a:gd name="T4" fmla="*/ 2147483647 w 10"/>
                    <a:gd name="T5" fmla="*/ 2147483647 h 9"/>
                    <a:gd name="T6" fmla="*/ 2147483647 w 10"/>
                    <a:gd name="T7" fmla="*/ 2147483647 h 9"/>
                    <a:gd name="T8" fmla="*/ 2147483647 w 10"/>
                    <a:gd name="T9" fmla="*/ 2147483647 h 9"/>
                    <a:gd name="T10" fmla="*/ 2147483647 w 10"/>
                    <a:gd name="T11" fmla="*/ 2147483647 h 9"/>
                    <a:gd name="T12" fmla="*/ 2147483647 w 10"/>
                    <a:gd name="T13" fmla="*/ 2147483647 h 9"/>
                    <a:gd name="T14" fmla="*/ 2147483647 w 10"/>
                    <a:gd name="T15" fmla="*/ 2147483647 h 9"/>
                    <a:gd name="T16" fmla="*/ 2147483647 w 10"/>
                    <a:gd name="T17" fmla="*/ 2147483647 h 9"/>
                    <a:gd name="T18" fmla="*/ 0 w 10"/>
                    <a:gd name="T19" fmla="*/ 2147483647 h 9"/>
                    <a:gd name="T20" fmla="*/ 0 w 10"/>
                    <a:gd name="T21" fmla="*/ 2147483647 h 9"/>
                    <a:gd name="T22" fmla="*/ 2147483647 w 10"/>
                    <a:gd name="T23" fmla="*/ 2147483647 h 9"/>
                    <a:gd name="T24" fmla="*/ 2147483647 w 10"/>
                    <a:gd name="T25" fmla="*/ 0 h 9"/>
                    <a:gd name="T26" fmla="*/ 2147483647 w 10"/>
                    <a:gd name="T27" fmla="*/ 0 h 9"/>
                    <a:gd name="T28" fmla="*/ 2147483647 w 10"/>
                    <a:gd name="T29" fmla="*/ 0 h 9"/>
                    <a:gd name="T30" fmla="*/ 2147483647 w 10"/>
                    <a:gd name="T31" fmla="*/ 2147483647 h 9"/>
                    <a:gd name="T32" fmla="*/ 2147483647 w 10"/>
                    <a:gd name="T33" fmla="*/ 2147483647 h 9"/>
                    <a:gd name="T34" fmla="*/ 2147483647 w 10"/>
                    <a:gd name="T35" fmla="*/ 2147483647 h 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0"/>
                    <a:gd name="T55" fmla="*/ 0 h 9"/>
                    <a:gd name="T56" fmla="*/ 10 w 10"/>
                    <a:gd name="T57" fmla="*/ 9 h 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0" h="9">
                      <a:moveTo>
                        <a:pt x="8" y="5"/>
                      </a:move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0" y="8"/>
                      </a:lnTo>
                      <a:lnTo>
                        <a:pt x="7" y="9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9" name="Freeform 1189">
                  <a:extLst>
                    <a:ext uri="{FF2B5EF4-FFF2-40B4-BE49-F238E27FC236}">
                      <a16:creationId xmlns:a16="http://schemas.microsoft.com/office/drawing/2014/main" id="{2A678E90-CF06-3847-AA48-C0591FEC59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7322" y="3347151"/>
                  <a:ext cx="162786" cy="189424"/>
                </a:xfrm>
                <a:custGeom>
                  <a:avLst/>
                  <a:gdLst>
                    <a:gd name="T0" fmla="*/ 2147483647 w 119"/>
                    <a:gd name="T1" fmla="*/ 2147483647 h 128"/>
                    <a:gd name="T2" fmla="*/ 2147483647 w 119"/>
                    <a:gd name="T3" fmla="*/ 2147483647 h 128"/>
                    <a:gd name="T4" fmla="*/ 2147483647 w 119"/>
                    <a:gd name="T5" fmla="*/ 2147483647 h 128"/>
                    <a:gd name="T6" fmla="*/ 2147483647 w 119"/>
                    <a:gd name="T7" fmla="*/ 0 h 128"/>
                    <a:gd name="T8" fmla="*/ 2147483647 w 119"/>
                    <a:gd name="T9" fmla="*/ 2147483647 h 128"/>
                    <a:gd name="T10" fmla="*/ 2147483647 w 119"/>
                    <a:gd name="T11" fmla="*/ 2147483647 h 128"/>
                    <a:gd name="T12" fmla="*/ 2147483647 w 119"/>
                    <a:gd name="T13" fmla="*/ 2147483647 h 128"/>
                    <a:gd name="T14" fmla="*/ 2147483647 w 119"/>
                    <a:gd name="T15" fmla="*/ 2147483647 h 128"/>
                    <a:gd name="T16" fmla="*/ 2147483647 w 119"/>
                    <a:gd name="T17" fmla="*/ 2147483647 h 128"/>
                    <a:gd name="T18" fmla="*/ 2147483647 w 119"/>
                    <a:gd name="T19" fmla="*/ 2147483647 h 128"/>
                    <a:gd name="T20" fmla="*/ 2147483647 w 119"/>
                    <a:gd name="T21" fmla="*/ 2147483647 h 128"/>
                    <a:gd name="T22" fmla="*/ 2147483647 w 119"/>
                    <a:gd name="T23" fmla="*/ 2147483647 h 128"/>
                    <a:gd name="T24" fmla="*/ 2147483647 w 119"/>
                    <a:gd name="T25" fmla="*/ 2147483647 h 128"/>
                    <a:gd name="T26" fmla="*/ 2147483647 w 119"/>
                    <a:gd name="T27" fmla="*/ 2147483647 h 128"/>
                    <a:gd name="T28" fmla="*/ 2147483647 w 119"/>
                    <a:gd name="T29" fmla="*/ 2147483647 h 128"/>
                    <a:gd name="T30" fmla="*/ 0 w 119"/>
                    <a:gd name="T31" fmla="*/ 2147483647 h 128"/>
                    <a:gd name="T32" fmla="*/ 0 w 119"/>
                    <a:gd name="T33" fmla="*/ 2147483647 h 128"/>
                    <a:gd name="T34" fmla="*/ 2147483647 w 119"/>
                    <a:gd name="T35" fmla="*/ 2147483647 h 128"/>
                    <a:gd name="T36" fmla="*/ 2147483647 w 119"/>
                    <a:gd name="T37" fmla="*/ 2147483647 h 128"/>
                    <a:gd name="T38" fmla="*/ 2147483647 w 119"/>
                    <a:gd name="T39" fmla="*/ 2147483647 h 128"/>
                    <a:gd name="T40" fmla="*/ 2147483647 w 119"/>
                    <a:gd name="T41" fmla="*/ 2147483647 h 128"/>
                    <a:gd name="T42" fmla="*/ 2147483647 w 119"/>
                    <a:gd name="T43" fmla="*/ 2147483647 h 128"/>
                    <a:gd name="T44" fmla="*/ 2147483647 w 119"/>
                    <a:gd name="T45" fmla="*/ 2147483647 h 128"/>
                    <a:gd name="T46" fmla="*/ 2147483647 w 119"/>
                    <a:gd name="T47" fmla="*/ 2147483647 h 128"/>
                    <a:gd name="T48" fmla="*/ 2147483647 w 119"/>
                    <a:gd name="T49" fmla="*/ 2147483647 h 128"/>
                    <a:gd name="T50" fmla="*/ 2147483647 w 119"/>
                    <a:gd name="T51" fmla="*/ 2147483647 h 128"/>
                    <a:gd name="T52" fmla="*/ 2147483647 w 119"/>
                    <a:gd name="T53" fmla="*/ 2147483647 h 128"/>
                    <a:gd name="T54" fmla="*/ 2147483647 w 119"/>
                    <a:gd name="T55" fmla="*/ 2147483647 h 128"/>
                    <a:gd name="T56" fmla="*/ 2147483647 w 119"/>
                    <a:gd name="T57" fmla="*/ 2147483647 h 128"/>
                    <a:gd name="T58" fmla="*/ 2147483647 w 119"/>
                    <a:gd name="T59" fmla="*/ 2147483647 h 128"/>
                    <a:gd name="T60" fmla="*/ 2147483647 w 119"/>
                    <a:gd name="T61" fmla="*/ 2147483647 h 128"/>
                    <a:gd name="T62" fmla="*/ 2147483647 w 119"/>
                    <a:gd name="T63" fmla="*/ 2147483647 h 128"/>
                    <a:gd name="T64" fmla="*/ 2147483647 w 119"/>
                    <a:gd name="T65" fmla="*/ 2147483647 h 128"/>
                    <a:gd name="T66" fmla="*/ 2147483647 w 119"/>
                    <a:gd name="T67" fmla="*/ 2147483647 h 128"/>
                    <a:gd name="T68" fmla="*/ 2147483647 w 119"/>
                    <a:gd name="T69" fmla="*/ 2147483647 h 128"/>
                    <a:gd name="T70" fmla="*/ 2147483647 w 119"/>
                    <a:gd name="T71" fmla="*/ 2147483647 h 128"/>
                    <a:gd name="T72" fmla="*/ 2147483647 w 119"/>
                    <a:gd name="T73" fmla="*/ 2147483647 h 128"/>
                    <a:gd name="T74" fmla="*/ 2147483647 w 119"/>
                    <a:gd name="T75" fmla="*/ 2147483647 h 128"/>
                    <a:gd name="T76" fmla="*/ 2147483647 w 119"/>
                    <a:gd name="T77" fmla="*/ 2147483647 h 128"/>
                    <a:gd name="T78" fmla="*/ 2147483647 w 119"/>
                    <a:gd name="T79" fmla="*/ 2147483647 h 128"/>
                    <a:gd name="T80" fmla="*/ 2147483647 w 119"/>
                    <a:gd name="T81" fmla="*/ 2147483647 h 128"/>
                    <a:gd name="T82" fmla="*/ 2147483647 w 119"/>
                    <a:gd name="T83" fmla="*/ 2147483647 h 128"/>
                    <a:gd name="T84" fmla="*/ 2147483647 w 119"/>
                    <a:gd name="T85" fmla="*/ 2147483647 h 128"/>
                    <a:gd name="T86" fmla="*/ 2147483647 w 119"/>
                    <a:gd name="T87" fmla="*/ 2147483647 h 128"/>
                    <a:gd name="T88" fmla="*/ 2147483647 w 119"/>
                    <a:gd name="T89" fmla="*/ 2147483647 h 128"/>
                    <a:gd name="T90" fmla="*/ 2147483647 w 119"/>
                    <a:gd name="T91" fmla="*/ 2147483647 h 128"/>
                    <a:gd name="T92" fmla="*/ 2147483647 w 119"/>
                    <a:gd name="T93" fmla="*/ 2147483647 h 128"/>
                    <a:gd name="T94" fmla="*/ 2147483647 w 119"/>
                    <a:gd name="T95" fmla="*/ 2147483647 h 128"/>
                    <a:gd name="T96" fmla="*/ 2147483647 w 119"/>
                    <a:gd name="T97" fmla="*/ 2147483647 h 128"/>
                    <a:gd name="T98" fmla="*/ 2147483647 w 119"/>
                    <a:gd name="T99" fmla="*/ 2147483647 h 128"/>
                    <a:gd name="T100" fmla="*/ 2147483647 w 119"/>
                    <a:gd name="T101" fmla="*/ 2147483647 h 128"/>
                    <a:gd name="T102" fmla="*/ 2147483647 w 119"/>
                    <a:gd name="T103" fmla="*/ 2147483647 h 128"/>
                    <a:gd name="T104" fmla="*/ 2147483647 w 119"/>
                    <a:gd name="T105" fmla="*/ 2147483647 h 128"/>
                    <a:gd name="T106" fmla="*/ 2147483647 w 119"/>
                    <a:gd name="T107" fmla="*/ 2147483647 h 128"/>
                    <a:gd name="T108" fmla="*/ 2147483647 w 119"/>
                    <a:gd name="T109" fmla="*/ 2147483647 h 128"/>
                    <a:gd name="T110" fmla="*/ 2147483647 w 119"/>
                    <a:gd name="T111" fmla="*/ 2147483647 h 128"/>
                    <a:gd name="T112" fmla="*/ 2147483647 w 119"/>
                    <a:gd name="T113" fmla="*/ 2147483647 h 128"/>
                    <a:gd name="T114" fmla="*/ 2147483647 w 119"/>
                    <a:gd name="T115" fmla="*/ 2147483647 h 128"/>
                    <a:gd name="T116" fmla="*/ 2147483647 w 119"/>
                    <a:gd name="T117" fmla="*/ 2147483647 h 128"/>
                    <a:gd name="T118" fmla="*/ 2147483647 w 119"/>
                    <a:gd name="T119" fmla="*/ 2147483647 h 128"/>
                    <a:gd name="T120" fmla="*/ 2147483647 w 119"/>
                    <a:gd name="T121" fmla="*/ 2147483647 h 128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19"/>
                    <a:gd name="T184" fmla="*/ 0 h 128"/>
                    <a:gd name="T185" fmla="*/ 119 w 119"/>
                    <a:gd name="T186" fmla="*/ 128 h 128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19" h="128">
                      <a:moveTo>
                        <a:pt x="103" y="27"/>
                      </a:moveTo>
                      <a:lnTo>
                        <a:pt x="110" y="22"/>
                      </a:lnTo>
                      <a:lnTo>
                        <a:pt x="115" y="14"/>
                      </a:lnTo>
                      <a:lnTo>
                        <a:pt x="117" y="11"/>
                      </a:lnTo>
                      <a:lnTo>
                        <a:pt x="119" y="7"/>
                      </a:lnTo>
                      <a:lnTo>
                        <a:pt x="117" y="4"/>
                      </a:lnTo>
                      <a:lnTo>
                        <a:pt x="115" y="0"/>
                      </a:lnTo>
                      <a:lnTo>
                        <a:pt x="111" y="0"/>
                      </a:lnTo>
                      <a:lnTo>
                        <a:pt x="110" y="1"/>
                      </a:lnTo>
                      <a:lnTo>
                        <a:pt x="107" y="9"/>
                      </a:lnTo>
                      <a:lnTo>
                        <a:pt x="106" y="11"/>
                      </a:lnTo>
                      <a:lnTo>
                        <a:pt x="102" y="13"/>
                      </a:lnTo>
                      <a:lnTo>
                        <a:pt x="100" y="13"/>
                      </a:lnTo>
                      <a:lnTo>
                        <a:pt x="97" y="13"/>
                      </a:lnTo>
                      <a:lnTo>
                        <a:pt x="91" y="11"/>
                      </a:lnTo>
                      <a:lnTo>
                        <a:pt x="86" y="10"/>
                      </a:lnTo>
                      <a:lnTo>
                        <a:pt x="80" y="10"/>
                      </a:lnTo>
                      <a:lnTo>
                        <a:pt x="70" y="11"/>
                      </a:lnTo>
                      <a:lnTo>
                        <a:pt x="67" y="12"/>
                      </a:lnTo>
                      <a:lnTo>
                        <a:pt x="61" y="14"/>
                      </a:lnTo>
                      <a:lnTo>
                        <a:pt x="58" y="16"/>
                      </a:lnTo>
                      <a:lnTo>
                        <a:pt x="53" y="16"/>
                      </a:lnTo>
                      <a:lnTo>
                        <a:pt x="46" y="20"/>
                      </a:lnTo>
                      <a:lnTo>
                        <a:pt x="42" y="23"/>
                      </a:lnTo>
                      <a:lnTo>
                        <a:pt x="39" y="24"/>
                      </a:lnTo>
                      <a:lnTo>
                        <a:pt x="17" y="29"/>
                      </a:lnTo>
                      <a:lnTo>
                        <a:pt x="17" y="32"/>
                      </a:lnTo>
                      <a:lnTo>
                        <a:pt x="16" y="36"/>
                      </a:lnTo>
                      <a:lnTo>
                        <a:pt x="11" y="42"/>
                      </a:lnTo>
                      <a:lnTo>
                        <a:pt x="11" y="44"/>
                      </a:lnTo>
                      <a:lnTo>
                        <a:pt x="9" y="48"/>
                      </a:lnTo>
                      <a:lnTo>
                        <a:pt x="0" y="54"/>
                      </a:lnTo>
                      <a:lnTo>
                        <a:pt x="0" y="56"/>
                      </a:lnTo>
                      <a:lnTo>
                        <a:pt x="0" y="58"/>
                      </a:lnTo>
                      <a:lnTo>
                        <a:pt x="2" y="61"/>
                      </a:lnTo>
                      <a:lnTo>
                        <a:pt x="3" y="63"/>
                      </a:lnTo>
                      <a:lnTo>
                        <a:pt x="7" y="65"/>
                      </a:lnTo>
                      <a:lnTo>
                        <a:pt x="11" y="65"/>
                      </a:lnTo>
                      <a:lnTo>
                        <a:pt x="16" y="65"/>
                      </a:lnTo>
                      <a:lnTo>
                        <a:pt x="17" y="67"/>
                      </a:lnTo>
                      <a:lnTo>
                        <a:pt x="18" y="68"/>
                      </a:lnTo>
                      <a:lnTo>
                        <a:pt x="18" y="70"/>
                      </a:lnTo>
                      <a:lnTo>
                        <a:pt x="17" y="73"/>
                      </a:lnTo>
                      <a:lnTo>
                        <a:pt x="20" y="75"/>
                      </a:lnTo>
                      <a:lnTo>
                        <a:pt x="25" y="80"/>
                      </a:lnTo>
                      <a:lnTo>
                        <a:pt x="30" y="81"/>
                      </a:lnTo>
                      <a:lnTo>
                        <a:pt x="35" y="81"/>
                      </a:lnTo>
                      <a:lnTo>
                        <a:pt x="41" y="81"/>
                      </a:lnTo>
                      <a:lnTo>
                        <a:pt x="46" y="82"/>
                      </a:lnTo>
                      <a:lnTo>
                        <a:pt x="50" y="83"/>
                      </a:lnTo>
                      <a:lnTo>
                        <a:pt x="51" y="87"/>
                      </a:lnTo>
                      <a:lnTo>
                        <a:pt x="51" y="89"/>
                      </a:lnTo>
                      <a:lnTo>
                        <a:pt x="50" y="90"/>
                      </a:lnTo>
                      <a:lnTo>
                        <a:pt x="49" y="90"/>
                      </a:lnTo>
                      <a:lnTo>
                        <a:pt x="41" y="88"/>
                      </a:lnTo>
                      <a:lnTo>
                        <a:pt x="33" y="87"/>
                      </a:lnTo>
                      <a:lnTo>
                        <a:pt x="28" y="87"/>
                      </a:lnTo>
                      <a:lnTo>
                        <a:pt x="23" y="90"/>
                      </a:lnTo>
                      <a:lnTo>
                        <a:pt x="21" y="93"/>
                      </a:lnTo>
                      <a:lnTo>
                        <a:pt x="21" y="97"/>
                      </a:lnTo>
                      <a:lnTo>
                        <a:pt x="25" y="99"/>
                      </a:lnTo>
                      <a:lnTo>
                        <a:pt x="26" y="100"/>
                      </a:lnTo>
                      <a:lnTo>
                        <a:pt x="28" y="106"/>
                      </a:lnTo>
                      <a:lnTo>
                        <a:pt x="31" y="110"/>
                      </a:lnTo>
                      <a:lnTo>
                        <a:pt x="32" y="113"/>
                      </a:lnTo>
                      <a:lnTo>
                        <a:pt x="33" y="114"/>
                      </a:lnTo>
                      <a:lnTo>
                        <a:pt x="39" y="116"/>
                      </a:lnTo>
                      <a:lnTo>
                        <a:pt x="42" y="121"/>
                      </a:lnTo>
                      <a:lnTo>
                        <a:pt x="46" y="125"/>
                      </a:lnTo>
                      <a:lnTo>
                        <a:pt x="51" y="127"/>
                      </a:lnTo>
                      <a:lnTo>
                        <a:pt x="53" y="128"/>
                      </a:lnTo>
                      <a:lnTo>
                        <a:pt x="55" y="127"/>
                      </a:lnTo>
                      <a:lnTo>
                        <a:pt x="56" y="126"/>
                      </a:lnTo>
                      <a:lnTo>
                        <a:pt x="58" y="124"/>
                      </a:lnTo>
                      <a:lnTo>
                        <a:pt x="56" y="119"/>
                      </a:lnTo>
                      <a:lnTo>
                        <a:pt x="54" y="115"/>
                      </a:lnTo>
                      <a:lnTo>
                        <a:pt x="53" y="110"/>
                      </a:lnTo>
                      <a:lnTo>
                        <a:pt x="53" y="108"/>
                      </a:lnTo>
                      <a:lnTo>
                        <a:pt x="54" y="106"/>
                      </a:lnTo>
                      <a:lnTo>
                        <a:pt x="58" y="103"/>
                      </a:lnTo>
                      <a:lnTo>
                        <a:pt x="59" y="102"/>
                      </a:lnTo>
                      <a:lnTo>
                        <a:pt x="58" y="101"/>
                      </a:lnTo>
                      <a:lnTo>
                        <a:pt x="58" y="99"/>
                      </a:lnTo>
                      <a:lnTo>
                        <a:pt x="58" y="97"/>
                      </a:lnTo>
                      <a:lnTo>
                        <a:pt x="61" y="100"/>
                      </a:lnTo>
                      <a:lnTo>
                        <a:pt x="67" y="100"/>
                      </a:lnTo>
                      <a:lnTo>
                        <a:pt x="70" y="100"/>
                      </a:lnTo>
                      <a:lnTo>
                        <a:pt x="73" y="96"/>
                      </a:lnTo>
                      <a:lnTo>
                        <a:pt x="73" y="95"/>
                      </a:lnTo>
                      <a:lnTo>
                        <a:pt x="73" y="93"/>
                      </a:lnTo>
                      <a:lnTo>
                        <a:pt x="69" y="89"/>
                      </a:lnTo>
                      <a:lnTo>
                        <a:pt x="61" y="80"/>
                      </a:lnTo>
                      <a:lnTo>
                        <a:pt x="59" y="76"/>
                      </a:lnTo>
                      <a:lnTo>
                        <a:pt x="58" y="73"/>
                      </a:lnTo>
                      <a:lnTo>
                        <a:pt x="58" y="65"/>
                      </a:lnTo>
                      <a:lnTo>
                        <a:pt x="56" y="57"/>
                      </a:lnTo>
                      <a:lnTo>
                        <a:pt x="55" y="55"/>
                      </a:lnTo>
                      <a:lnTo>
                        <a:pt x="53" y="51"/>
                      </a:lnTo>
                      <a:lnTo>
                        <a:pt x="51" y="50"/>
                      </a:lnTo>
                      <a:lnTo>
                        <a:pt x="51" y="49"/>
                      </a:lnTo>
                      <a:lnTo>
                        <a:pt x="54" y="46"/>
                      </a:lnTo>
                      <a:lnTo>
                        <a:pt x="58" y="45"/>
                      </a:lnTo>
                      <a:lnTo>
                        <a:pt x="60" y="43"/>
                      </a:lnTo>
                      <a:lnTo>
                        <a:pt x="61" y="42"/>
                      </a:lnTo>
                      <a:lnTo>
                        <a:pt x="61" y="39"/>
                      </a:lnTo>
                      <a:lnTo>
                        <a:pt x="61" y="37"/>
                      </a:lnTo>
                      <a:lnTo>
                        <a:pt x="61" y="35"/>
                      </a:lnTo>
                      <a:lnTo>
                        <a:pt x="64" y="33"/>
                      </a:lnTo>
                      <a:lnTo>
                        <a:pt x="65" y="33"/>
                      </a:lnTo>
                      <a:lnTo>
                        <a:pt x="68" y="35"/>
                      </a:lnTo>
                      <a:lnTo>
                        <a:pt x="70" y="38"/>
                      </a:lnTo>
                      <a:lnTo>
                        <a:pt x="72" y="43"/>
                      </a:lnTo>
                      <a:lnTo>
                        <a:pt x="74" y="43"/>
                      </a:lnTo>
                      <a:lnTo>
                        <a:pt x="75" y="43"/>
                      </a:lnTo>
                      <a:lnTo>
                        <a:pt x="77" y="38"/>
                      </a:lnTo>
                      <a:lnTo>
                        <a:pt x="77" y="35"/>
                      </a:lnTo>
                      <a:lnTo>
                        <a:pt x="75" y="32"/>
                      </a:lnTo>
                      <a:lnTo>
                        <a:pt x="74" y="31"/>
                      </a:lnTo>
                      <a:lnTo>
                        <a:pt x="74" y="27"/>
                      </a:lnTo>
                      <a:lnTo>
                        <a:pt x="82" y="25"/>
                      </a:lnTo>
                      <a:lnTo>
                        <a:pt x="88" y="25"/>
                      </a:lnTo>
                      <a:lnTo>
                        <a:pt x="96" y="25"/>
                      </a:lnTo>
                      <a:lnTo>
                        <a:pt x="103" y="2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0" name="Freeform 1190">
                  <a:extLst>
                    <a:ext uri="{FF2B5EF4-FFF2-40B4-BE49-F238E27FC236}">
                      <a16:creationId xmlns:a16="http://schemas.microsoft.com/office/drawing/2014/main" id="{02C272EA-4567-8E41-BCC1-E76BE06501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9920" y="3336796"/>
                  <a:ext cx="31078" cy="90272"/>
                </a:xfrm>
                <a:custGeom>
                  <a:avLst/>
                  <a:gdLst>
                    <a:gd name="T0" fmla="*/ 2147483647 w 23"/>
                    <a:gd name="T1" fmla="*/ 2147483647 h 61"/>
                    <a:gd name="T2" fmla="*/ 2147483647 w 23"/>
                    <a:gd name="T3" fmla="*/ 2147483647 h 61"/>
                    <a:gd name="T4" fmla="*/ 2147483647 w 23"/>
                    <a:gd name="T5" fmla="*/ 2147483647 h 61"/>
                    <a:gd name="T6" fmla="*/ 2147483647 w 23"/>
                    <a:gd name="T7" fmla="*/ 2147483647 h 61"/>
                    <a:gd name="T8" fmla="*/ 2147483647 w 23"/>
                    <a:gd name="T9" fmla="*/ 2147483647 h 61"/>
                    <a:gd name="T10" fmla="*/ 2147483647 w 23"/>
                    <a:gd name="T11" fmla="*/ 2147483647 h 61"/>
                    <a:gd name="T12" fmla="*/ 2147483647 w 23"/>
                    <a:gd name="T13" fmla="*/ 2147483647 h 61"/>
                    <a:gd name="T14" fmla="*/ 2147483647 w 23"/>
                    <a:gd name="T15" fmla="*/ 2147483647 h 61"/>
                    <a:gd name="T16" fmla="*/ 2147483647 w 23"/>
                    <a:gd name="T17" fmla="*/ 2147483647 h 61"/>
                    <a:gd name="T18" fmla="*/ 0 w 23"/>
                    <a:gd name="T19" fmla="*/ 2147483647 h 61"/>
                    <a:gd name="T20" fmla="*/ 2147483647 w 23"/>
                    <a:gd name="T21" fmla="*/ 2147483647 h 61"/>
                    <a:gd name="T22" fmla="*/ 2147483647 w 23"/>
                    <a:gd name="T23" fmla="*/ 2147483647 h 61"/>
                    <a:gd name="T24" fmla="*/ 2147483647 w 23"/>
                    <a:gd name="T25" fmla="*/ 2147483647 h 61"/>
                    <a:gd name="T26" fmla="*/ 2147483647 w 23"/>
                    <a:gd name="T27" fmla="*/ 2147483647 h 61"/>
                    <a:gd name="T28" fmla="*/ 2147483647 w 23"/>
                    <a:gd name="T29" fmla="*/ 2147483647 h 61"/>
                    <a:gd name="T30" fmla="*/ 2147483647 w 23"/>
                    <a:gd name="T31" fmla="*/ 2147483647 h 61"/>
                    <a:gd name="T32" fmla="*/ 2147483647 w 23"/>
                    <a:gd name="T33" fmla="*/ 2147483647 h 61"/>
                    <a:gd name="T34" fmla="*/ 2147483647 w 23"/>
                    <a:gd name="T35" fmla="*/ 2147483647 h 61"/>
                    <a:gd name="T36" fmla="*/ 2147483647 w 23"/>
                    <a:gd name="T37" fmla="*/ 2147483647 h 61"/>
                    <a:gd name="T38" fmla="*/ 2147483647 w 23"/>
                    <a:gd name="T39" fmla="*/ 2147483647 h 61"/>
                    <a:gd name="T40" fmla="*/ 2147483647 w 23"/>
                    <a:gd name="T41" fmla="*/ 2147483647 h 61"/>
                    <a:gd name="T42" fmla="*/ 2147483647 w 23"/>
                    <a:gd name="T43" fmla="*/ 2147483647 h 61"/>
                    <a:gd name="T44" fmla="*/ 2147483647 w 23"/>
                    <a:gd name="T45" fmla="*/ 2147483647 h 61"/>
                    <a:gd name="T46" fmla="*/ 2147483647 w 23"/>
                    <a:gd name="T47" fmla="*/ 2147483647 h 61"/>
                    <a:gd name="T48" fmla="*/ 2147483647 w 23"/>
                    <a:gd name="T49" fmla="*/ 2147483647 h 61"/>
                    <a:gd name="T50" fmla="*/ 2147483647 w 23"/>
                    <a:gd name="T51" fmla="*/ 0 h 61"/>
                    <a:gd name="T52" fmla="*/ 2147483647 w 23"/>
                    <a:gd name="T53" fmla="*/ 2147483647 h 61"/>
                    <a:gd name="T54" fmla="*/ 2147483647 w 23"/>
                    <a:gd name="T55" fmla="*/ 2147483647 h 61"/>
                    <a:gd name="T56" fmla="*/ 2147483647 w 23"/>
                    <a:gd name="T57" fmla="*/ 2147483647 h 61"/>
                    <a:gd name="T58" fmla="*/ 2147483647 w 23"/>
                    <a:gd name="T59" fmla="*/ 2147483647 h 6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3"/>
                    <a:gd name="T91" fmla="*/ 0 h 61"/>
                    <a:gd name="T92" fmla="*/ 23 w 23"/>
                    <a:gd name="T93" fmla="*/ 61 h 61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3" h="61">
                      <a:moveTo>
                        <a:pt x="1" y="12"/>
                      </a:moveTo>
                      <a:lnTo>
                        <a:pt x="4" y="13"/>
                      </a:lnTo>
                      <a:lnTo>
                        <a:pt x="5" y="14"/>
                      </a:lnTo>
                      <a:lnTo>
                        <a:pt x="4" y="17"/>
                      </a:lnTo>
                      <a:lnTo>
                        <a:pt x="3" y="19"/>
                      </a:lnTo>
                      <a:lnTo>
                        <a:pt x="1" y="21"/>
                      </a:lnTo>
                      <a:lnTo>
                        <a:pt x="1" y="27"/>
                      </a:lnTo>
                      <a:lnTo>
                        <a:pt x="1" y="30"/>
                      </a:lnTo>
                      <a:lnTo>
                        <a:pt x="1" y="39"/>
                      </a:lnTo>
                      <a:lnTo>
                        <a:pt x="0" y="46"/>
                      </a:lnTo>
                      <a:lnTo>
                        <a:pt x="1" y="53"/>
                      </a:lnTo>
                      <a:lnTo>
                        <a:pt x="6" y="61"/>
                      </a:lnTo>
                      <a:lnTo>
                        <a:pt x="15" y="55"/>
                      </a:lnTo>
                      <a:lnTo>
                        <a:pt x="17" y="51"/>
                      </a:lnTo>
                      <a:lnTo>
                        <a:pt x="17" y="49"/>
                      </a:lnTo>
                      <a:lnTo>
                        <a:pt x="22" y="43"/>
                      </a:lnTo>
                      <a:lnTo>
                        <a:pt x="23" y="39"/>
                      </a:lnTo>
                      <a:lnTo>
                        <a:pt x="23" y="36"/>
                      </a:lnTo>
                      <a:lnTo>
                        <a:pt x="23" y="33"/>
                      </a:lnTo>
                      <a:lnTo>
                        <a:pt x="19" y="23"/>
                      </a:lnTo>
                      <a:lnTo>
                        <a:pt x="18" y="17"/>
                      </a:lnTo>
                      <a:lnTo>
                        <a:pt x="18" y="11"/>
                      </a:lnTo>
                      <a:lnTo>
                        <a:pt x="17" y="8"/>
                      </a:lnTo>
                      <a:lnTo>
                        <a:pt x="15" y="5"/>
                      </a:lnTo>
                      <a:lnTo>
                        <a:pt x="10" y="1"/>
                      </a:ln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4" y="4"/>
                      </a:lnTo>
                      <a:lnTo>
                        <a:pt x="3" y="7"/>
                      </a:lnTo>
                      <a:lnTo>
                        <a:pt x="1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1" name="Freeform 1191">
                  <a:extLst>
                    <a:ext uri="{FF2B5EF4-FFF2-40B4-BE49-F238E27FC236}">
                      <a16:creationId xmlns:a16="http://schemas.microsoft.com/office/drawing/2014/main" id="{96B54D61-3AB2-3C43-9AD4-90E1974650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5839" y="3345673"/>
                  <a:ext cx="161307" cy="189424"/>
                </a:xfrm>
                <a:custGeom>
                  <a:avLst/>
                  <a:gdLst>
                    <a:gd name="T0" fmla="*/ 2147483647 w 118"/>
                    <a:gd name="T1" fmla="*/ 2147483647 h 128"/>
                    <a:gd name="T2" fmla="*/ 2147483647 w 118"/>
                    <a:gd name="T3" fmla="*/ 2147483647 h 128"/>
                    <a:gd name="T4" fmla="*/ 2147483647 w 118"/>
                    <a:gd name="T5" fmla="*/ 0 h 128"/>
                    <a:gd name="T6" fmla="*/ 2147483647 w 118"/>
                    <a:gd name="T7" fmla="*/ 2147483647 h 128"/>
                    <a:gd name="T8" fmla="*/ 2147483647 w 118"/>
                    <a:gd name="T9" fmla="*/ 2147483647 h 128"/>
                    <a:gd name="T10" fmla="*/ 2147483647 w 118"/>
                    <a:gd name="T11" fmla="*/ 2147483647 h 128"/>
                    <a:gd name="T12" fmla="*/ 2147483647 w 118"/>
                    <a:gd name="T13" fmla="*/ 2147483647 h 128"/>
                    <a:gd name="T14" fmla="*/ 2147483647 w 118"/>
                    <a:gd name="T15" fmla="*/ 2147483647 h 128"/>
                    <a:gd name="T16" fmla="*/ 2147483647 w 118"/>
                    <a:gd name="T17" fmla="*/ 2147483647 h 128"/>
                    <a:gd name="T18" fmla="*/ 2147483647 w 118"/>
                    <a:gd name="T19" fmla="*/ 2147483647 h 128"/>
                    <a:gd name="T20" fmla="*/ 2147483647 w 118"/>
                    <a:gd name="T21" fmla="*/ 2147483647 h 128"/>
                    <a:gd name="T22" fmla="*/ 2147483647 w 118"/>
                    <a:gd name="T23" fmla="*/ 2147483647 h 128"/>
                    <a:gd name="T24" fmla="*/ 2147483647 w 118"/>
                    <a:gd name="T25" fmla="*/ 2147483647 h 128"/>
                    <a:gd name="T26" fmla="*/ 2147483647 w 118"/>
                    <a:gd name="T27" fmla="*/ 2147483647 h 128"/>
                    <a:gd name="T28" fmla="*/ 0 w 118"/>
                    <a:gd name="T29" fmla="*/ 2147483647 h 128"/>
                    <a:gd name="T30" fmla="*/ 0 w 118"/>
                    <a:gd name="T31" fmla="*/ 2147483647 h 128"/>
                    <a:gd name="T32" fmla="*/ 2147483647 w 118"/>
                    <a:gd name="T33" fmla="*/ 2147483647 h 128"/>
                    <a:gd name="T34" fmla="*/ 2147483647 w 118"/>
                    <a:gd name="T35" fmla="*/ 2147483647 h 128"/>
                    <a:gd name="T36" fmla="*/ 2147483647 w 118"/>
                    <a:gd name="T37" fmla="*/ 2147483647 h 128"/>
                    <a:gd name="T38" fmla="*/ 2147483647 w 118"/>
                    <a:gd name="T39" fmla="*/ 2147483647 h 128"/>
                    <a:gd name="T40" fmla="*/ 2147483647 w 118"/>
                    <a:gd name="T41" fmla="*/ 2147483647 h 128"/>
                    <a:gd name="T42" fmla="*/ 2147483647 w 118"/>
                    <a:gd name="T43" fmla="*/ 2147483647 h 128"/>
                    <a:gd name="T44" fmla="*/ 2147483647 w 118"/>
                    <a:gd name="T45" fmla="*/ 2147483647 h 128"/>
                    <a:gd name="T46" fmla="*/ 2147483647 w 118"/>
                    <a:gd name="T47" fmla="*/ 2147483647 h 128"/>
                    <a:gd name="T48" fmla="*/ 2147483647 w 118"/>
                    <a:gd name="T49" fmla="*/ 2147483647 h 128"/>
                    <a:gd name="T50" fmla="*/ 2147483647 w 118"/>
                    <a:gd name="T51" fmla="*/ 2147483647 h 128"/>
                    <a:gd name="T52" fmla="*/ 2147483647 w 118"/>
                    <a:gd name="T53" fmla="*/ 2147483647 h 128"/>
                    <a:gd name="T54" fmla="*/ 2147483647 w 118"/>
                    <a:gd name="T55" fmla="*/ 2147483647 h 128"/>
                    <a:gd name="T56" fmla="*/ 2147483647 w 118"/>
                    <a:gd name="T57" fmla="*/ 2147483647 h 128"/>
                    <a:gd name="T58" fmla="*/ 2147483647 w 118"/>
                    <a:gd name="T59" fmla="*/ 2147483647 h 128"/>
                    <a:gd name="T60" fmla="*/ 2147483647 w 118"/>
                    <a:gd name="T61" fmla="*/ 2147483647 h 128"/>
                    <a:gd name="T62" fmla="*/ 2147483647 w 118"/>
                    <a:gd name="T63" fmla="*/ 2147483647 h 128"/>
                    <a:gd name="T64" fmla="*/ 2147483647 w 118"/>
                    <a:gd name="T65" fmla="*/ 2147483647 h 128"/>
                    <a:gd name="T66" fmla="*/ 2147483647 w 118"/>
                    <a:gd name="T67" fmla="*/ 2147483647 h 128"/>
                    <a:gd name="T68" fmla="*/ 2147483647 w 118"/>
                    <a:gd name="T69" fmla="*/ 2147483647 h 128"/>
                    <a:gd name="T70" fmla="*/ 2147483647 w 118"/>
                    <a:gd name="T71" fmla="*/ 2147483647 h 128"/>
                    <a:gd name="T72" fmla="*/ 2147483647 w 118"/>
                    <a:gd name="T73" fmla="*/ 2147483647 h 128"/>
                    <a:gd name="T74" fmla="*/ 2147483647 w 118"/>
                    <a:gd name="T75" fmla="*/ 2147483647 h 128"/>
                    <a:gd name="T76" fmla="*/ 2147483647 w 118"/>
                    <a:gd name="T77" fmla="*/ 2147483647 h 128"/>
                    <a:gd name="T78" fmla="*/ 2147483647 w 118"/>
                    <a:gd name="T79" fmla="*/ 2147483647 h 128"/>
                    <a:gd name="T80" fmla="*/ 2147483647 w 118"/>
                    <a:gd name="T81" fmla="*/ 2147483647 h 128"/>
                    <a:gd name="T82" fmla="*/ 2147483647 w 118"/>
                    <a:gd name="T83" fmla="*/ 2147483647 h 128"/>
                    <a:gd name="T84" fmla="*/ 2147483647 w 118"/>
                    <a:gd name="T85" fmla="*/ 2147483647 h 128"/>
                    <a:gd name="T86" fmla="*/ 2147483647 w 118"/>
                    <a:gd name="T87" fmla="*/ 2147483647 h 128"/>
                    <a:gd name="T88" fmla="*/ 2147483647 w 118"/>
                    <a:gd name="T89" fmla="*/ 2147483647 h 128"/>
                    <a:gd name="T90" fmla="*/ 2147483647 w 118"/>
                    <a:gd name="T91" fmla="*/ 2147483647 h 128"/>
                    <a:gd name="T92" fmla="*/ 2147483647 w 118"/>
                    <a:gd name="T93" fmla="*/ 2147483647 h 128"/>
                    <a:gd name="T94" fmla="*/ 2147483647 w 118"/>
                    <a:gd name="T95" fmla="*/ 2147483647 h 128"/>
                    <a:gd name="T96" fmla="*/ 2147483647 w 118"/>
                    <a:gd name="T97" fmla="*/ 2147483647 h 128"/>
                    <a:gd name="T98" fmla="*/ 2147483647 w 118"/>
                    <a:gd name="T99" fmla="*/ 2147483647 h 128"/>
                    <a:gd name="T100" fmla="*/ 2147483647 w 118"/>
                    <a:gd name="T101" fmla="*/ 2147483647 h 128"/>
                    <a:gd name="T102" fmla="*/ 2147483647 w 118"/>
                    <a:gd name="T103" fmla="*/ 2147483647 h 128"/>
                    <a:gd name="T104" fmla="*/ 2147483647 w 118"/>
                    <a:gd name="T105" fmla="*/ 2147483647 h 128"/>
                    <a:gd name="T106" fmla="*/ 2147483647 w 118"/>
                    <a:gd name="T107" fmla="*/ 2147483647 h 12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18"/>
                    <a:gd name="T163" fmla="*/ 0 h 128"/>
                    <a:gd name="T164" fmla="*/ 118 w 118"/>
                    <a:gd name="T165" fmla="*/ 128 h 12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18" h="128">
                      <a:moveTo>
                        <a:pt x="103" y="27"/>
                      </a:moveTo>
                      <a:lnTo>
                        <a:pt x="103" y="27"/>
                      </a:lnTo>
                      <a:lnTo>
                        <a:pt x="109" y="21"/>
                      </a:lnTo>
                      <a:lnTo>
                        <a:pt x="114" y="14"/>
                      </a:lnTo>
                      <a:lnTo>
                        <a:pt x="117" y="11"/>
                      </a:lnTo>
                      <a:lnTo>
                        <a:pt x="118" y="7"/>
                      </a:lnTo>
                      <a:lnTo>
                        <a:pt x="117" y="4"/>
                      </a:lnTo>
                      <a:lnTo>
                        <a:pt x="114" y="0"/>
                      </a:lnTo>
                      <a:lnTo>
                        <a:pt x="111" y="0"/>
                      </a:lnTo>
                      <a:lnTo>
                        <a:pt x="109" y="1"/>
                      </a:lnTo>
                      <a:lnTo>
                        <a:pt x="107" y="8"/>
                      </a:lnTo>
                      <a:lnTo>
                        <a:pt x="106" y="11"/>
                      </a:lnTo>
                      <a:lnTo>
                        <a:pt x="102" y="13"/>
                      </a:lnTo>
                      <a:lnTo>
                        <a:pt x="99" y="13"/>
                      </a:lnTo>
                      <a:lnTo>
                        <a:pt x="97" y="13"/>
                      </a:lnTo>
                      <a:lnTo>
                        <a:pt x="90" y="11"/>
                      </a:lnTo>
                      <a:lnTo>
                        <a:pt x="85" y="10"/>
                      </a:lnTo>
                      <a:lnTo>
                        <a:pt x="80" y="10"/>
                      </a:lnTo>
                      <a:lnTo>
                        <a:pt x="70" y="11"/>
                      </a:lnTo>
                      <a:lnTo>
                        <a:pt x="66" y="12"/>
                      </a:lnTo>
                      <a:lnTo>
                        <a:pt x="61" y="14"/>
                      </a:lnTo>
                      <a:lnTo>
                        <a:pt x="57" y="15"/>
                      </a:lnTo>
                      <a:lnTo>
                        <a:pt x="52" y="15"/>
                      </a:lnTo>
                      <a:lnTo>
                        <a:pt x="46" y="20"/>
                      </a:lnTo>
                      <a:lnTo>
                        <a:pt x="42" y="23"/>
                      </a:lnTo>
                      <a:lnTo>
                        <a:pt x="38" y="24"/>
                      </a:lnTo>
                      <a:lnTo>
                        <a:pt x="17" y="28"/>
                      </a:lnTo>
                      <a:lnTo>
                        <a:pt x="17" y="32"/>
                      </a:lnTo>
                      <a:lnTo>
                        <a:pt x="15" y="36"/>
                      </a:lnTo>
                      <a:lnTo>
                        <a:pt x="10" y="42"/>
                      </a:lnTo>
                      <a:lnTo>
                        <a:pt x="10" y="44"/>
                      </a:lnTo>
                      <a:lnTo>
                        <a:pt x="9" y="47"/>
                      </a:lnTo>
                      <a:lnTo>
                        <a:pt x="0" y="53"/>
                      </a:lnTo>
                      <a:lnTo>
                        <a:pt x="0" y="56"/>
                      </a:lnTo>
                      <a:lnTo>
                        <a:pt x="0" y="58"/>
                      </a:lnTo>
                      <a:lnTo>
                        <a:pt x="1" y="61"/>
                      </a:lnTo>
                      <a:lnTo>
                        <a:pt x="3" y="63"/>
                      </a:lnTo>
                      <a:lnTo>
                        <a:pt x="7" y="65"/>
                      </a:lnTo>
                      <a:lnTo>
                        <a:pt x="10" y="65"/>
                      </a:lnTo>
                      <a:lnTo>
                        <a:pt x="15" y="65"/>
                      </a:lnTo>
                      <a:lnTo>
                        <a:pt x="17" y="66"/>
                      </a:lnTo>
                      <a:lnTo>
                        <a:pt x="18" y="68"/>
                      </a:lnTo>
                      <a:lnTo>
                        <a:pt x="18" y="70"/>
                      </a:lnTo>
                      <a:lnTo>
                        <a:pt x="17" y="72"/>
                      </a:lnTo>
                      <a:lnTo>
                        <a:pt x="19" y="75"/>
                      </a:lnTo>
                      <a:lnTo>
                        <a:pt x="24" y="79"/>
                      </a:lnTo>
                      <a:lnTo>
                        <a:pt x="29" y="81"/>
                      </a:lnTo>
                      <a:lnTo>
                        <a:pt x="34" y="81"/>
                      </a:lnTo>
                      <a:lnTo>
                        <a:pt x="41" y="81"/>
                      </a:lnTo>
                      <a:lnTo>
                        <a:pt x="46" y="82"/>
                      </a:lnTo>
                      <a:lnTo>
                        <a:pt x="50" y="83"/>
                      </a:lnTo>
                      <a:lnTo>
                        <a:pt x="51" y="87"/>
                      </a:lnTo>
                      <a:lnTo>
                        <a:pt x="51" y="89"/>
                      </a:lnTo>
                      <a:lnTo>
                        <a:pt x="50" y="90"/>
                      </a:lnTo>
                      <a:lnTo>
                        <a:pt x="48" y="90"/>
                      </a:lnTo>
                      <a:lnTo>
                        <a:pt x="41" y="88"/>
                      </a:lnTo>
                      <a:lnTo>
                        <a:pt x="33" y="87"/>
                      </a:lnTo>
                      <a:lnTo>
                        <a:pt x="28" y="87"/>
                      </a:lnTo>
                      <a:lnTo>
                        <a:pt x="23" y="90"/>
                      </a:lnTo>
                      <a:lnTo>
                        <a:pt x="21" y="93"/>
                      </a:lnTo>
                      <a:lnTo>
                        <a:pt x="21" y="97"/>
                      </a:lnTo>
                      <a:lnTo>
                        <a:pt x="24" y="98"/>
                      </a:lnTo>
                      <a:lnTo>
                        <a:pt x="26" y="100"/>
                      </a:lnTo>
                      <a:lnTo>
                        <a:pt x="28" y="106"/>
                      </a:lnTo>
                      <a:lnTo>
                        <a:pt x="31" y="110"/>
                      </a:lnTo>
                      <a:lnTo>
                        <a:pt x="32" y="113"/>
                      </a:lnTo>
                      <a:lnTo>
                        <a:pt x="33" y="114"/>
                      </a:lnTo>
                      <a:lnTo>
                        <a:pt x="38" y="116"/>
                      </a:lnTo>
                      <a:lnTo>
                        <a:pt x="42" y="121"/>
                      </a:lnTo>
                      <a:lnTo>
                        <a:pt x="46" y="125"/>
                      </a:lnTo>
                      <a:lnTo>
                        <a:pt x="51" y="127"/>
                      </a:lnTo>
                      <a:lnTo>
                        <a:pt x="52" y="128"/>
                      </a:lnTo>
                      <a:lnTo>
                        <a:pt x="55" y="127"/>
                      </a:lnTo>
                      <a:lnTo>
                        <a:pt x="56" y="126"/>
                      </a:lnTo>
                      <a:lnTo>
                        <a:pt x="57" y="123"/>
                      </a:lnTo>
                      <a:lnTo>
                        <a:pt x="56" y="119"/>
                      </a:lnTo>
                      <a:lnTo>
                        <a:pt x="54" y="115"/>
                      </a:lnTo>
                      <a:lnTo>
                        <a:pt x="52" y="110"/>
                      </a:lnTo>
                      <a:lnTo>
                        <a:pt x="52" y="108"/>
                      </a:lnTo>
                      <a:lnTo>
                        <a:pt x="54" y="106"/>
                      </a:lnTo>
                      <a:lnTo>
                        <a:pt x="57" y="103"/>
                      </a:lnTo>
                      <a:lnTo>
                        <a:pt x="59" y="102"/>
                      </a:lnTo>
                      <a:lnTo>
                        <a:pt x="57" y="101"/>
                      </a:lnTo>
                      <a:lnTo>
                        <a:pt x="57" y="98"/>
                      </a:lnTo>
                      <a:lnTo>
                        <a:pt x="57" y="97"/>
                      </a:lnTo>
                      <a:lnTo>
                        <a:pt x="61" y="100"/>
                      </a:lnTo>
                      <a:lnTo>
                        <a:pt x="66" y="100"/>
                      </a:lnTo>
                      <a:lnTo>
                        <a:pt x="70" y="100"/>
                      </a:lnTo>
                      <a:lnTo>
                        <a:pt x="73" y="96"/>
                      </a:lnTo>
                      <a:lnTo>
                        <a:pt x="73" y="95"/>
                      </a:lnTo>
                      <a:lnTo>
                        <a:pt x="73" y="93"/>
                      </a:lnTo>
                      <a:lnTo>
                        <a:pt x="69" y="89"/>
                      </a:lnTo>
                      <a:lnTo>
                        <a:pt x="61" y="79"/>
                      </a:lnTo>
                      <a:lnTo>
                        <a:pt x="59" y="76"/>
                      </a:lnTo>
                      <a:lnTo>
                        <a:pt x="57" y="72"/>
                      </a:lnTo>
                      <a:lnTo>
                        <a:pt x="57" y="65"/>
                      </a:lnTo>
                      <a:lnTo>
                        <a:pt x="56" y="57"/>
                      </a:lnTo>
                      <a:lnTo>
                        <a:pt x="55" y="55"/>
                      </a:lnTo>
                      <a:lnTo>
                        <a:pt x="52" y="51"/>
                      </a:lnTo>
                      <a:lnTo>
                        <a:pt x="51" y="50"/>
                      </a:lnTo>
                      <a:lnTo>
                        <a:pt x="51" y="49"/>
                      </a:lnTo>
                      <a:lnTo>
                        <a:pt x="54" y="46"/>
                      </a:lnTo>
                      <a:lnTo>
                        <a:pt x="57" y="45"/>
                      </a:lnTo>
                      <a:lnTo>
                        <a:pt x="60" y="43"/>
                      </a:lnTo>
                      <a:lnTo>
                        <a:pt x="61" y="42"/>
                      </a:lnTo>
                      <a:lnTo>
                        <a:pt x="61" y="39"/>
                      </a:lnTo>
                      <a:lnTo>
                        <a:pt x="61" y="37"/>
                      </a:lnTo>
                      <a:lnTo>
                        <a:pt x="61" y="34"/>
                      </a:lnTo>
                      <a:lnTo>
                        <a:pt x="64" y="33"/>
                      </a:lnTo>
                      <a:lnTo>
                        <a:pt x="65" y="33"/>
                      </a:lnTo>
                      <a:lnTo>
                        <a:pt x="68" y="34"/>
                      </a:lnTo>
                      <a:lnTo>
                        <a:pt x="70" y="38"/>
                      </a:lnTo>
                      <a:lnTo>
                        <a:pt x="71" y="43"/>
                      </a:lnTo>
                      <a:lnTo>
                        <a:pt x="74" y="43"/>
                      </a:lnTo>
                      <a:lnTo>
                        <a:pt x="75" y="43"/>
                      </a:lnTo>
                      <a:lnTo>
                        <a:pt x="76" y="38"/>
                      </a:lnTo>
                      <a:lnTo>
                        <a:pt x="76" y="34"/>
                      </a:lnTo>
                      <a:lnTo>
                        <a:pt x="75" y="32"/>
                      </a:lnTo>
                      <a:lnTo>
                        <a:pt x="74" y="31"/>
                      </a:lnTo>
                      <a:lnTo>
                        <a:pt x="74" y="27"/>
                      </a:lnTo>
                      <a:lnTo>
                        <a:pt x="81" y="25"/>
                      </a:lnTo>
                      <a:lnTo>
                        <a:pt x="88" y="25"/>
                      </a:lnTo>
                      <a:lnTo>
                        <a:pt x="95" y="25"/>
                      </a:lnTo>
                      <a:lnTo>
                        <a:pt x="103" y="2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2" name="Freeform 1192">
                  <a:extLst>
                    <a:ext uri="{FF2B5EF4-FFF2-40B4-BE49-F238E27FC236}">
                      <a16:creationId xmlns:a16="http://schemas.microsoft.com/office/drawing/2014/main" id="{1BDB14AE-1C65-6B4A-895D-DCD3272C50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8444" y="3335315"/>
                  <a:ext cx="31077" cy="88792"/>
                </a:xfrm>
                <a:custGeom>
                  <a:avLst/>
                  <a:gdLst>
                    <a:gd name="T0" fmla="*/ 2147483647 w 23"/>
                    <a:gd name="T1" fmla="*/ 2147483647 h 60"/>
                    <a:gd name="T2" fmla="*/ 2147483647 w 23"/>
                    <a:gd name="T3" fmla="*/ 2147483647 h 60"/>
                    <a:gd name="T4" fmla="*/ 2147483647 w 23"/>
                    <a:gd name="T5" fmla="*/ 2147483647 h 60"/>
                    <a:gd name="T6" fmla="*/ 2147483647 w 23"/>
                    <a:gd name="T7" fmla="*/ 2147483647 h 60"/>
                    <a:gd name="T8" fmla="*/ 2147483647 w 23"/>
                    <a:gd name="T9" fmla="*/ 2147483647 h 60"/>
                    <a:gd name="T10" fmla="*/ 2147483647 w 23"/>
                    <a:gd name="T11" fmla="*/ 2147483647 h 60"/>
                    <a:gd name="T12" fmla="*/ 2147483647 w 23"/>
                    <a:gd name="T13" fmla="*/ 2147483647 h 60"/>
                    <a:gd name="T14" fmla="*/ 2147483647 w 23"/>
                    <a:gd name="T15" fmla="*/ 2147483647 h 60"/>
                    <a:gd name="T16" fmla="*/ 2147483647 w 23"/>
                    <a:gd name="T17" fmla="*/ 2147483647 h 60"/>
                    <a:gd name="T18" fmla="*/ 2147483647 w 23"/>
                    <a:gd name="T19" fmla="*/ 2147483647 h 60"/>
                    <a:gd name="T20" fmla="*/ 2147483647 w 23"/>
                    <a:gd name="T21" fmla="*/ 2147483647 h 60"/>
                    <a:gd name="T22" fmla="*/ 2147483647 w 23"/>
                    <a:gd name="T23" fmla="*/ 2147483647 h 60"/>
                    <a:gd name="T24" fmla="*/ 2147483647 w 23"/>
                    <a:gd name="T25" fmla="*/ 2147483647 h 60"/>
                    <a:gd name="T26" fmla="*/ 0 w 23"/>
                    <a:gd name="T27" fmla="*/ 2147483647 h 60"/>
                    <a:gd name="T28" fmla="*/ 2147483647 w 23"/>
                    <a:gd name="T29" fmla="*/ 2147483647 h 60"/>
                    <a:gd name="T30" fmla="*/ 2147483647 w 23"/>
                    <a:gd name="T31" fmla="*/ 2147483647 h 60"/>
                    <a:gd name="T32" fmla="*/ 2147483647 w 23"/>
                    <a:gd name="T33" fmla="*/ 2147483647 h 60"/>
                    <a:gd name="T34" fmla="*/ 2147483647 w 23"/>
                    <a:gd name="T35" fmla="*/ 2147483647 h 60"/>
                    <a:gd name="T36" fmla="*/ 2147483647 w 23"/>
                    <a:gd name="T37" fmla="*/ 2147483647 h 60"/>
                    <a:gd name="T38" fmla="*/ 2147483647 w 23"/>
                    <a:gd name="T39" fmla="*/ 2147483647 h 60"/>
                    <a:gd name="T40" fmla="*/ 2147483647 w 23"/>
                    <a:gd name="T41" fmla="*/ 2147483647 h 60"/>
                    <a:gd name="T42" fmla="*/ 2147483647 w 23"/>
                    <a:gd name="T43" fmla="*/ 2147483647 h 60"/>
                    <a:gd name="T44" fmla="*/ 2147483647 w 23"/>
                    <a:gd name="T45" fmla="*/ 2147483647 h 60"/>
                    <a:gd name="T46" fmla="*/ 2147483647 w 23"/>
                    <a:gd name="T47" fmla="*/ 2147483647 h 60"/>
                    <a:gd name="T48" fmla="*/ 2147483647 w 23"/>
                    <a:gd name="T49" fmla="*/ 2147483647 h 60"/>
                    <a:gd name="T50" fmla="*/ 2147483647 w 23"/>
                    <a:gd name="T51" fmla="*/ 2147483647 h 60"/>
                    <a:gd name="T52" fmla="*/ 2147483647 w 23"/>
                    <a:gd name="T53" fmla="*/ 2147483647 h 60"/>
                    <a:gd name="T54" fmla="*/ 2147483647 w 23"/>
                    <a:gd name="T55" fmla="*/ 2147483647 h 60"/>
                    <a:gd name="T56" fmla="*/ 2147483647 w 23"/>
                    <a:gd name="T57" fmla="*/ 2147483647 h 60"/>
                    <a:gd name="T58" fmla="*/ 2147483647 w 23"/>
                    <a:gd name="T59" fmla="*/ 2147483647 h 60"/>
                    <a:gd name="T60" fmla="*/ 2147483647 w 23"/>
                    <a:gd name="T61" fmla="*/ 2147483647 h 60"/>
                    <a:gd name="T62" fmla="*/ 2147483647 w 23"/>
                    <a:gd name="T63" fmla="*/ 2147483647 h 60"/>
                    <a:gd name="T64" fmla="*/ 2147483647 w 23"/>
                    <a:gd name="T65" fmla="*/ 2147483647 h 60"/>
                    <a:gd name="T66" fmla="*/ 2147483647 w 23"/>
                    <a:gd name="T67" fmla="*/ 2147483647 h 60"/>
                    <a:gd name="T68" fmla="*/ 2147483647 w 23"/>
                    <a:gd name="T69" fmla="*/ 2147483647 h 60"/>
                    <a:gd name="T70" fmla="*/ 2147483647 w 23"/>
                    <a:gd name="T71" fmla="*/ 2147483647 h 60"/>
                    <a:gd name="T72" fmla="*/ 2147483647 w 23"/>
                    <a:gd name="T73" fmla="*/ 0 h 60"/>
                    <a:gd name="T74" fmla="*/ 2147483647 w 23"/>
                    <a:gd name="T75" fmla="*/ 2147483647 h 60"/>
                    <a:gd name="T76" fmla="*/ 2147483647 w 23"/>
                    <a:gd name="T77" fmla="*/ 2147483647 h 60"/>
                    <a:gd name="T78" fmla="*/ 2147483647 w 23"/>
                    <a:gd name="T79" fmla="*/ 2147483647 h 60"/>
                    <a:gd name="T80" fmla="*/ 2147483647 w 23"/>
                    <a:gd name="T81" fmla="*/ 2147483647 h 60"/>
                    <a:gd name="T82" fmla="*/ 2147483647 w 23"/>
                    <a:gd name="T83" fmla="*/ 2147483647 h 60"/>
                    <a:gd name="T84" fmla="*/ 2147483647 w 23"/>
                    <a:gd name="T85" fmla="*/ 2147483647 h 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3"/>
                    <a:gd name="T130" fmla="*/ 0 h 60"/>
                    <a:gd name="T131" fmla="*/ 23 w 23"/>
                    <a:gd name="T132" fmla="*/ 60 h 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3" h="60">
                      <a:moveTo>
                        <a:pt x="1" y="12"/>
                      </a:moveTo>
                      <a:lnTo>
                        <a:pt x="1" y="12"/>
                      </a:lnTo>
                      <a:lnTo>
                        <a:pt x="4" y="13"/>
                      </a:lnTo>
                      <a:lnTo>
                        <a:pt x="5" y="14"/>
                      </a:lnTo>
                      <a:lnTo>
                        <a:pt x="4" y="17"/>
                      </a:lnTo>
                      <a:lnTo>
                        <a:pt x="2" y="19"/>
                      </a:lnTo>
                      <a:lnTo>
                        <a:pt x="1" y="21"/>
                      </a:lnTo>
                      <a:lnTo>
                        <a:pt x="1" y="27"/>
                      </a:lnTo>
                      <a:lnTo>
                        <a:pt x="1" y="30"/>
                      </a:lnTo>
                      <a:lnTo>
                        <a:pt x="1" y="39"/>
                      </a:lnTo>
                      <a:lnTo>
                        <a:pt x="0" y="46"/>
                      </a:lnTo>
                      <a:lnTo>
                        <a:pt x="1" y="53"/>
                      </a:lnTo>
                      <a:lnTo>
                        <a:pt x="6" y="60"/>
                      </a:lnTo>
                      <a:lnTo>
                        <a:pt x="15" y="54"/>
                      </a:lnTo>
                      <a:lnTo>
                        <a:pt x="16" y="51"/>
                      </a:lnTo>
                      <a:lnTo>
                        <a:pt x="16" y="49"/>
                      </a:lnTo>
                      <a:lnTo>
                        <a:pt x="21" y="43"/>
                      </a:lnTo>
                      <a:lnTo>
                        <a:pt x="23" y="39"/>
                      </a:lnTo>
                      <a:lnTo>
                        <a:pt x="23" y="35"/>
                      </a:lnTo>
                      <a:lnTo>
                        <a:pt x="23" y="33"/>
                      </a:lnTo>
                      <a:lnTo>
                        <a:pt x="19" y="22"/>
                      </a:lnTo>
                      <a:lnTo>
                        <a:pt x="18" y="17"/>
                      </a:lnTo>
                      <a:lnTo>
                        <a:pt x="18" y="11"/>
                      </a:lnTo>
                      <a:lnTo>
                        <a:pt x="16" y="8"/>
                      </a:lnTo>
                      <a:lnTo>
                        <a:pt x="15" y="5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4" y="3"/>
                      </a:lnTo>
                      <a:lnTo>
                        <a:pt x="2" y="7"/>
                      </a:lnTo>
                      <a:lnTo>
                        <a:pt x="1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3" name="Freeform 1193">
                  <a:extLst>
                    <a:ext uri="{FF2B5EF4-FFF2-40B4-BE49-F238E27FC236}">
                      <a16:creationId xmlns:a16="http://schemas.microsoft.com/office/drawing/2014/main" id="{F50D07DC-A05C-F748-8F4F-5AFFDDBEE9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3415" y="3191768"/>
                  <a:ext cx="226420" cy="198303"/>
                </a:xfrm>
                <a:custGeom>
                  <a:avLst/>
                  <a:gdLst>
                    <a:gd name="T0" fmla="*/ 2147483647 w 166"/>
                    <a:gd name="T1" fmla="*/ 2147483647 h 134"/>
                    <a:gd name="T2" fmla="*/ 2147483647 w 166"/>
                    <a:gd name="T3" fmla="*/ 2147483647 h 134"/>
                    <a:gd name="T4" fmla="*/ 2147483647 w 166"/>
                    <a:gd name="T5" fmla="*/ 2147483647 h 134"/>
                    <a:gd name="T6" fmla="*/ 2147483647 w 166"/>
                    <a:gd name="T7" fmla="*/ 2147483647 h 134"/>
                    <a:gd name="T8" fmla="*/ 2147483647 w 166"/>
                    <a:gd name="T9" fmla="*/ 2147483647 h 134"/>
                    <a:gd name="T10" fmla="*/ 2147483647 w 166"/>
                    <a:gd name="T11" fmla="*/ 2147483647 h 134"/>
                    <a:gd name="T12" fmla="*/ 2147483647 w 166"/>
                    <a:gd name="T13" fmla="*/ 2147483647 h 134"/>
                    <a:gd name="T14" fmla="*/ 2147483647 w 166"/>
                    <a:gd name="T15" fmla="*/ 2147483647 h 134"/>
                    <a:gd name="T16" fmla="*/ 2147483647 w 166"/>
                    <a:gd name="T17" fmla="*/ 2147483647 h 134"/>
                    <a:gd name="T18" fmla="*/ 2147483647 w 166"/>
                    <a:gd name="T19" fmla="*/ 2147483647 h 134"/>
                    <a:gd name="T20" fmla="*/ 2147483647 w 166"/>
                    <a:gd name="T21" fmla="*/ 2147483647 h 134"/>
                    <a:gd name="T22" fmla="*/ 2147483647 w 166"/>
                    <a:gd name="T23" fmla="*/ 2147483647 h 134"/>
                    <a:gd name="T24" fmla="*/ 2147483647 w 166"/>
                    <a:gd name="T25" fmla="*/ 2147483647 h 134"/>
                    <a:gd name="T26" fmla="*/ 2147483647 w 166"/>
                    <a:gd name="T27" fmla="*/ 2147483647 h 134"/>
                    <a:gd name="T28" fmla="*/ 2147483647 w 166"/>
                    <a:gd name="T29" fmla="*/ 2147483647 h 134"/>
                    <a:gd name="T30" fmla="*/ 2147483647 w 166"/>
                    <a:gd name="T31" fmla="*/ 2147483647 h 134"/>
                    <a:gd name="T32" fmla="*/ 2147483647 w 166"/>
                    <a:gd name="T33" fmla="*/ 2147483647 h 134"/>
                    <a:gd name="T34" fmla="*/ 2147483647 w 166"/>
                    <a:gd name="T35" fmla="*/ 2147483647 h 134"/>
                    <a:gd name="T36" fmla="*/ 2147483647 w 166"/>
                    <a:gd name="T37" fmla="*/ 2147483647 h 134"/>
                    <a:gd name="T38" fmla="*/ 2147483647 w 166"/>
                    <a:gd name="T39" fmla="*/ 2147483647 h 134"/>
                    <a:gd name="T40" fmla="*/ 2147483647 w 166"/>
                    <a:gd name="T41" fmla="*/ 2147483647 h 134"/>
                    <a:gd name="T42" fmla="*/ 2147483647 w 166"/>
                    <a:gd name="T43" fmla="*/ 2147483647 h 134"/>
                    <a:gd name="T44" fmla="*/ 2147483647 w 166"/>
                    <a:gd name="T45" fmla="*/ 2147483647 h 134"/>
                    <a:gd name="T46" fmla="*/ 2147483647 w 166"/>
                    <a:gd name="T47" fmla="*/ 2147483647 h 134"/>
                    <a:gd name="T48" fmla="*/ 2147483647 w 166"/>
                    <a:gd name="T49" fmla="*/ 2147483647 h 134"/>
                    <a:gd name="T50" fmla="*/ 2147483647 w 166"/>
                    <a:gd name="T51" fmla="*/ 2147483647 h 134"/>
                    <a:gd name="T52" fmla="*/ 2147483647 w 166"/>
                    <a:gd name="T53" fmla="*/ 2147483647 h 134"/>
                    <a:gd name="T54" fmla="*/ 2147483647 w 166"/>
                    <a:gd name="T55" fmla="*/ 2147483647 h 134"/>
                    <a:gd name="T56" fmla="*/ 2147483647 w 166"/>
                    <a:gd name="T57" fmla="*/ 2147483647 h 134"/>
                    <a:gd name="T58" fmla="*/ 2147483647 w 166"/>
                    <a:gd name="T59" fmla="*/ 2147483647 h 134"/>
                    <a:gd name="T60" fmla="*/ 2147483647 w 166"/>
                    <a:gd name="T61" fmla="*/ 2147483647 h 134"/>
                    <a:gd name="T62" fmla="*/ 2147483647 w 166"/>
                    <a:gd name="T63" fmla="*/ 2147483647 h 134"/>
                    <a:gd name="T64" fmla="*/ 2147483647 w 166"/>
                    <a:gd name="T65" fmla="*/ 2147483647 h 134"/>
                    <a:gd name="T66" fmla="*/ 0 w 166"/>
                    <a:gd name="T67" fmla="*/ 2147483647 h 134"/>
                    <a:gd name="T68" fmla="*/ 0 w 166"/>
                    <a:gd name="T69" fmla="*/ 2147483647 h 134"/>
                    <a:gd name="T70" fmla="*/ 2147483647 w 166"/>
                    <a:gd name="T71" fmla="*/ 2147483647 h 134"/>
                    <a:gd name="T72" fmla="*/ 2147483647 w 166"/>
                    <a:gd name="T73" fmla="*/ 2147483647 h 134"/>
                    <a:gd name="T74" fmla="*/ 2147483647 w 166"/>
                    <a:gd name="T75" fmla="*/ 2147483647 h 134"/>
                    <a:gd name="T76" fmla="*/ 2147483647 w 166"/>
                    <a:gd name="T77" fmla="*/ 2147483647 h 134"/>
                    <a:gd name="T78" fmla="*/ 2147483647 w 166"/>
                    <a:gd name="T79" fmla="*/ 2147483647 h 134"/>
                    <a:gd name="T80" fmla="*/ 2147483647 w 166"/>
                    <a:gd name="T81" fmla="*/ 2147483647 h 134"/>
                    <a:gd name="T82" fmla="*/ 2147483647 w 166"/>
                    <a:gd name="T83" fmla="*/ 2147483647 h 134"/>
                    <a:gd name="T84" fmla="*/ 2147483647 w 166"/>
                    <a:gd name="T85" fmla="*/ 2147483647 h 134"/>
                    <a:gd name="T86" fmla="*/ 2147483647 w 166"/>
                    <a:gd name="T87" fmla="*/ 2147483647 h 134"/>
                    <a:gd name="T88" fmla="*/ 2147483647 w 166"/>
                    <a:gd name="T89" fmla="*/ 2147483647 h 134"/>
                    <a:gd name="T90" fmla="*/ 2147483647 w 166"/>
                    <a:gd name="T91" fmla="*/ 2147483647 h 134"/>
                    <a:gd name="T92" fmla="*/ 2147483647 w 166"/>
                    <a:gd name="T93" fmla="*/ 2147483647 h 134"/>
                    <a:gd name="T94" fmla="*/ 2147483647 w 166"/>
                    <a:gd name="T95" fmla="*/ 2147483647 h 134"/>
                    <a:gd name="T96" fmla="*/ 2147483647 w 166"/>
                    <a:gd name="T97" fmla="*/ 2147483647 h 134"/>
                    <a:gd name="T98" fmla="*/ 2147483647 w 166"/>
                    <a:gd name="T99" fmla="*/ 2147483647 h 134"/>
                    <a:gd name="T100" fmla="*/ 2147483647 w 166"/>
                    <a:gd name="T101" fmla="*/ 2147483647 h 134"/>
                    <a:gd name="T102" fmla="*/ 2147483647 w 166"/>
                    <a:gd name="T103" fmla="*/ 2147483647 h 134"/>
                    <a:gd name="T104" fmla="*/ 2147483647 w 166"/>
                    <a:gd name="T105" fmla="*/ 2147483647 h 13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66"/>
                    <a:gd name="T160" fmla="*/ 0 h 134"/>
                    <a:gd name="T161" fmla="*/ 166 w 166"/>
                    <a:gd name="T162" fmla="*/ 134 h 13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66" h="134">
                      <a:moveTo>
                        <a:pt x="108" y="110"/>
                      </a:moveTo>
                      <a:lnTo>
                        <a:pt x="110" y="105"/>
                      </a:lnTo>
                      <a:lnTo>
                        <a:pt x="111" y="102"/>
                      </a:lnTo>
                      <a:lnTo>
                        <a:pt x="112" y="99"/>
                      </a:lnTo>
                      <a:lnTo>
                        <a:pt x="115" y="98"/>
                      </a:lnTo>
                      <a:lnTo>
                        <a:pt x="117" y="99"/>
                      </a:lnTo>
                      <a:lnTo>
                        <a:pt x="122" y="103"/>
                      </a:lnTo>
                      <a:lnTo>
                        <a:pt x="124" y="106"/>
                      </a:lnTo>
                      <a:lnTo>
                        <a:pt x="125" y="109"/>
                      </a:lnTo>
                      <a:lnTo>
                        <a:pt x="125" y="115"/>
                      </a:lnTo>
                      <a:lnTo>
                        <a:pt x="126" y="121"/>
                      </a:lnTo>
                      <a:lnTo>
                        <a:pt x="130" y="131"/>
                      </a:lnTo>
                      <a:lnTo>
                        <a:pt x="130" y="134"/>
                      </a:lnTo>
                      <a:lnTo>
                        <a:pt x="152" y="129"/>
                      </a:lnTo>
                      <a:lnTo>
                        <a:pt x="155" y="128"/>
                      </a:lnTo>
                      <a:lnTo>
                        <a:pt x="159" y="125"/>
                      </a:lnTo>
                      <a:lnTo>
                        <a:pt x="166" y="121"/>
                      </a:lnTo>
                      <a:lnTo>
                        <a:pt x="163" y="121"/>
                      </a:lnTo>
                      <a:lnTo>
                        <a:pt x="162" y="118"/>
                      </a:lnTo>
                      <a:lnTo>
                        <a:pt x="162" y="112"/>
                      </a:lnTo>
                      <a:lnTo>
                        <a:pt x="158" y="106"/>
                      </a:lnTo>
                      <a:lnTo>
                        <a:pt x="157" y="102"/>
                      </a:lnTo>
                      <a:lnTo>
                        <a:pt x="157" y="97"/>
                      </a:lnTo>
                      <a:lnTo>
                        <a:pt x="159" y="91"/>
                      </a:lnTo>
                      <a:lnTo>
                        <a:pt x="162" y="86"/>
                      </a:lnTo>
                      <a:lnTo>
                        <a:pt x="163" y="85"/>
                      </a:lnTo>
                      <a:lnTo>
                        <a:pt x="163" y="83"/>
                      </a:lnTo>
                      <a:lnTo>
                        <a:pt x="160" y="79"/>
                      </a:lnTo>
                      <a:lnTo>
                        <a:pt x="157" y="74"/>
                      </a:lnTo>
                      <a:lnTo>
                        <a:pt x="154" y="71"/>
                      </a:lnTo>
                      <a:lnTo>
                        <a:pt x="155" y="65"/>
                      </a:lnTo>
                      <a:lnTo>
                        <a:pt x="158" y="60"/>
                      </a:lnTo>
                      <a:lnTo>
                        <a:pt x="162" y="57"/>
                      </a:lnTo>
                      <a:lnTo>
                        <a:pt x="163" y="55"/>
                      </a:lnTo>
                      <a:lnTo>
                        <a:pt x="164" y="55"/>
                      </a:lnTo>
                      <a:lnTo>
                        <a:pt x="164" y="52"/>
                      </a:lnTo>
                      <a:lnTo>
                        <a:pt x="163" y="48"/>
                      </a:lnTo>
                      <a:lnTo>
                        <a:pt x="160" y="47"/>
                      </a:lnTo>
                      <a:lnTo>
                        <a:pt x="158" y="46"/>
                      </a:lnTo>
                      <a:lnTo>
                        <a:pt x="150" y="44"/>
                      </a:lnTo>
                      <a:lnTo>
                        <a:pt x="148" y="42"/>
                      </a:lnTo>
                      <a:lnTo>
                        <a:pt x="145" y="41"/>
                      </a:lnTo>
                      <a:lnTo>
                        <a:pt x="144" y="39"/>
                      </a:lnTo>
                      <a:lnTo>
                        <a:pt x="144" y="35"/>
                      </a:lnTo>
                      <a:lnTo>
                        <a:pt x="140" y="33"/>
                      </a:lnTo>
                      <a:lnTo>
                        <a:pt x="139" y="32"/>
                      </a:lnTo>
                      <a:lnTo>
                        <a:pt x="138" y="31"/>
                      </a:lnTo>
                      <a:lnTo>
                        <a:pt x="135" y="26"/>
                      </a:lnTo>
                      <a:lnTo>
                        <a:pt x="131" y="21"/>
                      </a:lnTo>
                      <a:lnTo>
                        <a:pt x="124" y="13"/>
                      </a:lnTo>
                      <a:lnTo>
                        <a:pt x="115" y="15"/>
                      </a:lnTo>
                      <a:lnTo>
                        <a:pt x="107" y="17"/>
                      </a:lnTo>
                      <a:lnTo>
                        <a:pt x="98" y="21"/>
                      </a:lnTo>
                      <a:lnTo>
                        <a:pt x="91" y="21"/>
                      </a:lnTo>
                      <a:lnTo>
                        <a:pt x="83" y="21"/>
                      </a:lnTo>
                      <a:lnTo>
                        <a:pt x="75" y="19"/>
                      </a:lnTo>
                      <a:lnTo>
                        <a:pt x="68" y="16"/>
                      </a:lnTo>
                      <a:lnTo>
                        <a:pt x="60" y="13"/>
                      </a:lnTo>
                      <a:lnTo>
                        <a:pt x="54" y="8"/>
                      </a:lnTo>
                      <a:lnTo>
                        <a:pt x="49" y="2"/>
                      </a:lnTo>
                      <a:lnTo>
                        <a:pt x="47" y="0"/>
                      </a:lnTo>
                      <a:lnTo>
                        <a:pt x="41" y="3"/>
                      </a:lnTo>
                      <a:lnTo>
                        <a:pt x="22" y="6"/>
                      </a:lnTo>
                      <a:lnTo>
                        <a:pt x="3" y="7"/>
                      </a:lnTo>
                      <a:lnTo>
                        <a:pt x="4" y="10"/>
                      </a:lnTo>
                      <a:lnTo>
                        <a:pt x="3" y="15"/>
                      </a:lnTo>
                      <a:lnTo>
                        <a:pt x="0" y="22"/>
                      </a:lnTo>
                      <a:lnTo>
                        <a:pt x="0" y="27"/>
                      </a:lnTo>
                      <a:lnTo>
                        <a:pt x="0" y="32"/>
                      </a:lnTo>
                      <a:lnTo>
                        <a:pt x="0" y="36"/>
                      </a:lnTo>
                      <a:lnTo>
                        <a:pt x="2" y="39"/>
                      </a:lnTo>
                      <a:lnTo>
                        <a:pt x="4" y="41"/>
                      </a:lnTo>
                      <a:lnTo>
                        <a:pt x="8" y="35"/>
                      </a:lnTo>
                      <a:lnTo>
                        <a:pt x="14" y="33"/>
                      </a:lnTo>
                      <a:lnTo>
                        <a:pt x="17" y="32"/>
                      </a:lnTo>
                      <a:lnTo>
                        <a:pt x="20" y="33"/>
                      </a:lnTo>
                      <a:lnTo>
                        <a:pt x="22" y="34"/>
                      </a:lnTo>
                      <a:lnTo>
                        <a:pt x="23" y="38"/>
                      </a:lnTo>
                      <a:lnTo>
                        <a:pt x="23" y="45"/>
                      </a:lnTo>
                      <a:lnTo>
                        <a:pt x="25" y="48"/>
                      </a:lnTo>
                      <a:lnTo>
                        <a:pt x="26" y="51"/>
                      </a:lnTo>
                      <a:lnTo>
                        <a:pt x="32" y="57"/>
                      </a:lnTo>
                      <a:lnTo>
                        <a:pt x="33" y="59"/>
                      </a:lnTo>
                      <a:lnTo>
                        <a:pt x="35" y="60"/>
                      </a:lnTo>
                      <a:lnTo>
                        <a:pt x="32" y="63"/>
                      </a:lnTo>
                      <a:lnTo>
                        <a:pt x="31" y="65"/>
                      </a:lnTo>
                      <a:lnTo>
                        <a:pt x="32" y="67"/>
                      </a:lnTo>
                      <a:lnTo>
                        <a:pt x="33" y="70"/>
                      </a:lnTo>
                      <a:lnTo>
                        <a:pt x="35" y="71"/>
                      </a:lnTo>
                      <a:lnTo>
                        <a:pt x="36" y="71"/>
                      </a:lnTo>
                      <a:lnTo>
                        <a:pt x="37" y="71"/>
                      </a:lnTo>
                      <a:lnTo>
                        <a:pt x="39" y="72"/>
                      </a:lnTo>
                      <a:lnTo>
                        <a:pt x="42" y="76"/>
                      </a:lnTo>
                      <a:lnTo>
                        <a:pt x="44" y="78"/>
                      </a:lnTo>
                      <a:lnTo>
                        <a:pt x="50" y="78"/>
                      </a:lnTo>
                      <a:lnTo>
                        <a:pt x="54" y="78"/>
                      </a:lnTo>
                      <a:lnTo>
                        <a:pt x="59" y="78"/>
                      </a:lnTo>
                      <a:lnTo>
                        <a:pt x="65" y="80"/>
                      </a:lnTo>
                      <a:lnTo>
                        <a:pt x="72" y="84"/>
                      </a:lnTo>
                      <a:lnTo>
                        <a:pt x="78" y="90"/>
                      </a:lnTo>
                      <a:lnTo>
                        <a:pt x="84" y="98"/>
                      </a:lnTo>
                      <a:lnTo>
                        <a:pt x="87" y="100"/>
                      </a:lnTo>
                      <a:lnTo>
                        <a:pt x="91" y="104"/>
                      </a:lnTo>
                      <a:lnTo>
                        <a:pt x="101" y="109"/>
                      </a:lnTo>
                      <a:lnTo>
                        <a:pt x="106" y="110"/>
                      </a:lnTo>
                      <a:lnTo>
                        <a:pt x="108" y="1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4" name="Freeform 1194">
                  <a:extLst>
                    <a:ext uri="{FF2B5EF4-FFF2-40B4-BE49-F238E27FC236}">
                      <a16:creationId xmlns:a16="http://schemas.microsoft.com/office/drawing/2014/main" id="{74D510DC-DF46-D542-80D4-6810EE6D87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7048" y="3131093"/>
                  <a:ext cx="171665" cy="91752"/>
                </a:xfrm>
                <a:custGeom>
                  <a:avLst/>
                  <a:gdLst>
                    <a:gd name="T0" fmla="*/ 2147483647 w 125"/>
                    <a:gd name="T1" fmla="*/ 2147483647 h 62"/>
                    <a:gd name="T2" fmla="*/ 2147483647 w 125"/>
                    <a:gd name="T3" fmla="*/ 2147483647 h 62"/>
                    <a:gd name="T4" fmla="*/ 2147483647 w 125"/>
                    <a:gd name="T5" fmla="*/ 2147483647 h 62"/>
                    <a:gd name="T6" fmla="*/ 2147483647 w 125"/>
                    <a:gd name="T7" fmla="*/ 2147483647 h 62"/>
                    <a:gd name="T8" fmla="*/ 2147483647 w 125"/>
                    <a:gd name="T9" fmla="*/ 2147483647 h 62"/>
                    <a:gd name="T10" fmla="*/ 2147483647 w 125"/>
                    <a:gd name="T11" fmla="*/ 2147483647 h 62"/>
                    <a:gd name="T12" fmla="*/ 2147483647 w 125"/>
                    <a:gd name="T13" fmla="*/ 2147483647 h 62"/>
                    <a:gd name="T14" fmla="*/ 2147483647 w 125"/>
                    <a:gd name="T15" fmla="*/ 2147483647 h 62"/>
                    <a:gd name="T16" fmla="*/ 2147483647 w 125"/>
                    <a:gd name="T17" fmla="*/ 2147483647 h 62"/>
                    <a:gd name="T18" fmla="*/ 2147483647 w 125"/>
                    <a:gd name="T19" fmla="*/ 2147483647 h 62"/>
                    <a:gd name="T20" fmla="*/ 2147483647 w 125"/>
                    <a:gd name="T21" fmla="*/ 2147483647 h 62"/>
                    <a:gd name="T22" fmla="*/ 0 w 125"/>
                    <a:gd name="T23" fmla="*/ 2147483647 h 62"/>
                    <a:gd name="T24" fmla="*/ 2147483647 w 125"/>
                    <a:gd name="T25" fmla="*/ 2147483647 h 62"/>
                    <a:gd name="T26" fmla="*/ 2147483647 w 125"/>
                    <a:gd name="T27" fmla="*/ 2147483647 h 62"/>
                    <a:gd name="T28" fmla="*/ 2147483647 w 125"/>
                    <a:gd name="T29" fmla="*/ 2147483647 h 62"/>
                    <a:gd name="T30" fmla="*/ 2147483647 w 125"/>
                    <a:gd name="T31" fmla="*/ 2147483647 h 62"/>
                    <a:gd name="T32" fmla="*/ 2147483647 w 125"/>
                    <a:gd name="T33" fmla="*/ 2147483647 h 62"/>
                    <a:gd name="T34" fmla="*/ 2147483647 w 125"/>
                    <a:gd name="T35" fmla="*/ 2147483647 h 62"/>
                    <a:gd name="T36" fmla="*/ 2147483647 w 125"/>
                    <a:gd name="T37" fmla="*/ 2147483647 h 62"/>
                    <a:gd name="T38" fmla="*/ 2147483647 w 125"/>
                    <a:gd name="T39" fmla="*/ 2147483647 h 62"/>
                    <a:gd name="T40" fmla="*/ 2147483647 w 125"/>
                    <a:gd name="T41" fmla="*/ 2147483647 h 62"/>
                    <a:gd name="T42" fmla="*/ 2147483647 w 125"/>
                    <a:gd name="T43" fmla="*/ 2147483647 h 62"/>
                    <a:gd name="T44" fmla="*/ 2147483647 w 125"/>
                    <a:gd name="T45" fmla="*/ 2147483647 h 62"/>
                    <a:gd name="T46" fmla="*/ 2147483647 w 125"/>
                    <a:gd name="T47" fmla="*/ 2147483647 h 62"/>
                    <a:gd name="T48" fmla="*/ 2147483647 w 125"/>
                    <a:gd name="T49" fmla="*/ 2147483647 h 62"/>
                    <a:gd name="T50" fmla="*/ 2147483647 w 125"/>
                    <a:gd name="T51" fmla="*/ 2147483647 h 62"/>
                    <a:gd name="T52" fmla="*/ 2147483647 w 125"/>
                    <a:gd name="T53" fmla="*/ 2147483647 h 62"/>
                    <a:gd name="T54" fmla="*/ 2147483647 w 125"/>
                    <a:gd name="T55" fmla="*/ 2147483647 h 62"/>
                    <a:gd name="T56" fmla="*/ 2147483647 w 125"/>
                    <a:gd name="T57" fmla="*/ 2147483647 h 62"/>
                    <a:gd name="T58" fmla="*/ 2147483647 w 125"/>
                    <a:gd name="T59" fmla="*/ 2147483647 h 62"/>
                    <a:gd name="T60" fmla="*/ 2147483647 w 125"/>
                    <a:gd name="T61" fmla="*/ 2147483647 h 62"/>
                    <a:gd name="T62" fmla="*/ 2147483647 w 125"/>
                    <a:gd name="T63" fmla="*/ 0 h 62"/>
                    <a:gd name="T64" fmla="*/ 2147483647 w 125"/>
                    <a:gd name="T65" fmla="*/ 0 h 62"/>
                    <a:gd name="T66" fmla="*/ 2147483647 w 125"/>
                    <a:gd name="T67" fmla="*/ 2147483647 h 62"/>
                    <a:gd name="T68" fmla="*/ 2147483647 w 125"/>
                    <a:gd name="T69" fmla="*/ 2147483647 h 62"/>
                    <a:gd name="T70" fmla="*/ 2147483647 w 125"/>
                    <a:gd name="T71" fmla="*/ 2147483647 h 62"/>
                    <a:gd name="T72" fmla="*/ 2147483647 w 125"/>
                    <a:gd name="T73" fmla="*/ 2147483647 h 62"/>
                    <a:gd name="T74" fmla="*/ 2147483647 w 125"/>
                    <a:gd name="T75" fmla="*/ 2147483647 h 62"/>
                    <a:gd name="T76" fmla="*/ 2147483647 w 125"/>
                    <a:gd name="T77" fmla="*/ 2147483647 h 62"/>
                    <a:gd name="T78" fmla="*/ 2147483647 w 125"/>
                    <a:gd name="T79" fmla="*/ 2147483647 h 62"/>
                    <a:gd name="T80" fmla="*/ 2147483647 w 125"/>
                    <a:gd name="T81" fmla="*/ 2147483647 h 62"/>
                    <a:gd name="T82" fmla="*/ 2147483647 w 125"/>
                    <a:gd name="T83" fmla="*/ 2147483647 h 62"/>
                    <a:gd name="T84" fmla="*/ 2147483647 w 125"/>
                    <a:gd name="T85" fmla="*/ 2147483647 h 62"/>
                    <a:gd name="T86" fmla="*/ 2147483647 w 125"/>
                    <a:gd name="T87" fmla="*/ 2147483647 h 62"/>
                    <a:gd name="T88" fmla="*/ 2147483647 w 125"/>
                    <a:gd name="T89" fmla="*/ 2147483647 h 62"/>
                    <a:gd name="T90" fmla="*/ 2147483647 w 125"/>
                    <a:gd name="T91" fmla="*/ 2147483647 h 62"/>
                    <a:gd name="T92" fmla="*/ 2147483647 w 125"/>
                    <a:gd name="T93" fmla="*/ 2147483647 h 62"/>
                    <a:gd name="T94" fmla="*/ 2147483647 w 125"/>
                    <a:gd name="T95" fmla="*/ 2147483647 h 62"/>
                    <a:gd name="T96" fmla="*/ 2147483647 w 125"/>
                    <a:gd name="T97" fmla="*/ 2147483647 h 62"/>
                    <a:gd name="T98" fmla="*/ 2147483647 w 125"/>
                    <a:gd name="T99" fmla="*/ 2147483647 h 62"/>
                    <a:gd name="T100" fmla="*/ 2147483647 w 125"/>
                    <a:gd name="T101" fmla="*/ 2147483647 h 62"/>
                    <a:gd name="T102" fmla="*/ 2147483647 w 125"/>
                    <a:gd name="T103" fmla="*/ 2147483647 h 6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25"/>
                    <a:gd name="T157" fmla="*/ 0 h 62"/>
                    <a:gd name="T158" fmla="*/ 125 w 125"/>
                    <a:gd name="T159" fmla="*/ 62 h 6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25" h="62">
                      <a:moveTo>
                        <a:pt x="77" y="54"/>
                      </a:moveTo>
                      <a:lnTo>
                        <a:pt x="68" y="56"/>
                      </a:lnTo>
                      <a:lnTo>
                        <a:pt x="60" y="58"/>
                      </a:lnTo>
                      <a:lnTo>
                        <a:pt x="51" y="62"/>
                      </a:lnTo>
                      <a:lnTo>
                        <a:pt x="44" y="62"/>
                      </a:lnTo>
                      <a:lnTo>
                        <a:pt x="36" y="62"/>
                      </a:lnTo>
                      <a:lnTo>
                        <a:pt x="28" y="60"/>
                      </a:lnTo>
                      <a:lnTo>
                        <a:pt x="21" y="57"/>
                      </a:lnTo>
                      <a:lnTo>
                        <a:pt x="13" y="54"/>
                      </a:lnTo>
                      <a:lnTo>
                        <a:pt x="7" y="49"/>
                      </a:lnTo>
                      <a:lnTo>
                        <a:pt x="2" y="43"/>
                      </a:lnTo>
                      <a:lnTo>
                        <a:pt x="0" y="41"/>
                      </a:lnTo>
                      <a:lnTo>
                        <a:pt x="6" y="37"/>
                      </a:lnTo>
                      <a:lnTo>
                        <a:pt x="11" y="34"/>
                      </a:lnTo>
                      <a:lnTo>
                        <a:pt x="14" y="29"/>
                      </a:lnTo>
                      <a:lnTo>
                        <a:pt x="17" y="24"/>
                      </a:lnTo>
                      <a:lnTo>
                        <a:pt x="18" y="13"/>
                      </a:lnTo>
                      <a:lnTo>
                        <a:pt x="19" y="4"/>
                      </a:lnTo>
                      <a:lnTo>
                        <a:pt x="25" y="4"/>
                      </a:lnTo>
                      <a:lnTo>
                        <a:pt x="30" y="6"/>
                      </a:lnTo>
                      <a:lnTo>
                        <a:pt x="39" y="10"/>
                      </a:lnTo>
                      <a:lnTo>
                        <a:pt x="41" y="11"/>
                      </a:lnTo>
                      <a:lnTo>
                        <a:pt x="42" y="10"/>
                      </a:lnTo>
                      <a:lnTo>
                        <a:pt x="47" y="10"/>
                      </a:lnTo>
                      <a:lnTo>
                        <a:pt x="50" y="10"/>
                      </a:lnTo>
                      <a:lnTo>
                        <a:pt x="54" y="11"/>
                      </a:lnTo>
                      <a:lnTo>
                        <a:pt x="56" y="12"/>
                      </a:lnTo>
                      <a:lnTo>
                        <a:pt x="60" y="11"/>
                      </a:lnTo>
                      <a:lnTo>
                        <a:pt x="66" y="8"/>
                      </a:lnTo>
                      <a:lnTo>
                        <a:pt x="74" y="5"/>
                      </a:lnTo>
                      <a:lnTo>
                        <a:pt x="89" y="2"/>
                      </a:lnTo>
                      <a:lnTo>
                        <a:pt x="98" y="0"/>
                      </a:lnTo>
                      <a:lnTo>
                        <a:pt x="107" y="0"/>
                      </a:lnTo>
                      <a:lnTo>
                        <a:pt x="115" y="4"/>
                      </a:lnTo>
                      <a:lnTo>
                        <a:pt x="121" y="9"/>
                      </a:lnTo>
                      <a:lnTo>
                        <a:pt x="125" y="15"/>
                      </a:lnTo>
                      <a:lnTo>
                        <a:pt x="124" y="15"/>
                      </a:lnTo>
                      <a:lnTo>
                        <a:pt x="122" y="16"/>
                      </a:lnTo>
                      <a:lnTo>
                        <a:pt x="119" y="23"/>
                      </a:lnTo>
                      <a:lnTo>
                        <a:pt x="113" y="30"/>
                      </a:lnTo>
                      <a:lnTo>
                        <a:pt x="102" y="42"/>
                      </a:lnTo>
                      <a:lnTo>
                        <a:pt x="102" y="45"/>
                      </a:lnTo>
                      <a:lnTo>
                        <a:pt x="101" y="48"/>
                      </a:lnTo>
                      <a:lnTo>
                        <a:pt x="99" y="49"/>
                      </a:lnTo>
                      <a:lnTo>
                        <a:pt x="99" y="51"/>
                      </a:lnTo>
                      <a:lnTo>
                        <a:pt x="99" y="53"/>
                      </a:lnTo>
                      <a:lnTo>
                        <a:pt x="98" y="54"/>
                      </a:lnTo>
                      <a:lnTo>
                        <a:pt x="97" y="55"/>
                      </a:lnTo>
                      <a:lnTo>
                        <a:pt x="94" y="55"/>
                      </a:lnTo>
                      <a:lnTo>
                        <a:pt x="89" y="53"/>
                      </a:lnTo>
                      <a:lnTo>
                        <a:pt x="86" y="53"/>
                      </a:lnTo>
                      <a:lnTo>
                        <a:pt x="77" y="5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5" name="Freeform 1195">
                  <a:extLst>
                    <a:ext uri="{FF2B5EF4-FFF2-40B4-BE49-F238E27FC236}">
                      <a16:creationId xmlns:a16="http://schemas.microsoft.com/office/drawing/2014/main" id="{C92BC81C-1090-C34D-8577-2246ED65E5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1935" y="3190285"/>
                  <a:ext cx="224941" cy="196823"/>
                </a:xfrm>
                <a:custGeom>
                  <a:avLst/>
                  <a:gdLst>
                    <a:gd name="T0" fmla="*/ 2147483647 w 165"/>
                    <a:gd name="T1" fmla="*/ 2147483647 h 133"/>
                    <a:gd name="T2" fmla="*/ 2147483647 w 165"/>
                    <a:gd name="T3" fmla="*/ 2147483647 h 133"/>
                    <a:gd name="T4" fmla="*/ 2147483647 w 165"/>
                    <a:gd name="T5" fmla="*/ 2147483647 h 133"/>
                    <a:gd name="T6" fmla="*/ 2147483647 w 165"/>
                    <a:gd name="T7" fmla="*/ 2147483647 h 133"/>
                    <a:gd name="T8" fmla="*/ 2147483647 w 165"/>
                    <a:gd name="T9" fmla="*/ 2147483647 h 133"/>
                    <a:gd name="T10" fmla="*/ 2147483647 w 165"/>
                    <a:gd name="T11" fmla="*/ 2147483647 h 133"/>
                    <a:gd name="T12" fmla="*/ 2147483647 w 165"/>
                    <a:gd name="T13" fmla="*/ 2147483647 h 133"/>
                    <a:gd name="T14" fmla="*/ 2147483647 w 165"/>
                    <a:gd name="T15" fmla="*/ 2147483647 h 133"/>
                    <a:gd name="T16" fmla="*/ 2147483647 w 165"/>
                    <a:gd name="T17" fmla="*/ 2147483647 h 133"/>
                    <a:gd name="T18" fmla="*/ 2147483647 w 165"/>
                    <a:gd name="T19" fmla="*/ 2147483647 h 133"/>
                    <a:gd name="T20" fmla="*/ 2147483647 w 165"/>
                    <a:gd name="T21" fmla="*/ 2147483647 h 133"/>
                    <a:gd name="T22" fmla="*/ 2147483647 w 165"/>
                    <a:gd name="T23" fmla="*/ 2147483647 h 133"/>
                    <a:gd name="T24" fmla="*/ 2147483647 w 165"/>
                    <a:gd name="T25" fmla="*/ 2147483647 h 133"/>
                    <a:gd name="T26" fmla="*/ 2147483647 w 165"/>
                    <a:gd name="T27" fmla="*/ 2147483647 h 133"/>
                    <a:gd name="T28" fmla="*/ 2147483647 w 165"/>
                    <a:gd name="T29" fmla="*/ 2147483647 h 133"/>
                    <a:gd name="T30" fmla="*/ 2147483647 w 165"/>
                    <a:gd name="T31" fmla="*/ 2147483647 h 133"/>
                    <a:gd name="T32" fmla="*/ 2147483647 w 165"/>
                    <a:gd name="T33" fmla="*/ 2147483647 h 133"/>
                    <a:gd name="T34" fmla="*/ 2147483647 w 165"/>
                    <a:gd name="T35" fmla="*/ 2147483647 h 133"/>
                    <a:gd name="T36" fmla="*/ 2147483647 w 165"/>
                    <a:gd name="T37" fmla="*/ 2147483647 h 133"/>
                    <a:gd name="T38" fmla="*/ 2147483647 w 165"/>
                    <a:gd name="T39" fmla="*/ 2147483647 h 133"/>
                    <a:gd name="T40" fmla="*/ 2147483647 w 165"/>
                    <a:gd name="T41" fmla="*/ 2147483647 h 133"/>
                    <a:gd name="T42" fmla="*/ 2147483647 w 165"/>
                    <a:gd name="T43" fmla="*/ 2147483647 h 133"/>
                    <a:gd name="T44" fmla="*/ 2147483647 w 165"/>
                    <a:gd name="T45" fmla="*/ 2147483647 h 133"/>
                    <a:gd name="T46" fmla="*/ 2147483647 w 165"/>
                    <a:gd name="T47" fmla="*/ 2147483647 h 133"/>
                    <a:gd name="T48" fmla="*/ 2147483647 w 165"/>
                    <a:gd name="T49" fmla="*/ 2147483647 h 133"/>
                    <a:gd name="T50" fmla="*/ 2147483647 w 165"/>
                    <a:gd name="T51" fmla="*/ 2147483647 h 133"/>
                    <a:gd name="T52" fmla="*/ 2147483647 w 165"/>
                    <a:gd name="T53" fmla="*/ 0 h 133"/>
                    <a:gd name="T54" fmla="*/ 2147483647 w 165"/>
                    <a:gd name="T55" fmla="*/ 2147483647 h 133"/>
                    <a:gd name="T56" fmla="*/ 2147483647 w 165"/>
                    <a:gd name="T57" fmla="*/ 2147483647 h 133"/>
                    <a:gd name="T58" fmla="*/ 0 w 165"/>
                    <a:gd name="T59" fmla="*/ 2147483647 h 133"/>
                    <a:gd name="T60" fmla="*/ 0 w 165"/>
                    <a:gd name="T61" fmla="*/ 2147483647 h 133"/>
                    <a:gd name="T62" fmla="*/ 2147483647 w 165"/>
                    <a:gd name="T63" fmla="*/ 2147483647 h 133"/>
                    <a:gd name="T64" fmla="*/ 2147483647 w 165"/>
                    <a:gd name="T65" fmla="*/ 2147483647 h 133"/>
                    <a:gd name="T66" fmla="*/ 2147483647 w 165"/>
                    <a:gd name="T67" fmla="*/ 2147483647 h 133"/>
                    <a:gd name="T68" fmla="*/ 2147483647 w 165"/>
                    <a:gd name="T69" fmla="*/ 2147483647 h 133"/>
                    <a:gd name="T70" fmla="*/ 2147483647 w 165"/>
                    <a:gd name="T71" fmla="*/ 2147483647 h 133"/>
                    <a:gd name="T72" fmla="*/ 2147483647 w 165"/>
                    <a:gd name="T73" fmla="*/ 2147483647 h 133"/>
                    <a:gd name="T74" fmla="*/ 2147483647 w 165"/>
                    <a:gd name="T75" fmla="*/ 2147483647 h 133"/>
                    <a:gd name="T76" fmla="*/ 2147483647 w 165"/>
                    <a:gd name="T77" fmla="*/ 2147483647 h 133"/>
                    <a:gd name="T78" fmla="*/ 2147483647 w 165"/>
                    <a:gd name="T79" fmla="*/ 2147483647 h 133"/>
                    <a:gd name="T80" fmla="*/ 2147483647 w 165"/>
                    <a:gd name="T81" fmla="*/ 2147483647 h 133"/>
                    <a:gd name="T82" fmla="*/ 2147483647 w 165"/>
                    <a:gd name="T83" fmla="*/ 2147483647 h 133"/>
                    <a:gd name="T84" fmla="*/ 2147483647 w 165"/>
                    <a:gd name="T85" fmla="*/ 2147483647 h 133"/>
                    <a:gd name="T86" fmla="*/ 2147483647 w 165"/>
                    <a:gd name="T87" fmla="*/ 2147483647 h 133"/>
                    <a:gd name="T88" fmla="*/ 2147483647 w 165"/>
                    <a:gd name="T89" fmla="*/ 2147483647 h 133"/>
                    <a:gd name="T90" fmla="*/ 2147483647 w 165"/>
                    <a:gd name="T91" fmla="*/ 2147483647 h 133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65"/>
                    <a:gd name="T139" fmla="*/ 0 h 133"/>
                    <a:gd name="T140" fmla="*/ 165 w 165"/>
                    <a:gd name="T141" fmla="*/ 133 h 133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65" h="133">
                      <a:moveTo>
                        <a:pt x="108" y="110"/>
                      </a:moveTo>
                      <a:lnTo>
                        <a:pt x="108" y="110"/>
                      </a:lnTo>
                      <a:lnTo>
                        <a:pt x="109" y="105"/>
                      </a:lnTo>
                      <a:lnTo>
                        <a:pt x="111" y="101"/>
                      </a:lnTo>
                      <a:lnTo>
                        <a:pt x="112" y="99"/>
                      </a:lnTo>
                      <a:lnTo>
                        <a:pt x="114" y="98"/>
                      </a:lnTo>
                      <a:lnTo>
                        <a:pt x="117" y="99"/>
                      </a:lnTo>
                      <a:lnTo>
                        <a:pt x="122" y="103"/>
                      </a:lnTo>
                      <a:lnTo>
                        <a:pt x="123" y="106"/>
                      </a:lnTo>
                      <a:lnTo>
                        <a:pt x="125" y="109"/>
                      </a:lnTo>
                      <a:lnTo>
                        <a:pt x="125" y="115"/>
                      </a:lnTo>
                      <a:lnTo>
                        <a:pt x="126" y="120"/>
                      </a:lnTo>
                      <a:lnTo>
                        <a:pt x="130" y="131"/>
                      </a:lnTo>
                      <a:lnTo>
                        <a:pt x="130" y="133"/>
                      </a:lnTo>
                      <a:lnTo>
                        <a:pt x="151" y="129"/>
                      </a:lnTo>
                      <a:lnTo>
                        <a:pt x="155" y="128"/>
                      </a:lnTo>
                      <a:lnTo>
                        <a:pt x="159" y="125"/>
                      </a:lnTo>
                      <a:lnTo>
                        <a:pt x="165" y="120"/>
                      </a:lnTo>
                      <a:lnTo>
                        <a:pt x="163" y="120"/>
                      </a:lnTo>
                      <a:lnTo>
                        <a:pt x="161" y="118"/>
                      </a:lnTo>
                      <a:lnTo>
                        <a:pt x="161" y="112"/>
                      </a:lnTo>
                      <a:lnTo>
                        <a:pt x="158" y="106"/>
                      </a:lnTo>
                      <a:lnTo>
                        <a:pt x="156" y="101"/>
                      </a:lnTo>
                      <a:lnTo>
                        <a:pt x="156" y="97"/>
                      </a:lnTo>
                      <a:lnTo>
                        <a:pt x="159" y="91"/>
                      </a:lnTo>
                      <a:lnTo>
                        <a:pt x="161" y="86"/>
                      </a:lnTo>
                      <a:lnTo>
                        <a:pt x="163" y="85"/>
                      </a:lnTo>
                      <a:lnTo>
                        <a:pt x="163" y="83"/>
                      </a:lnTo>
                      <a:lnTo>
                        <a:pt x="160" y="79"/>
                      </a:lnTo>
                      <a:lnTo>
                        <a:pt x="156" y="74"/>
                      </a:lnTo>
                      <a:lnTo>
                        <a:pt x="154" y="71"/>
                      </a:lnTo>
                      <a:lnTo>
                        <a:pt x="155" y="65"/>
                      </a:lnTo>
                      <a:lnTo>
                        <a:pt x="158" y="60"/>
                      </a:lnTo>
                      <a:lnTo>
                        <a:pt x="161" y="56"/>
                      </a:lnTo>
                      <a:lnTo>
                        <a:pt x="163" y="55"/>
                      </a:lnTo>
                      <a:lnTo>
                        <a:pt x="164" y="55"/>
                      </a:lnTo>
                      <a:lnTo>
                        <a:pt x="164" y="52"/>
                      </a:lnTo>
                      <a:lnTo>
                        <a:pt x="163" y="48"/>
                      </a:lnTo>
                      <a:lnTo>
                        <a:pt x="160" y="47"/>
                      </a:lnTo>
                      <a:lnTo>
                        <a:pt x="158" y="46"/>
                      </a:lnTo>
                      <a:lnTo>
                        <a:pt x="150" y="43"/>
                      </a:lnTo>
                      <a:lnTo>
                        <a:pt x="147" y="42"/>
                      </a:lnTo>
                      <a:lnTo>
                        <a:pt x="145" y="41"/>
                      </a:lnTo>
                      <a:lnTo>
                        <a:pt x="144" y="39"/>
                      </a:lnTo>
                      <a:lnTo>
                        <a:pt x="144" y="35"/>
                      </a:lnTo>
                      <a:lnTo>
                        <a:pt x="140" y="33"/>
                      </a:lnTo>
                      <a:lnTo>
                        <a:pt x="139" y="32"/>
                      </a:lnTo>
                      <a:lnTo>
                        <a:pt x="137" y="30"/>
                      </a:lnTo>
                      <a:lnTo>
                        <a:pt x="135" y="26"/>
                      </a:lnTo>
                      <a:lnTo>
                        <a:pt x="131" y="21"/>
                      </a:lnTo>
                      <a:lnTo>
                        <a:pt x="123" y="13"/>
                      </a:lnTo>
                      <a:lnTo>
                        <a:pt x="114" y="15"/>
                      </a:lnTo>
                      <a:lnTo>
                        <a:pt x="107" y="17"/>
                      </a:lnTo>
                      <a:lnTo>
                        <a:pt x="98" y="21"/>
                      </a:lnTo>
                      <a:lnTo>
                        <a:pt x="90" y="21"/>
                      </a:lnTo>
                      <a:lnTo>
                        <a:pt x="83" y="21"/>
                      </a:lnTo>
                      <a:lnTo>
                        <a:pt x="75" y="18"/>
                      </a:lnTo>
                      <a:lnTo>
                        <a:pt x="67" y="16"/>
                      </a:lnTo>
                      <a:lnTo>
                        <a:pt x="60" y="13"/>
                      </a:lnTo>
                      <a:lnTo>
                        <a:pt x="54" y="8"/>
                      </a:lnTo>
                      <a:lnTo>
                        <a:pt x="48" y="2"/>
                      </a:lnTo>
                      <a:lnTo>
                        <a:pt x="47" y="0"/>
                      </a:lnTo>
                      <a:lnTo>
                        <a:pt x="41" y="3"/>
                      </a:lnTo>
                      <a:lnTo>
                        <a:pt x="22" y="5"/>
                      </a:lnTo>
                      <a:lnTo>
                        <a:pt x="3" y="7"/>
                      </a:lnTo>
                      <a:lnTo>
                        <a:pt x="4" y="10"/>
                      </a:lnTo>
                      <a:lnTo>
                        <a:pt x="3" y="15"/>
                      </a:lnTo>
                      <a:lnTo>
                        <a:pt x="0" y="22"/>
                      </a:lnTo>
                      <a:lnTo>
                        <a:pt x="0" y="27"/>
                      </a:lnTo>
                      <a:lnTo>
                        <a:pt x="0" y="32"/>
                      </a:lnTo>
                      <a:lnTo>
                        <a:pt x="0" y="36"/>
                      </a:lnTo>
                      <a:lnTo>
                        <a:pt x="1" y="39"/>
                      </a:lnTo>
                      <a:lnTo>
                        <a:pt x="4" y="41"/>
                      </a:lnTo>
                      <a:lnTo>
                        <a:pt x="8" y="35"/>
                      </a:lnTo>
                      <a:lnTo>
                        <a:pt x="14" y="33"/>
                      </a:lnTo>
                      <a:lnTo>
                        <a:pt x="17" y="32"/>
                      </a:lnTo>
                      <a:lnTo>
                        <a:pt x="19" y="33"/>
                      </a:lnTo>
                      <a:lnTo>
                        <a:pt x="22" y="34"/>
                      </a:lnTo>
                      <a:lnTo>
                        <a:pt x="23" y="37"/>
                      </a:lnTo>
                      <a:lnTo>
                        <a:pt x="23" y="45"/>
                      </a:lnTo>
                      <a:lnTo>
                        <a:pt x="24" y="48"/>
                      </a:lnTo>
                      <a:lnTo>
                        <a:pt x="26" y="51"/>
                      </a:lnTo>
                      <a:lnTo>
                        <a:pt x="32" y="56"/>
                      </a:lnTo>
                      <a:lnTo>
                        <a:pt x="33" y="59"/>
                      </a:lnTo>
                      <a:lnTo>
                        <a:pt x="34" y="60"/>
                      </a:lnTo>
                      <a:lnTo>
                        <a:pt x="32" y="62"/>
                      </a:lnTo>
                      <a:lnTo>
                        <a:pt x="31" y="65"/>
                      </a:lnTo>
                      <a:lnTo>
                        <a:pt x="32" y="67"/>
                      </a:lnTo>
                      <a:lnTo>
                        <a:pt x="33" y="69"/>
                      </a:lnTo>
                      <a:lnTo>
                        <a:pt x="34" y="71"/>
                      </a:lnTo>
                      <a:lnTo>
                        <a:pt x="36" y="71"/>
                      </a:lnTo>
                      <a:lnTo>
                        <a:pt x="37" y="71"/>
                      </a:lnTo>
                      <a:lnTo>
                        <a:pt x="38" y="72"/>
                      </a:lnTo>
                      <a:lnTo>
                        <a:pt x="42" y="75"/>
                      </a:lnTo>
                      <a:lnTo>
                        <a:pt x="43" y="78"/>
                      </a:lnTo>
                      <a:lnTo>
                        <a:pt x="50" y="78"/>
                      </a:lnTo>
                      <a:lnTo>
                        <a:pt x="54" y="78"/>
                      </a:lnTo>
                      <a:lnTo>
                        <a:pt x="59" y="78"/>
                      </a:lnTo>
                      <a:lnTo>
                        <a:pt x="65" y="80"/>
                      </a:lnTo>
                      <a:lnTo>
                        <a:pt x="71" y="84"/>
                      </a:lnTo>
                      <a:lnTo>
                        <a:pt x="78" y="90"/>
                      </a:lnTo>
                      <a:lnTo>
                        <a:pt x="84" y="98"/>
                      </a:lnTo>
                      <a:lnTo>
                        <a:pt x="87" y="100"/>
                      </a:lnTo>
                      <a:lnTo>
                        <a:pt x="90" y="104"/>
                      </a:lnTo>
                      <a:lnTo>
                        <a:pt x="101" y="109"/>
                      </a:lnTo>
                      <a:lnTo>
                        <a:pt x="106" y="110"/>
                      </a:lnTo>
                      <a:lnTo>
                        <a:pt x="108" y="1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6" name="Freeform 1196">
                  <a:extLst>
                    <a:ext uri="{FF2B5EF4-FFF2-40B4-BE49-F238E27FC236}">
                      <a16:creationId xmlns:a16="http://schemas.microsoft.com/office/drawing/2014/main" id="{8F728FDC-9A14-3F4E-B20F-A1F87FA582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7047" y="3129610"/>
                  <a:ext cx="170186" cy="91752"/>
                </a:xfrm>
                <a:custGeom>
                  <a:avLst/>
                  <a:gdLst>
                    <a:gd name="T0" fmla="*/ 2147483647 w 125"/>
                    <a:gd name="T1" fmla="*/ 2147483647 h 62"/>
                    <a:gd name="T2" fmla="*/ 2147483647 w 125"/>
                    <a:gd name="T3" fmla="*/ 2147483647 h 62"/>
                    <a:gd name="T4" fmla="*/ 2147483647 w 125"/>
                    <a:gd name="T5" fmla="*/ 2147483647 h 62"/>
                    <a:gd name="T6" fmla="*/ 2147483647 w 125"/>
                    <a:gd name="T7" fmla="*/ 2147483647 h 62"/>
                    <a:gd name="T8" fmla="*/ 2147483647 w 125"/>
                    <a:gd name="T9" fmla="*/ 2147483647 h 62"/>
                    <a:gd name="T10" fmla="*/ 2147483647 w 125"/>
                    <a:gd name="T11" fmla="*/ 2147483647 h 62"/>
                    <a:gd name="T12" fmla="*/ 2147483647 w 125"/>
                    <a:gd name="T13" fmla="*/ 2147483647 h 62"/>
                    <a:gd name="T14" fmla="*/ 0 w 125"/>
                    <a:gd name="T15" fmla="*/ 2147483647 h 62"/>
                    <a:gd name="T16" fmla="*/ 2147483647 w 125"/>
                    <a:gd name="T17" fmla="*/ 2147483647 h 62"/>
                    <a:gd name="T18" fmla="*/ 2147483647 w 125"/>
                    <a:gd name="T19" fmla="*/ 2147483647 h 62"/>
                    <a:gd name="T20" fmla="*/ 2147483647 w 125"/>
                    <a:gd name="T21" fmla="*/ 2147483647 h 62"/>
                    <a:gd name="T22" fmla="*/ 2147483647 w 125"/>
                    <a:gd name="T23" fmla="*/ 2147483647 h 62"/>
                    <a:gd name="T24" fmla="*/ 2147483647 w 125"/>
                    <a:gd name="T25" fmla="*/ 2147483647 h 62"/>
                    <a:gd name="T26" fmla="*/ 2147483647 w 125"/>
                    <a:gd name="T27" fmla="*/ 2147483647 h 62"/>
                    <a:gd name="T28" fmla="*/ 2147483647 w 125"/>
                    <a:gd name="T29" fmla="*/ 2147483647 h 62"/>
                    <a:gd name="T30" fmla="*/ 2147483647 w 125"/>
                    <a:gd name="T31" fmla="*/ 2147483647 h 62"/>
                    <a:gd name="T32" fmla="*/ 2147483647 w 125"/>
                    <a:gd name="T33" fmla="*/ 2147483647 h 62"/>
                    <a:gd name="T34" fmla="*/ 2147483647 w 125"/>
                    <a:gd name="T35" fmla="*/ 2147483647 h 62"/>
                    <a:gd name="T36" fmla="*/ 2147483647 w 125"/>
                    <a:gd name="T37" fmla="*/ 2147483647 h 62"/>
                    <a:gd name="T38" fmla="*/ 2147483647 w 125"/>
                    <a:gd name="T39" fmla="*/ 2147483647 h 62"/>
                    <a:gd name="T40" fmla="*/ 2147483647 w 125"/>
                    <a:gd name="T41" fmla="*/ 0 h 62"/>
                    <a:gd name="T42" fmla="*/ 2147483647 w 125"/>
                    <a:gd name="T43" fmla="*/ 2147483647 h 62"/>
                    <a:gd name="T44" fmla="*/ 2147483647 w 125"/>
                    <a:gd name="T45" fmla="*/ 2147483647 h 62"/>
                    <a:gd name="T46" fmla="*/ 2147483647 w 125"/>
                    <a:gd name="T47" fmla="*/ 2147483647 h 62"/>
                    <a:gd name="T48" fmla="*/ 2147483647 w 125"/>
                    <a:gd name="T49" fmla="*/ 2147483647 h 62"/>
                    <a:gd name="T50" fmla="*/ 2147483647 w 125"/>
                    <a:gd name="T51" fmla="*/ 2147483647 h 62"/>
                    <a:gd name="T52" fmla="*/ 2147483647 w 125"/>
                    <a:gd name="T53" fmla="*/ 2147483647 h 62"/>
                    <a:gd name="T54" fmla="*/ 2147483647 w 125"/>
                    <a:gd name="T55" fmla="*/ 2147483647 h 62"/>
                    <a:gd name="T56" fmla="*/ 2147483647 w 125"/>
                    <a:gd name="T57" fmla="*/ 2147483647 h 62"/>
                    <a:gd name="T58" fmla="*/ 2147483647 w 125"/>
                    <a:gd name="T59" fmla="*/ 2147483647 h 62"/>
                    <a:gd name="T60" fmla="*/ 2147483647 w 125"/>
                    <a:gd name="T61" fmla="*/ 2147483647 h 62"/>
                    <a:gd name="T62" fmla="*/ 2147483647 w 125"/>
                    <a:gd name="T63" fmla="*/ 2147483647 h 62"/>
                    <a:gd name="T64" fmla="*/ 2147483647 w 125"/>
                    <a:gd name="T65" fmla="*/ 2147483647 h 62"/>
                    <a:gd name="T66" fmla="*/ 2147483647 w 125"/>
                    <a:gd name="T67" fmla="*/ 2147483647 h 62"/>
                    <a:gd name="T68" fmla="*/ 2147483647 w 125"/>
                    <a:gd name="T69" fmla="*/ 2147483647 h 6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25"/>
                    <a:gd name="T106" fmla="*/ 0 h 62"/>
                    <a:gd name="T107" fmla="*/ 125 w 125"/>
                    <a:gd name="T108" fmla="*/ 62 h 6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25" h="62">
                      <a:moveTo>
                        <a:pt x="76" y="54"/>
                      </a:moveTo>
                      <a:lnTo>
                        <a:pt x="76" y="54"/>
                      </a:lnTo>
                      <a:lnTo>
                        <a:pt x="67" y="56"/>
                      </a:lnTo>
                      <a:lnTo>
                        <a:pt x="60" y="58"/>
                      </a:lnTo>
                      <a:lnTo>
                        <a:pt x="51" y="62"/>
                      </a:lnTo>
                      <a:lnTo>
                        <a:pt x="43" y="62"/>
                      </a:lnTo>
                      <a:lnTo>
                        <a:pt x="36" y="62"/>
                      </a:lnTo>
                      <a:lnTo>
                        <a:pt x="28" y="59"/>
                      </a:lnTo>
                      <a:lnTo>
                        <a:pt x="20" y="57"/>
                      </a:lnTo>
                      <a:lnTo>
                        <a:pt x="13" y="54"/>
                      </a:lnTo>
                      <a:lnTo>
                        <a:pt x="7" y="49"/>
                      </a:lnTo>
                      <a:lnTo>
                        <a:pt x="1" y="43"/>
                      </a:lnTo>
                      <a:lnTo>
                        <a:pt x="0" y="41"/>
                      </a:lnTo>
                      <a:lnTo>
                        <a:pt x="5" y="37"/>
                      </a:lnTo>
                      <a:lnTo>
                        <a:pt x="10" y="33"/>
                      </a:lnTo>
                      <a:lnTo>
                        <a:pt x="14" y="29"/>
                      </a:lnTo>
                      <a:lnTo>
                        <a:pt x="17" y="24"/>
                      </a:lnTo>
                      <a:lnTo>
                        <a:pt x="18" y="13"/>
                      </a:lnTo>
                      <a:lnTo>
                        <a:pt x="19" y="4"/>
                      </a:lnTo>
                      <a:lnTo>
                        <a:pt x="24" y="4"/>
                      </a:lnTo>
                      <a:lnTo>
                        <a:pt x="29" y="6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0"/>
                      </a:lnTo>
                      <a:lnTo>
                        <a:pt x="47" y="10"/>
                      </a:lnTo>
                      <a:lnTo>
                        <a:pt x="50" y="10"/>
                      </a:lnTo>
                      <a:lnTo>
                        <a:pt x="54" y="11"/>
                      </a:lnTo>
                      <a:lnTo>
                        <a:pt x="56" y="12"/>
                      </a:lnTo>
                      <a:lnTo>
                        <a:pt x="60" y="11"/>
                      </a:lnTo>
                      <a:lnTo>
                        <a:pt x="66" y="7"/>
                      </a:lnTo>
                      <a:lnTo>
                        <a:pt x="74" y="5"/>
                      </a:lnTo>
                      <a:lnTo>
                        <a:pt x="89" y="1"/>
                      </a:lnTo>
                      <a:lnTo>
                        <a:pt x="98" y="0"/>
                      </a:lnTo>
                      <a:lnTo>
                        <a:pt x="107" y="0"/>
                      </a:lnTo>
                      <a:lnTo>
                        <a:pt x="114" y="4"/>
                      </a:lnTo>
                      <a:lnTo>
                        <a:pt x="121" y="9"/>
                      </a:lnTo>
                      <a:lnTo>
                        <a:pt x="125" y="14"/>
                      </a:lnTo>
                      <a:lnTo>
                        <a:pt x="123" y="14"/>
                      </a:lnTo>
                      <a:lnTo>
                        <a:pt x="122" y="16"/>
                      </a:lnTo>
                      <a:lnTo>
                        <a:pt x="118" y="23"/>
                      </a:lnTo>
                      <a:lnTo>
                        <a:pt x="113" y="30"/>
                      </a:lnTo>
                      <a:lnTo>
                        <a:pt x="102" y="42"/>
                      </a:lnTo>
                      <a:lnTo>
                        <a:pt x="102" y="45"/>
                      </a:lnTo>
                      <a:lnTo>
                        <a:pt x="100" y="48"/>
                      </a:lnTo>
                      <a:lnTo>
                        <a:pt x="99" y="49"/>
                      </a:lnTo>
                      <a:lnTo>
                        <a:pt x="99" y="51"/>
                      </a:lnTo>
                      <a:lnTo>
                        <a:pt x="99" y="52"/>
                      </a:lnTo>
                      <a:lnTo>
                        <a:pt x="98" y="54"/>
                      </a:lnTo>
                      <a:lnTo>
                        <a:pt x="97" y="55"/>
                      </a:lnTo>
                      <a:lnTo>
                        <a:pt x="94" y="55"/>
                      </a:lnTo>
                      <a:lnTo>
                        <a:pt x="89" y="52"/>
                      </a:lnTo>
                      <a:lnTo>
                        <a:pt x="85" y="52"/>
                      </a:lnTo>
                      <a:lnTo>
                        <a:pt x="76" y="5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7" name="Freeform 1197">
                  <a:extLst>
                    <a:ext uri="{FF2B5EF4-FFF2-40B4-BE49-F238E27FC236}">
                      <a16:creationId xmlns:a16="http://schemas.microsoft.com/office/drawing/2014/main" id="{60B62CDE-41A3-FB49-A73F-5042FABBE7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0857" y="3480341"/>
                  <a:ext cx="81392" cy="45877"/>
                </a:xfrm>
                <a:custGeom>
                  <a:avLst/>
                  <a:gdLst>
                    <a:gd name="T0" fmla="*/ 2147483647 w 60"/>
                    <a:gd name="T1" fmla="*/ 2147483647 h 31"/>
                    <a:gd name="T2" fmla="*/ 2147483647 w 60"/>
                    <a:gd name="T3" fmla="*/ 2147483647 h 31"/>
                    <a:gd name="T4" fmla="*/ 2147483647 w 60"/>
                    <a:gd name="T5" fmla="*/ 2147483647 h 31"/>
                    <a:gd name="T6" fmla="*/ 2147483647 w 60"/>
                    <a:gd name="T7" fmla="*/ 2147483647 h 31"/>
                    <a:gd name="T8" fmla="*/ 2147483647 w 60"/>
                    <a:gd name="T9" fmla="*/ 2147483647 h 31"/>
                    <a:gd name="T10" fmla="*/ 2147483647 w 60"/>
                    <a:gd name="T11" fmla="*/ 2147483647 h 31"/>
                    <a:gd name="T12" fmla="*/ 2147483647 w 60"/>
                    <a:gd name="T13" fmla="*/ 2147483647 h 31"/>
                    <a:gd name="T14" fmla="*/ 2147483647 w 60"/>
                    <a:gd name="T15" fmla="*/ 2147483647 h 31"/>
                    <a:gd name="T16" fmla="*/ 2147483647 w 60"/>
                    <a:gd name="T17" fmla="*/ 2147483647 h 31"/>
                    <a:gd name="T18" fmla="*/ 0 w 60"/>
                    <a:gd name="T19" fmla="*/ 2147483647 h 31"/>
                    <a:gd name="T20" fmla="*/ 0 w 60"/>
                    <a:gd name="T21" fmla="*/ 2147483647 h 31"/>
                    <a:gd name="T22" fmla="*/ 0 w 60"/>
                    <a:gd name="T23" fmla="*/ 2147483647 h 31"/>
                    <a:gd name="T24" fmla="*/ 2147483647 w 60"/>
                    <a:gd name="T25" fmla="*/ 2147483647 h 31"/>
                    <a:gd name="T26" fmla="*/ 2147483647 w 60"/>
                    <a:gd name="T27" fmla="*/ 2147483647 h 31"/>
                    <a:gd name="T28" fmla="*/ 2147483647 w 60"/>
                    <a:gd name="T29" fmla="*/ 2147483647 h 31"/>
                    <a:gd name="T30" fmla="*/ 2147483647 w 60"/>
                    <a:gd name="T31" fmla="*/ 2147483647 h 31"/>
                    <a:gd name="T32" fmla="*/ 2147483647 w 60"/>
                    <a:gd name="T33" fmla="*/ 2147483647 h 31"/>
                    <a:gd name="T34" fmla="*/ 2147483647 w 60"/>
                    <a:gd name="T35" fmla="*/ 2147483647 h 31"/>
                    <a:gd name="T36" fmla="*/ 2147483647 w 60"/>
                    <a:gd name="T37" fmla="*/ 2147483647 h 31"/>
                    <a:gd name="T38" fmla="*/ 2147483647 w 60"/>
                    <a:gd name="T39" fmla="*/ 2147483647 h 31"/>
                    <a:gd name="T40" fmla="*/ 2147483647 w 60"/>
                    <a:gd name="T41" fmla="*/ 2147483647 h 31"/>
                    <a:gd name="T42" fmla="*/ 2147483647 w 60"/>
                    <a:gd name="T43" fmla="*/ 2147483647 h 31"/>
                    <a:gd name="T44" fmla="*/ 2147483647 w 60"/>
                    <a:gd name="T45" fmla="*/ 2147483647 h 31"/>
                    <a:gd name="T46" fmla="*/ 2147483647 w 60"/>
                    <a:gd name="T47" fmla="*/ 2147483647 h 31"/>
                    <a:gd name="T48" fmla="*/ 2147483647 w 60"/>
                    <a:gd name="T49" fmla="*/ 2147483647 h 31"/>
                    <a:gd name="T50" fmla="*/ 2147483647 w 60"/>
                    <a:gd name="T51" fmla="*/ 2147483647 h 31"/>
                    <a:gd name="T52" fmla="*/ 2147483647 w 60"/>
                    <a:gd name="T53" fmla="*/ 2147483647 h 31"/>
                    <a:gd name="T54" fmla="*/ 2147483647 w 60"/>
                    <a:gd name="T55" fmla="*/ 2147483647 h 31"/>
                    <a:gd name="T56" fmla="*/ 2147483647 w 60"/>
                    <a:gd name="T57" fmla="*/ 2147483647 h 31"/>
                    <a:gd name="T58" fmla="*/ 2147483647 w 60"/>
                    <a:gd name="T59" fmla="*/ 2147483647 h 31"/>
                    <a:gd name="T60" fmla="*/ 2147483647 w 60"/>
                    <a:gd name="T61" fmla="*/ 2147483647 h 31"/>
                    <a:gd name="T62" fmla="*/ 2147483647 w 60"/>
                    <a:gd name="T63" fmla="*/ 2147483647 h 31"/>
                    <a:gd name="T64" fmla="*/ 2147483647 w 60"/>
                    <a:gd name="T65" fmla="*/ 2147483647 h 31"/>
                    <a:gd name="T66" fmla="*/ 2147483647 w 60"/>
                    <a:gd name="T67" fmla="*/ 2147483647 h 31"/>
                    <a:gd name="T68" fmla="*/ 2147483647 w 60"/>
                    <a:gd name="T69" fmla="*/ 2147483647 h 31"/>
                    <a:gd name="T70" fmla="*/ 2147483647 w 60"/>
                    <a:gd name="T71" fmla="*/ 2147483647 h 31"/>
                    <a:gd name="T72" fmla="*/ 2147483647 w 60"/>
                    <a:gd name="T73" fmla="*/ 2147483647 h 31"/>
                    <a:gd name="T74" fmla="*/ 2147483647 w 60"/>
                    <a:gd name="T75" fmla="*/ 2147483647 h 31"/>
                    <a:gd name="T76" fmla="*/ 2147483647 w 60"/>
                    <a:gd name="T77" fmla="*/ 2147483647 h 31"/>
                    <a:gd name="T78" fmla="*/ 2147483647 w 60"/>
                    <a:gd name="T79" fmla="*/ 2147483647 h 31"/>
                    <a:gd name="T80" fmla="*/ 2147483647 w 60"/>
                    <a:gd name="T81" fmla="*/ 2147483647 h 31"/>
                    <a:gd name="T82" fmla="*/ 2147483647 w 60"/>
                    <a:gd name="T83" fmla="*/ 2147483647 h 31"/>
                    <a:gd name="T84" fmla="*/ 2147483647 w 60"/>
                    <a:gd name="T85" fmla="*/ 0 h 31"/>
                    <a:gd name="T86" fmla="*/ 2147483647 w 60"/>
                    <a:gd name="T87" fmla="*/ 0 h 31"/>
                    <a:gd name="T88" fmla="*/ 2147483647 w 60"/>
                    <a:gd name="T89" fmla="*/ 2147483647 h 31"/>
                    <a:gd name="T90" fmla="*/ 2147483647 w 60"/>
                    <a:gd name="T91" fmla="*/ 2147483647 h 31"/>
                    <a:gd name="T92" fmla="*/ 2147483647 w 60"/>
                    <a:gd name="T93" fmla="*/ 2147483647 h 31"/>
                    <a:gd name="T94" fmla="*/ 2147483647 w 60"/>
                    <a:gd name="T95" fmla="*/ 2147483647 h 31"/>
                    <a:gd name="T96" fmla="*/ 2147483647 w 60"/>
                    <a:gd name="T97" fmla="*/ 2147483647 h 31"/>
                    <a:gd name="T98" fmla="*/ 2147483647 w 60"/>
                    <a:gd name="T99" fmla="*/ 2147483647 h 3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60"/>
                    <a:gd name="T151" fmla="*/ 0 h 31"/>
                    <a:gd name="T152" fmla="*/ 60 w 60"/>
                    <a:gd name="T153" fmla="*/ 31 h 31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60" h="31">
                      <a:moveTo>
                        <a:pt x="31" y="6"/>
                      </a:moveTo>
                      <a:lnTo>
                        <a:pt x="30" y="6"/>
                      </a:lnTo>
                      <a:lnTo>
                        <a:pt x="27" y="4"/>
                      </a:lnTo>
                      <a:lnTo>
                        <a:pt x="23" y="3"/>
                      </a:lnTo>
                      <a:lnTo>
                        <a:pt x="19" y="2"/>
                      </a:lnTo>
                      <a:lnTo>
                        <a:pt x="17" y="2"/>
                      </a:lnTo>
                      <a:lnTo>
                        <a:pt x="12" y="4"/>
                      </a:lnTo>
                      <a:lnTo>
                        <a:pt x="8" y="6"/>
                      </a:lnTo>
                      <a:lnTo>
                        <a:pt x="3" y="6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2" y="11"/>
                      </a:lnTo>
                      <a:lnTo>
                        <a:pt x="5" y="12"/>
                      </a:lnTo>
                      <a:lnTo>
                        <a:pt x="9" y="15"/>
                      </a:lnTo>
                      <a:lnTo>
                        <a:pt x="14" y="20"/>
                      </a:lnTo>
                      <a:lnTo>
                        <a:pt x="17" y="20"/>
                      </a:lnTo>
                      <a:lnTo>
                        <a:pt x="18" y="20"/>
                      </a:lnTo>
                      <a:lnTo>
                        <a:pt x="21" y="23"/>
                      </a:lnTo>
                      <a:lnTo>
                        <a:pt x="22" y="24"/>
                      </a:lnTo>
                      <a:lnTo>
                        <a:pt x="23" y="25"/>
                      </a:lnTo>
                      <a:lnTo>
                        <a:pt x="26" y="25"/>
                      </a:lnTo>
                      <a:lnTo>
                        <a:pt x="30" y="24"/>
                      </a:lnTo>
                      <a:lnTo>
                        <a:pt x="32" y="22"/>
                      </a:lnTo>
                      <a:lnTo>
                        <a:pt x="33" y="22"/>
                      </a:lnTo>
                      <a:lnTo>
                        <a:pt x="36" y="23"/>
                      </a:lnTo>
                      <a:lnTo>
                        <a:pt x="41" y="26"/>
                      </a:lnTo>
                      <a:lnTo>
                        <a:pt x="46" y="29"/>
                      </a:lnTo>
                      <a:lnTo>
                        <a:pt x="51" y="31"/>
                      </a:lnTo>
                      <a:lnTo>
                        <a:pt x="55" y="30"/>
                      </a:lnTo>
                      <a:lnTo>
                        <a:pt x="57" y="29"/>
                      </a:lnTo>
                      <a:lnTo>
                        <a:pt x="60" y="31"/>
                      </a:lnTo>
                      <a:lnTo>
                        <a:pt x="60" y="29"/>
                      </a:lnTo>
                      <a:lnTo>
                        <a:pt x="60" y="26"/>
                      </a:lnTo>
                      <a:lnTo>
                        <a:pt x="55" y="22"/>
                      </a:lnTo>
                      <a:lnTo>
                        <a:pt x="55" y="19"/>
                      </a:lnTo>
                      <a:lnTo>
                        <a:pt x="54" y="18"/>
                      </a:lnTo>
                      <a:lnTo>
                        <a:pt x="55" y="13"/>
                      </a:lnTo>
                      <a:lnTo>
                        <a:pt x="57" y="10"/>
                      </a:lnTo>
                      <a:lnTo>
                        <a:pt x="56" y="6"/>
                      </a:lnTo>
                      <a:lnTo>
                        <a:pt x="55" y="3"/>
                      </a:lnTo>
                      <a:lnTo>
                        <a:pt x="54" y="2"/>
                      </a:lnTo>
                      <a:lnTo>
                        <a:pt x="51" y="0"/>
                      </a:lnTo>
                      <a:lnTo>
                        <a:pt x="50" y="0"/>
                      </a:lnTo>
                      <a:lnTo>
                        <a:pt x="46" y="3"/>
                      </a:lnTo>
                      <a:lnTo>
                        <a:pt x="42" y="3"/>
                      </a:lnTo>
                      <a:lnTo>
                        <a:pt x="40" y="3"/>
                      </a:lnTo>
                      <a:lnTo>
                        <a:pt x="36" y="4"/>
                      </a:lnTo>
                      <a:lnTo>
                        <a:pt x="33" y="5"/>
                      </a:lnTo>
                      <a:lnTo>
                        <a:pt x="3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8" name="Freeform 1198">
                  <a:extLst>
                    <a:ext uri="{FF2B5EF4-FFF2-40B4-BE49-F238E27FC236}">
                      <a16:creationId xmlns:a16="http://schemas.microsoft.com/office/drawing/2014/main" id="{1A4A9441-02BE-CC40-AE40-313D25C2E6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6187" y="3182887"/>
                  <a:ext cx="288576" cy="303372"/>
                </a:xfrm>
                <a:custGeom>
                  <a:avLst/>
                  <a:gdLst>
                    <a:gd name="T0" fmla="*/ 2147483647 w 212"/>
                    <a:gd name="T1" fmla="*/ 2147483647 h 205"/>
                    <a:gd name="T2" fmla="*/ 2147483647 w 212"/>
                    <a:gd name="T3" fmla="*/ 2147483647 h 205"/>
                    <a:gd name="T4" fmla="*/ 2147483647 w 212"/>
                    <a:gd name="T5" fmla="*/ 2147483647 h 205"/>
                    <a:gd name="T6" fmla="*/ 2147483647 w 212"/>
                    <a:gd name="T7" fmla="*/ 2147483647 h 205"/>
                    <a:gd name="T8" fmla="*/ 2147483647 w 212"/>
                    <a:gd name="T9" fmla="*/ 2147483647 h 205"/>
                    <a:gd name="T10" fmla="*/ 2147483647 w 212"/>
                    <a:gd name="T11" fmla="*/ 2147483647 h 205"/>
                    <a:gd name="T12" fmla="*/ 2147483647 w 212"/>
                    <a:gd name="T13" fmla="*/ 2147483647 h 205"/>
                    <a:gd name="T14" fmla="*/ 2147483647 w 212"/>
                    <a:gd name="T15" fmla="*/ 2147483647 h 205"/>
                    <a:gd name="T16" fmla="*/ 2147483647 w 212"/>
                    <a:gd name="T17" fmla="*/ 2147483647 h 205"/>
                    <a:gd name="T18" fmla="*/ 2147483647 w 212"/>
                    <a:gd name="T19" fmla="*/ 2147483647 h 205"/>
                    <a:gd name="T20" fmla="*/ 2147483647 w 212"/>
                    <a:gd name="T21" fmla="*/ 2147483647 h 205"/>
                    <a:gd name="T22" fmla="*/ 2147483647 w 212"/>
                    <a:gd name="T23" fmla="*/ 2147483647 h 205"/>
                    <a:gd name="T24" fmla="*/ 2147483647 w 212"/>
                    <a:gd name="T25" fmla="*/ 2147483647 h 205"/>
                    <a:gd name="T26" fmla="*/ 2147483647 w 212"/>
                    <a:gd name="T27" fmla="*/ 2147483647 h 205"/>
                    <a:gd name="T28" fmla="*/ 2147483647 w 212"/>
                    <a:gd name="T29" fmla="*/ 2147483647 h 205"/>
                    <a:gd name="T30" fmla="*/ 2147483647 w 212"/>
                    <a:gd name="T31" fmla="*/ 2147483647 h 205"/>
                    <a:gd name="T32" fmla="*/ 0 w 212"/>
                    <a:gd name="T33" fmla="*/ 2147483647 h 205"/>
                    <a:gd name="T34" fmla="*/ 2147483647 w 212"/>
                    <a:gd name="T35" fmla="*/ 2147483647 h 205"/>
                    <a:gd name="T36" fmla="*/ 2147483647 w 212"/>
                    <a:gd name="T37" fmla="*/ 2147483647 h 205"/>
                    <a:gd name="T38" fmla="*/ 2147483647 w 212"/>
                    <a:gd name="T39" fmla="*/ 2147483647 h 205"/>
                    <a:gd name="T40" fmla="*/ 2147483647 w 212"/>
                    <a:gd name="T41" fmla="*/ 2147483647 h 205"/>
                    <a:gd name="T42" fmla="*/ 2147483647 w 212"/>
                    <a:gd name="T43" fmla="*/ 2147483647 h 205"/>
                    <a:gd name="T44" fmla="*/ 2147483647 w 212"/>
                    <a:gd name="T45" fmla="*/ 2147483647 h 205"/>
                    <a:gd name="T46" fmla="*/ 2147483647 w 212"/>
                    <a:gd name="T47" fmla="*/ 2147483647 h 205"/>
                    <a:gd name="T48" fmla="*/ 2147483647 w 212"/>
                    <a:gd name="T49" fmla="*/ 2147483647 h 205"/>
                    <a:gd name="T50" fmla="*/ 2147483647 w 212"/>
                    <a:gd name="T51" fmla="*/ 2147483647 h 205"/>
                    <a:gd name="T52" fmla="*/ 2147483647 w 212"/>
                    <a:gd name="T53" fmla="*/ 2147483647 h 205"/>
                    <a:gd name="T54" fmla="*/ 2147483647 w 212"/>
                    <a:gd name="T55" fmla="*/ 2147483647 h 205"/>
                    <a:gd name="T56" fmla="*/ 2147483647 w 212"/>
                    <a:gd name="T57" fmla="*/ 2147483647 h 205"/>
                    <a:gd name="T58" fmla="*/ 2147483647 w 212"/>
                    <a:gd name="T59" fmla="*/ 2147483647 h 205"/>
                    <a:gd name="T60" fmla="*/ 2147483647 w 212"/>
                    <a:gd name="T61" fmla="*/ 2147483647 h 205"/>
                    <a:gd name="T62" fmla="*/ 2147483647 w 212"/>
                    <a:gd name="T63" fmla="*/ 2147483647 h 205"/>
                    <a:gd name="T64" fmla="*/ 2147483647 w 212"/>
                    <a:gd name="T65" fmla="*/ 2147483647 h 205"/>
                    <a:gd name="T66" fmla="*/ 2147483647 w 212"/>
                    <a:gd name="T67" fmla="*/ 2147483647 h 205"/>
                    <a:gd name="T68" fmla="*/ 2147483647 w 212"/>
                    <a:gd name="T69" fmla="*/ 2147483647 h 205"/>
                    <a:gd name="T70" fmla="*/ 2147483647 w 212"/>
                    <a:gd name="T71" fmla="*/ 2147483647 h 205"/>
                    <a:gd name="T72" fmla="*/ 2147483647 w 212"/>
                    <a:gd name="T73" fmla="*/ 2147483647 h 205"/>
                    <a:gd name="T74" fmla="*/ 2147483647 w 212"/>
                    <a:gd name="T75" fmla="*/ 2147483647 h 205"/>
                    <a:gd name="T76" fmla="*/ 2147483647 w 212"/>
                    <a:gd name="T77" fmla="*/ 2147483647 h 205"/>
                    <a:gd name="T78" fmla="*/ 2147483647 w 212"/>
                    <a:gd name="T79" fmla="*/ 2147483647 h 205"/>
                    <a:gd name="T80" fmla="*/ 2147483647 w 212"/>
                    <a:gd name="T81" fmla="*/ 2147483647 h 205"/>
                    <a:gd name="T82" fmla="*/ 2147483647 w 212"/>
                    <a:gd name="T83" fmla="*/ 2147483647 h 205"/>
                    <a:gd name="T84" fmla="*/ 2147483647 w 212"/>
                    <a:gd name="T85" fmla="*/ 2147483647 h 205"/>
                    <a:gd name="T86" fmla="*/ 2147483647 w 212"/>
                    <a:gd name="T87" fmla="*/ 2147483647 h 205"/>
                    <a:gd name="T88" fmla="*/ 2147483647 w 212"/>
                    <a:gd name="T89" fmla="*/ 2147483647 h 205"/>
                    <a:gd name="T90" fmla="*/ 2147483647 w 212"/>
                    <a:gd name="T91" fmla="*/ 2147483647 h 205"/>
                    <a:gd name="T92" fmla="*/ 2147483647 w 212"/>
                    <a:gd name="T93" fmla="*/ 2147483647 h 205"/>
                    <a:gd name="T94" fmla="*/ 2147483647 w 212"/>
                    <a:gd name="T95" fmla="*/ 2147483647 h 205"/>
                    <a:gd name="T96" fmla="*/ 2147483647 w 212"/>
                    <a:gd name="T97" fmla="*/ 2147483647 h 205"/>
                    <a:gd name="T98" fmla="*/ 2147483647 w 212"/>
                    <a:gd name="T99" fmla="*/ 2147483647 h 205"/>
                    <a:gd name="T100" fmla="*/ 2147483647 w 212"/>
                    <a:gd name="T101" fmla="*/ 2147483647 h 205"/>
                    <a:gd name="T102" fmla="*/ 2147483647 w 212"/>
                    <a:gd name="T103" fmla="*/ 2147483647 h 205"/>
                    <a:gd name="T104" fmla="*/ 2147483647 w 212"/>
                    <a:gd name="T105" fmla="*/ 2147483647 h 205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12"/>
                    <a:gd name="T160" fmla="*/ 0 h 205"/>
                    <a:gd name="T161" fmla="*/ 212 w 212"/>
                    <a:gd name="T162" fmla="*/ 205 h 205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12" h="205">
                      <a:moveTo>
                        <a:pt x="123" y="28"/>
                      </a:moveTo>
                      <a:lnTo>
                        <a:pt x="126" y="21"/>
                      </a:lnTo>
                      <a:lnTo>
                        <a:pt x="127" y="16"/>
                      </a:lnTo>
                      <a:lnTo>
                        <a:pt x="126" y="13"/>
                      </a:lnTo>
                      <a:lnTo>
                        <a:pt x="112" y="12"/>
                      </a:lnTo>
                      <a:lnTo>
                        <a:pt x="106" y="10"/>
                      </a:lnTo>
                      <a:lnTo>
                        <a:pt x="99" y="8"/>
                      </a:lnTo>
                      <a:lnTo>
                        <a:pt x="98" y="6"/>
                      </a:lnTo>
                      <a:lnTo>
                        <a:pt x="97" y="3"/>
                      </a:lnTo>
                      <a:lnTo>
                        <a:pt x="97" y="1"/>
                      </a:lnTo>
                      <a:lnTo>
                        <a:pt x="94" y="0"/>
                      </a:lnTo>
                      <a:lnTo>
                        <a:pt x="84" y="1"/>
                      </a:lnTo>
                      <a:lnTo>
                        <a:pt x="74" y="2"/>
                      </a:lnTo>
                      <a:lnTo>
                        <a:pt x="70" y="3"/>
                      </a:lnTo>
                      <a:lnTo>
                        <a:pt x="66" y="5"/>
                      </a:lnTo>
                      <a:lnTo>
                        <a:pt x="65" y="6"/>
                      </a:lnTo>
                      <a:lnTo>
                        <a:pt x="64" y="8"/>
                      </a:lnTo>
                      <a:lnTo>
                        <a:pt x="60" y="10"/>
                      </a:lnTo>
                      <a:lnTo>
                        <a:pt x="56" y="13"/>
                      </a:lnTo>
                      <a:lnTo>
                        <a:pt x="54" y="15"/>
                      </a:lnTo>
                      <a:lnTo>
                        <a:pt x="52" y="18"/>
                      </a:lnTo>
                      <a:lnTo>
                        <a:pt x="52" y="19"/>
                      </a:lnTo>
                      <a:lnTo>
                        <a:pt x="52" y="20"/>
                      </a:lnTo>
                      <a:lnTo>
                        <a:pt x="50" y="21"/>
                      </a:lnTo>
                      <a:lnTo>
                        <a:pt x="49" y="19"/>
                      </a:lnTo>
                      <a:lnTo>
                        <a:pt x="47" y="15"/>
                      </a:lnTo>
                      <a:lnTo>
                        <a:pt x="45" y="13"/>
                      </a:lnTo>
                      <a:lnTo>
                        <a:pt x="43" y="13"/>
                      </a:lnTo>
                      <a:lnTo>
                        <a:pt x="42" y="15"/>
                      </a:lnTo>
                      <a:lnTo>
                        <a:pt x="42" y="19"/>
                      </a:lnTo>
                      <a:lnTo>
                        <a:pt x="42" y="21"/>
                      </a:lnTo>
                      <a:lnTo>
                        <a:pt x="42" y="25"/>
                      </a:lnTo>
                      <a:lnTo>
                        <a:pt x="40" y="26"/>
                      </a:lnTo>
                      <a:lnTo>
                        <a:pt x="38" y="26"/>
                      </a:lnTo>
                      <a:lnTo>
                        <a:pt x="35" y="23"/>
                      </a:lnTo>
                      <a:lnTo>
                        <a:pt x="31" y="22"/>
                      </a:lnTo>
                      <a:lnTo>
                        <a:pt x="29" y="21"/>
                      </a:lnTo>
                      <a:lnTo>
                        <a:pt x="28" y="22"/>
                      </a:lnTo>
                      <a:lnTo>
                        <a:pt x="22" y="25"/>
                      </a:lnTo>
                      <a:lnTo>
                        <a:pt x="17" y="27"/>
                      </a:lnTo>
                      <a:lnTo>
                        <a:pt x="16" y="28"/>
                      </a:lnTo>
                      <a:lnTo>
                        <a:pt x="17" y="29"/>
                      </a:lnTo>
                      <a:lnTo>
                        <a:pt x="17" y="33"/>
                      </a:lnTo>
                      <a:lnTo>
                        <a:pt x="16" y="34"/>
                      </a:lnTo>
                      <a:lnTo>
                        <a:pt x="14" y="37"/>
                      </a:lnTo>
                      <a:lnTo>
                        <a:pt x="9" y="38"/>
                      </a:lnTo>
                      <a:lnTo>
                        <a:pt x="10" y="41"/>
                      </a:lnTo>
                      <a:lnTo>
                        <a:pt x="8" y="44"/>
                      </a:lnTo>
                      <a:lnTo>
                        <a:pt x="5" y="46"/>
                      </a:lnTo>
                      <a:lnTo>
                        <a:pt x="2" y="47"/>
                      </a:lnTo>
                      <a:lnTo>
                        <a:pt x="0" y="48"/>
                      </a:lnTo>
                      <a:lnTo>
                        <a:pt x="0" y="50"/>
                      </a:lnTo>
                      <a:lnTo>
                        <a:pt x="2" y="52"/>
                      </a:lnTo>
                      <a:lnTo>
                        <a:pt x="7" y="58"/>
                      </a:lnTo>
                      <a:lnTo>
                        <a:pt x="13" y="63"/>
                      </a:lnTo>
                      <a:lnTo>
                        <a:pt x="18" y="69"/>
                      </a:lnTo>
                      <a:lnTo>
                        <a:pt x="19" y="72"/>
                      </a:lnTo>
                      <a:lnTo>
                        <a:pt x="21" y="74"/>
                      </a:lnTo>
                      <a:lnTo>
                        <a:pt x="27" y="71"/>
                      </a:lnTo>
                      <a:lnTo>
                        <a:pt x="35" y="69"/>
                      </a:lnTo>
                      <a:lnTo>
                        <a:pt x="41" y="67"/>
                      </a:lnTo>
                      <a:lnTo>
                        <a:pt x="49" y="67"/>
                      </a:lnTo>
                      <a:lnTo>
                        <a:pt x="55" y="70"/>
                      </a:lnTo>
                      <a:lnTo>
                        <a:pt x="60" y="72"/>
                      </a:lnTo>
                      <a:lnTo>
                        <a:pt x="65" y="76"/>
                      </a:lnTo>
                      <a:lnTo>
                        <a:pt x="68" y="80"/>
                      </a:lnTo>
                      <a:lnTo>
                        <a:pt x="73" y="92"/>
                      </a:lnTo>
                      <a:lnTo>
                        <a:pt x="78" y="103"/>
                      </a:lnTo>
                      <a:lnTo>
                        <a:pt x="82" y="108"/>
                      </a:lnTo>
                      <a:lnTo>
                        <a:pt x="87" y="112"/>
                      </a:lnTo>
                      <a:lnTo>
                        <a:pt x="92" y="115"/>
                      </a:lnTo>
                      <a:lnTo>
                        <a:pt x="99" y="117"/>
                      </a:lnTo>
                      <a:lnTo>
                        <a:pt x="99" y="118"/>
                      </a:lnTo>
                      <a:lnTo>
                        <a:pt x="101" y="121"/>
                      </a:lnTo>
                      <a:lnTo>
                        <a:pt x="107" y="122"/>
                      </a:lnTo>
                      <a:lnTo>
                        <a:pt x="113" y="125"/>
                      </a:lnTo>
                      <a:lnTo>
                        <a:pt x="125" y="133"/>
                      </a:lnTo>
                      <a:lnTo>
                        <a:pt x="135" y="141"/>
                      </a:lnTo>
                      <a:lnTo>
                        <a:pt x="144" y="150"/>
                      </a:lnTo>
                      <a:lnTo>
                        <a:pt x="149" y="155"/>
                      </a:lnTo>
                      <a:lnTo>
                        <a:pt x="155" y="160"/>
                      </a:lnTo>
                      <a:lnTo>
                        <a:pt x="162" y="163"/>
                      </a:lnTo>
                      <a:lnTo>
                        <a:pt x="167" y="167"/>
                      </a:lnTo>
                      <a:lnTo>
                        <a:pt x="169" y="172"/>
                      </a:lnTo>
                      <a:lnTo>
                        <a:pt x="169" y="176"/>
                      </a:lnTo>
                      <a:lnTo>
                        <a:pt x="168" y="182"/>
                      </a:lnTo>
                      <a:lnTo>
                        <a:pt x="165" y="188"/>
                      </a:lnTo>
                      <a:lnTo>
                        <a:pt x="164" y="191"/>
                      </a:lnTo>
                      <a:lnTo>
                        <a:pt x="163" y="194"/>
                      </a:lnTo>
                      <a:lnTo>
                        <a:pt x="164" y="198"/>
                      </a:lnTo>
                      <a:lnTo>
                        <a:pt x="165" y="201"/>
                      </a:lnTo>
                      <a:lnTo>
                        <a:pt x="167" y="204"/>
                      </a:lnTo>
                      <a:lnTo>
                        <a:pt x="168" y="205"/>
                      </a:lnTo>
                      <a:lnTo>
                        <a:pt x="169" y="205"/>
                      </a:lnTo>
                      <a:lnTo>
                        <a:pt x="173" y="203"/>
                      </a:lnTo>
                      <a:lnTo>
                        <a:pt x="177" y="199"/>
                      </a:lnTo>
                      <a:lnTo>
                        <a:pt x="182" y="193"/>
                      </a:lnTo>
                      <a:lnTo>
                        <a:pt x="182" y="186"/>
                      </a:lnTo>
                      <a:lnTo>
                        <a:pt x="182" y="185"/>
                      </a:lnTo>
                      <a:lnTo>
                        <a:pt x="183" y="184"/>
                      </a:lnTo>
                      <a:lnTo>
                        <a:pt x="187" y="182"/>
                      </a:lnTo>
                      <a:lnTo>
                        <a:pt x="189" y="181"/>
                      </a:lnTo>
                      <a:lnTo>
                        <a:pt x="191" y="180"/>
                      </a:lnTo>
                      <a:lnTo>
                        <a:pt x="191" y="179"/>
                      </a:lnTo>
                      <a:lnTo>
                        <a:pt x="189" y="176"/>
                      </a:lnTo>
                      <a:lnTo>
                        <a:pt x="187" y="175"/>
                      </a:lnTo>
                      <a:lnTo>
                        <a:pt x="184" y="174"/>
                      </a:lnTo>
                      <a:lnTo>
                        <a:pt x="183" y="172"/>
                      </a:lnTo>
                      <a:lnTo>
                        <a:pt x="183" y="168"/>
                      </a:lnTo>
                      <a:lnTo>
                        <a:pt x="184" y="163"/>
                      </a:lnTo>
                      <a:lnTo>
                        <a:pt x="184" y="161"/>
                      </a:lnTo>
                      <a:lnTo>
                        <a:pt x="186" y="159"/>
                      </a:lnTo>
                      <a:lnTo>
                        <a:pt x="187" y="157"/>
                      </a:lnTo>
                      <a:lnTo>
                        <a:pt x="189" y="156"/>
                      </a:lnTo>
                      <a:lnTo>
                        <a:pt x="193" y="156"/>
                      </a:lnTo>
                      <a:lnTo>
                        <a:pt x="201" y="160"/>
                      </a:lnTo>
                      <a:lnTo>
                        <a:pt x="205" y="162"/>
                      </a:lnTo>
                      <a:lnTo>
                        <a:pt x="207" y="163"/>
                      </a:lnTo>
                      <a:lnTo>
                        <a:pt x="210" y="163"/>
                      </a:lnTo>
                      <a:lnTo>
                        <a:pt x="212" y="160"/>
                      </a:lnTo>
                      <a:lnTo>
                        <a:pt x="212" y="155"/>
                      </a:lnTo>
                      <a:lnTo>
                        <a:pt x="206" y="150"/>
                      </a:lnTo>
                      <a:lnTo>
                        <a:pt x="201" y="147"/>
                      </a:lnTo>
                      <a:lnTo>
                        <a:pt x="196" y="142"/>
                      </a:lnTo>
                      <a:lnTo>
                        <a:pt x="189" y="136"/>
                      </a:lnTo>
                      <a:lnTo>
                        <a:pt x="179" y="135"/>
                      </a:lnTo>
                      <a:lnTo>
                        <a:pt x="173" y="134"/>
                      </a:lnTo>
                      <a:lnTo>
                        <a:pt x="170" y="133"/>
                      </a:lnTo>
                      <a:lnTo>
                        <a:pt x="169" y="133"/>
                      </a:lnTo>
                      <a:lnTo>
                        <a:pt x="167" y="127"/>
                      </a:lnTo>
                      <a:lnTo>
                        <a:pt x="163" y="122"/>
                      </a:lnTo>
                      <a:lnTo>
                        <a:pt x="159" y="117"/>
                      </a:lnTo>
                      <a:lnTo>
                        <a:pt x="154" y="114"/>
                      </a:lnTo>
                      <a:lnTo>
                        <a:pt x="139" y="108"/>
                      </a:lnTo>
                      <a:lnTo>
                        <a:pt x="131" y="103"/>
                      </a:lnTo>
                      <a:lnTo>
                        <a:pt x="129" y="101"/>
                      </a:lnTo>
                      <a:lnTo>
                        <a:pt x="127" y="98"/>
                      </a:lnTo>
                      <a:lnTo>
                        <a:pt x="126" y="89"/>
                      </a:lnTo>
                      <a:lnTo>
                        <a:pt x="123" y="84"/>
                      </a:lnTo>
                      <a:lnTo>
                        <a:pt x="120" y="80"/>
                      </a:lnTo>
                      <a:lnTo>
                        <a:pt x="117" y="78"/>
                      </a:lnTo>
                      <a:lnTo>
                        <a:pt x="112" y="76"/>
                      </a:lnTo>
                      <a:lnTo>
                        <a:pt x="108" y="74"/>
                      </a:lnTo>
                      <a:lnTo>
                        <a:pt x="103" y="72"/>
                      </a:lnTo>
                      <a:lnTo>
                        <a:pt x="103" y="71"/>
                      </a:lnTo>
                      <a:lnTo>
                        <a:pt x="102" y="69"/>
                      </a:lnTo>
                      <a:lnTo>
                        <a:pt x="102" y="63"/>
                      </a:lnTo>
                      <a:lnTo>
                        <a:pt x="102" y="57"/>
                      </a:lnTo>
                      <a:lnTo>
                        <a:pt x="104" y="51"/>
                      </a:lnTo>
                      <a:lnTo>
                        <a:pt x="106" y="46"/>
                      </a:lnTo>
                      <a:lnTo>
                        <a:pt x="107" y="42"/>
                      </a:lnTo>
                      <a:lnTo>
                        <a:pt x="106" y="40"/>
                      </a:lnTo>
                      <a:lnTo>
                        <a:pt x="103" y="38"/>
                      </a:lnTo>
                      <a:lnTo>
                        <a:pt x="103" y="37"/>
                      </a:lnTo>
                      <a:lnTo>
                        <a:pt x="103" y="35"/>
                      </a:lnTo>
                      <a:lnTo>
                        <a:pt x="108" y="33"/>
                      </a:lnTo>
                      <a:lnTo>
                        <a:pt x="113" y="31"/>
                      </a:lnTo>
                      <a:lnTo>
                        <a:pt x="118" y="29"/>
                      </a:lnTo>
                      <a:lnTo>
                        <a:pt x="123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9" name="Freeform 1199">
                  <a:extLst>
                    <a:ext uri="{FF2B5EF4-FFF2-40B4-BE49-F238E27FC236}">
                      <a16:creationId xmlns:a16="http://schemas.microsoft.com/office/drawing/2014/main" id="{20ED40E7-8A3F-0A4A-8625-F0A04B538A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9377" y="3478860"/>
                  <a:ext cx="81393" cy="45876"/>
                </a:xfrm>
                <a:custGeom>
                  <a:avLst/>
                  <a:gdLst>
                    <a:gd name="T0" fmla="*/ 2147483647 w 60"/>
                    <a:gd name="T1" fmla="*/ 2147483647 h 31"/>
                    <a:gd name="T2" fmla="*/ 2147483647 w 60"/>
                    <a:gd name="T3" fmla="*/ 2147483647 h 31"/>
                    <a:gd name="T4" fmla="*/ 2147483647 w 60"/>
                    <a:gd name="T5" fmla="*/ 2147483647 h 31"/>
                    <a:gd name="T6" fmla="*/ 2147483647 w 60"/>
                    <a:gd name="T7" fmla="*/ 2147483647 h 31"/>
                    <a:gd name="T8" fmla="*/ 2147483647 w 60"/>
                    <a:gd name="T9" fmla="*/ 2147483647 h 31"/>
                    <a:gd name="T10" fmla="*/ 2147483647 w 60"/>
                    <a:gd name="T11" fmla="*/ 2147483647 h 31"/>
                    <a:gd name="T12" fmla="*/ 2147483647 w 60"/>
                    <a:gd name="T13" fmla="*/ 2147483647 h 31"/>
                    <a:gd name="T14" fmla="*/ 0 w 60"/>
                    <a:gd name="T15" fmla="*/ 2147483647 h 31"/>
                    <a:gd name="T16" fmla="*/ 0 w 60"/>
                    <a:gd name="T17" fmla="*/ 2147483647 h 31"/>
                    <a:gd name="T18" fmla="*/ 2147483647 w 60"/>
                    <a:gd name="T19" fmla="*/ 2147483647 h 31"/>
                    <a:gd name="T20" fmla="*/ 2147483647 w 60"/>
                    <a:gd name="T21" fmla="*/ 2147483647 h 31"/>
                    <a:gd name="T22" fmla="*/ 2147483647 w 60"/>
                    <a:gd name="T23" fmla="*/ 2147483647 h 31"/>
                    <a:gd name="T24" fmla="*/ 2147483647 w 60"/>
                    <a:gd name="T25" fmla="*/ 2147483647 h 31"/>
                    <a:gd name="T26" fmla="*/ 2147483647 w 60"/>
                    <a:gd name="T27" fmla="*/ 2147483647 h 31"/>
                    <a:gd name="T28" fmla="*/ 2147483647 w 60"/>
                    <a:gd name="T29" fmla="*/ 2147483647 h 31"/>
                    <a:gd name="T30" fmla="*/ 2147483647 w 60"/>
                    <a:gd name="T31" fmla="*/ 2147483647 h 31"/>
                    <a:gd name="T32" fmla="*/ 2147483647 w 60"/>
                    <a:gd name="T33" fmla="*/ 2147483647 h 31"/>
                    <a:gd name="T34" fmla="*/ 2147483647 w 60"/>
                    <a:gd name="T35" fmla="*/ 2147483647 h 31"/>
                    <a:gd name="T36" fmla="*/ 2147483647 w 60"/>
                    <a:gd name="T37" fmla="*/ 2147483647 h 31"/>
                    <a:gd name="T38" fmla="*/ 2147483647 w 60"/>
                    <a:gd name="T39" fmla="*/ 2147483647 h 31"/>
                    <a:gd name="T40" fmla="*/ 2147483647 w 60"/>
                    <a:gd name="T41" fmla="*/ 2147483647 h 31"/>
                    <a:gd name="T42" fmla="*/ 2147483647 w 60"/>
                    <a:gd name="T43" fmla="*/ 2147483647 h 31"/>
                    <a:gd name="T44" fmla="*/ 2147483647 w 60"/>
                    <a:gd name="T45" fmla="*/ 2147483647 h 31"/>
                    <a:gd name="T46" fmla="*/ 2147483647 w 60"/>
                    <a:gd name="T47" fmla="*/ 2147483647 h 31"/>
                    <a:gd name="T48" fmla="*/ 2147483647 w 60"/>
                    <a:gd name="T49" fmla="*/ 2147483647 h 31"/>
                    <a:gd name="T50" fmla="*/ 2147483647 w 60"/>
                    <a:gd name="T51" fmla="*/ 2147483647 h 31"/>
                    <a:gd name="T52" fmla="*/ 2147483647 w 60"/>
                    <a:gd name="T53" fmla="*/ 2147483647 h 31"/>
                    <a:gd name="T54" fmla="*/ 2147483647 w 60"/>
                    <a:gd name="T55" fmla="*/ 2147483647 h 31"/>
                    <a:gd name="T56" fmla="*/ 2147483647 w 60"/>
                    <a:gd name="T57" fmla="*/ 2147483647 h 31"/>
                    <a:gd name="T58" fmla="*/ 2147483647 w 60"/>
                    <a:gd name="T59" fmla="*/ 0 h 31"/>
                    <a:gd name="T60" fmla="*/ 2147483647 w 60"/>
                    <a:gd name="T61" fmla="*/ 2147483647 h 31"/>
                    <a:gd name="T62" fmla="*/ 2147483647 w 60"/>
                    <a:gd name="T63" fmla="*/ 2147483647 h 31"/>
                    <a:gd name="T64" fmla="*/ 2147483647 w 60"/>
                    <a:gd name="T65" fmla="*/ 2147483647 h 31"/>
                    <a:gd name="T66" fmla="*/ 2147483647 w 60"/>
                    <a:gd name="T67" fmla="*/ 2147483647 h 31"/>
                    <a:gd name="T68" fmla="*/ 2147483647 w 60"/>
                    <a:gd name="T69" fmla="*/ 2147483647 h 31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60"/>
                    <a:gd name="T106" fmla="*/ 0 h 31"/>
                    <a:gd name="T107" fmla="*/ 60 w 60"/>
                    <a:gd name="T108" fmla="*/ 31 h 31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60" h="31">
                      <a:moveTo>
                        <a:pt x="31" y="6"/>
                      </a:moveTo>
                      <a:lnTo>
                        <a:pt x="31" y="6"/>
                      </a:lnTo>
                      <a:lnTo>
                        <a:pt x="29" y="6"/>
                      </a:lnTo>
                      <a:lnTo>
                        <a:pt x="27" y="4"/>
                      </a:lnTo>
                      <a:lnTo>
                        <a:pt x="23" y="3"/>
                      </a:lnTo>
                      <a:lnTo>
                        <a:pt x="19" y="1"/>
                      </a:lnTo>
                      <a:lnTo>
                        <a:pt x="17" y="1"/>
                      </a:lnTo>
                      <a:lnTo>
                        <a:pt x="11" y="4"/>
                      </a:lnTo>
                      <a:lnTo>
                        <a:pt x="8" y="6"/>
                      </a:lnTo>
                      <a:lnTo>
                        <a:pt x="3" y="6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1" y="11"/>
                      </a:lnTo>
                      <a:lnTo>
                        <a:pt x="5" y="12"/>
                      </a:lnTo>
                      <a:lnTo>
                        <a:pt x="9" y="14"/>
                      </a:lnTo>
                      <a:lnTo>
                        <a:pt x="14" y="20"/>
                      </a:lnTo>
                      <a:lnTo>
                        <a:pt x="17" y="20"/>
                      </a:lnTo>
                      <a:lnTo>
                        <a:pt x="18" y="20"/>
                      </a:lnTo>
                      <a:lnTo>
                        <a:pt x="20" y="23"/>
                      </a:lnTo>
                      <a:lnTo>
                        <a:pt x="22" y="24"/>
                      </a:lnTo>
                      <a:lnTo>
                        <a:pt x="23" y="25"/>
                      </a:lnTo>
                      <a:lnTo>
                        <a:pt x="25" y="25"/>
                      </a:lnTo>
                      <a:lnTo>
                        <a:pt x="29" y="24"/>
                      </a:lnTo>
                      <a:lnTo>
                        <a:pt x="32" y="21"/>
                      </a:lnTo>
                      <a:lnTo>
                        <a:pt x="33" y="21"/>
                      </a:lnTo>
                      <a:lnTo>
                        <a:pt x="36" y="23"/>
                      </a:lnTo>
                      <a:lnTo>
                        <a:pt x="41" y="26"/>
                      </a:lnTo>
                      <a:lnTo>
                        <a:pt x="46" y="29"/>
                      </a:lnTo>
                      <a:lnTo>
                        <a:pt x="51" y="31"/>
                      </a:lnTo>
                      <a:lnTo>
                        <a:pt x="55" y="30"/>
                      </a:lnTo>
                      <a:lnTo>
                        <a:pt x="57" y="29"/>
                      </a:lnTo>
                      <a:lnTo>
                        <a:pt x="60" y="31"/>
                      </a:lnTo>
                      <a:lnTo>
                        <a:pt x="60" y="29"/>
                      </a:lnTo>
                      <a:lnTo>
                        <a:pt x="60" y="26"/>
                      </a:lnTo>
                      <a:lnTo>
                        <a:pt x="55" y="21"/>
                      </a:lnTo>
                      <a:lnTo>
                        <a:pt x="55" y="19"/>
                      </a:lnTo>
                      <a:lnTo>
                        <a:pt x="53" y="18"/>
                      </a:lnTo>
                      <a:lnTo>
                        <a:pt x="55" y="13"/>
                      </a:lnTo>
                      <a:lnTo>
                        <a:pt x="57" y="10"/>
                      </a:lnTo>
                      <a:lnTo>
                        <a:pt x="56" y="6"/>
                      </a:lnTo>
                      <a:lnTo>
                        <a:pt x="55" y="3"/>
                      </a:lnTo>
                      <a:lnTo>
                        <a:pt x="53" y="1"/>
                      </a:lnTo>
                      <a:lnTo>
                        <a:pt x="51" y="0"/>
                      </a:lnTo>
                      <a:lnTo>
                        <a:pt x="50" y="0"/>
                      </a:lnTo>
                      <a:lnTo>
                        <a:pt x="46" y="3"/>
                      </a:lnTo>
                      <a:lnTo>
                        <a:pt x="42" y="3"/>
                      </a:lnTo>
                      <a:lnTo>
                        <a:pt x="39" y="3"/>
                      </a:lnTo>
                      <a:lnTo>
                        <a:pt x="36" y="4"/>
                      </a:lnTo>
                      <a:lnTo>
                        <a:pt x="33" y="5"/>
                      </a:lnTo>
                      <a:lnTo>
                        <a:pt x="3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0" name="Freeform 1201">
                  <a:extLst>
                    <a:ext uri="{FF2B5EF4-FFF2-40B4-BE49-F238E27FC236}">
                      <a16:creationId xmlns:a16="http://schemas.microsoft.com/office/drawing/2014/main" id="{DC6F6A6A-8C2E-F947-84C8-C25B5482B2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7667" y="3150329"/>
                  <a:ext cx="87312" cy="88792"/>
                </a:xfrm>
                <a:custGeom>
                  <a:avLst/>
                  <a:gdLst>
                    <a:gd name="T0" fmla="*/ 2147483647 w 64"/>
                    <a:gd name="T1" fmla="*/ 2147483647 h 60"/>
                    <a:gd name="T2" fmla="*/ 2147483647 w 64"/>
                    <a:gd name="T3" fmla="*/ 2147483647 h 60"/>
                    <a:gd name="T4" fmla="*/ 2147483647 w 64"/>
                    <a:gd name="T5" fmla="*/ 2147483647 h 60"/>
                    <a:gd name="T6" fmla="*/ 2147483647 w 64"/>
                    <a:gd name="T7" fmla="*/ 2147483647 h 60"/>
                    <a:gd name="T8" fmla="*/ 2147483647 w 64"/>
                    <a:gd name="T9" fmla="*/ 2147483647 h 60"/>
                    <a:gd name="T10" fmla="*/ 2147483647 w 64"/>
                    <a:gd name="T11" fmla="*/ 2147483647 h 60"/>
                    <a:gd name="T12" fmla="*/ 2147483647 w 64"/>
                    <a:gd name="T13" fmla="*/ 2147483647 h 60"/>
                    <a:gd name="T14" fmla="*/ 2147483647 w 64"/>
                    <a:gd name="T15" fmla="*/ 2147483647 h 60"/>
                    <a:gd name="T16" fmla="*/ 2147483647 w 64"/>
                    <a:gd name="T17" fmla="*/ 2147483647 h 60"/>
                    <a:gd name="T18" fmla="*/ 2147483647 w 64"/>
                    <a:gd name="T19" fmla="*/ 2147483647 h 60"/>
                    <a:gd name="T20" fmla="*/ 2147483647 w 64"/>
                    <a:gd name="T21" fmla="*/ 2147483647 h 60"/>
                    <a:gd name="T22" fmla="*/ 2147483647 w 64"/>
                    <a:gd name="T23" fmla="*/ 2147483647 h 60"/>
                    <a:gd name="T24" fmla="*/ 2147483647 w 64"/>
                    <a:gd name="T25" fmla="*/ 2147483647 h 60"/>
                    <a:gd name="T26" fmla="*/ 2147483647 w 64"/>
                    <a:gd name="T27" fmla="*/ 2147483647 h 60"/>
                    <a:gd name="T28" fmla="*/ 2147483647 w 64"/>
                    <a:gd name="T29" fmla="*/ 2147483647 h 60"/>
                    <a:gd name="T30" fmla="*/ 2147483647 w 64"/>
                    <a:gd name="T31" fmla="*/ 2147483647 h 60"/>
                    <a:gd name="T32" fmla="*/ 2147483647 w 64"/>
                    <a:gd name="T33" fmla="*/ 2147483647 h 60"/>
                    <a:gd name="T34" fmla="*/ 2147483647 w 64"/>
                    <a:gd name="T35" fmla="*/ 2147483647 h 60"/>
                    <a:gd name="T36" fmla="*/ 2147483647 w 64"/>
                    <a:gd name="T37" fmla="*/ 2147483647 h 60"/>
                    <a:gd name="T38" fmla="*/ 2147483647 w 64"/>
                    <a:gd name="T39" fmla="*/ 2147483647 h 60"/>
                    <a:gd name="T40" fmla="*/ 2147483647 w 64"/>
                    <a:gd name="T41" fmla="*/ 0 h 60"/>
                    <a:gd name="T42" fmla="*/ 2147483647 w 64"/>
                    <a:gd name="T43" fmla="*/ 2147483647 h 60"/>
                    <a:gd name="T44" fmla="*/ 2147483647 w 64"/>
                    <a:gd name="T45" fmla="*/ 2147483647 h 60"/>
                    <a:gd name="T46" fmla="*/ 2147483647 w 64"/>
                    <a:gd name="T47" fmla="*/ 2147483647 h 60"/>
                    <a:gd name="T48" fmla="*/ 2147483647 w 64"/>
                    <a:gd name="T49" fmla="*/ 2147483647 h 60"/>
                    <a:gd name="T50" fmla="*/ 0 w 64"/>
                    <a:gd name="T51" fmla="*/ 2147483647 h 60"/>
                    <a:gd name="T52" fmla="*/ 2147483647 w 64"/>
                    <a:gd name="T53" fmla="*/ 2147483647 h 60"/>
                    <a:gd name="T54" fmla="*/ 2147483647 w 64"/>
                    <a:gd name="T55" fmla="*/ 2147483647 h 60"/>
                    <a:gd name="T56" fmla="*/ 2147483647 w 64"/>
                    <a:gd name="T57" fmla="*/ 2147483647 h 60"/>
                    <a:gd name="T58" fmla="*/ 2147483647 w 64"/>
                    <a:gd name="T59" fmla="*/ 2147483647 h 60"/>
                    <a:gd name="T60" fmla="*/ 2147483647 w 64"/>
                    <a:gd name="T61" fmla="*/ 2147483647 h 60"/>
                    <a:gd name="T62" fmla="*/ 2147483647 w 64"/>
                    <a:gd name="T63" fmla="*/ 2147483647 h 60"/>
                    <a:gd name="T64" fmla="*/ 2147483647 w 64"/>
                    <a:gd name="T65" fmla="*/ 2147483647 h 60"/>
                    <a:gd name="T66" fmla="*/ 2147483647 w 64"/>
                    <a:gd name="T67" fmla="*/ 2147483647 h 6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64"/>
                    <a:gd name="T103" fmla="*/ 0 h 60"/>
                    <a:gd name="T104" fmla="*/ 64 w 64"/>
                    <a:gd name="T105" fmla="*/ 60 h 6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64" h="60">
                      <a:moveTo>
                        <a:pt x="7" y="60"/>
                      </a:moveTo>
                      <a:lnTo>
                        <a:pt x="12" y="59"/>
                      </a:lnTo>
                      <a:lnTo>
                        <a:pt x="14" y="56"/>
                      </a:lnTo>
                      <a:lnTo>
                        <a:pt x="15" y="55"/>
                      </a:lnTo>
                      <a:lnTo>
                        <a:pt x="15" y="51"/>
                      </a:lnTo>
                      <a:lnTo>
                        <a:pt x="14" y="50"/>
                      </a:lnTo>
                      <a:lnTo>
                        <a:pt x="15" y="49"/>
                      </a:lnTo>
                      <a:lnTo>
                        <a:pt x="20" y="47"/>
                      </a:lnTo>
                      <a:lnTo>
                        <a:pt x="26" y="44"/>
                      </a:lnTo>
                      <a:lnTo>
                        <a:pt x="27" y="43"/>
                      </a:lnTo>
                      <a:lnTo>
                        <a:pt x="29" y="44"/>
                      </a:lnTo>
                      <a:lnTo>
                        <a:pt x="33" y="45"/>
                      </a:lnTo>
                      <a:lnTo>
                        <a:pt x="36" y="48"/>
                      </a:lnTo>
                      <a:lnTo>
                        <a:pt x="38" y="48"/>
                      </a:lnTo>
                      <a:lnTo>
                        <a:pt x="40" y="47"/>
                      </a:lnTo>
                      <a:lnTo>
                        <a:pt x="40" y="43"/>
                      </a:lnTo>
                      <a:lnTo>
                        <a:pt x="40" y="41"/>
                      </a:lnTo>
                      <a:lnTo>
                        <a:pt x="40" y="37"/>
                      </a:lnTo>
                      <a:lnTo>
                        <a:pt x="41" y="35"/>
                      </a:lnTo>
                      <a:lnTo>
                        <a:pt x="43" y="35"/>
                      </a:lnTo>
                      <a:lnTo>
                        <a:pt x="45" y="37"/>
                      </a:lnTo>
                      <a:lnTo>
                        <a:pt x="47" y="41"/>
                      </a:lnTo>
                      <a:lnTo>
                        <a:pt x="48" y="43"/>
                      </a:lnTo>
                      <a:lnTo>
                        <a:pt x="50" y="42"/>
                      </a:lnTo>
                      <a:lnTo>
                        <a:pt x="50" y="41"/>
                      </a:lnTo>
                      <a:lnTo>
                        <a:pt x="50" y="40"/>
                      </a:lnTo>
                      <a:lnTo>
                        <a:pt x="52" y="37"/>
                      </a:lnTo>
                      <a:lnTo>
                        <a:pt x="54" y="35"/>
                      </a:lnTo>
                      <a:lnTo>
                        <a:pt x="58" y="32"/>
                      </a:lnTo>
                      <a:lnTo>
                        <a:pt x="62" y="30"/>
                      </a:lnTo>
                      <a:lnTo>
                        <a:pt x="63" y="28"/>
                      </a:lnTo>
                      <a:lnTo>
                        <a:pt x="64" y="27"/>
                      </a:lnTo>
                      <a:lnTo>
                        <a:pt x="57" y="25"/>
                      </a:lnTo>
                      <a:lnTo>
                        <a:pt x="54" y="23"/>
                      </a:lnTo>
                      <a:lnTo>
                        <a:pt x="53" y="21"/>
                      </a:lnTo>
                      <a:lnTo>
                        <a:pt x="53" y="15"/>
                      </a:lnTo>
                      <a:lnTo>
                        <a:pt x="53" y="13"/>
                      </a:lnTo>
                      <a:lnTo>
                        <a:pt x="52" y="11"/>
                      </a:lnTo>
                      <a:lnTo>
                        <a:pt x="47" y="6"/>
                      </a:lnTo>
                      <a:lnTo>
                        <a:pt x="40" y="4"/>
                      </a:lnTo>
                      <a:lnTo>
                        <a:pt x="33" y="2"/>
                      </a:lnTo>
                      <a:lnTo>
                        <a:pt x="25" y="0"/>
                      </a:lnTo>
                      <a:lnTo>
                        <a:pt x="22" y="2"/>
                      </a:lnTo>
                      <a:lnTo>
                        <a:pt x="20" y="3"/>
                      </a:lnTo>
                      <a:lnTo>
                        <a:pt x="17" y="3"/>
                      </a:lnTo>
                      <a:lnTo>
                        <a:pt x="14" y="8"/>
                      </a:lnTo>
                      <a:lnTo>
                        <a:pt x="11" y="12"/>
                      </a:lnTo>
                      <a:lnTo>
                        <a:pt x="8" y="17"/>
                      </a:lnTo>
                      <a:lnTo>
                        <a:pt x="7" y="21"/>
                      </a:lnTo>
                      <a:lnTo>
                        <a:pt x="5" y="23"/>
                      </a:lnTo>
                      <a:lnTo>
                        <a:pt x="0" y="30"/>
                      </a:lnTo>
                      <a:lnTo>
                        <a:pt x="0" y="34"/>
                      </a:lnTo>
                      <a:lnTo>
                        <a:pt x="1" y="35"/>
                      </a:lnTo>
                      <a:lnTo>
                        <a:pt x="5" y="36"/>
                      </a:lnTo>
                      <a:lnTo>
                        <a:pt x="6" y="36"/>
                      </a:lnTo>
                      <a:lnTo>
                        <a:pt x="6" y="37"/>
                      </a:lnTo>
                      <a:lnTo>
                        <a:pt x="5" y="40"/>
                      </a:ln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2" y="43"/>
                      </a:lnTo>
                      <a:lnTo>
                        <a:pt x="3" y="45"/>
                      </a:lnTo>
                      <a:lnTo>
                        <a:pt x="5" y="47"/>
                      </a:lnTo>
                      <a:lnTo>
                        <a:pt x="3" y="50"/>
                      </a:lnTo>
                      <a:lnTo>
                        <a:pt x="2" y="54"/>
                      </a:lnTo>
                      <a:lnTo>
                        <a:pt x="1" y="56"/>
                      </a:lnTo>
                      <a:lnTo>
                        <a:pt x="2" y="59"/>
                      </a:lnTo>
                      <a:lnTo>
                        <a:pt x="3" y="60"/>
                      </a:lnTo>
                      <a:lnTo>
                        <a:pt x="7" y="6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1" name="Freeform 1202">
                  <a:extLst>
                    <a:ext uri="{FF2B5EF4-FFF2-40B4-BE49-F238E27FC236}">
                      <a16:creationId xmlns:a16="http://schemas.microsoft.com/office/drawing/2014/main" id="{162201CF-940B-E542-BD7A-0FA20D5C1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8703" y="3116294"/>
                  <a:ext cx="184984" cy="85833"/>
                </a:xfrm>
                <a:custGeom>
                  <a:avLst/>
                  <a:gdLst>
                    <a:gd name="T0" fmla="*/ 2147483647 w 135"/>
                    <a:gd name="T1" fmla="*/ 2147483647 h 58"/>
                    <a:gd name="T2" fmla="*/ 2147483647 w 135"/>
                    <a:gd name="T3" fmla="*/ 2147483647 h 58"/>
                    <a:gd name="T4" fmla="*/ 2147483647 w 135"/>
                    <a:gd name="T5" fmla="*/ 2147483647 h 58"/>
                    <a:gd name="T6" fmla="*/ 2147483647 w 135"/>
                    <a:gd name="T7" fmla="*/ 2147483647 h 58"/>
                    <a:gd name="T8" fmla="*/ 2147483647 w 135"/>
                    <a:gd name="T9" fmla="*/ 2147483647 h 58"/>
                    <a:gd name="T10" fmla="*/ 2147483647 w 135"/>
                    <a:gd name="T11" fmla="*/ 2147483647 h 58"/>
                    <a:gd name="T12" fmla="*/ 2147483647 w 135"/>
                    <a:gd name="T13" fmla="*/ 2147483647 h 58"/>
                    <a:gd name="T14" fmla="*/ 2147483647 w 135"/>
                    <a:gd name="T15" fmla="*/ 2147483647 h 58"/>
                    <a:gd name="T16" fmla="*/ 2147483647 w 135"/>
                    <a:gd name="T17" fmla="*/ 2147483647 h 58"/>
                    <a:gd name="T18" fmla="*/ 2147483647 w 135"/>
                    <a:gd name="T19" fmla="*/ 2147483647 h 58"/>
                    <a:gd name="T20" fmla="*/ 2147483647 w 135"/>
                    <a:gd name="T21" fmla="*/ 2147483647 h 58"/>
                    <a:gd name="T22" fmla="*/ 2147483647 w 135"/>
                    <a:gd name="T23" fmla="*/ 2147483647 h 58"/>
                    <a:gd name="T24" fmla="*/ 2147483647 w 135"/>
                    <a:gd name="T25" fmla="*/ 2147483647 h 58"/>
                    <a:gd name="T26" fmla="*/ 2147483647 w 135"/>
                    <a:gd name="T27" fmla="*/ 2147483647 h 58"/>
                    <a:gd name="T28" fmla="*/ 2147483647 w 135"/>
                    <a:gd name="T29" fmla="*/ 2147483647 h 58"/>
                    <a:gd name="T30" fmla="*/ 2147483647 w 135"/>
                    <a:gd name="T31" fmla="*/ 2147483647 h 58"/>
                    <a:gd name="T32" fmla="*/ 2147483647 w 135"/>
                    <a:gd name="T33" fmla="*/ 2147483647 h 58"/>
                    <a:gd name="T34" fmla="*/ 2147483647 w 135"/>
                    <a:gd name="T35" fmla="*/ 2147483647 h 58"/>
                    <a:gd name="T36" fmla="*/ 2147483647 w 135"/>
                    <a:gd name="T37" fmla="*/ 2147483647 h 58"/>
                    <a:gd name="T38" fmla="*/ 2147483647 w 135"/>
                    <a:gd name="T39" fmla="*/ 2147483647 h 58"/>
                    <a:gd name="T40" fmla="*/ 2147483647 w 135"/>
                    <a:gd name="T41" fmla="*/ 2147483647 h 58"/>
                    <a:gd name="T42" fmla="*/ 2147483647 w 135"/>
                    <a:gd name="T43" fmla="*/ 2147483647 h 58"/>
                    <a:gd name="T44" fmla="*/ 2147483647 w 135"/>
                    <a:gd name="T45" fmla="*/ 2147483647 h 58"/>
                    <a:gd name="T46" fmla="*/ 2147483647 w 135"/>
                    <a:gd name="T47" fmla="*/ 2147483647 h 58"/>
                    <a:gd name="T48" fmla="*/ 2147483647 w 135"/>
                    <a:gd name="T49" fmla="*/ 2147483647 h 58"/>
                    <a:gd name="T50" fmla="*/ 2147483647 w 135"/>
                    <a:gd name="T51" fmla="*/ 2147483647 h 58"/>
                    <a:gd name="T52" fmla="*/ 0 w 135"/>
                    <a:gd name="T53" fmla="*/ 2147483647 h 58"/>
                    <a:gd name="T54" fmla="*/ 2147483647 w 135"/>
                    <a:gd name="T55" fmla="*/ 2147483647 h 58"/>
                    <a:gd name="T56" fmla="*/ 2147483647 w 135"/>
                    <a:gd name="T57" fmla="*/ 2147483647 h 58"/>
                    <a:gd name="T58" fmla="*/ 2147483647 w 135"/>
                    <a:gd name="T59" fmla="*/ 2147483647 h 58"/>
                    <a:gd name="T60" fmla="*/ 2147483647 w 135"/>
                    <a:gd name="T61" fmla="*/ 2147483647 h 58"/>
                    <a:gd name="T62" fmla="*/ 2147483647 w 135"/>
                    <a:gd name="T63" fmla="*/ 2147483647 h 58"/>
                    <a:gd name="T64" fmla="*/ 2147483647 w 135"/>
                    <a:gd name="T65" fmla="*/ 2147483647 h 58"/>
                    <a:gd name="T66" fmla="*/ 2147483647 w 135"/>
                    <a:gd name="T67" fmla="*/ 2147483647 h 58"/>
                    <a:gd name="T68" fmla="*/ 2147483647 w 135"/>
                    <a:gd name="T69" fmla="*/ 2147483647 h 58"/>
                    <a:gd name="T70" fmla="*/ 2147483647 w 135"/>
                    <a:gd name="T71" fmla="*/ 2147483647 h 58"/>
                    <a:gd name="T72" fmla="*/ 2147483647 w 135"/>
                    <a:gd name="T73" fmla="*/ 2147483647 h 58"/>
                    <a:gd name="T74" fmla="*/ 2147483647 w 135"/>
                    <a:gd name="T75" fmla="*/ 2147483647 h 58"/>
                    <a:gd name="T76" fmla="*/ 2147483647 w 135"/>
                    <a:gd name="T77" fmla="*/ 2147483647 h 58"/>
                    <a:gd name="T78" fmla="*/ 2147483647 w 135"/>
                    <a:gd name="T79" fmla="*/ 2147483647 h 58"/>
                    <a:gd name="T80" fmla="*/ 2147483647 w 135"/>
                    <a:gd name="T81" fmla="*/ 2147483647 h 58"/>
                    <a:gd name="T82" fmla="*/ 2147483647 w 135"/>
                    <a:gd name="T83" fmla="*/ 2147483647 h 58"/>
                    <a:gd name="T84" fmla="*/ 2147483647 w 135"/>
                    <a:gd name="T85" fmla="*/ 2147483647 h 58"/>
                    <a:gd name="T86" fmla="*/ 2147483647 w 135"/>
                    <a:gd name="T87" fmla="*/ 2147483647 h 58"/>
                    <a:gd name="T88" fmla="*/ 2147483647 w 135"/>
                    <a:gd name="T89" fmla="*/ 2147483647 h 58"/>
                    <a:gd name="T90" fmla="*/ 2147483647 w 135"/>
                    <a:gd name="T91" fmla="*/ 2147483647 h 58"/>
                    <a:gd name="T92" fmla="*/ 2147483647 w 135"/>
                    <a:gd name="T93" fmla="*/ 2147483647 h 58"/>
                    <a:gd name="T94" fmla="*/ 2147483647 w 135"/>
                    <a:gd name="T95" fmla="*/ 0 h 58"/>
                    <a:gd name="T96" fmla="*/ 2147483647 w 135"/>
                    <a:gd name="T97" fmla="*/ 2147483647 h 58"/>
                    <a:gd name="T98" fmla="*/ 2147483647 w 135"/>
                    <a:gd name="T99" fmla="*/ 2147483647 h 58"/>
                    <a:gd name="T100" fmla="*/ 2147483647 w 135"/>
                    <a:gd name="T101" fmla="*/ 2147483647 h 58"/>
                    <a:gd name="T102" fmla="*/ 2147483647 w 135"/>
                    <a:gd name="T103" fmla="*/ 2147483647 h 58"/>
                    <a:gd name="T104" fmla="*/ 2147483647 w 135"/>
                    <a:gd name="T105" fmla="*/ 2147483647 h 58"/>
                    <a:gd name="T106" fmla="*/ 2147483647 w 135"/>
                    <a:gd name="T107" fmla="*/ 2147483647 h 5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35"/>
                    <a:gd name="T163" fmla="*/ 0 h 58"/>
                    <a:gd name="T164" fmla="*/ 135 w 135"/>
                    <a:gd name="T165" fmla="*/ 58 h 5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35" h="58">
                      <a:moveTo>
                        <a:pt x="135" y="14"/>
                      </a:moveTo>
                      <a:lnTo>
                        <a:pt x="134" y="23"/>
                      </a:lnTo>
                      <a:lnTo>
                        <a:pt x="133" y="34"/>
                      </a:lnTo>
                      <a:lnTo>
                        <a:pt x="130" y="39"/>
                      </a:lnTo>
                      <a:lnTo>
                        <a:pt x="127" y="44"/>
                      </a:lnTo>
                      <a:lnTo>
                        <a:pt x="122" y="47"/>
                      </a:lnTo>
                      <a:lnTo>
                        <a:pt x="116" y="51"/>
                      </a:lnTo>
                      <a:lnTo>
                        <a:pt x="110" y="54"/>
                      </a:lnTo>
                      <a:lnTo>
                        <a:pt x="91" y="57"/>
                      </a:lnTo>
                      <a:lnTo>
                        <a:pt x="72" y="58"/>
                      </a:lnTo>
                      <a:lnTo>
                        <a:pt x="58" y="57"/>
                      </a:lnTo>
                      <a:lnTo>
                        <a:pt x="52" y="55"/>
                      </a:lnTo>
                      <a:lnTo>
                        <a:pt x="45" y="53"/>
                      </a:lnTo>
                      <a:lnTo>
                        <a:pt x="44" y="51"/>
                      </a:lnTo>
                      <a:lnTo>
                        <a:pt x="43" y="48"/>
                      </a:lnTo>
                      <a:lnTo>
                        <a:pt x="43" y="46"/>
                      </a:lnTo>
                      <a:lnTo>
                        <a:pt x="40" y="45"/>
                      </a:lnTo>
                      <a:lnTo>
                        <a:pt x="30" y="46"/>
                      </a:lnTo>
                      <a:lnTo>
                        <a:pt x="20" y="47"/>
                      </a:lnTo>
                      <a:lnTo>
                        <a:pt x="16" y="48"/>
                      </a:lnTo>
                      <a:lnTo>
                        <a:pt x="12" y="50"/>
                      </a:lnTo>
                      <a:lnTo>
                        <a:pt x="5" y="48"/>
                      </a:lnTo>
                      <a:lnTo>
                        <a:pt x="2" y="46"/>
                      </a:lnTo>
                      <a:lnTo>
                        <a:pt x="1" y="44"/>
                      </a:lnTo>
                      <a:lnTo>
                        <a:pt x="1" y="38"/>
                      </a:lnTo>
                      <a:lnTo>
                        <a:pt x="1" y="36"/>
                      </a:lnTo>
                      <a:lnTo>
                        <a:pt x="0" y="34"/>
                      </a:lnTo>
                      <a:lnTo>
                        <a:pt x="10" y="34"/>
                      </a:lnTo>
                      <a:lnTo>
                        <a:pt x="19" y="33"/>
                      </a:lnTo>
                      <a:lnTo>
                        <a:pt x="29" y="29"/>
                      </a:lnTo>
                      <a:lnTo>
                        <a:pt x="38" y="25"/>
                      </a:lnTo>
                      <a:lnTo>
                        <a:pt x="39" y="25"/>
                      </a:lnTo>
                      <a:lnTo>
                        <a:pt x="40" y="25"/>
                      </a:lnTo>
                      <a:lnTo>
                        <a:pt x="44" y="26"/>
                      </a:lnTo>
                      <a:lnTo>
                        <a:pt x="52" y="31"/>
                      </a:lnTo>
                      <a:lnTo>
                        <a:pt x="53" y="31"/>
                      </a:lnTo>
                      <a:lnTo>
                        <a:pt x="54" y="31"/>
                      </a:lnTo>
                      <a:lnTo>
                        <a:pt x="55" y="29"/>
                      </a:lnTo>
                      <a:lnTo>
                        <a:pt x="55" y="23"/>
                      </a:lnTo>
                      <a:lnTo>
                        <a:pt x="53" y="19"/>
                      </a:lnTo>
                      <a:lnTo>
                        <a:pt x="55" y="18"/>
                      </a:lnTo>
                      <a:lnTo>
                        <a:pt x="57" y="16"/>
                      </a:lnTo>
                      <a:lnTo>
                        <a:pt x="63" y="9"/>
                      </a:lnTo>
                      <a:lnTo>
                        <a:pt x="69" y="6"/>
                      </a:lnTo>
                      <a:lnTo>
                        <a:pt x="77" y="3"/>
                      </a:lnTo>
                      <a:lnTo>
                        <a:pt x="87" y="2"/>
                      </a:lnTo>
                      <a:lnTo>
                        <a:pt x="90" y="1"/>
                      </a:lnTo>
                      <a:lnTo>
                        <a:pt x="92" y="0"/>
                      </a:lnTo>
                      <a:lnTo>
                        <a:pt x="108" y="2"/>
                      </a:lnTo>
                      <a:lnTo>
                        <a:pt x="124" y="3"/>
                      </a:lnTo>
                      <a:lnTo>
                        <a:pt x="129" y="4"/>
                      </a:lnTo>
                      <a:lnTo>
                        <a:pt x="133" y="7"/>
                      </a:lnTo>
                      <a:lnTo>
                        <a:pt x="134" y="10"/>
                      </a:lnTo>
                      <a:lnTo>
                        <a:pt x="135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2" name="Freeform 1203">
                  <a:extLst>
                    <a:ext uri="{FF2B5EF4-FFF2-40B4-BE49-F238E27FC236}">
                      <a16:creationId xmlns:a16="http://schemas.microsoft.com/office/drawing/2014/main" id="{9A982DAA-2443-E945-871B-F4B327C86A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6187" y="3148848"/>
                  <a:ext cx="88792" cy="88792"/>
                </a:xfrm>
                <a:custGeom>
                  <a:avLst/>
                  <a:gdLst>
                    <a:gd name="T0" fmla="*/ 2147483647 w 65"/>
                    <a:gd name="T1" fmla="*/ 2147483647 h 60"/>
                    <a:gd name="T2" fmla="*/ 2147483647 w 65"/>
                    <a:gd name="T3" fmla="*/ 2147483647 h 60"/>
                    <a:gd name="T4" fmla="*/ 2147483647 w 65"/>
                    <a:gd name="T5" fmla="*/ 2147483647 h 60"/>
                    <a:gd name="T6" fmla="*/ 2147483647 w 65"/>
                    <a:gd name="T7" fmla="*/ 2147483647 h 60"/>
                    <a:gd name="T8" fmla="*/ 2147483647 w 65"/>
                    <a:gd name="T9" fmla="*/ 2147483647 h 60"/>
                    <a:gd name="T10" fmla="*/ 2147483647 w 65"/>
                    <a:gd name="T11" fmla="*/ 2147483647 h 60"/>
                    <a:gd name="T12" fmla="*/ 2147483647 w 65"/>
                    <a:gd name="T13" fmla="*/ 2147483647 h 60"/>
                    <a:gd name="T14" fmla="*/ 2147483647 w 65"/>
                    <a:gd name="T15" fmla="*/ 2147483647 h 60"/>
                    <a:gd name="T16" fmla="*/ 2147483647 w 65"/>
                    <a:gd name="T17" fmla="*/ 2147483647 h 60"/>
                    <a:gd name="T18" fmla="*/ 2147483647 w 65"/>
                    <a:gd name="T19" fmla="*/ 2147483647 h 60"/>
                    <a:gd name="T20" fmla="*/ 2147483647 w 65"/>
                    <a:gd name="T21" fmla="*/ 2147483647 h 60"/>
                    <a:gd name="T22" fmla="*/ 2147483647 w 65"/>
                    <a:gd name="T23" fmla="*/ 2147483647 h 60"/>
                    <a:gd name="T24" fmla="*/ 2147483647 w 65"/>
                    <a:gd name="T25" fmla="*/ 2147483647 h 60"/>
                    <a:gd name="T26" fmla="*/ 2147483647 w 65"/>
                    <a:gd name="T27" fmla="*/ 2147483647 h 60"/>
                    <a:gd name="T28" fmla="*/ 2147483647 w 65"/>
                    <a:gd name="T29" fmla="*/ 2147483647 h 60"/>
                    <a:gd name="T30" fmla="*/ 2147483647 w 65"/>
                    <a:gd name="T31" fmla="*/ 2147483647 h 60"/>
                    <a:gd name="T32" fmla="*/ 2147483647 w 65"/>
                    <a:gd name="T33" fmla="*/ 2147483647 h 60"/>
                    <a:gd name="T34" fmla="*/ 2147483647 w 65"/>
                    <a:gd name="T35" fmla="*/ 2147483647 h 60"/>
                    <a:gd name="T36" fmla="*/ 2147483647 w 65"/>
                    <a:gd name="T37" fmla="*/ 2147483647 h 60"/>
                    <a:gd name="T38" fmla="*/ 2147483647 w 65"/>
                    <a:gd name="T39" fmla="*/ 2147483647 h 60"/>
                    <a:gd name="T40" fmla="*/ 2147483647 w 65"/>
                    <a:gd name="T41" fmla="*/ 2147483647 h 60"/>
                    <a:gd name="T42" fmla="*/ 2147483647 w 65"/>
                    <a:gd name="T43" fmla="*/ 2147483647 h 60"/>
                    <a:gd name="T44" fmla="*/ 2147483647 w 65"/>
                    <a:gd name="T45" fmla="*/ 2147483647 h 60"/>
                    <a:gd name="T46" fmla="*/ 2147483647 w 65"/>
                    <a:gd name="T47" fmla="*/ 2147483647 h 60"/>
                    <a:gd name="T48" fmla="*/ 2147483647 w 65"/>
                    <a:gd name="T49" fmla="*/ 2147483647 h 60"/>
                    <a:gd name="T50" fmla="*/ 2147483647 w 65"/>
                    <a:gd name="T51" fmla="*/ 2147483647 h 60"/>
                    <a:gd name="T52" fmla="*/ 2147483647 w 65"/>
                    <a:gd name="T53" fmla="*/ 2147483647 h 60"/>
                    <a:gd name="T54" fmla="*/ 2147483647 w 65"/>
                    <a:gd name="T55" fmla="*/ 2147483647 h 60"/>
                    <a:gd name="T56" fmla="*/ 2147483647 w 65"/>
                    <a:gd name="T57" fmla="*/ 0 h 60"/>
                    <a:gd name="T58" fmla="*/ 2147483647 w 65"/>
                    <a:gd name="T59" fmla="*/ 2147483647 h 60"/>
                    <a:gd name="T60" fmla="*/ 2147483647 w 65"/>
                    <a:gd name="T61" fmla="*/ 2147483647 h 60"/>
                    <a:gd name="T62" fmla="*/ 2147483647 w 65"/>
                    <a:gd name="T63" fmla="*/ 2147483647 h 60"/>
                    <a:gd name="T64" fmla="*/ 2147483647 w 65"/>
                    <a:gd name="T65" fmla="*/ 2147483647 h 60"/>
                    <a:gd name="T66" fmla="*/ 2147483647 w 65"/>
                    <a:gd name="T67" fmla="*/ 2147483647 h 60"/>
                    <a:gd name="T68" fmla="*/ 0 w 65"/>
                    <a:gd name="T69" fmla="*/ 2147483647 h 60"/>
                    <a:gd name="T70" fmla="*/ 2147483647 w 65"/>
                    <a:gd name="T71" fmla="*/ 2147483647 h 60"/>
                    <a:gd name="T72" fmla="*/ 2147483647 w 65"/>
                    <a:gd name="T73" fmla="*/ 2147483647 h 60"/>
                    <a:gd name="T74" fmla="*/ 2147483647 w 65"/>
                    <a:gd name="T75" fmla="*/ 2147483647 h 60"/>
                    <a:gd name="T76" fmla="*/ 2147483647 w 65"/>
                    <a:gd name="T77" fmla="*/ 2147483647 h 60"/>
                    <a:gd name="T78" fmla="*/ 2147483647 w 65"/>
                    <a:gd name="T79" fmla="*/ 2147483647 h 60"/>
                    <a:gd name="T80" fmla="*/ 2147483647 w 65"/>
                    <a:gd name="T81" fmla="*/ 2147483647 h 60"/>
                    <a:gd name="T82" fmla="*/ 2147483647 w 65"/>
                    <a:gd name="T83" fmla="*/ 2147483647 h 60"/>
                    <a:gd name="T84" fmla="*/ 2147483647 w 65"/>
                    <a:gd name="T85" fmla="*/ 2147483647 h 60"/>
                    <a:gd name="T86" fmla="*/ 2147483647 w 65"/>
                    <a:gd name="T87" fmla="*/ 2147483647 h 60"/>
                    <a:gd name="T88" fmla="*/ 2147483647 w 65"/>
                    <a:gd name="T89" fmla="*/ 2147483647 h 6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65"/>
                    <a:gd name="T136" fmla="*/ 0 h 60"/>
                    <a:gd name="T137" fmla="*/ 65 w 65"/>
                    <a:gd name="T138" fmla="*/ 60 h 6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65" h="60">
                      <a:moveTo>
                        <a:pt x="8" y="60"/>
                      </a:moveTo>
                      <a:lnTo>
                        <a:pt x="8" y="60"/>
                      </a:lnTo>
                      <a:lnTo>
                        <a:pt x="13" y="58"/>
                      </a:lnTo>
                      <a:lnTo>
                        <a:pt x="14" y="56"/>
                      </a:lnTo>
                      <a:lnTo>
                        <a:pt x="16" y="55"/>
                      </a:lnTo>
                      <a:lnTo>
                        <a:pt x="16" y="51"/>
                      </a:lnTo>
                      <a:lnTo>
                        <a:pt x="14" y="50"/>
                      </a:lnTo>
                      <a:lnTo>
                        <a:pt x="16" y="49"/>
                      </a:lnTo>
                      <a:lnTo>
                        <a:pt x="21" y="46"/>
                      </a:lnTo>
                      <a:lnTo>
                        <a:pt x="27" y="44"/>
                      </a:lnTo>
                      <a:lnTo>
                        <a:pt x="28" y="43"/>
                      </a:lnTo>
                      <a:lnTo>
                        <a:pt x="29" y="44"/>
                      </a:lnTo>
                      <a:lnTo>
                        <a:pt x="33" y="45"/>
                      </a:lnTo>
                      <a:lnTo>
                        <a:pt x="37" y="48"/>
                      </a:lnTo>
                      <a:lnTo>
                        <a:pt x="38" y="48"/>
                      </a:lnTo>
                      <a:lnTo>
                        <a:pt x="41" y="46"/>
                      </a:lnTo>
                      <a:lnTo>
                        <a:pt x="41" y="43"/>
                      </a:lnTo>
                      <a:lnTo>
                        <a:pt x="41" y="41"/>
                      </a:lnTo>
                      <a:lnTo>
                        <a:pt x="41" y="37"/>
                      </a:lnTo>
                      <a:lnTo>
                        <a:pt x="42" y="35"/>
                      </a:lnTo>
                      <a:lnTo>
                        <a:pt x="43" y="35"/>
                      </a:lnTo>
                      <a:lnTo>
                        <a:pt x="46" y="37"/>
                      </a:lnTo>
                      <a:lnTo>
                        <a:pt x="47" y="41"/>
                      </a:lnTo>
                      <a:lnTo>
                        <a:pt x="49" y="43"/>
                      </a:lnTo>
                      <a:lnTo>
                        <a:pt x="51" y="42"/>
                      </a:lnTo>
                      <a:lnTo>
                        <a:pt x="51" y="41"/>
                      </a:lnTo>
                      <a:lnTo>
                        <a:pt x="51" y="39"/>
                      </a:lnTo>
                      <a:lnTo>
                        <a:pt x="52" y="37"/>
                      </a:lnTo>
                      <a:lnTo>
                        <a:pt x="55" y="35"/>
                      </a:lnTo>
                      <a:lnTo>
                        <a:pt x="59" y="32"/>
                      </a:lnTo>
                      <a:lnTo>
                        <a:pt x="63" y="30"/>
                      </a:lnTo>
                      <a:lnTo>
                        <a:pt x="64" y="28"/>
                      </a:lnTo>
                      <a:lnTo>
                        <a:pt x="65" y="26"/>
                      </a:lnTo>
                      <a:lnTo>
                        <a:pt x="57" y="25"/>
                      </a:lnTo>
                      <a:lnTo>
                        <a:pt x="55" y="23"/>
                      </a:lnTo>
                      <a:lnTo>
                        <a:pt x="54" y="20"/>
                      </a:lnTo>
                      <a:lnTo>
                        <a:pt x="54" y="14"/>
                      </a:lnTo>
                      <a:lnTo>
                        <a:pt x="54" y="13"/>
                      </a:lnTo>
                      <a:lnTo>
                        <a:pt x="52" y="11"/>
                      </a:lnTo>
                      <a:lnTo>
                        <a:pt x="47" y="6"/>
                      </a:lnTo>
                      <a:lnTo>
                        <a:pt x="41" y="4"/>
                      </a:lnTo>
                      <a:lnTo>
                        <a:pt x="33" y="1"/>
                      </a:lnTo>
                      <a:lnTo>
                        <a:pt x="26" y="0"/>
                      </a:lnTo>
                      <a:lnTo>
                        <a:pt x="23" y="1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4" y="7"/>
                      </a:lnTo>
                      <a:lnTo>
                        <a:pt x="12" y="12"/>
                      </a:lnTo>
                      <a:lnTo>
                        <a:pt x="9" y="17"/>
                      </a:lnTo>
                      <a:lnTo>
                        <a:pt x="8" y="20"/>
                      </a:lnTo>
                      <a:lnTo>
                        <a:pt x="5" y="23"/>
                      </a:lnTo>
                      <a:lnTo>
                        <a:pt x="0" y="30"/>
                      </a:lnTo>
                      <a:lnTo>
                        <a:pt x="0" y="33"/>
                      </a:lnTo>
                      <a:lnTo>
                        <a:pt x="2" y="35"/>
                      </a:lnTo>
                      <a:lnTo>
                        <a:pt x="5" y="36"/>
                      </a:lnTo>
                      <a:lnTo>
                        <a:pt x="7" y="36"/>
                      </a:lnTo>
                      <a:lnTo>
                        <a:pt x="7" y="37"/>
                      </a:lnTo>
                      <a:lnTo>
                        <a:pt x="5" y="39"/>
                      </a:lnTo>
                      <a:lnTo>
                        <a:pt x="3" y="41"/>
                      </a:lnTo>
                      <a:lnTo>
                        <a:pt x="3" y="42"/>
                      </a:lnTo>
                      <a:lnTo>
                        <a:pt x="3" y="43"/>
                      </a:lnTo>
                      <a:lnTo>
                        <a:pt x="4" y="45"/>
                      </a:lnTo>
                      <a:lnTo>
                        <a:pt x="5" y="46"/>
                      </a:lnTo>
                      <a:lnTo>
                        <a:pt x="4" y="50"/>
                      </a:lnTo>
                      <a:lnTo>
                        <a:pt x="3" y="54"/>
                      </a:lnTo>
                      <a:lnTo>
                        <a:pt x="2" y="56"/>
                      </a:lnTo>
                      <a:lnTo>
                        <a:pt x="3" y="58"/>
                      </a:lnTo>
                      <a:lnTo>
                        <a:pt x="4" y="60"/>
                      </a:lnTo>
                      <a:lnTo>
                        <a:pt x="8" y="6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3" name="Freeform 1204">
                  <a:extLst>
                    <a:ext uri="{FF2B5EF4-FFF2-40B4-BE49-F238E27FC236}">
                      <a16:creationId xmlns:a16="http://schemas.microsoft.com/office/drawing/2014/main" id="{2E3CED2D-EF49-4B48-9847-87EA96A3FA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7221" y="3114815"/>
                  <a:ext cx="184984" cy="85833"/>
                </a:xfrm>
                <a:custGeom>
                  <a:avLst/>
                  <a:gdLst>
                    <a:gd name="T0" fmla="*/ 2147483647 w 136"/>
                    <a:gd name="T1" fmla="*/ 2147483647 h 58"/>
                    <a:gd name="T2" fmla="*/ 2147483647 w 136"/>
                    <a:gd name="T3" fmla="*/ 2147483647 h 58"/>
                    <a:gd name="T4" fmla="*/ 2147483647 w 136"/>
                    <a:gd name="T5" fmla="*/ 2147483647 h 58"/>
                    <a:gd name="T6" fmla="*/ 2147483647 w 136"/>
                    <a:gd name="T7" fmla="*/ 2147483647 h 58"/>
                    <a:gd name="T8" fmla="*/ 2147483647 w 136"/>
                    <a:gd name="T9" fmla="*/ 2147483647 h 58"/>
                    <a:gd name="T10" fmla="*/ 2147483647 w 136"/>
                    <a:gd name="T11" fmla="*/ 2147483647 h 58"/>
                    <a:gd name="T12" fmla="*/ 2147483647 w 136"/>
                    <a:gd name="T13" fmla="*/ 2147483647 h 58"/>
                    <a:gd name="T14" fmla="*/ 2147483647 w 136"/>
                    <a:gd name="T15" fmla="*/ 2147483647 h 58"/>
                    <a:gd name="T16" fmla="*/ 2147483647 w 136"/>
                    <a:gd name="T17" fmla="*/ 2147483647 h 58"/>
                    <a:gd name="T18" fmla="*/ 2147483647 w 136"/>
                    <a:gd name="T19" fmla="*/ 2147483647 h 58"/>
                    <a:gd name="T20" fmla="*/ 2147483647 w 136"/>
                    <a:gd name="T21" fmla="*/ 2147483647 h 58"/>
                    <a:gd name="T22" fmla="*/ 2147483647 w 136"/>
                    <a:gd name="T23" fmla="*/ 2147483647 h 58"/>
                    <a:gd name="T24" fmla="*/ 2147483647 w 136"/>
                    <a:gd name="T25" fmla="*/ 2147483647 h 58"/>
                    <a:gd name="T26" fmla="*/ 2147483647 w 136"/>
                    <a:gd name="T27" fmla="*/ 2147483647 h 58"/>
                    <a:gd name="T28" fmla="*/ 2147483647 w 136"/>
                    <a:gd name="T29" fmla="*/ 2147483647 h 58"/>
                    <a:gd name="T30" fmla="*/ 2147483647 w 136"/>
                    <a:gd name="T31" fmla="*/ 2147483647 h 58"/>
                    <a:gd name="T32" fmla="*/ 2147483647 w 136"/>
                    <a:gd name="T33" fmla="*/ 2147483647 h 58"/>
                    <a:gd name="T34" fmla="*/ 2147483647 w 136"/>
                    <a:gd name="T35" fmla="*/ 2147483647 h 58"/>
                    <a:gd name="T36" fmla="*/ 0 w 136"/>
                    <a:gd name="T37" fmla="*/ 2147483647 h 58"/>
                    <a:gd name="T38" fmla="*/ 2147483647 w 136"/>
                    <a:gd name="T39" fmla="*/ 2147483647 h 58"/>
                    <a:gd name="T40" fmla="*/ 2147483647 w 136"/>
                    <a:gd name="T41" fmla="*/ 2147483647 h 58"/>
                    <a:gd name="T42" fmla="*/ 2147483647 w 136"/>
                    <a:gd name="T43" fmla="*/ 2147483647 h 58"/>
                    <a:gd name="T44" fmla="*/ 2147483647 w 136"/>
                    <a:gd name="T45" fmla="*/ 2147483647 h 58"/>
                    <a:gd name="T46" fmla="*/ 2147483647 w 136"/>
                    <a:gd name="T47" fmla="*/ 2147483647 h 58"/>
                    <a:gd name="T48" fmla="*/ 2147483647 w 136"/>
                    <a:gd name="T49" fmla="*/ 2147483647 h 58"/>
                    <a:gd name="T50" fmla="*/ 2147483647 w 136"/>
                    <a:gd name="T51" fmla="*/ 2147483647 h 58"/>
                    <a:gd name="T52" fmla="*/ 2147483647 w 136"/>
                    <a:gd name="T53" fmla="*/ 2147483647 h 58"/>
                    <a:gd name="T54" fmla="*/ 2147483647 w 136"/>
                    <a:gd name="T55" fmla="*/ 2147483647 h 58"/>
                    <a:gd name="T56" fmla="*/ 2147483647 w 136"/>
                    <a:gd name="T57" fmla="*/ 2147483647 h 58"/>
                    <a:gd name="T58" fmla="*/ 2147483647 w 136"/>
                    <a:gd name="T59" fmla="*/ 2147483647 h 58"/>
                    <a:gd name="T60" fmla="*/ 2147483647 w 136"/>
                    <a:gd name="T61" fmla="*/ 2147483647 h 58"/>
                    <a:gd name="T62" fmla="*/ 2147483647 w 136"/>
                    <a:gd name="T63" fmla="*/ 2147483647 h 58"/>
                    <a:gd name="T64" fmla="*/ 2147483647 w 136"/>
                    <a:gd name="T65" fmla="*/ 0 h 58"/>
                    <a:gd name="T66" fmla="*/ 2147483647 w 136"/>
                    <a:gd name="T67" fmla="*/ 2147483647 h 58"/>
                    <a:gd name="T68" fmla="*/ 2147483647 w 136"/>
                    <a:gd name="T69" fmla="*/ 2147483647 h 58"/>
                    <a:gd name="T70" fmla="*/ 2147483647 w 136"/>
                    <a:gd name="T71" fmla="*/ 2147483647 h 58"/>
                    <a:gd name="T72" fmla="*/ 2147483647 w 136"/>
                    <a:gd name="T73" fmla="*/ 2147483647 h 58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36"/>
                    <a:gd name="T112" fmla="*/ 0 h 58"/>
                    <a:gd name="T113" fmla="*/ 136 w 136"/>
                    <a:gd name="T114" fmla="*/ 58 h 58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36" h="58">
                      <a:moveTo>
                        <a:pt x="136" y="14"/>
                      </a:moveTo>
                      <a:lnTo>
                        <a:pt x="136" y="14"/>
                      </a:lnTo>
                      <a:lnTo>
                        <a:pt x="135" y="23"/>
                      </a:lnTo>
                      <a:lnTo>
                        <a:pt x="134" y="34"/>
                      </a:lnTo>
                      <a:lnTo>
                        <a:pt x="131" y="39"/>
                      </a:lnTo>
                      <a:lnTo>
                        <a:pt x="127" y="43"/>
                      </a:lnTo>
                      <a:lnTo>
                        <a:pt x="122" y="47"/>
                      </a:lnTo>
                      <a:lnTo>
                        <a:pt x="117" y="51"/>
                      </a:lnTo>
                      <a:lnTo>
                        <a:pt x="111" y="54"/>
                      </a:lnTo>
                      <a:lnTo>
                        <a:pt x="92" y="56"/>
                      </a:lnTo>
                      <a:lnTo>
                        <a:pt x="73" y="58"/>
                      </a:lnTo>
                      <a:lnTo>
                        <a:pt x="59" y="56"/>
                      </a:lnTo>
                      <a:lnTo>
                        <a:pt x="52" y="55"/>
                      </a:lnTo>
                      <a:lnTo>
                        <a:pt x="46" y="53"/>
                      </a:lnTo>
                      <a:lnTo>
                        <a:pt x="45" y="51"/>
                      </a:lnTo>
                      <a:lnTo>
                        <a:pt x="44" y="48"/>
                      </a:lnTo>
                      <a:lnTo>
                        <a:pt x="44" y="46"/>
                      </a:lnTo>
                      <a:lnTo>
                        <a:pt x="41" y="45"/>
                      </a:lnTo>
                      <a:lnTo>
                        <a:pt x="31" y="46"/>
                      </a:lnTo>
                      <a:lnTo>
                        <a:pt x="21" y="47"/>
                      </a:lnTo>
                      <a:lnTo>
                        <a:pt x="17" y="48"/>
                      </a:lnTo>
                      <a:lnTo>
                        <a:pt x="13" y="49"/>
                      </a:lnTo>
                      <a:lnTo>
                        <a:pt x="5" y="48"/>
                      </a:lnTo>
                      <a:lnTo>
                        <a:pt x="3" y="46"/>
                      </a:lnTo>
                      <a:lnTo>
                        <a:pt x="2" y="43"/>
                      </a:lnTo>
                      <a:lnTo>
                        <a:pt x="2" y="37"/>
                      </a:lnTo>
                      <a:lnTo>
                        <a:pt x="2" y="36"/>
                      </a:lnTo>
                      <a:lnTo>
                        <a:pt x="0" y="34"/>
                      </a:lnTo>
                      <a:lnTo>
                        <a:pt x="11" y="34"/>
                      </a:lnTo>
                      <a:lnTo>
                        <a:pt x="19" y="33"/>
                      </a:lnTo>
                      <a:lnTo>
                        <a:pt x="30" y="29"/>
                      </a:lnTo>
                      <a:lnTo>
                        <a:pt x="38" y="24"/>
                      </a:lnTo>
                      <a:lnTo>
                        <a:pt x="40" y="24"/>
                      </a:lnTo>
                      <a:lnTo>
                        <a:pt x="41" y="24"/>
                      </a:lnTo>
                      <a:lnTo>
                        <a:pt x="45" y="26"/>
                      </a:lnTo>
                      <a:lnTo>
                        <a:pt x="52" y="30"/>
                      </a:lnTo>
                      <a:lnTo>
                        <a:pt x="54" y="30"/>
                      </a:lnTo>
                      <a:lnTo>
                        <a:pt x="55" y="30"/>
                      </a:lnTo>
                      <a:lnTo>
                        <a:pt x="56" y="29"/>
                      </a:lnTo>
                      <a:lnTo>
                        <a:pt x="56" y="23"/>
                      </a:lnTo>
                      <a:lnTo>
                        <a:pt x="54" y="19"/>
                      </a:lnTo>
                      <a:lnTo>
                        <a:pt x="56" y="17"/>
                      </a:lnTo>
                      <a:lnTo>
                        <a:pt x="57" y="16"/>
                      </a:lnTo>
                      <a:lnTo>
                        <a:pt x="64" y="9"/>
                      </a:lnTo>
                      <a:lnTo>
                        <a:pt x="70" y="5"/>
                      </a:lnTo>
                      <a:lnTo>
                        <a:pt x="78" y="3"/>
                      </a:lnTo>
                      <a:lnTo>
                        <a:pt x="88" y="2"/>
                      </a:lnTo>
                      <a:lnTo>
                        <a:pt x="91" y="1"/>
                      </a:lnTo>
                      <a:lnTo>
                        <a:pt x="93" y="0"/>
                      </a:lnTo>
                      <a:lnTo>
                        <a:pt x="108" y="2"/>
                      </a:lnTo>
                      <a:lnTo>
                        <a:pt x="125" y="3"/>
                      </a:lnTo>
                      <a:lnTo>
                        <a:pt x="130" y="4"/>
                      </a:lnTo>
                      <a:lnTo>
                        <a:pt x="134" y="7"/>
                      </a:lnTo>
                      <a:lnTo>
                        <a:pt x="135" y="10"/>
                      </a:lnTo>
                      <a:lnTo>
                        <a:pt x="136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4" name="Freeform 1205">
                  <a:extLst>
                    <a:ext uri="{FF2B5EF4-FFF2-40B4-BE49-F238E27FC236}">
                      <a16:creationId xmlns:a16="http://schemas.microsoft.com/office/drawing/2014/main" id="{4F31A404-69B4-9F40-B750-7833D97E7A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0497" y="3031940"/>
                  <a:ext cx="285616" cy="116909"/>
                </a:xfrm>
                <a:custGeom>
                  <a:avLst/>
                  <a:gdLst>
                    <a:gd name="T0" fmla="*/ 2147483647 w 209"/>
                    <a:gd name="T1" fmla="*/ 2147483647 h 79"/>
                    <a:gd name="T2" fmla="*/ 2147483647 w 209"/>
                    <a:gd name="T3" fmla="*/ 2147483647 h 79"/>
                    <a:gd name="T4" fmla="*/ 2147483647 w 209"/>
                    <a:gd name="T5" fmla="*/ 2147483647 h 79"/>
                    <a:gd name="T6" fmla="*/ 2147483647 w 209"/>
                    <a:gd name="T7" fmla="*/ 2147483647 h 79"/>
                    <a:gd name="T8" fmla="*/ 2147483647 w 209"/>
                    <a:gd name="T9" fmla="*/ 2147483647 h 79"/>
                    <a:gd name="T10" fmla="*/ 2147483647 w 209"/>
                    <a:gd name="T11" fmla="*/ 2147483647 h 79"/>
                    <a:gd name="T12" fmla="*/ 2147483647 w 209"/>
                    <a:gd name="T13" fmla="*/ 2147483647 h 79"/>
                    <a:gd name="T14" fmla="*/ 2147483647 w 209"/>
                    <a:gd name="T15" fmla="*/ 2147483647 h 79"/>
                    <a:gd name="T16" fmla="*/ 2147483647 w 209"/>
                    <a:gd name="T17" fmla="*/ 2147483647 h 79"/>
                    <a:gd name="T18" fmla="*/ 2147483647 w 209"/>
                    <a:gd name="T19" fmla="*/ 2147483647 h 79"/>
                    <a:gd name="T20" fmla="*/ 2147483647 w 209"/>
                    <a:gd name="T21" fmla="*/ 2147483647 h 79"/>
                    <a:gd name="T22" fmla="*/ 2147483647 w 209"/>
                    <a:gd name="T23" fmla="*/ 2147483647 h 79"/>
                    <a:gd name="T24" fmla="*/ 2147483647 w 209"/>
                    <a:gd name="T25" fmla="*/ 2147483647 h 79"/>
                    <a:gd name="T26" fmla="*/ 2147483647 w 209"/>
                    <a:gd name="T27" fmla="*/ 2147483647 h 79"/>
                    <a:gd name="T28" fmla="*/ 2147483647 w 209"/>
                    <a:gd name="T29" fmla="*/ 2147483647 h 79"/>
                    <a:gd name="T30" fmla="*/ 2147483647 w 209"/>
                    <a:gd name="T31" fmla="*/ 2147483647 h 79"/>
                    <a:gd name="T32" fmla="*/ 2147483647 w 209"/>
                    <a:gd name="T33" fmla="*/ 2147483647 h 79"/>
                    <a:gd name="T34" fmla="*/ 2147483647 w 209"/>
                    <a:gd name="T35" fmla="*/ 2147483647 h 79"/>
                    <a:gd name="T36" fmla="*/ 2147483647 w 209"/>
                    <a:gd name="T37" fmla="*/ 2147483647 h 79"/>
                    <a:gd name="T38" fmla="*/ 2147483647 w 209"/>
                    <a:gd name="T39" fmla="*/ 2147483647 h 79"/>
                    <a:gd name="T40" fmla="*/ 2147483647 w 209"/>
                    <a:gd name="T41" fmla="*/ 2147483647 h 79"/>
                    <a:gd name="T42" fmla="*/ 2147483647 w 209"/>
                    <a:gd name="T43" fmla="*/ 2147483647 h 79"/>
                    <a:gd name="T44" fmla="*/ 2147483647 w 209"/>
                    <a:gd name="T45" fmla="*/ 2147483647 h 79"/>
                    <a:gd name="T46" fmla="*/ 2147483647 w 209"/>
                    <a:gd name="T47" fmla="*/ 2147483647 h 79"/>
                    <a:gd name="T48" fmla="*/ 2147483647 w 209"/>
                    <a:gd name="T49" fmla="*/ 2147483647 h 79"/>
                    <a:gd name="T50" fmla="*/ 2147483647 w 209"/>
                    <a:gd name="T51" fmla="*/ 2147483647 h 79"/>
                    <a:gd name="T52" fmla="*/ 2147483647 w 209"/>
                    <a:gd name="T53" fmla="*/ 2147483647 h 79"/>
                    <a:gd name="T54" fmla="*/ 2147483647 w 209"/>
                    <a:gd name="T55" fmla="*/ 2147483647 h 79"/>
                    <a:gd name="T56" fmla="*/ 2147483647 w 209"/>
                    <a:gd name="T57" fmla="*/ 2147483647 h 79"/>
                    <a:gd name="T58" fmla="*/ 2147483647 w 209"/>
                    <a:gd name="T59" fmla="*/ 2147483647 h 79"/>
                    <a:gd name="T60" fmla="*/ 2147483647 w 209"/>
                    <a:gd name="T61" fmla="*/ 2147483647 h 79"/>
                    <a:gd name="T62" fmla="*/ 2147483647 w 209"/>
                    <a:gd name="T63" fmla="*/ 2147483647 h 79"/>
                    <a:gd name="T64" fmla="*/ 2147483647 w 209"/>
                    <a:gd name="T65" fmla="*/ 2147483647 h 79"/>
                    <a:gd name="T66" fmla="*/ 2147483647 w 209"/>
                    <a:gd name="T67" fmla="*/ 2147483647 h 79"/>
                    <a:gd name="T68" fmla="*/ 2147483647 w 209"/>
                    <a:gd name="T69" fmla="*/ 2147483647 h 79"/>
                    <a:gd name="T70" fmla="*/ 2147483647 w 209"/>
                    <a:gd name="T71" fmla="*/ 2147483647 h 79"/>
                    <a:gd name="T72" fmla="*/ 2147483647 w 209"/>
                    <a:gd name="T73" fmla="*/ 2147483647 h 79"/>
                    <a:gd name="T74" fmla="*/ 2147483647 w 209"/>
                    <a:gd name="T75" fmla="*/ 2147483647 h 79"/>
                    <a:gd name="T76" fmla="*/ 2147483647 w 209"/>
                    <a:gd name="T77" fmla="*/ 2147483647 h 79"/>
                    <a:gd name="T78" fmla="*/ 2147483647 w 209"/>
                    <a:gd name="T79" fmla="*/ 2147483647 h 79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9"/>
                    <a:gd name="T121" fmla="*/ 0 h 79"/>
                    <a:gd name="T122" fmla="*/ 209 w 209"/>
                    <a:gd name="T123" fmla="*/ 79 h 79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9" h="79">
                      <a:moveTo>
                        <a:pt x="205" y="54"/>
                      </a:moveTo>
                      <a:lnTo>
                        <a:pt x="208" y="57"/>
                      </a:lnTo>
                      <a:lnTo>
                        <a:pt x="209" y="58"/>
                      </a:lnTo>
                      <a:lnTo>
                        <a:pt x="209" y="59"/>
                      </a:lnTo>
                      <a:lnTo>
                        <a:pt x="207" y="65"/>
                      </a:lnTo>
                      <a:lnTo>
                        <a:pt x="203" y="71"/>
                      </a:lnTo>
                      <a:lnTo>
                        <a:pt x="199" y="76"/>
                      </a:lnTo>
                      <a:lnTo>
                        <a:pt x="193" y="71"/>
                      </a:lnTo>
                      <a:lnTo>
                        <a:pt x="185" y="67"/>
                      </a:lnTo>
                      <a:lnTo>
                        <a:pt x="176" y="67"/>
                      </a:lnTo>
                      <a:lnTo>
                        <a:pt x="167" y="69"/>
                      </a:lnTo>
                      <a:lnTo>
                        <a:pt x="152" y="72"/>
                      </a:lnTo>
                      <a:lnTo>
                        <a:pt x="144" y="75"/>
                      </a:lnTo>
                      <a:lnTo>
                        <a:pt x="138" y="78"/>
                      </a:lnTo>
                      <a:lnTo>
                        <a:pt x="134" y="79"/>
                      </a:lnTo>
                      <a:lnTo>
                        <a:pt x="132" y="78"/>
                      </a:lnTo>
                      <a:lnTo>
                        <a:pt x="128" y="77"/>
                      </a:lnTo>
                      <a:lnTo>
                        <a:pt x="125" y="77"/>
                      </a:lnTo>
                      <a:lnTo>
                        <a:pt x="120" y="77"/>
                      </a:lnTo>
                      <a:lnTo>
                        <a:pt x="119" y="78"/>
                      </a:lnTo>
                      <a:lnTo>
                        <a:pt x="117" y="77"/>
                      </a:lnTo>
                      <a:lnTo>
                        <a:pt x="108" y="73"/>
                      </a:lnTo>
                      <a:lnTo>
                        <a:pt x="103" y="71"/>
                      </a:lnTo>
                      <a:lnTo>
                        <a:pt x="97" y="71"/>
                      </a:lnTo>
                      <a:lnTo>
                        <a:pt x="96" y="67"/>
                      </a:lnTo>
                      <a:lnTo>
                        <a:pt x="95" y="64"/>
                      </a:lnTo>
                      <a:lnTo>
                        <a:pt x="91" y="61"/>
                      </a:lnTo>
                      <a:lnTo>
                        <a:pt x="86" y="60"/>
                      </a:lnTo>
                      <a:lnTo>
                        <a:pt x="70" y="59"/>
                      </a:lnTo>
                      <a:lnTo>
                        <a:pt x="54" y="57"/>
                      </a:lnTo>
                      <a:lnTo>
                        <a:pt x="52" y="58"/>
                      </a:lnTo>
                      <a:lnTo>
                        <a:pt x="49" y="59"/>
                      </a:lnTo>
                      <a:lnTo>
                        <a:pt x="39" y="60"/>
                      </a:lnTo>
                      <a:lnTo>
                        <a:pt x="31" y="63"/>
                      </a:lnTo>
                      <a:lnTo>
                        <a:pt x="21" y="51"/>
                      </a:lnTo>
                      <a:lnTo>
                        <a:pt x="10" y="40"/>
                      </a:lnTo>
                      <a:lnTo>
                        <a:pt x="9" y="38"/>
                      </a:lnTo>
                      <a:lnTo>
                        <a:pt x="7" y="34"/>
                      </a:lnTo>
                      <a:lnTo>
                        <a:pt x="2" y="27"/>
                      </a:lnTo>
                      <a:lnTo>
                        <a:pt x="1" y="24"/>
                      </a:lnTo>
                      <a:lnTo>
                        <a:pt x="0" y="19"/>
                      </a:lnTo>
                      <a:lnTo>
                        <a:pt x="6" y="18"/>
                      </a:lnTo>
                      <a:lnTo>
                        <a:pt x="15" y="19"/>
                      </a:lnTo>
                      <a:lnTo>
                        <a:pt x="16" y="19"/>
                      </a:lnTo>
                      <a:lnTo>
                        <a:pt x="17" y="18"/>
                      </a:lnTo>
                      <a:lnTo>
                        <a:pt x="20" y="15"/>
                      </a:lnTo>
                      <a:lnTo>
                        <a:pt x="28" y="12"/>
                      </a:lnTo>
                      <a:lnTo>
                        <a:pt x="31" y="10"/>
                      </a:lnTo>
                      <a:lnTo>
                        <a:pt x="34" y="8"/>
                      </a:lnTo>
                      <a:lnTo>
                        <a:pt x="40" y="3"/>
                      </a:lnTo>
                      <a:lnTo>
                        <a:pt x="47" y="0"/>
                      </a:lnTo>
                      <a:lnTo>
                        <a:pt x="48" y="2"/>
                      </a:lnTo>
                      <a:lnTo>
                        <a:pt x="51" y="5"/>
                      </a:lnTo>
                      <a:lnTo>
                        <a:pt x="56" y="8"/>
                      </a:lnTo>
                      <a:lnTo>
                        <a:pt x="67" y="12"/>
                      </a:lnTo>
                      <a:lnTo>
                        <a:pt x="91" y="22"/>
                      </a:lnTo>
                      <a:lnTo>
                        <a:pt x="97" y="26"/>
                      </a:lnTo>
                      <a:lnTo>
                        <a:pt x="101" y="29"/>
                      </a:lnTo>
                      <a:lnTo>
                        <a:pt x="106" y="34"/>
                      </a:lnTo>
                      <a:lnTo>
                        <a:pt x="113" y="38"/>
                      </a:lnTo>
                      <a:lnTo>
                        <a:pt x="115" y="39"/>
                      </a:lnTo>
                      <a:lnTo>
                        <a:pt x="117" y="41"/>
                      </a:lnTo>
                      <a:lnTo>
                        <a:pt x="118" y="44"/>
                      </a:lnTo>
                      <a:lnTo>
                        <a:pt x="120" y="45"/>
                      </a:lnTo>
                      <a:lnTo>
                        <a:pt x="123" y="45"/>
                      </a:lnTo>
                      <a:lnTo>
                        <a:pt x="125" y="44"/>
                      </a:lnTo>
                      <a:lnTo>
                        <a:pt x="128" y="41"/>
                      </a:lnTo>
                      <a:lnTo>
                        <a:pt x="131" y="40"/>
                      </a:lnTo>
                      <a:lnTo>
                        <a:pt x="132" y="41"/>
                      </a:lnTo>
                      <a:lnTo>
                        <a:pt x="134" y="43"/>
                      </a:lnTo>
                      <a:lnTo>
                        <a:pt x="138" y="46"/>
                      </a:lnTo>
                      <a:lnTo>
                        <a:pt x="141" y="50"/>
                      </a:lnTo>
                      <a:lnTo>
                        <a:pt x="143" y="50"/>
                      </a:lnTo>
                      <a:lnTo>
                        <a:pt x="146" y="48"/>
                      </a:lnTo>
                      <a:lnTo>
                        <a:pt x="151" y="45"/>
                      </a:lnTo>
                      <a:lnTo>
                        <a:pt x="157" y="43"/>
                      </a:lnTo>
                      <a:lnTo>
                        <a:pt x="164" y="43"/>
                      </a:lnTo>
                      <a:lnTo>
                        <a:pt x="170" y="43"/>
                      </a:lnTo>
                      <a:lnTo>
                        <a:pt x="198" y="50"/>
                      </a:lnTo>
                      <a:lnTo>
                        <a:pt x="202" y="52"/>
                      </a:lnTo>
                      <a:lnTo>
                        <a:pt x="205" y="5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5" name="Freeform 1206">
                  <a:extLst>
                    <a:ext uri="{FF2B5EF4-FFF2-40B4-BE49-F238E27FC236}">
                      <a16:creationId xmlns:a16="http://schemas.microsoft.com/office/drawing/2014/main" id="{D25259C8-A383-8E42-BAEE-C9F927BF16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9334" y="2897272"/>
                  <a:ext cx="266377" cy="214582"/>
                </a:xfrm>
                <a:custGeom>
                  <a:avLst/>
                  <a:gdLst>
                    <a:gd name="T0" fmla="*/ 2147483647 w 195"/>
                    <a:gd name="T1" fmla="*/ 2147483647 h 145"/>
                    <a:gd name="T2" fmla="*/ 2147483647 w 195"/>
                    <a:gd name="T3" fmla="*/ 2147483647 h 145"/>
                    <a:gd name="T4" fmla="*/ 2147483647 w 195"/>
                    <a:gd name="T5" fmla="*/ 2147483647 h 145"/>
                    <a:gd name="T6" fmla="*/ 2147483647 w 195"/>
                    <a:gd name="T7" fmla="*/ 2147483647 h 145"/>
                    <a:gd name="T8" fmla="*/ 2147483647 w 195"/>
                    <a:gd name="T9" fmla="*/ 2147483647 h 145"/>
                    <a:gd name="T10" fmla="*/ 2147483647 w 195"/>
                    <a:gd name="T11" fmla="*/ 2147483647 h 145"/>
                    <a:gd name="T12" fmla="*/ 2147483647 w 195"/>
                    <a:gd name="T13" fmla="*/ 2147483647 h 145"/>
                    <a:gd name="T14" fmla="*/ 2147483647 w 195"/>
                    <a:gd name="T15" fmla="*/ 2147483647 h 145"/>
                    <a:gd name="T16" fmla="*/ 2147483647 w 195"/>
                    <a:gd name="T17" fmla="*/ 2147483647 h 145"/>
                    <a:gd name="T18" fmla="*/ 2147483647 w 195"/>
                    <a:gd name="T19" fmla="*/ 2147483647 h 145"/>
                    <a:gd name="T20" fmla="*/ 2147483647 w 195"/>
                    <a:gd name="T21" fmla="*/ 2147483647 h 145"/>
                    <a:gd name="T22" fmla="*/ 2147483647 w 195"/>
                    <a:gd name="T23" fmla="*/ 2147483647 h 145"/>
                    <a:gd name="T24" fmla="*/ 2147483647 w 195"/>
                    <a:gd name="T25" fmla="*/ 2147483647 h 145"/>
                    <a:gd name="T26" fmla="*/ 2147483647 w 195"/>
                    <a:gd name="T27" fmla="*/ 2147483647 h 145"/>
                    <a:gd name="T28" fmla="*/ 2147483647 w 195"/>
                    <a:gd name="T29" fmla="*/ 2147483647 h 145"/>
                    <a:gd name="T30" fmla="*/ 2147483647 w 195"/>
                    <a:gd name="T31" fmla="*/ 2147483647 h 145"/>
                    <a:gd name="T32" fmla="*/ 2147483647 w 195"/>
                    <a:gd name="T33" fmla="*/ 2147483647 h 145"/>
                    <a:gd name="T34" fmla="*/ 2147483647 w 195"/>
                    <a:gd name="T35" fmla="*/ 2147483647 h 145"/>
                    <a:gd name="T36" fmla="*/ 2147483647 w 195"/>
                    <a:gd name="T37" fmla="*/ 2147483647 h 145"/>
                    <a:gd name="T38" fmla="*/ 2147483647 w 195"/>
                    <a:gd name="T39" fmla="*/ 2147483647 h 145"/>
                    <a:gd name="T40" fmla="*/ 2147483647 w 195"/>
                    <a:gd name="T41" fmla="*/ 2147483647 h 145"/>
                    <a:gd name="T42" fmla="*/ 2147483647 w 195"/>
                    <a:gd name="T43" fmla="*/ 2147483647 h 145"/>
                    <a:gd name="T44" fmla="*/ 2147483647 w 195"/>
                    <a:gd name="T45" fmla="*/ 2147483647 h 145"/>
                    <a:gd name="T46" fmla="*/ 2147483647 w 195"/>
                    <a:gd name="T47" fmla="*/ 2147483647 h 145"/>
                    <a:gd name="T48" fmla="*/ 2147483647 w 195"/>
                    <a:gd name="T49" fmla="*/ 2147483647 h 145"/>
                    <a:gd name="T50" fmla="*/ 2147483647 w 195"/>
                    <a:gd name="T51" fmla="*/ 2147483647 h 145"/>
                    <a:gd name="T52" fmla="*/ 2147483647 w 195"/>
                    <a:gd name="T53" fmla="*/ 2147483647 h 145"/>
                    <a:gd name="T54" fmla="*/ 2147483647 w 195"/>
                    <a:gd name="T55" fmla="*/ 2147483647 h 145"/>
                    <a:gd name="T56" fmla="*/ 2147483647 w 195"/>
                    <a:gd name="T57" fmla="*/ 2147483647 h 145"/>
                    <a:gd name="T58" fmla="*/ 2147483647 w 195"/>
                    <a:gd name="T59" fmla="*/ 2147483647 h 145"/>
                    <a:gd name="T60" fmla="*/ 2147483647 w 195"/>
                    <a:gd name="T61" fmla="*/ 2147483647 h 145"/>
                    <a:gd name="T62" fmla="*/ 2147483647 w 195"/>
                    <a:gd name="T63" fmla="*/ 2147483647 h 145"/>
                    <a:gd name="T64" fmla="*/ 2147483647 w 195"/>
                    <a:gd name="T65" fmla="*/ 2147483647 h 145"/>
                    <a:gd name="T66" fmla="*/ 2147483647 w 195"/>
                    <a:gd name="T67" fmla="*/ 2147483647 h 145"/>
                    <a:gd name="T68" fmla="*/ 2147483647 w 195"/>
                    <a:gd name="T69" fmla="*/ 2147483647 h 145"/>
                    <a:gd name="T70" fmla="*/ 2147483647 w 195"/>
                    <a:gd name="T71" fmla="*/ 2147483647 h 145"/>
                    <a:gd name="T72" fmla="*/ 0 w 195"/>
                    <a:gd name="T73" fmla="*/ 2147483647 h 145"/>
                    <a:gd name="T74" fmla="*/ 2147483647 w 195"/>
                    <a:gd name="T75" fmla="*/ 2147483647 h 145"/>
                    <a:gd name="T76" fmla="*/ 2147483647 w 195"/>
                    <a:gd name="T77" fmla="*/ 2147483647 h 145"/>
                    <a:gd name="T78" fmla="*/ 2147483647 w 195"/>
                    <a:gd name="T79" fmla="*/ 2147483647 h 145"/>
                    <a:gd name="T80" fmla="*/ 2147483647 w 195"/>
                    <a:gd name="T81" fmla="*/ 2147483647 h 145"/>
                    <a:gd name="T82" fmla="*/ 2147483647 w 195"/>
                    <a:gd name="T83" fmla="*/ 2147483647 h 145"/>
                    <a:gd name="T84" fmla="*/ 2147483647 w 195"/>
                    <a:gd name="T85" fmla="*/ 2147483647 h 145"/>
                    <a:gd name="T86" fmla="*/ 2147483647 w 195"/>
                    <a:gd name="T87" fmla="*/ 0 h 145"/>
                    <a:gd name="T88" fmla="*/ 2147483647 w 195"/>
                    <a:gd name="T89" fmla="*/ 2147483647 h 145"/>
                    <a:gd name="T90" fmla="*/ 2147483647 w 195"/>
                    <a:gd name="T91" fmla="*/ 2147483647 h 145"/>
                    <a:gd name="T92" fmla="*/ 2147483647 w 195"/>
                    <a:gd name="T93" fmla="*/ 2147483647 h 145"/>
                    <a:gd name="T94" fmla="*/ 2147483647 w 195"/>
                    <a:gd name="T95" fmla="*/ 2147483647 h 145"/>
                    <a:gd name="T96" fmla="*/ 2147483647 w 195"/>
                    <a:gd name="T97" fmla="*/ 2147483647 h 145"/>
                    <a:gd name="T98" fmla="*/ 2147483647 w 195"/>
                    <a:gd name="T99" fmla="*/ 2147483647 h 145"/>
                    <a:gd name="T100" fmla="*/ 2147483647 w 195"/>
                    <a:gd name="T101" fmla="*/ 2147483647 h 145"/>
                    <a:gd name="T102" fmla="*/ 2147483647 w 195"/>
                    <a:gd name="T103" fmla="*/ 2147483647 h 1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95"/>
                    <a:gd name="T157" fmla="*/ 0 h 145"/>
                    <a:gd name="T158" fmla="*/ 195 w 195"/>
                    <a:gd name="T159" fmla="*/ 145 h 1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95" h="145">
                      <a:moveTo>
                        <a:pt x="106" y="16"/>
                      </a:moveTo>
                      <a:lnTo>
                        <a:pt x="120" y="16"/>
                      </a:lnTo>
                      <a:lnTo>
                        <a:pt x="134" y="14"/>
                      </a:lnTo>
                      <a:lnTo>
                        <a:pt x="162" y="10"/>
                      </a:lnTo>
                      <a:lnTo>
                        <a:pt x="167" y="10"/>
                      </a:lnTo>
                      <a:lnTo>
                        <a:pt x="173" y="11"/>
                      </a:lnTo>
                      <a:lnTo>
                        <a:pt x="178" y="15"/>
                      </a:lnTo>
                      <a:lnTo>
                        <a:pt x="182" y="20"/>
                      </a:lnTo>
                      <a:lnTo>
                        <a:pt x="186" y="27"/>
                      </a:lnTo>
                      <a:lnTo>
                        <a:pt x="189" y="34"/>
                      </a:lnTo>
                      <a:lnTo>
                        <a:pt x="192" y="42"/>
                      </a:lnTo>
                      <a:lnTo>
                        <a:pt x="192" y="49"/>
                      </a:lnTo>
                      <a:lnTo>
                        <a:pt x="192" y="58"/>
                      </a:lnTo>
                      <a:lnTo>
                        <a:pt x="191" y="66"/>
                      </a:lnTo>
                      <a:lnTo>
                        <a:pt x="187" y="83"/>
                      </a:lnTo>
                      <a:lnTo>
                        <a:pt x="187" y="84"/>
                      </a:lnTo>
                      <a:lnTo>
                        <a:pt x="189" y="86"/>
                      </a:lnTo>
                      <a:lnTo>
                        <a:pt x="192" y="88"/>
                      </a:lnTo>
                      <a:lnTo>
                        <a:pt x="192" y="90"/>
                      </a:lnTo>
                      <a:lnTo>
                        <a:pt x="192" y="91"/>
                      </a:lnTo>
                      <a:lnTo>
                        <a:pt x="188" y="99"/>
                      </a:lnTo>
                      <a:lnTo>
                        <a:pt x="187" y="107"/>
                      </a:lnTo>
                      <a:lnTo>
                        <a:pt x="188" y="110"/>
                      </a:lnTo>
                      <a:lnTo>
                        <a:pt x="189" y="112"/>
                      </a:lnTo>
                      <a:lnTo>
                        <a:pt x="193" y="117"/>
                      </a:lnTo>
                      <a:lnTo>
                        <a:pt x="195" y="120"/>
                      </a:lnTo>
                      <a:lnTo>
                        <a:pt x="193" y="124"/>
                      </a:lnTo>
                      <a:lnTo>
                        <a:pt x="192" y="128"/>
                      </a:lnTo>
                      <a:lnTo>
                        <a:pt x="187" y="132"/>
                      </a:lnTo>
                      <a:lnTo>
                        <a:pt x="181" y="138"/>
                      </a:lnTo>
                      <a:lnTo>
                        <a:pt x="172" y="145"/>
                      </a:lnTo>
                      <a:lnTo>
                        <a:pt x="169" y="143"/>
                      </a:lnTo>
                      <a:lnTo>
                        <a:pt x="164" y="141"/>
                      </a:lnTo>
                      <a:lnTo>
                        <a:pt x="136" y="134"/>
                      </a:lnTo>
                      <a:lnTo>
                        <a:pt x="130" y="134"/>
                      </a:lnTo>
                      <a:lnTo>
                        <a:pt x="123" y="134"/>
                      </a:lnTo>
                      <a:lnTo>
                        <a:pt x="118" y="136"/>
                      </a:lnTo>
                      <a:lnTo>
                        <a:pt x="112" y="139"/>
                      </a:lnTo>
                      <a:lnTo>
                        <a:pt x="109" y="141"/>
                      </a:lnTo>
                      <a:lnTo>
                        <a:pt x="107" y="141"/>
                      </a:lnTo>
                      <a:lnTo>
                        <a:pt x="104" y="137"/>
                      </a:lnTo>
                      <a:lnTo>
                        <a:pt x="102" y="134"/>
                      </a:lnTo>
                      <a:lnTo>
                        <a:pt x="98" y="132"/>
                      </a:lnTo>
                      <a:lnTo>
                        <a:pt x="97" y="131"/>
                      </a:lnTo>
                      <a:lnTo>
                        <a:pt x="94" y="132"/>
                      </a:lnTo>
                      <a:lnTo>
                        <a:pt x="92" y="135"/>
                      </a:lnTo>
                      <a:lnTo>
                        <a:pt x="89" y="136"/>
                      </a:lnTo>
                      <a:lnTo>
                        <a:pt x="88" y="136"/>
                      </a:lnTo>
                      <a:lnTo>
                        <a:pt x="85" y="135"/>
                      </a:lnTo>
                      <a:lnTo>
                        <a:pt x="83" y="132"/>
                      </a:lnTo>
                      <a:lnTo>
                        <a:pt x="82" y="130"/>
                      </a:lnTo>
                      <a:lnTo>
                        <a:pt x="79" y="129"/>
                      </a:lnTo>
                      <a:lnTo>
                        <a:pt x="74" y="125"/>
                      </a:lnTo>
                      <a:lnTo>
                        <a:pt x="69" y="120"/>
                      </a:lnTo>
                      <a:lnTo>
                        <a:pt x="64" y="117"/>
                      </a:lnTo>
                      <a:lnTo>
                        <a:pt x="57" y="113"/>
                      </a:lnTo>
                      <a:lnTo>
                        <a:pt x="35" y="103"/>
                      </a:lnTo>
                      <a:lnTo>
                        <a:pt x="22" y="99"/>
                      </a:lnTo>
                      <a:lnTo>
                        <a:pt x="17" y="96"/>
                      </a:lnTo>
                      <a:lnTo>
                        <a:pt x="14" y="93"/>
                      </a:lnTo>
                      <a:lnTo>
                        <a:pt x="13" y="91"/>
                      </a:lnTo>
                      <a:lnTo>
                        <a:pt x="16" y="85"/>
                      </a:lnTo>
                      <a:lnTo>
                        <a:pt x="14" y="80"/>
                      </a:lnTo>
                      <a:lnTo>
                        <a:pt x="12" y="75"/>
                      </a:lnTo>
                      <a:lnTo>
                        <a:pt x="7" y="72"/>
                      </a:lnTo>
                      <a:lnTo>
                        <a:pt x="5" y="69"/>
                      </a:lnTo>
                      <a:lnTo>
                        <a:pt x="4" y="67"/>
                      </a:lnTo>
                      <a:lnTo>
                        <a:pt x="4" y="65"/>
                      </a:lnTo>
                      <a:lnTo>
                        <a:pt x="4" y="61"/>
                      </a:lnTo>
                      <a:lnTo>
                        <a:pt x="5" y="59"/>
                      </a:lnTo>
                      <a:lnTo>
                        <a:pt x="5" y="55"/>
                      </a:lnTo>
                      <a:lnTo>
                        <a:pt x="4" y="52"/>
                      </a:lnTo>
                      <a:lnTo>
                        <a:pt x="2" y="47"/>
                      </a:lnTo>
                      <a:lnTo>
                        <a:pt x="0" y="43"/>
                      </a:lnTo>
                      <a:lnTo>
                        <a:pt x="2" y="39"/>
                      </a:lnTo>
                      <a:lnTo>
                        <a:pt x="3" y="35"/>
                      </a:lnTo>
                      <a:lnTo>
                        <a:pt x="3" y="30"/>
                      </a:lnTo>
                      <a:lnTo>
                        <a:pt x="4" y="26"/>
                      </a:ln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6" y="21"/>
                      </a:lnTo>
                      <a:lnTo>
                        <a:pt x="19" y="19"/>
                      </a:lnTo>
                      <a:lnTo>
                        <a:pt x="27" y="17"/>
                      </a:lnTo>
                      <a:lnTo>
                        <a:pt x="35" y="16"/>
                      </a:lnTo>
                      <a:lnTo>
                        <a:pt x="49" y="11"/>
                      </a:lnTo>
                      <a:lnTo>
                        <a:pt x="62" y="5"/>
                      </a:lnTo>
                      <a:lnTo>
                        <a:pt x="78" y="0"/>
                      </a:lnTo>
                      <a:lnTo>
                        <a:pt x="79" y="0"/>
                      </a:lnTo>
                      <a:lnTo>
                        <a:pt x="80" y="1"/>
                      </a:lnTo>
                      <a:lnTo>
                        <a:pt x="80" y="3"/>
                      </a:lnTo>
                      <a:lnTo>
                        <a:pt x="87" y="3"/>
                      </a:lnTo>
                      <a:lnTo>
                        <a:pt x="88" y="4"/>
                      </a:lnTo>
                      <a:lnTo>
                        <a:pt x="90" y="5"/>
                      </a:lnTo>
                      <a:lnTo>
                        <a:pt x="89" y="8"/>
                      </a:lnTo>
                      <a:lnTo>
                        <a:pt x="88" y="9"/>
                      </a:lnTo>
                      <a:lnTo>
                        <a:pt x="87" y="11"/>
                      </a:lnTo>
                      <a:lnTo>
                        <a:pt x="87" y="13"/>
                      </a:lnTo>
                      <a:lnTo>
                        <a:pt x="90" y="17"/>
                      </a:lnTo>
                      <a:lnTo>
                        <a:pt x="96" y="20"/>
                      </a:lnTo>
                      <a:lnTo>
                        <a:pt x="98" y="20"/>
                      </a:lnTo>
                      <a:lnTo>
                        <a:pt x="101" y="20"/>
                      </a:lnTo>
                      <a:lnTo>
                        <a:pt x="103" y="19"/>
                      </a:lnTo>
                      <a:lnTo>
                        <a:pt x="106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6" name="Freeform 1207">
                  <a:extLst>
                    <a:ext uri="{FF2B5EF4-FFF2-40B4-BE49-F238E27FC236}">
                      <a16:creationId xmlns:a16="http://schemas.microsoft.com/office/drawing/2014/main" id="{CE7A640D-C9B8-F944-A3FA-3E0268FA4B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9021" y="3030461"/>
                  <a:ext cx="285615" cy="116910"/>
                </a:xfrm>
                <a:custGeom>
                  <a:avLst/>
                  <a:gdLst>
                    <a:gd name="T0" fmla="*/ 2147483647 w 210"/>
                    <a:gd name="T1" fmla="*/ 2147483647 h 79"/>
                    <a:gd name="T2" fmla="*/ 2147483647 w 210"/>
                    <a:gd name="T3" fmla="*/ 2147483647 h 79"/>
                    <a:gd name="T4" fmla="*/ 2147483647 w 210"/>
                    <a:gd name="T5" fmla="*/ 2147483647 h 79"/>
                    <a:gd name="T6" fmla="*/ 2147483647 w 210"/>
                    <a:gd name="T7" fmla="*/ 2147483647 h 79"/>
                    <a:gd name="T8" fmla="*/ 2147483647 w 210"/>
                    <a:gd name="T9" fmla="*/ 2147483647 h 79"/>
                    <a:gd name="T10" fmla="*/ 2147483647 w 210"/>
                    <a:gd name="T11" fmla="*/ 2147483647 h 79"/>
                    <a:gd name="T12" fmla="*/ 2147483647 w 210"/>
                    <a:gd name="T13" fmla="*/ 2147483647 h 79"/>
                    <a:gd name="T14" fmla="*/ 2147483647 w 210"/>
                    <a:gd name="T15" fmla="*/ 2147483647 h 79"/>
                    <a:gd name="T16" fmla="*/ 2147483647 w 210"/>
                    <a:gd name="T17" fmla="*/ 2147483647 h 79"/>
                    <a:gd name="T18" fmla="*/ 2147483647 w 210"/>
                    <a:gd name="T19" fmla="*/ 2147483647 h 79"/>
                    <a:gd name="T20" fmla="*/ 2147483647 w 210"/>
                    <a:gd name="T21" fmla="*/ 2147483647 h 79"/>
                    <a:gd name="T22" fmla="*/ 2147483647 w 210"/>
                    <a:gd name="T23" fmla="*/ 2147483647 h 79"/>
                    <a:gd name="T24" fmla="*/ 2147483647 w 210"/>
                    <a:gd name="T25" fmla="*/ 2147483647 h 79"/>
                    <a:gd name="T26" fmla="*/ 2147483647 w 210"/>
                    <a:gd name="T27" fmla="*/ 2147483647 h 79"/>
                    <a:gd name="T28" fmla="*/ 2147483647 w 210"/>
                    <a:gd name="T29" fmla="*/ 2147483647 h 79"/>
                    <a:gd name="T30" fmla="*/ 2147483647 w 210"/>
                    <a:gd name="T31" fmla="*/ 2147483647 h 79"/>
                    <a:gd name="T32" fmla="*/ 2147483647 w 210"/>
                    <a:gd name="T33" fmla="*/ 2147483647 h 79"/>
                    <a:gd name="T34" fmla="*/ 2147483647 w 210"/>
                    <a:gd name="T35" fmla="*/ 2147483647 h 79"/>
                    <a:gd name="T36" fmla="*/ 2147483647 w 210"/>
                    <a:gd name="T37" fmla="*/ 2147483647 h 79"/>
                    <a:gd name="T38" fmla="*/ 2147483647 w 210"/>
                    <a:gd name="T39" fmla="*/ 2147483647 h 79"/>
                    <a:gd name="T40" fmla="*/ 2147483647 w 210"/>
                    <a:gd name="T41" fmla="*/ 2147483647 h 79"/>
                    <a:gd name="T42" fmla="*/ 2147483647 w 210"/>
                    <a:gd name="T43" fmla="*/ 2147483647 h 79"/>
                    <a:gd name="T44" fmla="*/ 2147483647 w 210"/>
                    <a:gd name="T45" fmla="*/ 2147483647 h 79"/>
                    <a:gd name="T46" fmla="*/ 2147483647 w 210"/>
                    <a:gd name="T47" fmla="*/ 2147483647 h 79"/>
                    <a:gd name="T48" fmla="*/ 2147483647 w 210"/>
                    <a:gd name="T49" fmla="*/ 2147483647 h 79"/>
                    <a:gd name="T50" fmla="*/ 2147483647 w 210"/>
                    <a:gd name="T51" fmla="*/ 2147483647 h 79"/>
                    <a:gd name="T52" fmla="*/ 2147483647 w 210"/>
                    <a:gd name="T53" fmla="*/ 2147483647 h 79"/>
                    <a:gd name="T54" fmla="*/ 0 w 210"/>
                    <a:gd name="T55" fmla="*/ 2147483647 h 79"/>
                    <a:gd name="T56" fmla="*/ 2147483647 w 210"/>
                    <a:gd name="T57" fmla="*/ 2147483647 h 79"/>
                    <a:gd name="T58" fmla="*/ 2147483647 w 210"/>
                    <a:gd name="T59" fmla="*/ 2147483647 h 79"/>
                    <a:gd name="T60" fmla="*/ 2147483647 w 210"/>
                    <a:gd name="T61" fmla="*/ 2147483647 h 79"/>
                    <a:gd name="T62" fmla="*/ 2147483647 w 210"/>
                    <a:gd name="T63" fmla="*/ 2147483647 h 79"/>
                    <a:gd name="T64" fmla="*/ 2147483647 w 210"/>
                    <a:gd name="T65" fmla="*/ 2147483647 h 79"/>
                    <a:gd name="T66" fmla="*/ 2147483647 w 210"/>
                    <a:gd name="T67" fmla="*/ 2147483647 h 79"/>
                    <a:gd name="T68" fmla="*/ 2147483647 w 210"/>
                    <a:gd name="T69" fmla="*/ 0 h 79"/>
                    <a:gd name="T70" fmla="*/ 2147483647 w 210"/>
                    <a:gd name="T71" fmla="*/ 0 h 79"/>
                    <a:gd name="T72" fmla="*/ 2147483647 w 210"/>
                    <a:gd name="T73" fmla="*/ 2147483647 h 79"/>
                    <a:gd name="T74" fmla="*/ 2147483647 w 210"/>
                    <a:gd name="T75" fmla="*/ 2147483647 h 79"/>
                    <a:gd name="T76" fmla="*/ 2147483647 w 210"/>
                    <a:gd name="T77" fmla="*/ 2147483647 h 79"/>
                    <a:gd name="T78" fmla="*/ 2147483647 w 210"/>
                    <a:gd name="T79" fmla="*/ 2147483647 h 79"/>
                    <a:gd name="T80" fmla="*/ 2147483647 w 210"/>
                    <a:gd name="T81" fmla="*/ 2147483647 h 79"/>
                    <a:gd name="T82" fmla="*/ 2147483647 w 210"/>
                    <a:gd name="T83" fmla="*/ 2147483647 h 79"/>
                    <a:gd name="T84" fmla="*/ 2147483647 w 210"/>
                    <a:gd name="T85" fmla="*/ 2147483647 h 79"/>
                    <a:gd name="T86" fmla="*/ 2147483647 w 210"/>
                    <a:gd name="T87" fmla="*/ 2147483647 h 79"/>
                    <a:gd name="T88" fmla="*/ 2147483647 w 210"/>
                    <a:gd name="T89" fmla="*/ 2147483647 h 79"/>
                    <a:gd name="T90" fmla="*/ 2147483647 w 210"/>
                    <a:gd name="T91" fmla="*/ 2147483647 h 79"/>
                    <a:gd name="T92" fmla="*/ 2147483647 w 210"/>
                    <a:gd name="T93" fmla="*/ 2147483647 h 79"/>
                    <a:gd name="T94" fmla="*/ 2147483647 w 210"/>
                    <a:gd name="T95" fmla="*/ 2147483647 h 79"/>
                    <a:gd name="T96" fmla="*/ 2147483647 w 210"/>
                    <a:gd name="T97" fmla="*/ 2147483647 h 79"/>
                    <a:gd name="T98" fmla="*/ 2147483647 w 210"/>
                    <a:gd name="T99" fmla="*/ 2147483647 h 79"/>
                    <a:gd name="T100" fmla="*/ 2147483647 w 210"/>
                    <a:gd name="T101" fmla="*/ 2147483647 h 79"/>
                    <a:gd name="T102" fmla="*/ 2147483647 w 210"/>
                    <a:gd name="T103" fmla="*/ 2147483647 h 79"/>
                    <a:gd name="T104" fmla="*/ 2147483647 w 210"/>
                    <a:gd name="T105" fmla="*/ 2147483647 h 79"/>
                    <a:gd name="T106" fmla="*/ 2147483647 w 210"/>
                    <a:gd name="T107" fmla="*/ 2147483647 h 79"/>
                    <a:gd name="T108" fmla="*/ 2147483647 w 210"/>
                    <a:gd name="T109" fmla="*/ 2147483647 h 79"/>
                    <a:gd name="T110" fmla="*/ 2147483647 w 210"/>
                    <a:gd name="T111" fmla="*/ 2147483647 h 79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10"/>
                    <a:gd name="T169" fmla="*/ 0 h 79"/>
                    <a:gd name="T170" fmla="*/ 210 w 210"/>
                    <a:gd name="T171" fmla="*/ 79 h 79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10" h="79">
                      <a:moveTo>
                        <a:pt x="206" y="54"/>
                      </a:moveTo>
                      <a:lnTo>
                        <a:pt x="206" y="54"/>
                      </a:lnTo>
                      <a:lnTo>
                        <a:pt x="209" y="57"/>
                      </a:lnTo>
                      <a:lnTo>
                        <a:pt x="210" y="58"/>
                      </a:lnTo>
                      <a:lnTo>
                        <a:pt x="210" y="59"/>
                      </a:lnTo>
                      <a:lnTo>
                        <a:pt x="207" y="65"/>
                      </a:lnTo>
                      <a:lnTo>
                        <a:pt x="204" y="71"/>
                      </a:lnTo>
                      <a:lnTo>
                        <a:pt x="200" y="76"/>
                      </a:lnTo>
                      <a:lnTo>
                        <a:pt x="193" y="71"/>
                      </a:lnTo>
                      <a:lnTo>
                        <a:pt x="186" y="67"/>
                      </a:lnTo>
                      <a:lnTo>
                        <a:pt x="177" y="67"/>
                      </a:lnTo>
                      <a:lnTo>
                        <a:pt x="168" y="68"/>
                      </a:lnTo>
                      <a:lnTo>
                        <a:pt x="153" y="72"/>
                      </a:lnTo>
                      <a:lnTo>
                        <a:pt x="145" y="74"/>
                      </a:lnTo>
                      <a:lnTo>
                        <a:pt x="139" y="78"/>
                      </a:lnTo>
                      <a:lnTo>
                        <a:pt x="135" y="79"/>
                      </a:lnTo>
                      <a:lnTo>
                        <a:pt x="133" y="78"/>
                      </a:lnTo>
                      <a:lnTo>
                        <a:pt x="129" y="77"/>
                      </a:lnTo>
                      <a:lnTo>
                        <a:pt x="126" y="77"/>
                      </a:lnTo>
                      <a:lnTo>
                        <a:pt x="121" y="77"/>
                      </a:lnTo>
                      <a:lnTo>
                        <a:pt x="120" y="78"/>
                      </a:lnTo>
                      <a:lnTo>
                        <a:pt x="117" y="77"/>
                      </a:lnTo>
                      <a:lnTo>
                        <a:pt x="108" y="73"/>
                      </a:lnTo>
                      <a:lnTo>
                        <a:pt x="103" y="71"/>
                      </a:lnTo>
                      <a:lnTo>
                        <a:pt x="98" y="71"/>
                      </a:lnTo>
                      <a:lnTo>
                        <a:pt x="97" y="67"/>
                      </a:lnTo>
                      <a:lnTo>
                        <a:pt x="96" y="64"/>
                      </a:lnTo>
                      <a:lnTo>
                        <a:pt x="92" y="61"/>
                      </a:lnTo>
                      <a:lnTo>
                        <a:pt x="87" y="60"/>
                      </a:lnTo>
                      <a:lnTo>
                        <a:pt x="70" y="59"/>
                      </a:lnTo>
                      <a:lnTo>
                        <a:pt x="55" y="57"/>
                      </a:lnTo>
                      <a:lnTo>
                        <a:pt x="53" y="58"/>
                      </a:lnTo>
                      <a:lnTo>
                        <a:pt x="50" y="59"/>
                      </a:lnTo>
                      <a:lnTo>
                        <a:pt x="40" y="60"/>
                      </a:lnTo>
                      <a:lnTo>
                        <a:pt x="32" y="62"/>
                      </a:lnTo>
                      <a:lnTo>
                        <a:pt x="22" y="51"/>
                      </a:lnTo>
                      <a:lnTo>
                        <a:pt x="11" y="40"/>
                      </a:lnTo>
                      <a:lnTo>
                        <a:pt x="9" y="38"/>
                      </a:lnTo>
                      <a:lnTo>
                        <a:pt x="8" y="34"/>
                      </a:lnTo>
                      <a:lnTo>
                        <a:pt x="3" y="27"/>
                      </a:lnTo>
                      <a:lnTo>
                        <a:pt x="2" y="23"/>
                      </a:lnTo>
                      <a:lnTo>
                        <a:pt x="0" y="19"/>
                      </a:lnTo>
                      <a:lnTo>
                        <a:pt x="7" y="17"/>
                      </a:lnTo>
                      <a:lnTo>
                        <a:pt x="16" y="19"/>
                      </a:lnTo>
                      <a:lnTo>
                        <a:pt x="17" y="19"/>
                      </a:lnTo>
                      <a:lnTo>
                        <a:pt x="18" y="17"/>
                      </a:lnTo>
                      <a:lnTo>
                        <a:pt x="21" y="15"/>
                      </a:lnTo>
                      <a:lnTo>
                        <a:pt x="28" y="11"/>
                      </a:lnTo>
                      <a:lnTo>
                        <a:pt x="32" y="10"/>
                      </a:lnTo>
                      <a:lnTo>
                        <a:pt x="35" y="8"/>
                      </a:lnTo>
                      <a:lnTo>
                        <a:pt x="41" y="3"/>
                      </a:lnTo>
                      <a:lnTo>
                        <a:pt x="47" y="0"/>
                      </a:lnTo>
                      <a:lnTo>
                        <a:pt x="49" y="2"/>
                      </a:lnTo>
                      <a:lnTo>
                        <a:pt x="51" y="4"/>
                      </a:lnTo>
                      <a:lnTo>
                        <a:pt x="56" y="8"/>
                      </a:lnTo>
                      <a:lnTo>
                        <a:pt x="68" y="11"/>
                      </a:lnTo>
                      <a:lnTo>
                        <a:pt x="92" y="22"/>
                      </a:lnTo>
                      <a:lnTo>
                        <a:pt x="98" y="26"/>
                      </a:lnTo>
                      <a:lnTo>
                        <a:pt x="102" y="29"/>
                      </a:lnTo>
                      <a:lnTo>
                        <a:pt x="107" y="34"/>
                      </a:lnTo>
                      <a:lnTo>
                        <a:pt x="113" y="38"/>
                      </a:lnTo>
                      <a:lnTo>
                        <a:pt x="116" y="39"/>
                      </a:lnTo>
                      <a:lnTo>
                        <a:pt x="117" y="41"/>
                      </a:lnTo>
                      <a:lnTo>
                        <a:pt x="119" y="44"/>
                      </a:lnTo>
                      <a:lnTo>
                        <a:pt x="121" y="45"/>
                      </a:lnTo>
                      <a:lnTo>
                        <a:pt x="124" y="45"/>
                      </a:lnTo>
                      <a:lnTo>
                        <a:pt x="126" y="44"/>
                      </a:lnTo>
                      <a:lnTo>
                        <a:pt x="129" y="41"/>
                      </a:lnTo>
                      <a:lnTo>
                        <a:pt x="131" y="40"/>
                      </a:lnTo>
                      <a:lnTo>
                        <a:pt x="133" y="41"/>
                      </a:lnTo>
                      <a:lnTo>
                        <a:pt x="135" y="42"/>
                      </a:lnTo>
                      <a:lnTo>
                        <a:pt x="139" y="46"/>
                      </a:lnTo>
                      <a:lnTo>
                        <a:pt x="141" y="49"/>
                      </a:lnTo>
                      <a:lnTo>
                        <a:pt x="144" y="49"/>
                      </a:lnTo>
                      <a:lnTo>
                        <a:pt x="146" y="48"/>
                      </a:lnTo>
                      <a:lnTo>
                        <a:pt x="152" y="45"/>
                      </a:lnTo>
                      <a:lnTo>
                        <a:pt x="158" y="42"/>
                      </a:lnTo>
                      <a:lnTo>
                        <a:pt x="164" y="42"/>
                      </a:lnTo>
                      <a:lnTo>
                        <a:pt x="171" y="42"/>
                      </a:lnTo>
                      <a:lnTo>
                        <a:pt x="199" y="49"/>
                      </a:lnTo>
                      <a:lnTo>
                        <a:pt x="202" y="52"/>
                      </a:lnTo>
                      <a:lnTo>
                        <a:pt x="206" y="5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7" name="Freeform 1208">
                  <a:extLst>
                    <a:ext uri="{FF2B5EF4-FFF2-40B4-BE49-F238E27FC236}">
                      <a16:creationId xmlns:a16="http://schemas.microsoft.com/office/drawing/2014/main" id="{F2FDE2AF-C46D-6044-AD0D-03F8BF3EB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7856" y="2894315"/>
                  <a:ext cx="264898" cy="216061"/>
                </a:xfrm>
                <a:custGeom>
                  <a:avLst/>
                  <a:gdLst>
                    <a:gd name="T0" fmla="*/ 2147483647 w 194"/>
                    <a:gd name="T1" fmla="*/ 2147483647 h 146"/>
                    <a:gd name="T2" fmla="*/ 2147483647 w 194"/>
                    <a:gd name="T3" fmla="*/ 2147483647 h 146"/>
                    <a:gd name="T4" fmla="*/ 2147483647 w 194"/>
                    <a:gd name="T5" fmla="*/ 2147483647 h 146"/>
                    <a:gd name="T6" fmla="*/ 2147483647 w 194"/>
                    <a:gd name="T7" fmla="*/ 2147483647 h 146"/>
                    <a:gd name="T8" fmla="*/ 2147483647 w 194"/>
                    <a:gd name="T9" fmla="*/ 2147483647 h 146"/>
                    <a:gd name="T10" fmla="*/ 2147483647 w 194"/>
                    <a:gd name="T11" fmla="*/ 2147483647 h 146"/>
                    <a:gd name="T12" fmla="*/ 2147483647 w 194"/>
                    <a:gd name="T13" fmla="*/ 2147483647 h 146"/>
                    <a:gd name="T14" fmla="*/ 2147483647 w 194"/>
                    <a:gd name="T15" fmla="*/ 2147483647 h 146"/>
                    <a:gd name="T16" fmla="*/ 2147483647 w 194"/>
                    <a:gd name="T17" fmla="*/ 2147483647 h 146"/>
                    <a:gd name="T18" fmla="*/ 2147483647 w 194"/>
                    <a:gd name="T19" fmla="*/ 2147483647 h 146"/>
                    <a:gd name="T20" fmla="*/ 2147483647 w 194"/>
                    <a:gd name="T21" fmla="*/ 2147483647 h 146"/>
                    <a:gd name="T22" fmla="*/ 2147483647 w 194"/>
                    <a:gd name="T23" fmla="*/ 2147483647 h 146"/>
                    <a:gd name="T24" fmla="*/ 2147483647 w 194"/>
                    <a:gd name="T25" fmla="*/ 2147483647 h 146"/>
                    <a:gd name="T26" fmla="*/ 2147483647 w 194"/>
                    <a:gd name="T27" fmla="*/ 2147483647 h 146"/>
                    <a:gd name="T28" fmla="*/ 2147483647 w 194"/>
                    <a:gd name="T29" fmla="*/ 2147483647 h 146"/>
                    <a:gd name="T30" fmla="*/ 2147483647 w 194"/>
                    <a:gd name="T31" fmla="*/ 2147483647 h 146"/>
                    <a:gd name="T32" fmla="*/ 2147483647 w 194"/>
                    <a:gd name="T33" fmla="*/ 2147483647 h 146"/>
                    <a:gd name="T34" fmla="*/ 2147483647 w 194"/>
                    <a:gd name="T35" fmla="*/ 2147483647 h 146"/>
                    <a:gd name="T36" fmla="*/ 2147483647 w 194"/>
                    <a:gd name="T37" fmla="*/ 2147483647 h 146"/>
                    <a:gd name="T38" fmla="*/ 2147483647 w 194"/>
                    <a:gd name="T39" fmla="*/ 2147483647 h 146"/>
                    <a:gd name="T40" fmla="*/ 2147483647 w 194"/>
                    <a:gd name="T41" fmla="*/ 2147483647 h 146"/>
                    <a:gd name="T42" fmla="*/ 2147483647 w 194"/>
                    <a:gd name="T43" fmla="*/ 2147483647 h 146"/>
                    <a:gd name="T44" fmla="*/ 2147483647 w 194"/>
                    <a:gd name="T45" fmla="*/ 2147483647 h 146"/>
                    <a:gd name="T46" fmla="*/ 2147483647 w 194"/>
                    <a:gd name="T47" fmla="*/ 2147483647 h 146"/>
                    <a:gd name="T48" fmla="*/ 2147483647 w 194"/>
                    <a:gd name="T49" fmla="*/ 2147483647 h 146"/>
                    <a:gd name="T50" fmla="*/ 2147483647 w 194"/>
                    <a:gd name="T51" fmla="*/ 2147483647 h 146"/>
                    <a:gd name="T52" fmla="*/ 2147483647 w 194"/>
                    <a:gd name="T53" fmla="*/ 2147483647 h 146"/>
                    <a:gd name="T54" fmla="*/ 2147483647 w 194"/>
                    <a:gd name="T55" fmla="*/ 2147483647 h 146"/>
                    <a:gd name="T56" fmla="*/ 2147483647 w 194"/>
                    <a:gd name="T57" fmla="*/ 2147483647 h 146"/>
                    <a:gd name="T58" fmla="*/ 2147483647 w 194"/>
                    <a:gd name="T59" fmla="*/ 2147483647 h 146"/>
                    <a:gd name="T60" fmla="*/ 2147483647 w 194"/>
                    <a:gd name="T61" fmla="*/ 2147483647 h 146"/>
                    <a:gd name="T62" fmla="*/ 2147483647 w 194"/>
                    <a:gd name="T63" fmla="*/ 2147483647 h 146"/>
                    <a:gd name="T64" fmla="*/ 2147483647 w 194"/>
                    <a:gd name="T65" fmla="*/ 2147483647 h 146"/>
                    <a:gd name="T66" fmla="*/ 2147483647 w 194"/>
                    <a:gd name="T67" fmla="*/ 2147483647 h 146"/>
                    <a:gd name="T68" fmla="*/ 2147483647 w 194"/>
                    <a:gd name="T69" fmla="*/ 2147483647 h 146"/>
                    <a:gd name="T70" fmla="*/ 2147483647 w 194"/>
                    <a:gd name="T71" fmla="*/ 2147483647 h 146"/>
                    <a:gd name="T72" fmla="*/ 2147483647 w 194"/>
                    <a:gd name="T73" fmla="*/ 2147483647 h 146"/>
                    <a:gd name="T74" fmla="*/ 2147483647 w 194"/>
                    <a:gd name="T75" fmla="*/ 2147483647 h 146"/>
                    <a:gd name="T76" fmla="*/ 2147483647 w 194"/>
                    <a:gd name="T77" fmla="*/ 0 h 146"/>
                    <a:gd name="T78" fmla="*/ 2147483647 w 194"/>
                    <a:gd name="T79" fmla="*/ 2147483647 h 146"/>
                    <a:gd name="T80" fmla="*/ 2147483647 w 194"/>
                    <a:gd name="T81" fmla="*/ 2147483647 h 146"/>
                    <a:gd name="T82" fmla="*/ 2147483647 w 194"/>
                    <a:gd name="T83" fmla="*/ 2147483647 h 146"/>
                    <a:gd name="T84" fmla="*/ 2147483647 w 194"/>
                    <a:gd name="T85" fmla="*/ 2147483647 h 146"/>
                    <a:gd name="T86" fmla="*/ 2147483647 w 194"/>
                    <a:gd name="T87" fmla="*/ 2147483647 h 146"/>
                    <a:gd name="T88" fmla="*/ 2147483647 w 194"/>
                    <a:gd name="T89" fmla="*/ 2147483647 h 14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94"/>
                    <a:gd name="T136" fmla="*/ 0 h 146"/>
                    <a:gd name="T137" fmla="*/ 194 w 194"/>
                    <a:gd name="T138" fmla="*/ 146 h 146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94" h="146">
                      <a:moveTo>
                        <a:pt x="105" y="17"/>
                      </a:moveTo>
                      <a:lnTo>
                        <a:pt x="105" y="17"/>
                      </a:lnTo>
                      <a:lnTo>
                        <a:pt x="119" y="17"/>
                      </a:lnTo>
                      <a:lnTo>
                        <a:pt x="133" y="15"/>
                      </a:lnTo>
                      <a:lnTo>
                        <a:pt x="161" y="11"/>
                      </a:lnTo>
                      <a:lnTo>
                        <a:pt x="166" y="11"/>
                      </a:lnTo>
                      <a:lnTo>
                        <a:pt x="173" y="12"/>
                      </a:lnTo>
                      <a:lnTo>
                        <a:pt x="178" y="16"/>
                      </a:lnTo>
                      <a:lnTo>
                        <a:pt x="182" y="21"/>
                      </a:lnTo>
                      <a:lnTo>
                        <a:pt x="185" y="28"/>
                      </a:lnTo>
                      <a:lnTo>
                        <a:pt x="189" y="35"/>
                      </a:lnTo>
                      <a:lnTo>
                        <a:pt x="192" y="43"/>
                      </a:lnTo>
                      <a:lnTo>
                        <a:pt x="192" y="50"/>
                      </a:lnTo>
                      <a:lnTo>
                        <a:pt x="192" y="58"/>
                      </a:lnTo>
                      <a:lnTo>
                        <a:pt x="190" y="67"/>
                      </a:lnTo>
                      <a:lnTo>
                        <a:pt x="187" y="83"/>
                      </a:lnTo>
                      <a:lnTo>
                        <a:pt x="187" y="85"/>
                      </a:lnTo>
                      <a:lnTo>
                        <a:pt x="189" y="87"/>
                      </a:lnTo>
                      <a:lnTo>
                        <a:pt x="192" y="89"/>
                      </a:lnTo>
                      <a:lnTo>
                        <a:pt x="192" y="90"/>
                      </a:lnTo>
                      <a:lnTo>
                        <a:pt x="192" y="92"/>
                      </a:lnTo>
                      <a:lnTo>
                        <a:pt x="188" y="100"/>
                      </a:lnTo>
                      <a:lnTo>
                        <a:pt x="187" y="108"/>
                      </a:lnTo>
                      <a:lnTo>
                        <a:pt x="188" y="111"/>
                      </a:lnTo>
                      <a:lnTo>
                        <a:pt x="189" y="113"/>
                      </a:lnTo>
                      <a:lnTo>
                        <a:pt x="193" y="118"/>
                      </a:lnTo>
                      <a:lnTo>
                        <a:pt x="194" y="121"/>
                      </a:lnTo>
                      <a:lnTo>
                        <a:pt x="193" y="125"/>
                      </a:lnTo>
                      <a:lnTo>
                        <a:pt x="192" y="128"/>
                      </a:lnTo>
                      <a:lnTo>
                        <a:pt x="187" y="133"/>
                      </a:lnTo>
                      <a:lnTo>
                        <a:pt x="180" y="139"/>
                      </a:lnTo>
                      <a:lnTo>
                        <a:pt x="171" y="146"/>
                      </a:lnTo>
                      <a:lnTo>
                        <a:pt x="169" y="144"/>
                      </a:lnTo>
                      <a:lnTo>
                        <a:pt x="164" y="141"/>
                      </a:lnTo>
                      <a:lnTo>
                        <a:pt x="136" y="134"/>
                      </a:lnTo>
                      <a:lnTo>
                        <a:pt x="130" y="134"/>
                      </a:lnTo>
                      <a:lnTo>
                        <a:pt x="123" y="134"/>
                      </a:lnTo>
                      <a:lnTo>
                        <a:pt x="118" y="137"/>
                      </a:lnTo>
                      <a:lnTo>
                        <a:pt x="112" y="140"/>
                      </a:lnTo>
                      <a:lnTo>
                        <a:pt x="109" y="141"/>
                      </a:lnTo>
                      <a:lnTo>
                        <a:pt x="107" y="141"/>
                      </a:lnTo>
                      <a:lnTo>
                        <a:pt x="104" y="138"/>
                      </a:lnTo>
                      <a:lnTo>
                        <a:pt x="102" y="134"/>
                      </a:lnTo>
                      <a:lnTo>
                        <a:pt x="98" y="133"/>
                      </a:lnTo>
                      <a:lnTo>
                        <a:pt x="97" y="132"/>
                      </a:lnTo>
                      <a:lnTo>
                        <a:pt x="94" y="133"/>
                      </a:lnTo>
                      <a:lnTo>
                        <a:pt x="91" y="136"/>
                      </a:lnTo>
                      <a:lnTo>
                        <a:pt x="89" y="137"/>
                      </a:lnTo>
                      <a:lnTo>
                        <a:pt x="88" y="137"/>
                      </a:lnTo>
                      <a:lnTo>
                        <a:pt x="85" y="136"/>
                      </a:lnTo>
                      <a:lnTo>
                        <a:pt x="83" y="133"/>
                      </a:lnTo>
                      <a:lnTo>
                        <a:pt x="81" y="131"/>
                      </a:lnTo>
                      <a:lnTo>
                        <a:pt x="79" y="130"/>
                      </a:lnTo>
                      <a:lnTo>
                        <a:pt x="74" y="126"/>
                      </a:lnTo>
                      <a:lnTo>
                        <a:pt x="69" y="121"/>
                      </a:lnTo>
                      <a:lnTo>
                        <a:pt x="63" y="118"/>
                      </a:lnTo>
                      <a:lnTo>
                        <a:pt x="57" y="114"/>
                      </a:lnTo>
                      <a:lnTo>
                        <a:pt x="34" y="103"/>
                      </a:lnTo>
                      <a:lnTo>
                        <a:pt x="22" y="100"/>
                      </a:lnTo>
                      <a:lnTo>
                        <a:pt x="17" y="96"/>
                      </a:lnTo>
                      <a:lnTo>
                        <a:pt x="14" y="94"/>
                      </a:lnTo>
                      <a:lnTo>
                        <a:pt x="13" y="92"/>
                      </a:lnTo>
                      <a:lnTo>
                        <a:pt x="15" y="86"/>
                      </a:lnTo>
                      <a:lnTo>
                        <a:pt x="14" y="81"/>
                      </a:lnTo>
                      <a:lnTo>
                        <a:pt x="11" y="76"/>
                      </a:lnTo>
                      <a:lnTo>
                        <a:pt x="6" y="73"/>
                      </a:lnTo>
                      <a:lnTo>
                        <a:pt x="5" y="70"/>
                      </a:lnTo>
                      <a:lnTo>
                        <a:pt x="4" y="68"/>
                      </a:lnTo>
                      <a:lnTo>
                        <a:pt x="4" y="66"/>
                      </a:lnTo>
                      <a:lnTo>
                        <a:pt x="4" y="62"/>
                      </a:lnTo>
                      <a:lnTo>
                        <a:pt x="5" y="60"/>
                      </a:lnTo>
                      <a:lnTo>
                        <a:pt x="5" y="56"/>
                      </a:lnTo>
                      <a:lnTo>
                        <a:pt x="4" y="53"/>
                      </a:lnTo>
                      <a:lnTo>
                        <a:pt x="1" y="48"/>
                      </a:lnTo>
                      <a:lnTo>
                        <a:pt x="0" y="44"/>
                      </a:lnTo>
                      <a:lnTo>
                        <a:pt x="1" y="39"/>
                      </a:lnTo>
                      <a:lnTo>
                        <a:pt x="3" y="36"/>
                      </a:lnTo>
                      <a:lnTo>
                        <a:pt x="3" y="31"/>
                      </a:lnTo>
                      <a:lnTo>
                        <a:pt x="4" y="26"/>
                      </a:lnTo>
                      <a:lnTo>
                        <a:pt x="5" y="22"/>
                      </a:lnTo>
                      <a:lnTo>
                        <a:pt x="11" y="23"/>
                      </a:lnTo>
                      <a:lnTo>
                        <a:pt x="13" y="23"/>
                      </a:lnTo>
                      <a:lnTo>
                        <a:pt x="15" y="22"/>
                      </a:lnTo>
                      <a:lnTo>
                        <a:pt x="19" y="19"/>
                      </a:lnTo>
                      <a:lnTo>
                        <a:pt x="27" y="18"/>
                      </a:lnTo>
                      <a:lnTo>
                        <a:pt x="34" y="17"/>
                      </a:lnTo>
                      <a:lnTo>
                        <a:pt x="48" y="12"/>
                      </a:lnTo>
                      <a:lnTo>
                        <a:pt x="62" y="6"/>
                      </a:lnTo>
                      <a:lnTo>
                        <a:pt x="77" y="0"/>
                      </a:lnTo>
                      <a:lnTo>
                        <a:pt x="79" y="0"/>
                      </a:lnTo>
                      <a:lnTo>
                        <a:pt x="80" y="2"/>
                      </a:lnTo>
                      <a:lnTo>
                        <a:pt x="80" y="4"/>
                      </a:lnTo>
                      <a:lnTo>
                        <a:pt x="86" y="4"/>
                      </a:lnTo>
                      <a:lnTo>
                        <a:pt x="88" y="5"/>
                      </a:lnTo>
                      <a:lnTo>
                        <a:pt x="90" y="6"/>
                      </a:lnTo>
                      <a:lnTo>
                        <a:pt x="89" y="9"/>
                      </a:lnTo>
                      <a:lnTo>
                        <a:pt x="88" y="10"/>
                      </a:lnTo>
                      <a:lnTo>
                        <a:pt x="86" y="12"/>
                      </a:lnTo>
                      <a:lnTo>
                        <a:pt x="86" y="13"/>
                      </a:lnTo>
                      <a:lnTo>
                        <a:pt x="90" y="18"/>
                      </a:lnTo>
                      <a:lnTo>
                        <a:pt x="95" y="21"/>
                      </a:lnTo>
                      <a:lnTo>
                        <a:pt x="98" y="21"/>
                      </a:lnTo>
                      <a:lnTo>
                        <a:pt x="100" y="21"/>
                      </a:lnTo>
                      <a:lnTo>
                        <a:pt x="103" y="19"/>
                      </a:lnTo>
                      <a:lnTo>
                        <a:pt x="105" y="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8" name="Freeform 1210">
                  <a:extLst>
                    <a:ext uri="{FF2B5EF4-FFF2-40B4-BE49-F238E27FC236}">
                      <a16:creationId xmlns:a16="http://schemas.microsoft.com/office/drawing/2014/main" id="{2ACFC7A9-DC3A-354B-9454-FD7EB92845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5469" y="3073374"/>
                  <a:ext cx="17758" cy="28117"/>
                </a:xfrm>
                <a:custGeom>
                  <a:avLst/>
                  <a:gdLst>
                    <a:gd name="T0" fmla="*/ 2147483647 w 13"/>
                    <a:gd name="T1" fmla="*/ 0 h 19"/>
                    <a:gd name="T2" fmla="*/ 2147483647 w 13"/>
                    <a:gd name="T3" fmla="*/ 2147483647 h 19"/>
                    <a:gd name="T4" fmla="*/ 2147483647 w 13"/>
                    <a:gd name="T5" fmla="*/ 2147483647 h 19"/>
                    <a:gd name="T6" fmla="*/ 2147483647 w 13"/>
                    <a:gd name="T7" fmla="*/ 2147483647 h 19"/>
                    <a:gd name="T8" fmla="*/ 2147483647 w 13"/>
                    <a:gd name="T9" fmla="*/ 2147483647 h 19"/>
                    <a:gd name="T10" fmla="*/ 2147483647 w 13"/>
                    <a:gd name="T11" fmla="*/ 2147483647 h 19"/>
                    <a:gd name="T12" fmla="*/ 0 w 13"/>
                    <a:gd name="T13" fmla="*/ 2147483647 h 19"/>
                    <a:gd name="T14" fmla="*/ 2147483647 w 13"/>
                    <a:gd name="T15" fmla="*/ 2147483647 h 19"/>
                    <a:gd name="T16" fmla="*/ 2147483647 w 13"/>
                    <a:gd name="T17" fmla="*/ 0 h 1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3"/>
                    <a:gd name="T28" fmla="*/ 0 h 19"/>
                    <a:gd name="T29" fmla="*/ 13 w 13"/>
                    <a:gd name="T30" fmla="*/ 19 h 1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3" h="19">
                      <a:moveTo>
                        <a:pt x="8" y="0"/>
                      </a:moveTo>
                      <a:lnTo>
                        <a:pt x="10" y="4"/>
                      </a:lnTo>
                      <a:lnTo>
                        <a:pt x="11" y="9"/>
                      </a:lnTo>
                      <a:lnTo>
                        <a:pt x="13" y="19"/>
                      </a:lnTo>
                      <a:lnTo>
                        <a:pt x="6" y="17"/>
                      </a:lnTo>
                      <a:lnTo>
                        <a:pt x="1" y="12"/>
                      </a:lnTo>
                      <a:lnTo>
                        <a:pt x="0" y="11"/>
                      </a:lnTo>
                      <a:lnTo>
                        <a:pt x="4" y="5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9" name="Freeform 1212">
                  <a:extLst>
                    <a:ext uri="{FF2B5EF4-FFF2-40B4-BE49-F238E27FC236}">
                      <a16:creationId xmlns:a16="http://schemas.microsoft.com/office/drawing/2014/main" id="{0855F133-71BA-C54E-B760-87DDA86926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3990" y="3071900"/>
                  <a:ext cx="16278" cy="28118"/>
                </a:xfrm>
                <a:custGeom>
                  <a:avLst/>
                  <a:gdLst>
                    <a:gd name="T0" fmla="*/ 2147483647 w 12"/>
                    <a:gd name="T1" fmla="*/ 0 h 19"/>
                    <a:gd name="T2" fmla="*/ 2147483647 w 12"/>
                    <a:gd name="T3" fmla="*/ 0 h 19"/>
                    <a:gd name="T4" fmla="*/ 2147483647 w 12"/>
                    <a:gd name="T5" fmla="*/ 2147483647 h 19"/>
                    <a:gd name="T6" fmla="*/ 2147483647 w 12"/>
                    <a:gd name="T7" fmla="*/ 2147483647 h 19"/>
                    <a:gd name="T8" fmla="*/ 2147483647 w 12"/>
                    <a:gd name="T9" fmla="*/ 2147483647 h 19"/>
                    <a:gd name="T10" fmla="*/ 2147483647 w 12"/>
                    <a:gd name="T11" fmla="*/ 2147483647 h 19"/>
                    <a:gd name="T12" fmla="*/ 2147483647 w 12"/>
                    <a:gd name="T13" fmla="*/ 2147483647 h 19"/>
                    <a:gd name="T14" fmla="*/ 2147483647 w 12"/>
                    <a:gd name="T15" fmla="*/ 2147483647 h 19"/>
                    <a:gd name="T16" fmla="*/ 2147483647 w 12"/>
                    <a:gd name="T17" fmla="*/ 2147483647 h 19"/>
                    <a:gd name="T18" fmla="*/ 0 w 12"/>
                    <a:gd name="T19" fmla="*/ 2147483647 h 19"/>
                    <a:gd name="T20" fmla="*/ 0 w 12"/>
                    <a:gd name="T21" fmla="*/ 2147483647 h 19"/>
                    <a:gd name="T22" fmla="*/ 2147483647 w 12"/>
                    <a:gd name="T23" fmla="*/ 2147483647 h 19"/>
                    <a:gd name="T24" fmla="*/ 2147483647 w 12"/>
                    <a:gd name="T25" fmla="*/ 0 h 19"/>
                    <a:gd name="T26" fmla="*/ 2147483647 w 12"/>
                    <a:gd name="T27" fmla="*/ 0 h 1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"/>
                    <a:gd name="T43" fmla="*/ 0 h 19"/>
                    <a:gd name="T44" fmla="*/ 12 w 12"/>
                    <a:gd name="T45" fmla="*/ 19 h 1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" h="19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10" y="4"/>
                      </a:lnTo>
                      <a:lnTo>
                        <a:pt x="11" y="8"/>
                      </a:lnTo>
                      <a:lnTo>
                        <a:pt x="12" y="19"/>
                      </a:lnTo>
                      <a:lnTo>
                        <a:pt x="6" y="17"/>
                      </a:lnTo>
                      <a:lnTo>
                        <a:pt x="1" y="12"/>
                      </a:lnTo>
                      <a:lnTo>
                        <a:pt x="0" y="11"/>
                      </a:lnTo>
                      <a:lnTo>
                        <a:pt x="4" y="5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0" name="Freeform 1221">
                  <a:extLst>
                    <a:ext uri="{FF2B5EF4-FFF2-40B4-BE49-F238E27FC236}">
                      <a16:creationId xmlns:a16="http://schemas.microsoft.com/office/drawing/2014/main" id="{62849A1F-C4AE-0A41-9067-665FEBC997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7342" y="3344191"/>
                  <a:ext cx="69554" cy="171665"/>
                </a:xfrm>
                <a:custGeom>
                  <a:avLst/>
                  <a:gdLst>
                    <a:gd name="T0" fmla="*/ 2147483647 w 51"/>
                    <a:gd name="T1" fmla="*/ 2147483647 h 116"/>
                    <a:gd name="T2" fmla="*/ 2147483647 w 51"/>
                    <a:gd name="T3" fmla="*/ 2147483647 h 116"/>
                    <a:gd name="T4" fmla="*/ 2147483647 w 51"/>
                    <a:gd name="T5" fmla="*/ 2147483647 h 116"/>
                    <a:gd name="T6" fmla="*/ 2147483647 w 51"/>
                    <a:gd name="T7" fmla="*/ 2147483647 h 116"/>
                    <a:gd name="T8" fmla="*/ 2147483647 w 51"/>
                    <a:gd name="T9" fmla="*/ 2147483647 h 116"/>
                    <a:gd name="T10" fmla="*/ 2147483647 w 51"/>
                    <a:gd name="T11" fmla="*/ 2147483647 h 116"/>
                    <a:gd name="T12" fmla="*/ 2147483647 w 51"/>
                    <a:gd name="T13" fmla="*/ 2147483647 h 116"/>
                    <a:gd name="T14" fmla="*/ 2147483647 w 51"/>
                    <a:gd name="T15" fmla="*/ 2147483647 h 116"/>
                    <a:gd name="T16" fmla="*/ 2147483647 w 51"/>
                    <a:gd name="T17" fmla="*/ 2147483647 h 116"/>
                    <a:gd name="T18" fmla="*/ 2147483647 w 51"/>
                    <a:gd name="T19" fmla="*/ 2147483647 h 116"/>
                    <a:gd name="T20" fmla="*/ 2147483647 w 51"/>
                    <a:gd name="T21" fmla="*/ 2147483647 h 116"/>
                    <a:gd name="T22" fmla="*/ 2147483647 w 51"/>
                    <a:gd name="T23" fmla="*/ 2147483647 h 116"/>
                    <a:gd name="T24" fmla="*/ 2147483647 w 51"/>
                    <a:gd name="T25" fmla="*/ 2147483647 h 116"/>
                    <a:gd name="T26" fmla="*/ 2147483647 w 51"/>
                    <a:gd name="T27" fmla="*/ 2147483647 h 116"/>
                    <a:gd name="T28" fmla="*/ 2147483647 w 51"/>
                    <a:gd name="T29" fmla="*/ 2147483647 h 116"/>
                    <a:gd name="T30" fmla="*/ 2147483647 w 51"/>
                    <a:gd name="T31" fmla="*/ 2147483647 h 116"/>
                    <a:gd name="T32" fmla="*/ 2147483647 w 51"/>
                    <a:gd name="T33" fmla="*/ 2147483647 h 116"/>
                    <a:gd name="T34" fmla="*/ 2147483647 w 51"/>
                    <a:gd name="T35" fmla="*/ 2147483647 h 116"/>
                    <a:gd name="T36" fmla="*/ 2147483647 w 51"/>
                    <a:gd name="T37" fmla="*/ 2147483647 h 116"/>
                    <a:gd name="T38" fmla="*/ 2147483647 w 51"/>
                    <a:gd name="T39" fmla="*/ 0 h 116"/>
                    <a:gd name="T40" fmla="*/ 2147483647 w 51"/>
                    <a:gd name="T41" fmla="*/ 2147483647 h 116"/>
                    <a:gd name="T42" fmla="*/ 2147483647 w 51"/>
                    <a:gd name="T43" fmla="*/ 2147483647 h 116"/>
                    <a:gd name="T44" fmla="*/ 2147483647 w 51"/>
                    <a:gd name="T45" fmla="*/ 2147483647 h 116"/>
                    <a:gd name="T46" fmla="*/ 2147483647 w 51"/>
                    <a:gd name="T47" fmla="*/ 2147483647 h 116"/>
                    <a:gd name="T48" fmla="*/ 2147483647 w 51"/>
                    <a:gd name="T49" fmla="*/ 2147483647 h 116"/>
                    <a:gd name="T50" fmla="*/ 2147483647 w 51"/>
                    <a:gd name="T51" fmla="*/ 2147483647 h 116"/>
                    <a:gd name="T52" fmla="*/ 0 w 51"/>
                    <a:gd name="T53" fmla="*/ 2147483647 h 116"/>
                    <a:gd name="T54" fmla="*/ 2147483647 w 51"/>
                    <a:gd name="T55" fmla="*/ 2147483647 h 116"/>
                    <a:gd name="T56" fmla="*/ 2147483647 w 51"/>
                    <a:gd name="T57" fmla="*/ 2147483647 h 116"/>
                    <a:gd name="T58" fmla="*/ 2147483647 w 51"/>
                    <a:gd name="T59" fmla="*/ 2147483647 h 116"/>
                    <a:gd name="T60" fmla="*/ 2147483647 w 51"/>
                    <a:gd name="T61" fmla="*/ 2147483647 h 116"/>
                    <a:gd name="T62" fmla="*/ 2147483647 w 51"/>
                    <a:gd name="T63" fmla="*/ 2147483647 h 116"/>
                    <a:gd name="T64" fmla="*/ 2147483647 w 51"/>
                    <a:gd name="T65" fmla="*/ 2147483647 h 116"/>
                    <a:gd name="T66" fmla="*/ 2147483647 w 51"/>
                    <a:gd name="T67" fmla="*/ 2147483647 h 116"/>
                    <a:gd name="T68" fmla="*/ 2147483647 w 51"/>
                    <a:gd name="T69" fmla="*/ 2147483647 h 116"/>
                    <a:gd name="T70" fmla="*/ 2147483647 w 51"/>
                    <a:gd name="T71" fmla="*/ 2147483647 h 116"/>
                    <a:gd name="T72" fmla="*/ 2147483647 w 51"/>
                    <a:gd name="T73" fmla="*/ 2147483647 h 116"/>
                    <a:gd name="T74" fmla="*/ 2147483647 w 51"/>
                    <a:gd name="T75" fmla="*/ 2147483647 h 116"/>
                    <a:gd name="T76" fmla="*/ 2147483647 w 51"/>
                    <a:gd name="T77" fmla="*/ 2147483647 h 116"/>
                    <a:gd name="T78" fmla="*/ 2147483647 w 51"/>
                    <a:gd name="T79" fmla="*/ 2147483647 h 116"/>
                    <a:gd name="T80" fmla="*/ 2147483647 w 51"/>
                    <a:gd name="T81" fmla="*/ 2147483647 h 116"/>
                    <a:gd name="T82" fmla="*/ 2147483647 w 51"/>
                    <a:gd name="T83" fmla="*/ 2147483647 h 116"/>
                    <a:gd name="T84" fmla="*/ 2147483647 w 51"/>
                    <a:gd name="T85" fmla="*/ 2147483647 h 116"/>
                    <a:gd name="T86" fmla="*/ 2147483647 w 51"/>
                    <a:gd name="T87" fmla="*/ 2147483647 h 11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51"/>
                    <a:gd name="T133" fmla="*/ 0 h 116"/>
                    <a:gd name="T134" fmla="*/ 51 w 51"/>
                    <a:gd name="T135" fmla="*/ 116 h 11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51" h="116">
                      <a:moveTo>
                        <a:pt x="42" y="110"/>
                      </a:moveTo>
                      <a:lnTo>
                        <a:pt x="44" y="108"/>
                      </a:lnTo>
                      <a:lnTo>
                        <a:pt x="42" y="105"/>
                      </a:lnTo>
                      <a:lnTo>
                        <a:pt x="41" y="103"/>
                      </a:lnTo>
                      <a:lnTo>
                        <a:pt x="40" y="101"/>
                      </a:lnTo>
                      <a:lnTo>
                        <a:pt x="40" y="97"/>
                      </a:lnTo>
                      <a:lnTo>
                        <a:pt x="42" y="92"/>
                      </a:lnTo>
                      <a:lnTo>
                        <a:pt x="42" y="91"/>
                      </a:lnTo>
                      <a:lnTo>
                        <a:pt x="42" y="89"/>
                      </a:lnTo>
                      <a:lnTo>
                        <a:pt x="41" y="85"/>
                      </a:lnTo>
                      <a:lnTo>
                        <a:pt x="39" y="82"/>
                      </a:lnTo>
                      <a:lnTo>
                        <a:pt x="37" y="78"/>
                      </a:lnTo>
                      <a:lnTo>
                        <a:pt x="37" y="73"/>
                      </a:lnTo>
                      <a:lnTo>
                        <a:pt x="39" y="71"/>
                      </a:lnTo>
                      <a:lnTo>
                        <a:pt x="37" y="69"/>
                      </a:lnTo>
                      <a:lnTo>
                        <a:pt x="36" y="69"/>
                      </a:lnTo>
                      <a:lnTo>
                        <a:pt x="33" y="69"/>
                      </a:lnTo>
                      <a:lnTo>
                        <a:pt x="32" y="66"/>
                      </a:lnTo>
                      <a:lnTo>
                        <a:pt x="32" y="64"/>
                      </a:lnTo>
                      <a:lnTo>
                        <a:pt x="32" y="62"/>
                      </a:lnTo>
                      <a:lnTo>
                        <a:pt x="35" y="59"/>
                      </a:lnTo>
                      <a:lnTo>
                        <a:pt x="41" y="54"/>
                      </a:lnTo>
                      <a:lnTo>
                        <a:pt x="42" y="52"/>
                      </a:lnTo>
                      <a:lnTo>
                        <a:pt x="44" y="50"/>
                      </a:lnTo>
                      <a:lnTo>
                        <a:pt x="42" y="41"/>
                      </a:lnTo>
                      <a:lnTo>
                        <a:pt x="42" y="37"/>
                      </a:lnTo>
                      <a:lnTo>
                        <a:pt x="44" y="33"/>
                      </a:lnTo>
                      <a:lnTo>
                        <a:pt x="46" y="31"/>
                      </a:lnTo>
                      <a:lnTo>
                        <a:pt x="50" y="16"/>
                      </a:lnTo>
                      <a:lnTo>
                        <a:pt x="51" y="12"/>
                      </a:lnTo>
                      <a:lnTo>
                        <a:pt x="50" y="9"/>
                      </a:lnTo>
                      <a:lnTo>
                        <a:pt x="47" y="8"/>
                      </a:lnTo>
                      <a:lnTo>
                        <a:pt x="45" y="7"/>
                      </a:lnTo>
                      <a:lnTo>
                        <a:pt x="41" y="7"/>
                      </a:lnTo>
                      <a:lnTo>
                        <a:pt x="33" y="7"/>
                      </a:lnTo>
                      <a:lnTo>
                        <a:pt x="30" y="7"/>
                      </a:lnTo>
                      <a:lnTo>
                        <a:pt x="26" y="6"/>
                      </a:lnTo>
                      <a:lnTo>
                        <a:pt x="23" y="5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1" y="2"/>
                      </a:lnTo>
                      <a:lnTo>
                        <a:pt x="9" y="9"/>
                      </a:lnTo>
                      <a:lnTo>
                        <a:pt x="9" y="12"/>
                      </a:lnTo>
                      <a:lnTo>
                        <a:pt x="11" y="13"/>
                      </a:lnTo>
                      <a:lnTo>
                        <a:pt x="12" y="15"/>
                      </a:lnTo>
                      <a:lnTo>
                        <a:pt x="13" y="16"/>
                      </a:lnTo>
                      <a:lnTo>
                        <a:pt x="13" y="33"/>
                      </a:lnTo>
                      <a:lnTo>
                        <a:pt x="12" y="41"/>
                      </a:lnTo>
                      <a:lnTo>
                        <a:pt x="8" y="50"/>
                      </a:lnTo>
                      <a:lnTo>
                        <a:pt x="4" y="59"/>
                      </a:lnTo>
                      <a:lnTo>
                        <a:pt x="2" y="70"/>
                      </a:lnTo>
                      <a:lnTo>
                        <a:pt x="0" y="75"/>
                      </a:lnTo>
                      <a:lnTo>
                        <a:pt x="0" y="77"/>
                      </a:lnTo>
                      <a:lnTo>
                        <a:pt x="0" y="78"/>
                      </a:lnTo>
                      <a:lnTo>
                        <a:pt x="2" y="79"/>
                      </a:lnTo>
                      <a:lnTo>
                        <a:pt x="4" y="79"/>
                      </a:lnTo>
                      <a:lnTo>
                        <a:pt x="7" y="78"/>
                      </a:lnTo>
                      <a:lnTo>
                        <a:pt x="11" y="76"/>
                      </a:lnTo>
                      <a:lnTo>
                        <a:pt x="12" y="76"/>
                      </a:lnTo>
                      <a:lnTo>
                        <a:pt x="13" y="76"/>
                      </a:lnTo>
                      <a:lnTo>
                        <a:pt x="13" y="77"/>
                      </a:lnTo>
                      <a:lnTo>
                        <a:pt x="14" y="78"/>
                      </a:lnTo>
                      <a:lnTo>
                        <a:pt x="12" y="82"/>
                      </a:lnTo>
                      <a:lnTo>
                        <a:pt x="9" y="84"/>
                      </a:lnTo>
                      <a:lnTo>
                        <a:pt x="6" y="85"/>
                      </a:lnTo>
                      <a:lnTo>
                        <a:pt x="4" y="88"/>
                      </a:lnTo>
                      <a:lnTo>
                        <a:pt x="4" y="89"/>
                      </a:lnTo>
                      <a:lnTo>
                        <a:pt x="4" y="90"/>
                      </a:lnTo>
                      <a:lnTo>
                        <a:pt x="9" y="94"/>
                      </a:lnTo>
                      <a:lnTo>
                        <a:pt x="11" y="96"/>
                      </a:lnTo>
                      <a:lnTo>
                        <a:pt x="11" y="98"/>
                      </a:lnTo>
                      <a:lnTo>
                        <a:pt x="9" y="99"/>
                      </a:lnTo>
                      <a:lnTo>
                        <a:pt x="9" y="101"/>
                      </a:lnTo>
                      <a:lnTo>
                        <a:pt x="9" y="104"/>
                      </a:lnTo>
                      <a:lnTo>
                        <a:pt x="9" y="107"/>
                      </a:lnTo>
                      <a:lnTo>
                        <a:pt x="8" y="110"/>
                      </a:lnTo>
                      <a:lnTo>
                        <a:pt x="8" y="114"/>
                      </a:lnTo>
                      <a:lnTo>
                        <a:pt x="8" y="115"/>
                      </a:lnTo>
                      <a:lnTo>
                        <a:pt x="11" y="115"/>
                      </a:lnTo>
                      <a:lnTo>
                        <a:pt x="14" y="115"/>
                      </a:lnTo>
                      <a:lnTo>
                        <a:pt x="20" y="115"/>
                      </a:lnTo>
                      <a:lnTo>
                        <a:pt x="23" y="114"/>
                      </a:lnTo>
                      <a:lnTo>
                        <a:pt x="28" y="114"/>
                      </a:lnTo>
                      <a:lnTo>
                        <a:pt x="31" y="116"/>
                      </a:lnTo>
                      <a:lnTo>
                        <a:pt x="35" y="116"/>
                      </a:lnTo>
                      <a:lnTo>
                        <a:pt x="37" y="114"/>
                      </a:lnTo>
                      <a:lnTo>
                        <a:pt x="42" y="1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1" name="Freeform 1223">
                  <a:extLst>
                    <a:ext uri="{FF2B5EF4-FFF2-40B4-BE49-F238E27FC236}">
                      <a16:creationId xmlns:a16="http://schemas.microsoft.com/office/drawing/2014/main" id="{44434AB4-5B9F-2E41-AE49-52C8126066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5860" y="3342712"/>
                  <a:ext cx="69554" cy="171665"/>
                </a:xfrm>
                <a:custGeom>
                  <a:avLst/>
                  <a:gdLst>
                    <a:gd name="T0" fmla="*/ 2147483647 w 51"/>
                    <a:gd name="T1" fmla="*/ 2147483647 h 116"/>
                    <a:gd name="T2" fmla="*/ 2147483647 w 51"/>
                    <a:gd name="T3" fmla="*/ 2147483647 h 116"/>
                    <a:gd name="T4" fmla="*/ 2147483647 w 51"/>
                    <a:gd name="T5" fmla="*/ 2147483647 h 116"/>
                    <a:gd name="T6" fmla="*/ 2147483647 w 51"/>
                    <a:gd name="T7" fmla="*/ 2147483647 h 116"/>
                    <a:gd name="T8" fmla="*/ 2147483647 w 51"/>
                    <a:gd name="T9" fmla="*/ 2147483647 h 116"/>
                    <a:gd name="T10" fmla="*/ 2147483647 w 51"/>
                    <a:gd name="T11" fmla="*/ 2147483647 h 116"/>
                    <a:gd name="T12" fmla="*/ 2147483647 w 51"/>
                    <a:gd name="T13" fmla="*/ 2147483647 h 116"/>
                    <a:gd name="T14" fmla="*/ 2147483647 w 51"/>
                    <a:gd name="T15" fmla="*/ 2147483647 h 116"/>
                    <a:gd name="T16" fmla="*/ 2147483647 w 51"/>
                    <a:gd name="T17" fmla="*/ 2147483647 h 116"/>
                    <a:gd name="T18" fmla="*/ 2147483647 w 51"/>
                    <a:gd name="T19" fmla="*/ 2147483647 h 116"/>
                    <a:gd name="T20" fmla="*/ 2147483647 w 51"/>
                    <a:gd name="T21" fmla="*/ 2147483647 h 116"/>
                    <a:gd name="T22" fmla="*/ 2147483647 w 51"/>
                    <a:gd name="T23" fmla="*/ 2147483647 h 116"/>
                    <a:gd name="T24" fmla="*/ 2147483647 w 51"/>
                    <a:gd name="T25" fmla="*/ 2147483647 h 116"/>
                    <a:gd name="T26" fmla="*/ 2147483647 w 51"/>
                    <a:gd name="T27" fmla="*/ 2147483647 h 116"/>
                    <a:gd name="T28" fmla="*/ 2147483647 w 51"/>
                    <a:gd name="T29" fmla="*/ 2147483647 h 116"/>
                    <a:gd name="T30" fmla="*/ 2147483647 w 51"/>
                    <a:gd name="T31" fmla="*/ 2147483647 h 116"/>
                    <a:gd name="T32" fmla="*/ 2147483647 w 51"/>
                    <a:gd name="T33" fmla="*/ 2147483647 h 116"/>
                    <a:gd name="T34" fmla="*/ 2147483647 w 51"/>
                    <a:gd name="T35" fmla="*/ 2147483647 h 116"/>
                    <a:gd name="T36" fmla="*/ 2147483647 w 51"/>
                    <a:gd name="T37" fmla="*/ 2147483647 h 116"/>
                    <a:gd name="T38" fmla="*/ 2147483647 w 51"/>
                    <a:gd name="T39" fmla="*/ 2147483647 h 116"/>
                    <a:gd name="T40" fmla="*/ 2147483647 w 51"/>
                    <a:gd name="T41" fmla="*/ 2147483647 h 116"/>
                    <a:gd name="T42" fmla="*/ 2147483647 w 51"/>
                    <a:gd name="T43" fmla="*/ 2147483647 h 116"/>
                    <a:gd name="T44" fmla="*/ 2147483647 w 51"/>
                    <a:gd name="T45" fmla="*/ 2147483647 h 116"/>
                    <a:gd name="T46" fmla="*/ 2147483647 w 51"/>
                    <a:gd name="T47" fmla="*/ 2147483647 h 116"/>
                    <a:gd name="T48" fmla="*/ 2147483647 w 51"/>
                    <a:gd name="T49" fmla="*/ 2147483647 h 116"/>
                    <a:gd name="T50" fmla="*/ 2147483647 w 51"/>
                    <a:gd name="T51" fmla="*/ 2147483647 h 116"/>
                    <a:gd name="T52" fmla="*/ 2147483647 w 51"/>
                    <a:gd name="T53" fmla="*/ 0 h 116"/>
                    <a:gd name="T54" fmla="*/ 2147483647 w 51"/>
                    <a:gd name="T55" fmla="*/ 2147483647 h 116"/>
                    <a:gd name="T56" fmla="*/ 2147483647 w 51"/>
                    <a:gd name="T57" fmla="*/ 2147483647 h 116"/>
                    <a:gd name="T58" fmla="*/ 2147483647 w 51"/>
                    <a:gd name="T59" fmla="*/ 2147483647 h 116"/>
                    <a:gd name="T60" fmla="*/ 2147483647 w 51"/>
                    <a:gd name="T61" fmla="*/ 2147483647 h 116"/>
                    <a:gd name="T62" fmla="*/ 2147483647 w 51"/>
                    <a:gd name="T63" fmla="*/ 2147483647 h 116"/>
                    <a:gd name="T64" fmla="*/ 2147483647 w 51"/>
                    <a:gd name="T65" fmla="*/ 2147483647 h 116"/>
                    <a:gd name="T66" fmla="*/ 2147483647 w 51"/>
                    <a:gd name="T67" fmla="*/ 2147483647 h 116"/>
                    <a:gd name="T68" fmla="*/ 2147483647 w 51"/>
                    <a:gd name="T69" fmla="*/ 2147483647 h 116"/>
                    <a:gd name="T70" fmla="*/ 0 w 51"/>
                    <a:gd name="T71" fmla="*/ 2147483647 h 116"/>
                    <a:gd name="T72" fmla="*/ 0 w 51"/>
                    <a:gd name="T73" fmla="*/ 2147483647 h 116"/>
                    <a:gd name="T74" fmla="*/ 2147483647 w 51"/>
                    <a:gd name="T75" fmla="*/ 2147483647 h 116"/>
                    <a:gd name="T76" fmla="*/ 2147483647 w 51"/>
                    <a:gd name="T77" fmla="*/ 2147483647 h 116"/>
                    <a:gd name="T78" fmla="*/ 2147483647 w 51"/>
                    <a:gd name="T79" fmla="*/ 2147483647 h 116"/>
                    <a:gd name="T80" fmla="*/ 2147483647 w 51"/>
                    <a:gd name="T81" fmla="*/ 2147483647 h 116"/>
                    <a:gd name="T82" fmla="*/ 2147483647 w 51"/>
                    <a:gd name="T83" fmla="*/ 2147483647 h 116"/>
                    <a:gd name="T84" fmla="*/ 2147483647 w 51"/>
                    <a:gd name="T85" fmla="*/ 2147483647 h 116"/>
                    <a:gd name="T86" fmla="*/ 2147483647 w 51"/>
                    <a:gd name="T87" fmla="*/ 2147483647 h 116"/>
                    <a:gd name="T88" fmla="*/ 2147483647 w 51"/>
                    <a:gd name="T89" fmla="*/ 2147483647 h 116"/>
                    <a:gd name="T90" fmla="*/ 2147483647 w 51"/>
                    <a:gd name="T91" fmla="*/ 2147483647 h 116"/>
                    <a:gd name="T92" fmla="*/ 2147483647 w 51"/>
                    <a:gd name="T93" fmla="*/ 2147483647 h 116"/>
                    <a:gd name="T94" fmla="*/ 2147483647 w 51"/>
                    <a:gd name="T95" fmla="*/ 2147483647 h 116"/>
                    <a:gd name="T96" fmla="*/ 2147483647 w 51"/>
                    <a:gd name="T97" fmla="*/ 2147483647 h 116"/>
                    <a:gd name="T98" fmla="*/ 2147483647 w 51"/>
                    <a:gd name="T99" fmla="*/ 2147483647 h 116"/>
                    <a:gd name="T100" fmla="*/ 2147483647 w 51"/>
                    <a:gd name="T101" fmla="*/ 2147483647 h 116"/>
                    <a:gd name="T102" fmla="*/ 2147483647 w 51"/>
                    <a:gd name="T103" fmla="*/ 2147483647 h 116"/>
                    <a:gd name="T104" fmla="*/ 2147483647 w 51"/>
                    <a:gd name="T105" fmla="*/ 2147483647 h 116"/>
                    <a:gd name="T106" fmla="*/ 2147483647 w 51"/>
                    <a:gd name="T107" fmla="*/ 2147483647 h 116"/>
                    <a:gd name="T108" fmla="*/ 2147483647 w 51"/>
                    <a:gd name="T109" fmla="*/ 2147483647 h 116"/>
                    <a:gd name="T110" fmla="*/ 2147483647 w 51"/>
                    <a:gd name="T111" fmla="*/ 2147483647 h 116"/>
                    <a:gd name="T112" fmla="*/ 2147483647 w 51"/>
                    <a:gd name="T113" fmla="*/ 2147483647 h 116"/>
                    <a:gd name="T114" fmla="*/ 2147483647 w 51"/>
                    <a:gd name="T115" fmla="*/ 2147483647 h 116"/>
                    <a:gd name="T116" fmla="*/ 2147483647 w 51"/>
                    <a:gd name="T117" fmla="*/ 2147483647 h 116"/>
                    <a:gd name="T118" fmla="*/ 2147483647 w 51"/>
                    <a:gd name="T119" fmla="*/ 2147483647 h 11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1"/>
                    <a:gd name="T181" fmla="*/ 0 h 116"/>
                    <a:gd name="T182" fmla="*/ 51 w 51"/>
                    <a:gd name="T183" fmla="*/ 116 h 11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1" h="116">
                      <a:moveTo>
                        <a:pt x="42" y="110"/>
                      </a:moveTo>
                      <a:lnTo>
                        <a:pt x="42" y="110"/>
                      </a:lnTo>
                      <a:lnTo>
                        <a:pt x="43" y="108"/>
                      </a:lnTo>
                      <a:lnTo>
                        <a:pt x="42" y="105"/>
                      </a:lnTo>
                      <a:lnTo>
                        <a:pt x="41" y="103"/>
                      </a:lnTo>
                      <a:lnTo>
                        <a:pt x="40" y="100"/>
                      </a:lnTo>
                      <a:lnTo>
                        <a:pt x="40" y="97"/>
                      </a:lnTo>
                      <a:lnTo>
                        <a:pt x="42" y="92"/>
                      </a:lnTo>
                      <a:lnTo>
                        <a:pt x="42" y="91"/>
                      </a:lnTo>
                      <a:lnTo>
                        <a:pt x="42" y="89"/>
                      </a:lnTo>
                      <a:lnTo>
                        <a:pt x="41" y="85"/>
                      </a:lnTo>
                      <a:lnTo>
                        <a:pt x="38" y="81"/>
                      </a:lnTo>
                      <a:lnTo>
                        <a:pt x="37" y="78"/>
                      </a:lnTo>
                      <a:lnTo>
                        <a:pt x="37" y="73"/>
                      </a:lnTo>
                      <a:lnTo>
                        <a:pt x="38" y="71"/>
                      </a:lnTo>
                      <a:lnTo>
                        <a:pt x="37" y="68"/>
                      </a:lnTo>
                      <a:lnTo>
                        <a:pt x="36" y="68"/>
                      </a:lnTo>
                      <a:lnTo>
                        <a:pt x="33" y="68"/>
                      </a:lnTo>
                      <a:lnTo>
                        <a:pt x="32" y="66"/>
                      </a:lnTo>
                      <a:lnTo>
                        <a:pt x="32" y="64"/>
                      </a:lnTo>
                      <a:lnTo>
                        <a:pt x="32" y="61"/>
                      </a:lnTo>
                      <a:lnTo>
                        <a:pt x="34" y="59"/>
                      </a:lnTo>
                      <a:lnTo>
                        <a:pt x="41" y="54"/>
                      </a:lnTo>
                      <a:lnTo>
                        <a:pt x="42" y="52"/>
                      </a:lnTo>
                      <a:lnTo>
                        <a:pt x="43" y="49"/>
                      </a:lnTo>
                      <a:lnTo>
                        <a:pt x="42" y="41"/>
                      </a:lnTo>
                      <a:lnTo>
                        <a:pt x="42" y="36"/>
                      </a:lnTo>
                      <a:lnTo>
                        <a:pt x="43" y="33"/>
                      </a:lnTo>
                      <a:lnTo>
                        <a:pt x="46" y="30"/>
                      </a:lnTo>
                      <a:lnTo>
                        <a:pt x="50" y="16"/>
                      </a:lnTo>
                      <a:lnTo>
                        <a:pt x="51" y="12"/>
                      </a:lnTo>
                      <a:lnTo>
                        <a:pt x="50" y="9"/>
                      </a:lnTo>
                      <a:lnTo>
                        <a:pt x="47" y="8"/>
                      </a:lnTo>
                      <a:lnTo>
                        <a:pt x="45" y="7"/>
                      </a:lnTo>
                      <a:lnTo>
                        <a:pt x="41" y="7"/>
                      </a:lnTo>
                      <a:lnTo>
                        <a:pt x="33" y="7"/>
                      </a:lnTo>
                      <a:lnTo>
                        <a:pt x="29" y="7"/>
                      </a:lnTo>
                      <a:lnTo>
                        <a:pt x="26" y="6"/>
                      </a:lnTo>
                      <a:lnTo>
                        <a:pt x="23" y="4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0" y="2"/>
                      </a:lnTo>
                      <a:lnTo>
                        <a:pt x="9" y="9"/>
                      </a:lnTo>
                      <a:lnTo>
                        <a:pt x="9" y="12"/>
                      </a:lnTo>
                      <a:lnTo>
                        <a:pt x="10" y="13"/>
                      </a:lnTo>
                      <a:lnTo>
                        <a:pt x="12" y="15"/>
                      </a:lnTo>
                      <a:lnTo>
                        <a:pt x="13" y="16"/>
                      </a:lnTo>
                      <a:lnTo>
                        <a:pt x="13" y="33"/>
                      </a:lnTo>
                      <a:lnTo>
                        <a:pt x="12" y="41"/>
                      </a:lnTo>
                      <a:lnTo>
                        <a:pt x="8" y="49"/>
                      </a:lnTo>
                      <a:lnTo>
                        <a:pt x="4" y="59"/>
                      </a:lnTo>
                      <a:lnTo>
                        <a:pt x="1" y="70"/>
                      </a:lnTo>
                      <a:lnTo>
                        <a:pt x="0" y="74"/>
                      </a:lnTo>
                      <a:lnTo>
                        <a:pt x="0" y="77"/>
                      </a:lnTo>
                      <a:lnTo>
                        <a:pt x="0" y="78"/>
                      </a:lnTo>
                      <a:lnTo>
                        <a:pt x="1" y="79"/>
                      </a:lnTo>
                      <a:lnTo>
                        <a:pt x="4" y="79"/>
                      </a:lnTo>
                      <a:lnTo>
                        <a:pt x="7" y="78"/>
                      </a:lnTo>
                      <a:lnTo>
                        <a:pt x="10" y="76"/>
                      </a:lnTo>
                      <a:lnTo>
                        <a:pt x="12" y="76"/>
                      </a:lnTo>
                      <a:lnTo>
                        <a:pt x="13" y="76"/>
                      </a:lnTo>
                      <a:lnTo>
                        <a:pt x="13" y="77"/>
                      </a:lnTo>
                      <a:lnTo>
                        <a:pt x="14" y="78"/>
                      </a:lnTo>
                      <a:lnTo>
                        <a:pt x="12" y="81"/>
                      </a:lnTo>
                      <a:lnTo>
                        <a:pt x="9" y="84"/>
                      </a:lnTo>
                      <a:lnTo>
                        <a:pt x="5" y="85"/>
                      </a:lnTo>
                      <a:lnTo>
                        <a:pt x="4" y="87"/>
                      </a:lnTo>
                      <a:lnTo>
                        <a:pt x="4" y="89"/>
                      </a:lnTo>
                      <a:lnTo>
                        <a:pt x="4" y="90"/>
                      </a:lnTo>
                      <a:lnTo>
                        <a:pt x="9" y="93"/>
                      </a:lnTo>
                      <a:lnTo>
                        <a:pt x="10" y="96"/>
                      </a:lnTo>
                      <a:lnTo>
                        <a:pt x="10" y="98"/>
                      </a:lnTo>
                      <a:lnTo>
                        <a:pt x="9" y="99"/>
                      </a:lnTo>
                      <a:lnTo>
                        <a:pt x="9" y="100"/>
                      </a:lnTo>
                      <a:lnTo>
                        <a:pt x="9" y="104"/>
                      </a:lnTo>
                      <a:lnTo>
                        <a:pt x="9" y="106"/>
                      </a:lnTo>
                      <a:lnTo>
                        <a:pt x="8" y="110"/>
                      </a:lnTo>
                      <a:lnTo>
                        <a:pt x="8" y="113"/>
                      </a:lnTo>
                      <a:lnTo>
                        <a:pt x="8" y="115"/>
                      </a:lnTo>
                      <a:lnTo>
                        <a:pt x="10" y="115"/>
                      </a:lnTo>
                      <a:lnTo>
                        <a:pt x="14" y="115"/>
                      </a:lnTo>
                      <a:lnTo>
                        <a:pt x="19" y="115"/>
                      </a:lnTo>
                      <a:lnTo>
                        <a:pt x="23" y="113"/>
                      </a:lnTo>
                      <a:lnTo>
                        <a:pt x="28" y="113"/>
                      </a:lnTo>
                      <a:lnTo>
                        <a:pt x="31" y="116"/>
                      </a:lnTo>
                      <a:lnTo>
                        <a:pt x="34" y="116"/>
                      </a:lnTo>
                      <a:lnTo>
                        <a:pt x="37" y="113"/>
                      </a:lnTo>
                      <a:lnTo>
                        <a:pt x="42" y="1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2" name="Freeform 1250">
                  <a:extLst>
                    <a:ext uri="{FF2B5EF4-FFF2-40B4-BE49-F238E27FC236}">
                      <a16:creationId xmlns:a16="http://schemas.microsoft.com/office/drawing/2014/main" id="{A665914A-31DE-0040-BBA8-B597FC09C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9920" y="2676773"/>
                  <a:ext cx="17758" cy="25157"/>
                </a:xfrm>
                <a:custGeom>
                  <a:avLst/>
                  <a:gdLst>
                    <a:gd name="T0" fmla="*/ 2147483647 w 13"/>
                    <a:gd name="T1" fmla="*/ 2147483647 h 17"/>
                    <a:gd name="T2" fmla="*/ 2147483647 w 13"/>
                    <a:gd name="T3" fmla="*/ 2147483647 h 17"/>
                    <a:gd name="T4" fmla="*/ 2147483647 w 13"/>
                    <a:gd name="T5" fmla="*/ 2147483647 h 17"/>
                    <a:gd name="T6" fmla="*/ 2147483647 w 13"/>
                    <a:gd name="T7" fmla="*/ 2147483647 h 17"/>
                    <a:gd name="T8" fmla="*/ 2147483647 w 13"/>
                    <a:gd name="T9" fmla="*/ 0 h 17"/>
                    <a:gd name="T10" fmla="*/ 2147483647 w 13"/>
                    <a:gd name="T11" fmla="*/ 2147483647 h 17"/>
                    <a:gd name="T12" fmla="*/ 0 w 13"/>
                    <a:gd name="T13" fmla="*/ 2147483647 h 17"/>
                    <a:gd name="T14" fmla="*/ 0 w 13"/>
                    <a:gd name="T15" fmla="*/ 2147483647 h 17"/>
                    <a:gd name="T16" fmla="*/ 2147483647 w 13"/>
                    <a:gd name="T17" fmla="*/ 2147483647 h 17"/>
                    <a:gd name="T18" fmla="*/ 2147483647 w 13"/>
                    <a:gd name="T19" fmla="*/ 2147483647 h 17"/>
                    <a:gd name="T20" fmla="*/ 2147483647 w 13"/>
                    <a:gd name="T21" fmla="*/ 2147483647 h 17"/>
                    <a:gd name="T22" fmla="*/ 2147483647 w 13"/>
                    <a:gd name="T23" fmla="*/ 2147483647 h 17"/>
                    <a:gd name="T24" fmla="*/ 2147483647 w 13"/>
                    <a:gd name="T25" fmla="*/ 2147483647 h 17"/>
                    <a:gd name="T26" fmla="*/ 2147483647 w 13"/>
                    <a:gd name="T27" fmla="*/ 2147483647 h 17"/>
                    <a:gd name="T28" fmla="*/ 2147483647 w 13"/>
                    <a:gd name="T29" fmla="*/ 2147483647 h 1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"/>
                    <a:gd name="T46" fmla="*/ 0 h 17"/>
                    <a:gd name="T47" fmla="*/ 13 w 13"/>
                    <a:gd name="T48" fmla="*/ 17 h 1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" h="17">
                      <a:moveTo>
                        <a:pt x="13" y="10"/>
                      </a:moveTo>
                      <a:lnTo>
                        <a:pt x="13" y="7"/>
                      </a:lnTo>
                      <a:lnTo>
                        <a:pt x="10" y="3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1" y="12"/>
                      </a:lnTo>
                      <a:lnTo>
                        <a:pt x="5" y="16"/>
                      </a:lnTo>
                      <a:lnTo>
                        <a:pt x="6" y="17"/>
                      </a:lnTo>
                      <a:lnTo>
                        <a:pt x="9" y="17"/>
                      </a:lnTo>
                      <a:lnTo>
                        <a:pt x="10" y="16"/>
                      </a:lnTo>
                      <a:lnTo>
                        <a:pt x="12" y="15"/>
                      </a:lnTo>
                      <a:lnTo>
                        <a:pt x="13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3" name="Freeform 1252">
                  <a:extLst>
                    <a:ext uri="{FF2B5EF4-FFF2-40B4-BE49-F238E27FC236}">
                      <a16:creationId xmlns:a16="http://schemas.microsoft.com/office/drawing/2014/main" id="{B6931E20-6E1A-E847-9879-580918D095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8441" y="2675289"/>
                  <a:ext cx="17758" cy="25158"/>
                </a:xfrm>
                <a:custGeom>
                  <a:avLst/>
                  <a:gdLst>
                    <a:gd name="T0" fmla="*/ 2147483647 w 13"/>
                    <a:gd name="T1" fmla="*/ 2147483647 h 17"/>
                    <a:gd name="T2" fmla="*/ 2147483647 w 13"/>
                    <a:gd name="T3" fmla="*/ 2147483647 h 17"/>
                    <a:gd name="T4" fmla="*/ 2147483647 w 13"/>
                    <a:gd name="T5" fmla="*/ 2147483647 h 17"/>
                    <a:gd name="T6" fmla="*/ 2147483647 w 13"/>
                    <a:gd name="T7" fmla="*/ 2147483647 h 17"/>
                    <a:gd name="T8" fmla="*/ 2147483647 w 13"/>
                    <a:gd name="T9" fmla="*/ 2147483647 h 17"/>
                    <a:gd name="T10" fmla="*/ 2147483647 w 13"/>
                    <a:gd name="T11" fmla="*/ 2147483647 h 17"/>
                    <a:gd name="T12" fmla="*/ 2147483647 w 13"/>
                    <a:gd name="T13" fmla="*/ 0 h 17"/>
                    <a:gd name="T14" fmla="*/ 2147483647 w 13"/>
                    <a:gd name="T15" fmla="*/ 0 h 17"/>
                    <a:gd name="T16" fmla="*/ 2147483647 w 13"/>
                    <a:gd name="T17" fmla="*/ 2147483647 h 17"/>
                    <a:gd name="T18" fmla="*/ 0 w 13"/>
                    <a:gd name="T19" fmla="*/ 2147483647 h 17"/>
                    <a:gd name="T20" fmla="*/ 0 w 13"/>
                    <a:gd name="T21" fmla="*/ 2147483647 h 17"/>
                    <a:gd name="T22" fmla="*/ 2147483647 w 13"/>
                    <a:gd name="T23" fmla="*/ 2147483647 h 17"/>
                    <a:gd name="T24" fmla="*/ 2147483647 w 13"/>
                    <a:gd name="T25" fmla="*/ 2147483647 h 17"/>
                    <a:gd name="T26" fmla="*/ 2147483647 w 13"/>
                    <a:gd name="T27" fmla="*/ 2147483647 h 17"/>
                    <a:gd name="T28" fmla="*/ 2147483647 w 13"/>
                    <a:gd name="T29" fmla="*/ 2147483647 h 17"/>
                    <a:gd name="T30" fmla="*/ 2147483647 w 13"/>
                    <a:gd name="T31" fmla="*/ 2147483647 h 17"/>
                    <a:gd name="T32" fmla="*/ 2147483647 w 13"/>
                    <a:gd name="T33" fmla="*/ 2147483647 h 17"/>
                    <a:gd name="T34" fmla="*/ 2147483647 w 13"/>
                    <a:gd name="T35" fmla="*/ 2147483647 h 17"/>
                    <a:gd name="T36" fmla="*/ 2147483647 w 13"/>
                    <a:gd name="T37" fmla="*/ 2147483647 h 17"/>
                    <a:gd name="T38" fmla="*/ 2147483647 w 13"/>
                    <a:gd name="T39" fmla="*/ 2147483647 h 17"/>
                    <a:gd name="T40" fmla="*/ 2147483647 w 13"/>
                    <a:gd name="T41" fmla="*/ 2147483647 h 1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"/>
                    <a:gd name="T64" fmla="*/ 0 h 17"/>
                    <a:gd name="T65" fmla="*/ 13 w 13"/>
                    <a:gd name="T66" fmla="*/ 17 h 17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" h="17">
                      <a:moveTo>
                        <a:pt x="13" y="10"/>
                      </a:moveTo>
                      <a:lnTo>
                        <a:pt x="13" y="10"/>
                      </a:lnTo>
                      <a:lnTo>
                        <a:pt x="13" y="7"/>
                      </a:lnTo>
                      <a:lnTo>
                        <a:pt x="10" y="3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2" y="3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5" y="16"/>
                      </a:lnTo>
                      <a:lnTo>
                        <a:pt x="6" y="17"/>
                      </a:lnTo>
                      <a:lnTo>
                        <a:pt x="9" y="17"/>
                      </a:lnTo>
                      <a:lnTo>
                        <a:pt x="10" y="16"/>
                      </a:lnTo>
                      <a:lnTo>
                        <a:pt x="11" y="14"/>
                      </a:lnTo>
                      <a:lnTo>
                        <a:pt x="13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4" name="Freeform 1253">
                  <a:extLst>
                    <a:ext uri="{FF2B5EF4-FFF2-40B4-BE49-F238E27FC236}">
                      <a16:creationId xmlns:a16="http://schemas.microsoft.com/office/drawing/2014/main" id="{EB2210F2-409A-BA41-95F9-1187AE6F89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5082" y="2275728"/>
                  <a:ext cx="238259" cy="436563"/>
                </a:xfrm>
                <a:custGeom>
                  <a:avLst/>
                  <a:gdLst>
                    <a:gd name="T0" fmla="*/ 2147483647 w 174"/>
                    <a:gd name="T1" fmla="*/ 2147483647 h 295"/>
                    <a:gd name="T2" fmla="*/ 2147483647 w 174"/>
                    <a:gd name="T3" fmla="*/ 2147483647 h 295"/>
                    <a:gd name="T4" fmla="*/ 2147483647 w 174"/>
                    <a:gd name="T5" fmla="*/ 2147483647 h 295"/>
                    <a:gd name="T6" fmla="*/ 2147483647 w 174"/>
                    <a:gd name="T7" fmla="*/ 2147483647 h 295"/>
                    <a:gd name="T8" fmla="*/ 2147483647 w 174"/>
                    <a:gd name="T9" fmla="*/ 2147483647 h 295"/>
                    <a:gd name="T10" fmla="*/ 2147483647 w 174"/>
                    <a:gd name="T11" fmla="*/ 2147483647 h 295"/>
                    <a:gd name="T12" fmla="*/ 2147483647 w 174"/>
                    <a:gd name="T13" fmla="*/ 2147483647 h 295"/>
                    <a:gd name="T14" fmla="*/ 2147483647 w 174"/>
                    <a:gd name="T15" fmla="*/ 2147483647 h 295"/>
                    <a:gd name="T16" fmla="*/ 2147483647 w 174"/>
                    <a:gd name="T17" fmla="*/ 2147483647 h 295"/>
                    <a:gd name="T18" fmla="*/ 2147483647 w 174"/>
                    <a:gd name="T19" fmla="*/ 2147483647 h 295"/>
                    <a:gd name="T20" fmla="*/ 2147483647 w 174"/>
                    <a:gd name="T21" fmla="*/ 0 h 295"/>
                    <a:gd name="T22" fmla="*/ 2147483647 w 174"/>
                    <a:gd name="T23" fmla="*/ 2147483647 h 295"/>
                    <a:gd name="T24" fmla="*/ 2147483647 w 174"/>
                    <a:gd name="T25" fmla="*/ 2147483647 h 295"/>
                    <a:gd name="T26" fmla="*/ 2147483647 w 174"/>
                    <a:gd name="T27" fmla="*/ 2147483647 h 295"/>
                    <a:gd name="T28" fmla="*/ 2147483647 w 174"/>
                    <a:gd name="T29" fmla="*/ 2147483647 h 295"/>
                    <a:gd name="T30" fmla="*/ 2147483647 w 174"/>
                    <a:gd name="T31" fmla="*/ 2147483647 h 295"/>
                    <a:gd name="T32" fmla="*/ 2147483647 w 174"/>
                    <a:gd name="T33" fmla="*/ 2147483647 h 295"/>
                    <a:gd name="T34" fmla="*/ 2147483647 w 174"/>
                    <a:gd name="T35" fmla="*/ 2147483647 h 295"/>
                    <a:gd name="T36" fmla="*/ 2147483647 w 174"/>
                    <a:gd name="T37" fmla="*/ 2147483647 h 295"/>
                    <a:gd name="T38" fmla="*/ 2147483647 w 174"/>
                    <a:gd name="T39" fmla="*/ 2147483647 h 295"/>
                    <a:gd name="T40" fmla="*/ 2147483647 w 174"/>
                    <a:gd name="T41" fmla="*/ 2147483647 h 295"/>
                    <a:gd name="T42" fmla="*/ 2147483647 w 174"/>
                    <a:gd name="T43" fmla="*/ 2147483647 h 295"/>
                    <a:gd name="T44" fmla="*/ 2147483647 w 174"/>
                    <a:gd name="T45" fmla="*/ 2147483647 h 295"/>
                    <a:gd name="T46" fmla="*/ 2147483647 w 174"/>
                    <a:gd name="T47" fmla="*/ 2147483647 h 295"/>
                    <a:gd name="T48" fmla="*/ 2147483647 w 174"/>
                    <a:gd name="T49" fmla="*/ 2147483647 h 295"/>
                    <a:gd name="T50" fmla="*/ 2147483647 w 174"/>
                    <a:gd name="T51" fmla="*/ 2147483647 h 295"/>
                    <a:gd name="T52" fmla="*/ 2147483647 w 174"/>
                    <a:gd name="T53" fmla="*/ 2147483647 h 295"/>
                    <a:gd name="T54" fmla="*/ 2147483647 w 174"/>
                    <a:gd name="T55" fmla="*/ 2147483647 h 295"/>
                    <a:gd name="T56" fmla="*/ 2147483647 w 174"/>
                    <a:gd name="T57" fmla="*/ 2147483647 h 295"/>
                    <a:gd name="T58" fmla="*/ 2147483647 w 174"/>
                    <a:gd name="T59" fmla="*/ 2147483647 h 295"/>
                    <a:gd name="T60" fmla="*/ 2147483647 w 174"/>
                    <a:gd name="T61" fmla="*/ 2147483647 h 295"/>
                    <a:gd name="T62" fmla="*/ 2147483647 w 174"/>
                    <a:gd name="T63" fmla="*/ 2147483647 h 295"/>
                    <a:gd name="T64" fmla="*/ 2147483647 w 174"/>
                    <a:gd name="T65" fmla="*/ 2147483647 h 295"/>
                    <a:gd name="T66" fmla="*/ 2147483647 w 174"/>
                    <a:gd name="T67" fmla="*/ 2147483647 h 295"/>
                    <a:gd name="T68" fmla="*/ 2147483647 w 174"/>
                    <a:gd name="T69" fmla="*/ 2147483647 h 295"/>
                    <a:gd name="T70" fmla="*/ 2147483647 w 174"/>
                    <a:gd name="T71" fmla="*/ 2147483647 h 295"/>
                    <a:gd name="T72" fmla="*/ 2147483647 w 174"/>
                    <a:gd name="T73" fmla="*/ 2147483647 h 295"/>
                    <a:gd name="T74" fmla="*/ 2147483647 w 174"/>
                    <a:gd name="T75" fmla="*/ 2147483647 h 295"/>
                    <a:gd name="T76" fmla="*/ 2147483647 w 174"/>
                    <a:gd name="T77" fmla="*/ 2147483647 h 295"/>
                    <a:gd name="T78" fmla="*/ 2147483647 w 174"/>
                    <a:gd name="T79" fmla="*/ 2147483647 h 295"/>
                    <a:gd name="T80" fmla="*/ 2147483647 w 174"/>
                    <a:gd name="T81" fmla="*/ 2147483647 h 295"/>
                    <a:gd name="T82" fmla="*/ 2147483647 w 174"/>
                    <a:gd name="T83" fmla="*/ 2147483647 h 295"/>
                    <a:gd name="T84" fmla="*/ 2147483647 w 174"/>
                    <a:gd name="T85" fmla="*/ 2147483647 h 295"/>
                    <a:gd name="T86" fmla="*/ 2147483647 w 174"/>
                    <a:gd name="T87" fmla="*/ 2147483647 h 295"/>
                    <a:gd name="T88" fmla="*/ 2147483647 w 174"/>
                    <a:gd name="T89" fmla="*/ 2147483647 h 295"/>
                    <a:gd name="T90" fmla="*/ 2147483647 w 174"/>
                    <a:gd name="T91" fmla="*/ 2147483647 h 295"/>
                    <a:gd name="T92" fmla="*/ 2147483647 w 174"/>
                    <a:gd name="T93" fmla="*/ 2147483647 h 295"/>
                    <a:gd name="T94" fmla="*/ 2147483647 w 174"/>
                    <a:gd name="T95" fmla="*/ 2147483647 h 295"/>
                    <a:gd name="T96" fmla="*/ 2147483647 w 174"/>
                    <a:gd name="T97" fmla="*/ 2147483647 h 295"/>
                    <a:gd name="T98" fmla="*/ 2147483647 w 174"/>
                    <a:gd name="T99" fmla="*/ 2147483647 h 295"/>
                    <a:gd name="T100" fmla="*/ 2147483647 w 174"/>
                    <a:gd name="T101" fmla="*/ 2147483647 h 295"/>
                    <a:gd name="T102" fmla="*/ 2147483647 w 174"/>
                    <a:gd name="T103" fmla="*/ 2147483647 h 295"/>
                    <a:gd name="T104" fmla="*/ 2147483647 w 174"/>
                    <a:gd name="T105" fmla="*/ 2147483647 h 295"/>
                    <a:gd name="T106" fmla="*/ 2147483647 w 174"/>
                    <a:gd name="T107" fmla="*/ 2147483647 h 295"/>
                    <a:gd name="T108" fmla="*/ 0 w 174"/>
                    <a:gd name="T109" fmla="*/ 2147483647 h 295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74"/>
                    <a:gd name="T166" fmla="*/ 0 h 295"/>
                    <a:gd name="T167" fmla="*/ 174 w 174"/>
                    <a:gd name="T168" fmla="*/ 295 h 295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74" h="295">
                      <a:moveTo>
                        <a:pt x="0" y="39"/>
                      </a:moveTo>
                      <a:lnTo>
                        <a:pt x="8" y="33"/>
                      </a:lnTo>
                      <a:lnTo>
                        <a:pt x="15" y="28"/>
                      </a:lnTo>
                      <a:lnTo>
                        <a:pt x="18" y="29"/>
                      </a:lnTo>
                      <a:lnTo>
                        <a:pt x="19" y="31"/>
                      </a:lnTo>
                      <a:lnTo>
                        <a:pt x="23" y="38"/>
                      </a:lnTo>
                      <a:lnTo>
                        <a:pt x="28" y="44"/>
                      </a:lnTo>
                      <a:lnTo>
                        <a:pt x="31" y="46"/>
                      </a:lnTo>
                      <a:lnTo>
                        <a:pt x="34" y="47"/>
                      </a:lnTo>
                      <a:lnTo>
                        <a:pt x="38" y="48"/>
                      </a:lnTo>
                      <a:lnTo>
                        <a:pt x="42" y="47"/>
                      </a:lnTo>
                      <a:lnTo>
                        <a:pt x="48" y="46"/>
                      </a:lnTo>
                      <a:lnTo>
                        <a:pt x="52" y="45"/>
                      </a:lnTo>
                      <a:lnTo>
                        <a:pt x="57" y="43"/>
                      </a:lnTo>
                      <a:lnTo>
                        <a:pt x="59" y="41"/>
                      </a:lnTo>
                      <a:lnTo>
                        <a:pt x="61" y="43"/>
                      </a:lnTo>
                      <a:lnTo>
                        <a:pt x="73" y="46"/>
                      </a:lnTo>
                      <a:lnTo>
                        <a:pt x="76" y="45"/>
                      </a:lnTo>
                      <a:lnTo>
                        <a:pt x="83" y="43"/>
                      </a:lnTo>
                      <a:lnTo>
                        <a:pt x="87" y="38"/>
                      </a:lnTo>
                      <a:lnTo>
                        <a:pt x="88" y="37"/>
                      </a:lnTo>
                      <a:lnTo>
                        <a:pt x="89" y="35"/>
                      </a:lnTo>
                      <a:lnTo>
                        <a:pt x="87" y="29"/>
                      </a:lnTo>
                      <a:lnTo>
                        <a:pt x="84" y="24"/>
                      </a:lnTo>
                      <a:lnTo>
                        <a:pt x="84" y="20"/>
                      </a:lnTo>
                      <a:lnTo>
                        <a:pt x="85" y="18"/>
                      </a:lnTo>
                      <a:lnTo>
                        <a:pt x="87" y="15"/>
                      </a:lnTo>
                      <a:lnTo>
                        <a:pt x="89" y="13"/>
                      </a:lnTo>
                      <a:lnTo>
                        <a:pt x="97" y="9"/>
                      </a:lnTo>
                      <a:lnTo>
                        <a:pt x="104" y="7"/>
                      </a:lnTo>
                      <a:lnTo>
                        <a:pt x="112" y="3"/>
                      </a:lnTo>
                      <a:lnTo>
                        <a:pt x="120" y="0"/>
                      </a:lnTo>
                      <a:lnTo>
                        <a:pt x="122" y="0"/>
                      </a:lnTo>
                      <a:lnTo>
                        <a:pt x="125" y="1"/>
                      </a:lnTo>
                      <a:lnTo>
                        <a:pt x="126" y="3"/>
                      </a:lnTo>
                      <a:lnTo>
                        <a:pt x="127" y="7"/>
                      </a:lnTo>
                      <a:lnTo>
                        <a:pt x="130" y="11"/>
                      </a:lnTo>
                      <a:lnTo>
                        <a:pt x="132" y="13"/>
                      </a:lnTo>
                      <a:lnTo>
                        <a:pt x="137" y="15"/>
                      </a:lnTo>
                      <a:lnTo>
                        <a:pt x="142" y="19"/>
                      </a:lnTo>
                      <a:lnTo>
                        <a:pt x="146" y="22"/>
                      </a:lnTo>
                      <a:lnTo>
                        <a:pt x="150" y="27"/>
                      </a:lnTo>
                      <a:lnTo>
                        <a:pt x="151" y="31"/>
                      </a:lnTo>
                      <a:lnTo>
                        <a:pt x="153" y="38"/>
                      </a:lnTo>
                      <a:lnTo>
                        <a:pt x="154" y="46"/>
                      </a:lnTo>
                      <a:lnTo>
                        <a:pt x="158" y="56"/>
                      </a:lnTo>
                      <a:lnTo>
                        <a:pt x="158" y="59"/>
                      </a:lnTo>
                      <a:lnTo>
                        <a:pt x="158" y="63"/>
                      </a:lnTo>
                      <a:lnTo>
                        <a:pt x="154" y="69"/>
                      </a:lnTo>
                      <a:lnTo>
                        <a:pt x="150" y="78"/>
                      </a:lnTo>
                      <a:lnTo>
                        <a:pt x="149" y="86"/>
                      </a:lnTo>
                      <a:lnTo>
                        <a:pt x="149" y="94"/>
                      </a:lnTo>
                      <a:lnTo>
                        <a:pt x="150" y="99"/>
                      </a:lnTo>
                      <a:lnTo>
                        <a:pt x="155" y="109"/>
                      </a:lnTo>
                      <a:lnTo>
                        <a:pt x="159" y="120"/>
                      </a:lnTo>
                      <a:lnTo>
                        <a:pt x="160" y="124"/>
                      </a:lnTo>
                      <a:lnTo>
                        <a:pt x="159" y="129"/>
                      </a:lnTo>
                      <a:lnTo>
                        <a:pt x="156" y="135"/>
                      </a:lnTo>
                      <a:lnTo>
                        <a:pt x="156" y="140"/>
                      </a:lnTo>
                      <a:lnTo>
                        <a:pt x="158" y="146"/>
                      </a:lnTo>
                      <a:lnTo>
                        <a:pt x="159" y="148"/>
                      </a:lnTo>
                      <a:lnTo>
                        <a:pt x="160" y="149"/>
                      </a:lnTo>
                      <a:lnTo>
                        <a:pt x="160" y="152"/>
                      </a:lnTo>
                      <a:lnTo>
                        <a:pt x="161" y="152"/>
                      </a:lnTo>
                      <a:lnTo>
                        <a:pt x="163" y="153"/>
                      </a:lnTo>
                      <a:lnTo>
                        <a:pt x="164" y="154"/>
                      </a:lnTo>
                      <a:lnTo>
                        <a:pt x="165" y="154"/>
                      </a:lnTo>
                      <a:lnTo>
                        <a:pt x="168" y="154"/>
                      </a:lnTo>
                      <a:lnTo>
                        <a:pt x="168" y="158"/>
                      </a:lnTo>
                      <a:lnTo>
                        <a:pt x="167" y="161"/>
                      </a:lnTo>
                      <a:lnTo>
                        <a:pt x="165" y="165"/>
                      </a:lnTo>
                      <a:lnTo>
                        <a:pt x="165" y="167"/>
                      </a:lnTo>
                      <a:lnTo>
                        <a:pt x="169" y="172"/>
                      </a:lnTo>
                      <a:lnTo>
                        <a:pt x="169" y="176"/>
                      </a:lnTo>
                      <a:lnTo>
                        <a:pt x="167" y="181"/>
                      </a:lnTo>
                      <a:lnTo>
                        <a:pt x="163" y="187"/>
                      </a:lnTo>
                      <a:lnTo>
                        <a:pt x="161" y="188"/>
                      </a:lnTo>
                      <a:lnTo>
                        <a:pt x="163" y="191"/>
                      </a:lnTo>
                      <a:lnTo>
                        <a:pt x="164" y="195"/>
                      </a:lnTo>
                      <a:lnTo>
                        <a:pt x="167" y="197"/>
                      </a:lnTo>
                      <a:lnTo>
                        <a:pt x="169" y="198"/>
                      </a:lnTo>
                      <a:lnTo>
                        <a:pt x="172" y="198"/>
                      </a:lnTo>
                      <a:lnTo>
                        <a:pt x="172" y="200"/>
                      </a:lnTo>
                      <a:lnTo>
                        <a:pt x="172" y="207"/>
                      </a:lnTo>
                      <a:lnTo>
                        <a:pt x="173" y="213"/>
                      </a:lnTo>
                      <a:lnTo>
                        <a:pt x="174" y="218"/>
                      </a:lnTo>
                      <a:lnTo>
                        <a:pt x="174" y="223"/>
                      </a:lnTo>
                      <a:lnTo>
                        <a:pt x="173" y="226"/>
                      </a:lnTo>
                      <a:lnTo>
                        <a:pt x="169" y="231"/>
                      </a:lnTo>
                      <a:lnTo>
                        <a:pt x="156" y="244"/>
                      </a:lnTo>
                      <a:lnTo>
                        <a:pt x="132" y="268"/>
                      </a:lnTo>
                      <a:lnTo>
                        <a:pt x="126" y="267"/>
                      </a:lnTo>
                      <a:lnTo>
                        <a:pt x="120" y="267"/>
                      </a:lnTo>
                      <a:lnTo>
                        <a:pt x="114" y="268"/>
                      </a:lnTo>
                      <a:lnTo>
                        <a:pt x="104" y="270"/>
                      </a:lnTo>
                      <a:lnTo>
                        <a:pt x="93" y="275"/>
                      </a:lnTo>
                      <a:lnTo>
                        <a:pt x="81" y="281"/>
                      </a:lnTo>
                      <a:lnTo>
                        <a:pt x="78" y="281"/>
                      </a:lnTo>
                      <a:lnTo>
                        <a:pt x="73" y="281"/>
                      </a:lnTo>
                      <a:lnTo>
                        <a:pt x="67" y="281"/>
                      </a:lnTo>
                      <a:lnTo>
                        <a:pt x="64" y="282"/>
                      </a:lnTo>
                      <a:lnTo>
                        <a:pt x="51" y="290"/>
                      </a:lnTo>
                      <a:lnTo>
                        <a:pt x="45" y="294"/>
                      </a:lnTo>
                      <a:lnTo>
                        <a:pt x="37" y="295"/>
                      </a:lnTo>
                      <a:lnTo>
                        <a:pt x="36" y="294"/>
                      </a:lnTo>
                      <a:lnTo>
                        <a:pt x="34" y="293"/>
                      </a:lnTo>
                      <a:lnTo>
                        <a:pt x="32" y="288"/>
                      </a:lnTo>
                      <a:lnTo>
                        <a:pt x="31" y="286"/>
                      </a:lnTo>
                      <a:lnTo>
                        <a:pt x="31" y="282"/>
                      </a:lnTo>
                      <a:lnTo>
                        <a:pt x="32" y="280"/>
                      </a:lnTo>
                      <a:lnTo>
                        <a:pt x="33" y="276"/>
                      </a:lnTo>
                      <a:lnTo>
                        <a:pt x="32" y="274"/>
                      </a:lnTo>
                      <a:lnTo>
                        <a:pt x="29" y="273"/>
                      </a:lnTo>
                      <a:lnTo>
                        <a:pt x="26" y="270"/>
                      </a:lnTo>
                      <a:lnTo>
                        <a:pt x="18" y="270"/>
                      </a:lnTo>
                      <a:lnTo>
                        <a:pt x="14" y="269"/>
                      </a:lnTo>
                      <a:lnTo>
                        <a:pt x="12" y="267"/>
                      </a:lnTo>
                      <a:lnTo>
                        <a:pt x="10" y="262"/>
                      </a:lnTo>
                      <a:lnTo>
                        <a:pt x="10" y="257"/>
                      </a:lnTo>
                      <a:lnTo>
                        <a:pt x="12" y="252"/>
                      </a:lnTo>
                      <a:lnTo>
                        <a:pt x="13" y="248"/>
                      </a:lnTo>
                      <a:lnTo>
                        <a:pt x="12" y="241"/>
                      </a:lnTo>
                      <a:lnTo>
                        <a:pt x="9" y="235"/>
                      </a:lnTo>
                      <a:lnTo>
                        <a:pt x="8" y="230"/>
                      </a:lnTo>
                      <a:lnTo>
                        <a:pt x="8" y="226"/>
                      </a:lnTo>
                      <a:lnTo>
                        <a:pt x="9" y="223"/>
                      </a:lnTo>
                      <a:lnTo>
                        <a:pt x="10" y="219"/>
                      </a:lnTo>
                      <a:lnTo>
                        <a:pt x="15" y="213"/>
                      </a:lnTo>
                      <a:lnTo>
                        <a:pt x="20" y="206"/>
                      </a:lnTo>
                      <a:lnTo>
                        <a:pt x="22" y="203"/>
                      </a:lnTo>
                      <a:lnTo>
                        <a:pt x="22" y="199"/>
                      </a:lnTo>
                      <a:lnTo>
                        <a:pt x="23" y="198"/>
                      </a:lnTo>
                      <a:lnTo>
                        <a:pt x="24" y="197"/>
                      </a:lnTo>
                      <a:lnTo>
                        <a:pt x="29" y="193"/>
                      </a:lnTo>
                      <a:lnTo>
                        <a:pt x="36" y="190"/>
                      </a:lnTo>
                      <a:lnTo>
                        <a:pt x="45" y="180"/>
                      </a:lnTo>
                      <a:lnTo>
                        <a:pt x="55" y="171"/>
                      </a:lnTo>
                      <a:lnTo>
                        <a:pt x="65" y="161"/>
                      </a:lnTo>
                      <a:lnTo>
                        <a:pt x="69" y="159"/>
                      </a:lnTo>
                      <a:lnTo>
                        <a:pt x="73" y="158"/>
                      </a:lnTo>
                      <a:lnTo>
                        <a:pt x="76" y="155"/>
                      </a:lnTo>
                      <a:lnTo>
                        <a:pt x="79" y="152"/>
                      </a:lnTo>
                      <a:lnTo>
                        <a:pt x="80" y="147"/>
                      </a:lnTo>
                      <a:lnTo>
                        <a:pt x="81" y="140"/>
                      </a:lnTo>
                      <a:lnTo>
                        <a:pt x="81" y="137"/>
                      </a:lnTo>
                      <a:lnTo>
                        <a:pt x="80" y="135"/>
                      </a:lnTo>
                      <a:lnTo>
                        <a:pt x="78" y="133"/>
                      </a:lnTo>
                      <a:lnTo>
                        <a:pt x="75" y="131"/>
                      </a:lnTo>
                      <a:lnTo>
                        <a:pt x="70" y="131"/>
                      </a:lnTo>
                      <a:lnTo>
                        <a:pt x="67" y="130"/>
                      </a:lnTo>
                      <a:lnTo>
                        <a:pt x="65" y="129"/>
                      </a:lnTo>
                      <a:lnTo>
                        <a:pt x="64" y="128"/>
                      </a:lnTo>
                      <a:lnTo>
                        <a:pt x="61" y="128"/>
                      </a:lnTo>
                      <a:lnTo>
                        <a:pt x="57" y="128"/>
                      </a:lnTo>
                      <a:lnTo>
                        <a:pt x="55" y="117"/>
                      </a:lnTo>
                      <a:lnTo>
                        <a:pt x="54" y="107"/>
                      </a:lnTo>
                      <a:lnTo>
                        <a:pt x="52" y="85"/>
                      </a:lnTo>
                      <a:lnTo>
                        <a:pt x="51" y="76"/>
                      </a:lnTo>
                      <a:lnTo>
                        <a:pt x="50" y="69"/>
                      </a:lnTo>
                      <a:lnTo>
                        <a:pt x="46" y="63"/>
                      </a:lnTo>
                      <a:lnTo>
                        <a:pt x="45" y="60"/>
                      </a:lnTo>
                      <a:lnTo>
                        <a:pt x="41" y="59"/>
                      </a:lnTo>
                      <a:lnTo>
                        <a:pt x="22" y="52"/>
                      </a:lnTo>
                      <a:lnTo>
                        <a:pt x="12" y="46"/>
                      </a:lnTo>
                      <a:lnTo>
                        <a:pt x="0" y="3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5" name="Freeform 1254">
                  <a:extLst>
                    <a:ext uri="{FF2B5EF4-FFF2-40B4-BE49-F238E27FC236}">
                      <a16:creationId xmlns:a16="http://schemas.microsoft.com/office/drawing/2014/main" id="{73381484-6951-8D49-8C4C-F7F05E7BDA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2968" y="2786284"/>
                  <a:ext cx="23678" cy="48835"/>
                </a:xfrm>
                <a:custGeom>
                  <a:avLst/>
                  <a:gdLst>
                    <a:gd name="T0" fmla="*/ 2147483647 w 17"/>
                    <a:gd name="T1" fmla="*/ 2147483647 h 33"/>
                    <a:gd name="T2" fmla="*/ 2147483647 w 17"/>
                    <a:gd name="T3" fmla="*/ 2147483647 h 33"/>
                    <a:gd name="T4" fmla="*/ 0 w 17"/>
                    <a:gd name="T5" fmla="*/ 2147483647 h 33"/>
                    <a:gd name="T6" fmla="*/ 0 w 17"/>
                    <a:gd name="T7" fmla="*/ 2147483647 h 33"/>
                    <a:gd name="T8" fmla="*/ 0 w 17"/>
                    <a:gd name="T9" fmla="*/ 2147483647 h 33"/>
                    <a:gd name="T10" fmla="*/ 2147483647 w 17"/>
                    <a:gd name="T11" fmla="*/ 2147483647 h 33"/>
                    <a:gd name="T12" fmla="*/ 2147483647 w 17"/>
                    <a:gd name="T13" fmla="*/ 2147483647 h 33"/>
                    <a:gd name="T14" fmla="*/ 2147483647 w 17"/>
                    <a:gd name="T15" fmla="*/ 2147483647 h 33"/>
                    <a:gd name="T16" fmla="*/ 2147483647 w 17"/>
                    <a:gd name="T17" fmla="*/ 0 h 33"/>
                    <a:gd name="T18" fmla="*/ 2147483647 w 17"/>
                    <a:gd name="T19" fmla="*/ 2147483647 h 33"/>
                    <a:gd name="T20" fmla="*/ 2147483647 w 17"/>
                    <a:gd name="T21" fmla="*/ 2147483647 h 33"/>
                    <a:gd name="T22" fmla="*/ 2147483647 w 17"/>
                    <a:gd name="T23" fmla="*/ 2147483647 h 33"/>
                    <a:gd name="T24" fmla="*/ 2147483647 w 17"/>
                    <a:gd name="T25" fmla="*/ 2147483647 h 3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7"/>
                    <a:gd name="T40" fmla="*/ 0 h 33"/>
                    <a:gd name="T41" fmla="*/ 17 w 17"/>
                    <a:gd name="T42" fmla="*/ 33 h 3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7" h="33">
                      <a:moveTo>
                        <a:pt x="13" y="14"/>
                      </a:moveTo>
                      <a:lnTo>
                        <a:pt x="2" y="33"/>
                      </a:lnTo>
                      <a:lnTo>
                        <a:pt x="0" y="29"/>
                      </a:lnTo>
                      <a:lnTo>
                        <a:pt x="0" y="26"/>
                      </a:lnTo>
                      <a:lnTo>
                        <a:pt x="0" y="20"/>
                      </a:lnTo>
                      <a:lnTo>
                        <a:pt x="4" y="13"/>
                      </a:lnTo>
                      <a:lnTo>
                        <a:pt x="7" y="7"/>
                      </a:lnTo>
                      <a:lnTo>
                        <a:pt x="10" y="2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7" y="3"/>
                      </a:lnTo>
                      <a:lnTo>
                        <a:pt x="15" y="7"/>
                      </a:lnTo>
                      <a:lnTo>
                        <a:pt x="13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6" name="Freeform 1255">
                  <a:extLst>
                    <a:ext uri="{FF2B5EF4-FFF2-40B4-BE49-F238E27FC236}">
                      <a16:creationId xmlns:a16="http://schemas.microsoft.com/office/drawing/2014/main" id="{F79966E4-C0F6-8D42-936B-875654BECA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3601" y="2274245"/>
                  <a:ext cx="238260" cy="436562"/>
                </a:xfrm>
                <a:custGeom>
                  <a:avLst/>
                  <a:gdLst>
                    <a:gd name="T0" fmla="*/ 2147483647 w 174"/>
                    <a:gd name="T1" fmla="*/ 2147483647 h 295"/>
                    <a:gd name="T2" fmla="*/ 2147483647 w 174"/>
                    <a:gd name="T3" fmla="*/ 2147483647 h 295"/>
                    <a:gd name="T4" fmla="*/ 2147483647 w 174"/>
                    <a:gd name="T5" fmla="*/ 2147483647 h 295"/>
                    <a:gd name="T6" fmla="*/ 2147483647 w 174"/>
                    <a:gd name="T7" fmla="*/ 2147483647 h 295"/>
                    <a:gd name="T8" fmla="*/ 2147483647 w 174"/>
                    <a:gd name="T9" fmla="*/ 2147483647 h 295"/>
                    <a:gd name="T10" fmla="*/ 2147483647 w 174"/>
                    <a:gd name="T11" fmla="*/ 2147483647 h 295"/>
                    <a:gd name="T12" fmla="*/ 2147483647 w 174"/>
                    <a:gd name="T13" fmla="*/ 2147483647 h 295"/>
                    <a:gd name="T14" fmla="*/ 2147483647 w 174"/>
                    <a:gd name="T15" fmla="*/ 2147483647 h 295"/>
                    <a:gd name="T16" fmla="*/ 2147483647 w 174"/>
                    <a:gd name="T17" fmla="*/ 2147483647 h 295"/>
                    <a:gd name="T18" fmla="*/ 2147483647 w 174"/>
                    <a:gd name="T19" fmla="*/ 0 h 295"/>
                    <a:gd name="T20" fmla="*/ 2147483647 w 174"/>
                    <a:gd name="T21" fmla="*/ 2147483647 h 295"/>
                    <a:gd name="T22" fmla="*/ 2147483647 w 174"/>
                    <a:gd name="T23" fmla="*/ 2147483647 h 295"/>
                    <a:gd name="T24" fmla="*/ 2147483647 w 174"/>
                    <a:gd name="T25" fmla="*/ 2147483647 h 295"/>
                    <a:gd name="T26" fmla="*/ 2147483647 w 174"/>
                    <a:gd name="T27" fmla="*/ 2147483647 h 295"/>
                    <a:gd name="T28" fmla="*/ 2147483647 w 174"/>
                    <a:gd name="T29" fmla="*/ 2147483647 h 295"/>
                    <a:gd name="T30" fmla="*/ 2147483647 w 174"/>
                    <a:gd name="T31" fmla="*/ 2147483647 h 295"/>
                    <a:gd name="T32" fmla="*/ 2147483647 w 174"/>
                    <a:gd name="T33" fmla="*/ 2147483647 h 295"/>
                    <a:gd name="T34" fmla="*/ 2147483647 w 174"/>
                    <a:gd name="T35" fmla="*/ 2147483647 h 295"/>
                    <a:gd name="T36" fmla="*/ 2147483647 w 174"/>
                    <a:gd name="T37" fmla="*/ 2147483647 h 295"/>
                    <a:gd name="T38" fmla="*/ 2147483647 w 174"/>
                    <a:gd name="T39" fmla="*/ 2147483647 h 295"/>
                    <a:gd name="T40" fmla="*/ 2147483647 w 174"/>
                    <a:gd name="T41" fmla="*/ 2147483647 h 295"/>
                    <a:gd name="T42" fmla="*/ 2147483647 w 174"/>
                    <a:gd name="T43" fmla="*/ 2147483647 h 295"/>
                    <a:gd name="T44" fmla="*/ 2147483647 w 174"/>
                    <a:gd name="T45" fmla="*/ 2147483647 h 295"/>
                    <a:gd name="T46" fmla="*/ 2147483647 w 174"/>
                    <a:gd name="T47" fmla="*/ 2147483647 h 295"/>
                    <a:gd name="T48" fmla="*/ 2147483647 w 174"/>
                    <a:gd name="T49" fmla="*/ 2147483647 h 295"/>
                    <a:gd name="T50" fmla="*/ 2147483647 w 174"/>
                    <a:gd name="T51" fmla="*/ 2147483647 h 295"/>
                    <a:gd name="T52" fmla="*/ 2147483647 w 174"/>
                    <a:gd name="T53" fmla="*/ 2147483647 h 295"/>
                    <a:gd name="T54" fmla="*/ 2147483647 w 174"/>
                    <a:gd name="T55" fmla="*/ 2147483647 h 295"/>
                    <a:gd name="T56" fmla="*/ 2147483647 w 174"/>
                    <a:gd name="T57" fmla="*/ 2147483647 h 295"/>
                    <a:gd name="T58" fmla="*/ 2147483647 w 174"/>
                    <a:gd name="T59" fmla="*/ 2147483647 h 295"/>
                    <a:gd name="T60" fmla="*/ 2147483647 w 174"/>
                    <a:gd name="T61" fmla="*/ 2147483647 h 295"/>
                    <a:gd name="T62" fmla="*/ 2147483647 w 174"/>
                    <a:gd name="T63" fmla="*/ 2147483647 h 295"/>
                    <a:gd name="T64" fmla="*/ 2147483647 w 174"/>
                    <a:gd name="T65" fmla="*/ 2147483647 h 295"/>
                    <a:gd name="T66" fmla="*/ 2147483647 w 174"/>
                    <a:gd name="T67" fmla="*/ 2147483647 h 295"/>
                    <a:gd name="T68" fmla="*/ 2147483647 w 174"/>
                    <a:gd name="T69" fmla="*/ 2147483647 h 295"/>
                    <a:gd name="T70" fmla="*/ 2147483647 w 174"/>
                    <a:gd name="T71" fmla="*/ 2147483647 h 295"/>
                    <a:gd name="T72" fmla="*/ 2147483647 w 174"/>
                    <a:gd name="T73" fmla="*/ 2147483647 h 295"/>
                    <a:gd name="T74" fmla="*/ 2147483647 w 174"/>
                    <a:gd name="T75" fmla="*/ 2147483647 h 295"/>
                    <a:gd name="T76" fmla="*/ 2147483647 w 174"/>
                    <a:gd name="T77" fmla="*/ 2147483647 h 295"/>
                    <a:gd name="T78" fmla="*/ 2147483647 w 174"/>
                    <a:gd name="T79" fmla="*/ 2147483647 h 295"/>
                    <a:gd name="T80" fmla="*/ 2147483647 w 174"/>
                    <a:gd name="T81" fmla="*/ 2147483647 h 295"/>
                    <a:gd name="T82" fmla="*/ 2147483647 w 174"/>
                    <a:gd name="T83" fmla="*/ 2147483647 h 295"/>
                    <a:gd name="T84" fmla="*/ 2147483647 w 174"/>
                    <a:gd name="T85" fmla="*/ 2147483647 h 295"/>
                    <a:gd name="T86" fmla="*/ 2147483647 w 174"/>
                    <a:gd name="T87" fmla="*/ 2147483647 h 295"/>
                    <a:gd name="T88" fmla="*/ 2147483647 w 174"/>
                    <a:gd name="T89" fmla="*/ 2147483647 h 295"/>
                    <a:gd name="T90" fmla="*/ 2147483647 w 174"/>
                    <a:gd name="T91" fmla="*/ 2147483647 h 295"/>
                    <a:gd name="T92" fmla="*/ 2147483647 w 174"/>
                    <a:gd name="T93" fmla="*/ 2147483647 h 295"/>
                    <a:gd name="T94" fmla="*/ 2147483647 w 174"/>
                    <a:gd name="T95" fmla="*/ 2147483647 h 295"/>
                    <a:gd name="T96" fmla="*/ 2147483647 w 174"/>
                    <a:gd name="T97" fmla="*/ 2147483647 h 295"/>
                    <a:gd name="T98" fmla="*/ 2147483647 w 174"/>
                    <a:gd name="T99" fmla="*/ 2147483647 h 295"/>
                    <a:gd name="T100" fmla="*/ 2147483647 w 174"/>
                    <a:gd name="T101" fmla="*/ 2147483647 h 295"/>
                    <a:gd name="T102" fmla="*/ 2147483647 w 174"/>
                    <a:gd name="T103" fmla="*/ 2147483647 h 295"/>
                    <a:gd name="T104" fmla="*/ 0 w 174"/>
                    <a:gd name="T105" fmla="*/ 2147483647 h 295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74"/>
                    <a:gd name="T160" fmla="*/ 0 h 295"/>
                    <a:gd name="T161" fmla="*/ 174 w 174"/>
                    <a:gd name="T162" fmla="*/ 295 h 295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74" h="295">
                      <a:moveTo>
                        <a:pt x="0" y="39"/>
                      </a:moveTo>
                      <a:lnTo>
                        <a:pt x="0" y="39"/>
                      </a:lnTo>
                      <a:lnTo>
                        <a:pt x="8" y="33"/>
                      </a:lnTo>
                      <a:lnTo>
                        <a:pt x="15" y="28"/>
                      </a:lnTo>
                      <a:lnTo>
                        <a:pt x="18" y="29"/>
                      </a:lnTo>
                      <a:lnTo>
                        <a:pt x="19" y="30"/>
                      </a:lnTo>
                      <a:lnTo>
                        <a:pt x="23" y="38"/>
                      </a:lnTo>
                      <a:lnTo>
                        <a:pt x="28" y="44"/>
                      </a:lnTo>
                      <a:lnTo>
                        <a:pt x="30" y="46"/>
                      </a:lnTo>
                      <a:lnTo>
                        <a:pt x="34" y="47"/>
                      </a:lnTo>
                      <a:lnTo>
                        <a:pt x="38" y="48"/>
                      </a:lnTo>
                      <a:lnTo>
                        <a:pt x="42" y="47"/>
                      </a:lnTo>
                      <a:lnTo>
                        <a:pt x="48" y="46"/>
                      </a:lnTo>
                      <a:lnTo>
                        <a:pt x="52" y="45"/>
                      </a:lnTo>
                      <a:lnTo>
                        <a:pt x="57" y="42"/>
                      </a:lnTo>
                      <a:lnTo>
                        <a:pt x="58" y="41"/>
                      </a:lnTo>
                      <a:lnTo>
                        <a:pt x="61" y="42"/>
                      </a:lnTo>
                      <a:lnTo>
                        <a:pt x="72" y="46"/>
                      </a:lnTo>
                      <a:lnTo>
                        <a:pt x="76" y="45"/>
                      </a:lnTo>
                      <a:lnTo>
                        <a:pt x="82" y="42"/>
                      </a:lnTo>
                      <a:lnTo>
                        <a:pt x="86" y="38"/>
                      </a:lnTo>
                      <a:lnTo>
                        <a:pt x="88" y="36"/>
                      </a:lnTo>
                      <a:lnTo>
                        <a:pt x="89" y="35"/>
                      </a:lnTo>
                      <a:lnTo>
                        <a:pt x="86" y="29"/>
                      </a:lnTo>
                      <a:lnTo>
                        <a:pt x="84" y="23"/>
                      </a:lnTo>
                      <a:lnTo>
                        <a:pt x="84" y="20"/>
                      </a:lnTo>
                      <a:lnTo>
                        <a:pt x="85" y="17"/>
                      </a:lnTo>
                      <a:lnTo>
                        <a:pt x="86" y="15"/>
                      </a:lnTo>
                      <a:lnTo>
                        <a:pt x="89" y="13"/>
                      </a:lnTo>
                      <a:lnTo>
                        <a:pt x="96" y="9"/>
                      </a:lnTo>
                      <a:lnTo>
                        <a:pt x="104" y="7"/>
                      </a:lnTo>
                      <a:lnTo>
                        <a:pt x="112" y="3"/>
                      </a:lnTo>
                      <a:lnTo>
                        <a:pt x="119" y="0"/>
                      </a:lnTo>
                      <a:lnTo>
                        <a:pt x="122" y="0"/>
                      </a:lnTo>
                      <a:lnTo>
                        <a:pt x="124" y="1"/>
                      </a:lnTo>
                      <a:lnTo>
                        <a:pt x="126" y="3"/>
                      </a:lnTo>
                      <a:lnTo>
                        <a:pt x="127" y="7"/>
                      </a:lnTo>
                      <a:lnTo>
                        <a:pt x="129" y="10"/>
                      </a:lnTo>
                      <a:lnTo>
                        <a:pt x="132" y="13"/>
                      </a:lnTo>
                      <a:lnTo>
                        <a:pt x="137" y="15"/>
                      </a:lnTo>
                      <a:lnTo>
                        <a:pt x="142" y="19"/>
                      </a:lnTo>
                      <a:lnTo>
                        <a:pt x="146" y="22"/>
                      </a:lnTo>
                      <a:lnTo>
                        <a:pt x="150" y="27"/>
                      </a:lnTo>
                      <a:lnTo>
                        <a:pt x="151" y="30"/>
                      </a:lnTo>
                      <a:lnTo>
                        <a:pt x="152" y="38"/>
                      </a:lnTo>
                      <a:lnTo>
                        <a:pt x="154" y="46"/>
                      </a:lnTo>
                      <a:lnTo>
                        <a:pt x="157" y="55"/>
                      </a:lnTo>
                      <a:lnTo>
                        <a:pt x="157" y="59"/>
                      </a:lnTo>
                      <a:lnTo>
                        <a:pt x="157" y="62"/>
                      </a:lnTo>
                      <a:lnTo>
                        <a:pt x="154" y="68"/>
                      </a:lnTo>
                      <a:lnTo>
                        <a:pt x="150" y="78"/>
                      </a:lnTo>
                      <a:lnTo>
                        <a:pt x="148" y="86"/>
                      </a:lnTo>
                      <a:lnTo>
                        <a:pt x="148" y="93"/>
                      </a:lnTo>
                      <a:lnTo>
                        <a:pt x="150" y="99"/>
                      </a:lnTo>
                      <a:lnTo>
                        <a:pt x="155" y="109"/>
                      </a:lnTo>
                      <a:lnTo>
                        <a:pt x="159" y="119"/>
                      </a:lnTo>
                      <a:lnTo>
                        <a:pt x="160" y="124"/>
                      </a:lnTo>
                      <a:lnTo>
                        <a:pt x="159" y="129"/>
                      </a:lnTo>
                      <a:lnTo>
                        <a:pt x="156" y="135"/>
                      </a:lnTo>
                      <a:lnTo>
                        <a:pt x="156" y="140"/>
                      </a:lnTo>
                      <a:lnTo>
                        <a:pt x="157" y="145"/>
                      </a:lnTo>
                      <a:lnTo>
                        <a:pt x="159" y="148"/>
                      </a:lnTo>
                      <a:lnTo>
                        <a:pt x="160" y="149"/>
                      </a:lnTo>
                      <a:lnTo>
                        <a:pt x="160" y="151"/>
                      </a:lnTo>
                      <a:lnTo>
                        <a:pt x="161" y="151"/>
                      </a:lnTo>
                      <a:lnTo>
                        <a:pt x="162" y="153"/>
                      </a:lnTo>
                      <a:lnTo>
                        <a:pt x="164" y="154"/>
                      </a:lnTo>
                      <a:lnTo>
                        <a:pt x="165" y="154"/>
                      </a:lnTo>
                      <a:lnTo>
                        <a:pt x="168" y="154"/>
                      </a:lnTo>
                      <a:lnTo>
                        <a:pt x="168" y="157"/>
                      </a:lnTo>
                      <a:lnTo>
                        <a:pt x="166" y="161"/>
                      </a:lnTo>
                      <a:lnTo>
                        <a:pt x="165" y="164"/>
                      </a:lnTo>
                      <a:lnTo>
                        <a:pt x="165" y="167"/>
                      </a:lnTo>
                      <a:lnTo>
                        <a:pt x="169" y="172"/>
                      </a:lnTo>
                      <a:lnTo>
                        <a:pt x="169" y="176"/>
                      </a:lnTo>
                      <a:lnTo>
                        <a:pt x="166" y="181"/>
                      </a:lnTo>
                      <a:lnTo>
                        <a:pt x="162" y="187"/>
                      </a:lnTo>
                      <a:lnTo>
                        <a:pt x="161" y="188"/>
                      </a:lnTo>
                      <a:lnTo>
                        <a:pt x="162" y="191"/>
                      </a:lnTo>
                      <a:lnTo>
                        <a:pt x="164" y="195"/>
                      </a:lnTo>
                      <a:lnTo>
                        <a:pt x="166" y="196"/>
                      </a:lnTo>
                      <a:lnTo>
                        <a:pt x="169" y="198"/>
                      </a:lnTo>
                      <a:lnTo>
                        <a:pt x="171" y="198"/>
                      </a:lnTo>
                      <a:lnTo>
                        <a:pt x="171" y="200"/>
                      </a:lnTo>
                      <a:lnTo>
                        <a:pt x="171" y="207"/>
                      </a:lnTo>
                      <a:lnTo>
                        <a:pt x="173" y="213"/>
                      </a:lnTo>
                      <a:lnTo>
                        <a:pt x="174" y="218"/>
                      </a:lnTo>
                      <a:lnTo>
                        <a:pt x="174" y="223"/>
                      </a:lnTo>
                      <a:lnTo>
                        <a:pt x="173" y="226"/>
                      </a:lnTo>
                      <a:lnTo>
                        <a:pt x="169" y="231"/>
                      </a:lnTo>
                      <a:lnTo>
                        <a:pt x="156" y="244"/>
                      </a:lnTo>
                      <a:lnTo>
                        <a:pt x="132" y="268"/>
                      </a:lnTo>
                      <a:lnTo>
                        <a:pt x="126" y="266"/>
                      </a:lnTo>
                      <a:lnTo>
                        <a:pt x="119" y="266"/>
                      </a:lnTo>
                      <a:lnTo>
                        <a:pt x="114" y="268"/>
                      </a:lnTo>
                      <a:lnTo>
                        <a:pt x="104" y="270"/>
                      </a:lnTo>
                      <a:lnTo>
                        <a:pt x="93" y="275"/>
                      </a:lnTo>
                      <a:lnTo>
                        <a:pt x="81" y="281"/>
                      </a:lnTo>
                      <a:lnTo>
                        <a:pt x="77" y="281"/>
                      </a:lnTo>
                      <a:lnTo>
                        <a:pt x="72" y="281"/>
                      </a:lnTo>
                      <a:lnTo>
                        <a:pt x="67" y="281"/>
                      </a:lnTo>
                      <a:lnTo>
                        <a:pt x="63" y="282"/>
                      </a:lnTo>
                      <a:lnTo>
                        <a:pt x="51" y="290"/>
                      </a:lnTo>
                      <a:lnTo>
                        <a:pt x="44" y="294"/>
                      </a:lnTo>
                      <a:lnTo>
                        <a:pt x="37" y="295"/>
                      </a:lnTo>
                      <a:lnTo>
                        <a:pt x="35" y="294"/>
                      </a:lnTo>
                      <a:lnTo>
                        <a:pt x="34" y="292"/>
                      </a:lnTo>
                      <a:lnTo>
                        <a:pt x="32" y="288"/>
                      </a:lnTo>
                      <a:lnTo>
                        <a:pt x="30" y="285"/>
                      </a:lnTo>
                      <a:lnTo>
                        <a:pt x="30" y="282"/>
                      </a:lnTo>
                      <a:lnTo>
                        <a:pt x="32" y="279"/>
                      </a:lnTo>
                      <a:lnTo>
                        <a:pt x="33" y="276"/>
                      </a:lnTo>
                      <a:lnTo>
                        <a:pt x="32" y="274"/>
                      </a:lnTo>
                      <a:lnTo>
                        <a:pt x="29" y="272"/>
                      </a:lnTo>
                      <a:lnTo>
                        <a:pt x="25" y="270"/>
                      </a:lnTo>
                      <a:lnTo>
                        <a:pt x="18" y="270"/>
                      </a:lnTo>
                      <a:lnTo>
                        <a:pt x="14" y="269"/>
                      </a:lnTo>
                      <a:lnTo>
                        <a:pt x="11" y="266"/>
                      </a:lnTo>
                      <a:lnTo>
                        <a:pt x="10" y="262"/>
                      </a:lnTo>
                      <a:lnTo>
                        <a:pt x="10" y="257"/>
                      </a:lnTo>
                      <a:lnTo>
                        <a:pt x="11" y="252"/>
                      </a:lnTo>
                      <a:lnTo>
                        <a:pt x="13" y="247"/>
                      </a:lnTo>
                      <a:lnTo>
                        <a:pt x="11" y="240"/>
                      </a:lnTo>
                      <a:lnTo>
                        <a:pt x="9" y="234"/>
                      </a:lnTo>
                      <a:lnTo>
                        <a:pt x="8" y="230"/>
                      </a:lnTo>
                      <a:lnTo>
                        <a:pt x="8" y="226"/>
                      </a:lnTo>
                      <a:lnTo>
                        <a:pt x="9" y="223"/>
                      </a:lnTo>
                      <a:lnTo>
                        <a:pt x="10" y="219"/>
                      </a:lnTo>
                      <a:lnTo>
                        <a:pt x="15" y="213"/>
                      </a:lnTo>
                      <a:lnTo>
                        <a:pt x="20" y="206"/>
                      </a:lnTo>
                      <a:lnTo>
                        <a:pt x="21" y="202"/>
                      </a:lnTo>
                      <a:lnTo>
                        <a:pt x="21" y="199"/>
                      </a:lnTo>
                      <a:lnTo>
                        <a:pt x="23" y="198"/>
                      </a:lnTo>
                      <a:lnTo>
                        <a:pt x="24" y="196"/>
                      </a:lnTo>
                      <a:lnTo>
                        <a:pt x="29" y="193"/>
                      </a:lnTo>
                      <a:lnTo>
                        <a:pt x="35" y="189"/>
                      </a:lnTo>
                      <a:lnTo>
                        <a:pt x="44" y="180"/>
                      </a:lnTo>
                      <a:lnTo>
                        <a:pt x="55" y="170"/>
                      </a:lnTo>
                      <a:lnTo>
                        <a:pt x="65" y="161"/>
                      </a:lnTo>
                      <a:lnTo>
                        <a:pt x="68" y="159"/>
                      </a:lnTo>
                      <a:lnTo>
                        <a:pt x="72" y="157"/>
                      </a:lnTo>
                      <a:lnTo>
                        <a:pt x="76" y="155"/>
                      </a:lnTo>
                      <a:lnTo>
                        <a:pt x="79" y="151"/>
                      </a:lnTo>
                      <a:lnTo>
                        <a:pt x="80" y="147"/>
                      </a:lnTo>
                      <a:lnTo>
                        <a:pt x="81" y="140"/>
                      </a:lnTo>
                      <a:lnTo>
                        <a:pt x="81" y="137"/>
                      </a:lnTo>
                      <a:lnTo>
                        <a:pt x="80" y="135"/>
                      </a:lnTo>
                      <a:lnTo>
                        <a:pt x="77" y="132"/>
                      </a:lnTo>
                      <a:lnTo>
                        <a:pt x="75" y="131"/>
                      </a:lnTo>
                      <a:lnTo>
                        <a:pt x="70" y="131"/>
                      </a:lnTo>
                      <a:lnTo>
                        <a:pt x="67" y="130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1" y="128"/>
                      </a:lnTo>
                      <a:lnTo>
                        <a:pt x="57" y="128"/>
                      </a:lnTo>
                      <a:lnTo>
                        <a:pt x="55" y="117"/>
                      </a:lnTo>
                      <a:lnTo>
                        <a:pt x="53" y="106"/>
                      </a:lnTo>
                      <a:lnTo>
                        <a:pt x="52" y="85"/>
                      </a:lnTo>
                      <a:lnTo>
                        <a:pt x="51" y="76"/>
                      </a:lnTo>
                      <a:lnTo>
                        <a:pt x="49" y="68"/>
                      </a:lnTo>
                      <a:lnTo>
                        <a:pt x="46" y="62"/>
                      </a:lnTo>
                      <a:lnTo>
                        <a:pt x="44" y="60"/>
                      </a:lnTo>
                      <a:lnTo>
                        <a:pt x="41" y="59"/>
                      </a:lnTo>
                      <a:lnTo>
                        <a:pt x="21" y="52"/>
                      </a:lnTo>
                      <a:lnTo>
                        <a:pt x="11" y="46"/>
                      </a:lnTo>
                      <a:lnTo>
                        <a:pt x="0" y="3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7" name="Freeform 1256">
                  <a:extLst>
                    <a:ext uri="{FF2B5EF4-FFF2-40B4-BE49-F238E27FC236}">
                      <a16:creationId xmlns:a16="http://schemas.microsoft.com/office/drawing/2014/main" id="{6B653FE4-72AF-0F47-9D49-828FDBA6CD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1487" y="2784801"/>
                  <a:ext cx="22198" cy="48836"/>
                </a:xfrm>
                <a:custGeom>
                  <a:avLst/>
                  <a:gdLst>
                    <a:gd name="T0" fmla="*/ 2147483647 w 16"/>
                    <a:gd name="T1" fmla="*/ 2147483647 h 33"/>
                    <a:gd name="T2" fmla="*/ 2147483647 w 16"/>
                    <a:gd name="T3" fmla="*/ 2147483647 h 33"/>
                    <a:gd name="T4" fmla="*/ 2147483647 w 16"/>
                    <a:gd name="T5" fmla="*/ 2147483647 h 33"/>
                    <a:gd name="T6" fmla="*/ 2147483647 w 16"/>
                    <a:gd name="T7" fmla="*/ 2147483647 h 33"/>
                    <a:gd name="T8" fmla="*/ 0 w 16"/>
                    <a:gd name="T9" fmla="*/ 2147483647 h 33"/>
                    <a:gd name="T10" fmla="*/ 0 w 16"/>
                    <a:gd name="T11" fmla="*/ 2147483647 h 33"/>
                    <a:gd name="T12" fmla="*/ 0 w 16"/>
                    <a:gd name="T13" fmla="*/ 2147483647 h 33"/>
                    <a:gd name="T14" fmla="*/ 2147483647 w 16"/>
                    <a:gd name="T15" fmla="*/ 2147483647 h 33"/>
                    <a:gd name="T16" fmla="*/ 2147483647 w 16"/>
                    <a:gd name="T17" fmla="*/ 2147483647 h 33"/>
                    <a:gd name="T18" fmla="*/ 2147483647 w 16"/>
                    <a:gd name="T19" fmla="*/ 2147483647 h 33"/>
                    <a:gd name="T20" fmla="*/ 2147483647 w 16"/>
                    <a:gd name="T21" fmla="*/ 2147483647 h 33"/>
                    <a:gd name="T22" fmla="*/ 2147483647 w 16"/>
                    <a:gd name="T23" fmla="*/ 0 h 33"/>
                    <a:gd name="T24" fmla="*/ 2147483647 w 16"/>
                    <a:gd name="T25" fmla="*/ 2147483647 h 33"/>
                    <a:gd name="T26" fmla="*/ 2147483647 w 16"/>
                    <a:gd name="T27" fmla="*/ 2147483647 h 33"/>
                    <a:gd name="T28" fmla="*/ 2147483647 w 16"/>
                    <a:gd name="T29" fmla="*/ 2147483647 h 33"/>
                    <a:gd name="T30" fmla="*/ 2147483647 w 16"/>
                    <a:gd name="T31" fmla="*/ 2147483647 h 33"/>
                    <a:gd name="T32" fmla="*/ 2147483647 w 16"/>
                    <a:gd name="T33" fmla="*/ 2147483647 h 33"/>
                    <a:gd name="T34" fmla="*/ 2147483647 w 16"/>
                    <a:gd name="T35" fmla="*/ 2147483647 h 3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6"/>
                    <a:gd name="T55" fmla="*/ 0 h 33"/>
                    <a:gd name="T56" fmla="*/ 16 w 16"/>
                    <a:gd name="T57" fmla="*/ 33 h 3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6" h="33">
                      <a:moveTo>
                        <a:pt x="13" y="14"/>
                      </a:moveTo>
                      <a:lnTo>
                        <a:pt x="13" y="14"/>
                      </a:lnTo>
                      <a:lnTo>
                        <a:pt x="1" y="33"/>
                      </a:lnTo>
                      <a:lnTo>
                        <a:pt x="0" y="29"/>
                      </a:lnTo>
                      <a:lnTo>
                        <a:pt x="0" y="26"/>
                      </a:lnTo>
                      <a:lnTo>
                        <a:pt x="0" y="20"/>
                      </a:lnTo>
                      <a:lnTo>
                        <a:pt x="4" y="13"/>
                      </a:lnTo>
                      <a:lnTo>
                        <a:pt x="6" y="7"/>
                      </a:lnTo>
                      <a:lnTo>
                        <a:pt x="10" y="2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6" y="3"/>
                      </a:lnTo>
                      <a:lnTo>
                        <a:pt x="15" y="7"/>
                      </a:lnTo>
                      <a:lnTo>
                        <a:pt x="13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8" name="Freeform 1257">
                  <a:extLst>
                    <a:ext uri="{FF2B5EF4-FFF2-40B4-BE49-F238E27FC236}">
                      <a16:creationId xmlns:a16="http://schemas.microsoft.com/office/drawing/2014/main" id="{AEAB7F00-6B42-4440-9FFF-F1193AF4FA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1447" y="2770002"/>
                  <a:ext cx="28118" cy="48836"/>
                </a:xfrm>
                <a:custGeom>
                  <a:avLst/>
                  <a:gdLst>
                    <a:gd name="T0" fmla="*/ 2147483647 w 21"/>
                    <a:gd name="T1" fmla="*/ 2147483647 h 33"/>
                    <a:gd name="T2" fmla="*/ 2147483647 w 21"/>
                    <a:gd name="T3" fmla="*/ 2147483647 h 33"/>
                    <a:gd name="T4" fmla="*/ 2147483647 w 21"/>
                    <a:gd name="T5" fmla="*/ 2147483647 h 33"/>
                    <a:gd name="T6" fmla="*/ 2147483647 w 21"/>
                    <a:gd name="T7" fmla="*/ 2147483647 h 33"/>
                    <a:gd name="T8" fmla="*/ 2147483647 w 21"/>
                    <a:gd name="T9" fmla="*/ 2147483647 h 33"/>
                    <a:gd name="T10" fmla="*/ 2147483647 w 21"/>
                    <a:gd name="T11" fmla="*/ 0 h 33"/>
                    <a:gd name="T12" fmla="*/ 2147483647 w 21"/>
                    <a:gd name="T13" fmla="*/ 2147483647 h 33"/>
                    <a:gd name="T14" fmla="*/ 2147483647 w 21"/>
                    <a:gd name="T15" fmla="*/ 2147483647 h 33"/>
                    <a:gd name="T16" fmla="*/ 2147483647 w 21"/>
                    <a:gd name="T17" fmla="*/ 2147483647 h 33"/>
                    <a:gd name="T18" fmla="*/ 2147483647 w 21"/>
                    <a:gd name="T19" fmla="*/ 2147483647 h 33"/>
                    <a:gd name="T20" fmla="*/ 2147483647 w 21"/>
                    <a:gd name="T21" fmla="*/ 2147483647 h 33"/>
                    <a:gd name="T22" fmla="*/ 2147483647 w 21"/>
                    <a:gd name="T23" fmla="*/ 2147483647 h 33"/>
                    <a:gd name="T24" fmla="*/ 0 w 21"/>
                    <a:gd name="T25" fmla="*/ 2147483647 h 33"/>
                    <a:gd name="T26" fmla="*/ 2147483647 w 21"/>
                    <a:gd name="T27" fmla="*/ 2147483647 h 33"/>
                    <a:gd name="T28" fmla="*/ 2147483647 w 21"/>
                    <a:gd name="T29" fmla="*/ 2147483647 h 33"/>
                    <a:gd name="T30" fmla="*/ 2147483647 w 21"/>
                    <a:gd name="T31" fmla="*/ 2147483647 h 33"/>
                    <a:gd name="T32" fmla="*/ 2147483647 w 21"/>
                    <a:gd name="T33" fmla="*/ 2147483647 h 33"/>
                    <a:gd name="T34" fmla="*/ 2147483647 w 21"/>
                    <a:gd name="T35" fmla="*/ 2147483647 h 33"/>
                    <a:gd name="T36" fmla="*/ 2147483647 w 21"/>
                    <a:gd name="T37" fmla="*/ 2147483647 h 33"/>
                    <a:gd name="T38" fmla="*/ 2147483647 w 21"/>
                    <a:gd name="T39" fmla="*/ 2147483647 h 33"/>
                    <a:gd name="T40" fmla="*/ 2147483647 w 21"/>
                    <a:gd name="T41" fmla="*/ 2147483647 h 33"/>
                    <a:gd name="T42" fmla="*/ 2147483647 w 21"/>
                    <a:gd name="T43" fmla="*/ 2147483647 h 33"/>
                    <a:gd name="T44" fmla="*/ 2147483647 w 21"/>
                    <a:gd name="T45" fmla="*/ 2147483647 h 3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1"/>
                    <a:gd name="T70" fmla="*/ 0 h 33"/>
                    <a:gd name="T71" fmla="*/ 21 w 21"/>
                    <a:gd name="T72" fmla="*/ 33 h 3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1" h="33">
                      <a:moveTo>
                        <a:pt x="18" y="14"/>
                      </a:moveTo>
                      <a:lnTo>
                        <a:pt x="17" y="11"/>
                      </a:lnTo>
                      <a:lnTo>
                        <a:pt x="18" y="10"/>
                      </a:lnTo>
                      <a:lnTo>
                        <a:pt x="21" y="5"/>
                      </a:lnTo>
                      <a:lnTo>
                        <a:pt x="21" y="1"/>
                      </a:lnTo>
                      <a:lnTo>
                        <a:pt x="21" y="0"/>
                      </a:lnTo>
                      <a:lnTo>
                        <a:pt x="14" y="1"/>
                      </a:lnTo>
                      <a:lnTo>
                        <a:pt x="9" y="4"/>
                      </a:lnTo>
                      <a:lnTo>
                        <a:pt x="4" y="7"/>
                      </a:lnTo>
                      <a:lnTo>
                        <a:pt x="3" y="10"/>
                      </a:lnTo>
                      <a:lnTo>
                        <a:pt x="1" y="12"/>
                      </a:lnTo>
                      <a:lnTo>
                        <a:pt x="1" y="18"/>
                      </a:lnTo>
                      <a:lnTo>
                        <a:pt x="0" y="24"/>
                      </a:lnTo>
                      <a:lnTo>
                        <a:pt x="1" y="30"/>
                      </a:lnTo>
                      <a:lnTo>
                        <a:pt x="3" y="32"/>
                      </a:lnTo>
                      <a:lnTo>
                        <a:pt x="5" y="33"/>
                      </a:lnTo>
                      <a:lnTo>
                        <a:pt x="7" y="26"/>
                      </a:lnTo>
                      <a:lnTo>
                        <a:pt x="8" y="24"/>
                      </a:lnTo>
                      <a:lnTo>
                        <a:pt x="12" y="22"/>
                      </a:lnTo>
                      <a:lnTo>
                        <a:pt x="13" y="20"/>
                      </a:lnTo>
                      <a:lnTo>
                        <a:pt x="15" y="18"/>
                      </a:lnTo>
                      <a:lnTo>
                        <a:pt x="18" y="16"/>
                      </a:lnTo>
                      <a:lnTo>
                        <a:pt x="18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9" name="Freeform 1258">
                  <a:extLst>
                    <a:ext uri="{FF2B5EF4-FFF2-40B4-BE49-F238E27FC236}">
                      <a16:creationId xmlns:a16="http://schemas.microsoft.com/office/drawing/2014/main" id="{504CDA19-A3CF-6D41-8B97-10BA7AD99C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1618" y="2333439"/>
                  <a:ext cx="301894" cy="550512"/>
                </a:xfrm>
                <a:custGeom>
                  <a:avLst/>
                  <a:gdLst>
                    <a:gd name="T0" fmla="*/ 2147483647 w 221"/>
                    <a:gd name="T1" fmla="*/ 2147483647 h 372"/>
                    <a:gd name="T2" fmla="*/ 2147483647 w 221"/>
                    <a:gd name="T3" fmla="*/ 2147483647 h 372"/>
                    <a:gd name="T4" fmla="*/ 2147483647 w 221"/>
                    <a:gd name="T5" fmla="*/ 0 h 372"/>
                    <a:gd name="T6" fmla="*/ 2147483647 w 221"/>
                    <a:gd name="T7" fmla="*/ 2147483647 h 372"/>
                    <a:gd name="T8" fmla="*/ 2147483647 w 221"/>
                    <a:gd name="T9" fmla="*/ 2147483647 h 372"/>
                    <a:gd name="T10" fmla="*/ 2147483647 w 221"/>
                    <a:gd name="T11" fmla="*/ 2147483647 h 372"/>
                    <a:gd name="T12" fmla="*/ 2147483647 w 221"/>
                    <a:gd name="T13" fmla="*/ 2147483647 h 372"/>
                    <a:gd name="T14" fmla="*/ 2147483647 w 221"/>
                    <a:gd name="T15" fmla="*/ 2147483647 h 372"/>
                    <a:gd name="T16" fmla="*/ 2147483647 w 221"/>
                    <a:gd name="T17" fmla="*/ 2147483647 h 372"/>
                    <a:gd name="T18" fmla="*/ 2147483647 w 221"/>
                    <a:gd name="T19" fmla="*/ 2147483647 h 372"/>
                    <a:gd name="T20" fmla="*/ 2147483647 w 221"/>
                    <a:gd name="T21" fmla="*/ 2147483647 h 372"/>
                    <a:gd name="T22" fmla="*/ 2147483647 w 221"/>
                    <a:gd name="T23" fmla="*/ 2147483647 h 372"/>
                    <a:gd name="T24" fmla="*/ 2147483647 w 221"/>
                    <a:gd name="T25" fmla="*/ 2147483647 h 372"/>
                    <a:gd name="T26" fmla="*/ 2147483647 w 221"/>
                    <a:gd name="T27" fmla="*/ 2147483647 h 372"/>
                    <a:gd name="T28" fmla="*/ 2147483647 w 221"/>
                    <a:gd name="T29" fmla="*/ 2147483647 h 372"/>
                    <a:gd name="T30" fmla="*/ 2147483647 w 221"/>
                    <a:gd name="T31" fmla="*/ 2147483647 h 372"/>
                    <a:gd name="T32" fmla="*/ 2147483647 w 221"/>
                    <a:gd name="T33" fmla="*/ 2147483647 h 372"/>
                    <a:gd name="T34" fmla="*/ 2147483647 w 221"/>
                    <a:gd name="T35" fmla="*/ 2147483647 h 372"/>
                    <a:gd name="T36" fmla="*/ 2147483647 w 221"/>
                    <a:gd name="T37" fmla="*/ 2147483647 h 372"/>
                    <a:gd name="T38" fmla="*/ 2147483647 w 221"/>
                    <a:gd name="T39" fmla="*/ 2147483647 h 372"/>
                    <a:gd name="T40" fmla="*/ 2147483647 w 221"/>
                    <a:gd name="T41" fmla="*/ 2147483647 h 372"/>
                    <a:gd name="T42" fmla="*/ 2147483647 w 221"/>
                    <a:gd name="T43" fmla="*/ 2147483647 h 372"/>
                    <a:gd name="T44" fmla="*/ 2147483647 w 221"/>
                    <a:gd name="T45" fmla="*/ 2147483647 h 372"/>
                    <a:gd name="T46" fmla="*/ 2147483647 w 221"/>
                    <a:gd name="T47" fmla="*/ 2147483647 h 372"/>
                    <a:gd name="T48" fmla="*/ 2147483647 w 221"/>
                    <a:gd name="T49" fmla="*/ 2147483647 h 372"/>
                    <a:gd name="T50" fmla="*/ 2147483647 w 221"/>
                    <a:gd name="T51" fmla="*/ 2147483647 h 372"/>
                    <a:gd name="T52" fmla="*/ 2147483647 w 221"/>
                    <a:gd name="T53" fmla="*/ 2147483647 h 372"/>
                    <a:gd name="T54" fmla="*/ 2147483647 w 221"/>
                    <a:gd name="T55" fmla="*/ 2147483647 h 372"/>
                    <a:gd name="T56" fmla="*/ 2147483647 w 221"/>
                    <a:gd name="T57" fmla="*/ 2147483647 h 372"/>
                    <a:gd name="T58" fmla="*/ 2147483647 w 221"/>
                    <a:gd name="T59" fmla="*/ 2147483647 h 372"/>
                    <a:gd name="T60" fmla="*/ 2147483647 w 221"/>
                    <a:gd name="T61" fmla="*/ 2147483647 h 372"/>
                    <a:gd name="T62" fmla="*/ 2147483647 w 221"/>
                    <a:gd name="T63" fmla="*/ 2147483647 h 372"/>
                    <a:gd name="T64" fmla="*/ 2147483647 w 221"/>
                    <a:gd name="T65" fmla="*/ 2147483647 h 372"/>
                    <a:gd name="T66" fmla="*/ 2147483647 w 221"/>
                    <a:gd name="T67" fmla="*/ 2147483647 h 372"/>
                    <a:gd name="T68" fmla="*/ 2147483647 w 221"/>
                    <a:gd name="T69" fmla="*/ 2147483647 h 372"/>
                    <a:gd name="T70" fmla="*/ 2147483647 w 221"/>
                    <a:gd name="T71" fmla="*/ 2147483647 h 372"/>
                    <a:gd name="T72" fmla="*/ 2147483647 w 221"/>
                    <a:gd name="T73" fmla="*/ 2147483647 h 372"/>
                    <a:gd name="T74" fmla="*/ 2147483647 w 221"/>
                    <a:gd name="T75" fmla="*/ 2147483647 h 372"/>
                    <a:gd name="T76" fmla="*/ 2147483647 w 221"/>
                    <a:gd name="T77" fmla="*/ 2147483647 h 372"/>
                    <a:gd name="T78" fmla="*/ 2147483647 w 221"/>
                    <a:gd name="T79" fmla="*/ 2147483647 h 372"/>
                    <a:gd name="T80" fmla="*/ 2147483647 w 221"/>
                    <a:gd name="T81" fmla="*/ 2147483647 h 372"/>
                    <a:gd name="T82" fmla="*/ 2147483647 w 221"/>
                    <a:gd name="T83" fmla="*/ 2147483647 h 372"/>
                    <a:gd name="T84" fmla="*/ 2147483647 w 221"/>
                    <a:gd name="T85" fmla="*/ 2147483647 h 372"/>
                    <a:gd name="T86" fmla="*/ 2147483647 w 221"/>
                    <a:gd name="T87" fmla="*/ 2147483647 h 372"/>
                    <a:gd name="T88" fmla="*/ 2147483647 w 221"/>
                    <a:gd name="T89" fmla="*/ 2147483647 h 372"/>
                    <a:gd name="T90" fmla="*/ 2147483647 w 221"/>
                    <a:gd name="T91" fmla="*/ 2147483647 h 372"/>
                    <a:gd name="T92" fmla="*/ 2147483647 w 221"/>
                    <a:gd name="T93" fmla="*/ 2147483647 h 372"/>
                    <a:gd name="T94" fmla="*/ 2147483647 w 221"/>
                    <a:gd name="T95" fmla="*/ 2147483647 h 372"/>
                    <a:gd name="T96" fmla="*/ 2147483647 w 221"/>
                    <a:gd name="T97" fmla="*/ 2147483647 h 372"/>
                    <a:gd name="T98" fmla="*/ 2147483647 w 221"/>
                    <a:gd name="T99" fmla="*/ 2147483647 h 372"/>
                    <a:gd name="T100" fmla="*/ 2147483647 w 221"/>
                    <a:gd name="T101" fmla="*/ 2147483647 h 372"/>
                    <a:gd name="T102" fmla="*/ 2147483647 w 221"/>
                    <a:gd name="T103" fmla="*/ 2147483647 h 372"/>
                    <a:gd name="T104" fmla="*/ 2147483647 w 221"/>
                    <a:gd name="T105" fmla="*/ 2147483647 h 372"/>
                    <a:gd name="T106" fmla="*/ 2147483647 w 221"/>
                    <a:gd name="T107" fmla="*/ 2147483647 h 372"/>
                    <a:gd name="T108" fmla="*/ 2147483647 w 221"/>
                    <a:gd name="T109" fmla="*/ 2147483647 h 37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21"/>
                    <a:gd name="T166" fmla="*/ 0 h 372"/>
                    <a:gd name="T167" fmla="*/ 221 w 221"/>
                    <a:gd name="T168" fmla="*/ 372 h 37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21" h="372">
                      <a:moveTo>
                        <a:pt x="221" y="89"/>
                      </a:moveTo>
                      <a:lnTo>
                        <a:pt x="219" y="78"/>
                      </a:lnTo>
                      <a:lnTo>
                        <a:pt x="218" y="68"/>
                      </a:lnTo>
                      <a:lnTo>
                        <a:pt x="216" y="46"/>
                      </a:lnTo>
                      <a:lnTo>
                        <a:pt x="215" y="37"/>
                      </a:lnTo>
                      <a:lnTo>
                        <a:pt x="214" y="30"/>
                      </a:lnTo>
                      <a:lnTo>
                        <a:pt x="210" y="24"/>
                      </a:lnTo>
                      <a:lnTo>
                        <a:pt x="209" y="21"/>
                      </a:lnTo>
                      <a:lnTo>
                        <a:pt x="205" y="20"/>
                      </a:lnTo>
                      <a:lnTo>
                        <a:pt x="186" y="13"/>
                      </a:lnTo>
                      <a:lnTo>
                        <a:pt x="176" y="7"/>
                      </a:lnTo>
                      <a:lnTo>
                        <a:pt x="164" y="0"/>
                      </a:lnTo>
                      <a:lnTo>
                        <a:pt x="158" y="7"/>
                      </a:lnTo>
                      <a:lnTo>
                        <a:pt x="153" y="14"/>
                      </a:lnTo>
                      <a:lnTo>
                        <a:pt x="149" y="17"/>
                      </a:lnTo>
                      <a:lnTo>
                        <a:pt x="146" y="18"/>
                      </a:lnTo>
                      <a:lnTo>
                        <a:pt x="143" y="18"/>
                      </a:lnTo>
                      <a:lnTo>
                        <a:pt x="139" y="17"/>
                      </a:lnTo>
                      <a:lnTo>
                        <a:pt x="134" y="15"/>
                      </a:lnTo>
                      <a:lnTo>
                        <a:pt x="129" y="15"/>
                      </a:lnTo>
                      <a:lnTo>
                        <a:pt x="125" y="15"/>
                      </a:lnTo>
                      <a:lnTo>
                        <a:pt x="121" y="18"/>
                      </a:lnTo>
                      <a:lnTo>
                        <a:pt x="117" y="22"/>
                      </a:lnTo>
                      <a:lnTo>
                        <a:pt x="113" y="26"/>
                      </a:lnTo>
                      <a:lnTo>
                        <a:pt x="104" y="31"/>
                      </a:lnTo>
                      <a:lnTo>
                        <a:pt x="94" y="36"/>
                      </a:lnTo>
                      <a:lnTo>
                        <a:pt x="84" y="40"/>
                      </a:lnTo>
                      <a:lnTo>
                        <a:pt x="82" y="43"/>
                      </a:lnTo>
                      <a:lnTo>
                        <a:pt x="79" y="45"/>
                      </a:lnTo>
                      <a:lnTo>
                        <a:pt x="78" y="51"/>
                      </a:lnTo>
                      <a:lnTo>
                        <a:pt x="75" y="56"/>
                      </a:lnTo>
                      <a:lnTo>
                        <a:pt x="71" y="60"/>
                      </a:lnTo>
                      <a:lnTo>
                        <a:pt x="66" y="64"/>
                      </a:lnTo>
                      <a:lnTo>
                        <a:pt x="65" y="65"/>
                      </a:lnTo>
                      <a:lnTo>
                        <a:pt x="64" y="68"/>
                      </a:lnTo>
                      <a:lnTo>
                        <a:pt x="64" y="72"/>
                      </a:lnTo>
                      <a:lnTo>
                        <a:pt x="61" y="76"/>
                      </a:lnTo>
                      <a:lnTo>
                        <a:pt x="58" y="78"/>
                      </a:lnTo>
                      <a:lnTo>
                        <a:pt x="52" y="79"/>
                      </a:lnTo>
                      <a:lnTo>
                        <a:pt x="49" y="83"/>
                      </a:lnTo>
                      <a:lnTo>
                        <a:pt x="47" y="87"/>
                      </a:lnTo>
                      <a:lnTo>
                        <a:pt x="46" y="102"/>
                      </a:lnTo>
                      <a:lnTo>
                        <a:pt x="44" y="109"/>
                      </a:lnTo>
                      <a:lnTo>
                        <a:pt x="40" y="116"/>
                      </a:lnTo>
                      <a:lnTo>
                        <a:pt x="40" y="119"/>
                      </a:lnTo>
                      <a:lnTo>
                        <a:pt x="41" y="121"/>
                      </a:lnTo>
                      <a:lnTo>
                        <a:pt x="45" y="128"/>
                      </a:lnTo>
                      <a:lnTo>
                        <a:pt x="46" y="132"/>
                      </a:lnTo>
                      <a:lnTo>
                        <a:pt x="44" y="134"/>
                      </a:lnTo>
                      <a:lnTo>
                        <a:pt x="41" y="135"/>
                      </a:lnTo>
                      <a:lnTo>
                        <a:pt x="37" y="135"/>
                      </a:lnTo>
                      <a:lnTo>
                        <a:pt x="31" y="133"/>
                      </a:lnTo>
                      <a:lnTo>
                        <a:pt x="26" y="133"/>
                      </a:lnTo>
                      <a:lnTo>
                        <a:pt x="21" y="134"/>
                      </a:lnTo>
                      <a:lnTo>
                        <a:pt x="17" y="136"/>
                      </a:lnTo>
                      <a:lnTo>
                        <a:pt x="14" y="140"/>
                      </a:lnTo>
                      <a:lnTo>
                        <a:pt x="12" y="145"/>
                      </a:lnTo>
                      <a:lnTo>
                        <a:pt x="9" y="155"/>
                      </a:lnTo>
                      <a:lnTo>
                        <a:pt x="8" y="165"/>
                      </a:lnTo>
                      <a:lnTo>
                        <a:pt x="8" y="172"/>
                      </a:lnTo>
                      <a:lnTo>
                        <a:pt x="9" y="179"/>
                      </a:lnTo>
                      <a:lnTo>
                        <a:pt x="9" y="186"/>
                      </a:lnTo>
                      <a:lnTo>
                        <a:pt x="9" y="192"/>
                      </a:lnTo>
                      <a:lnTo>
                        <a:pt x="12" y="198"/>
                      </a:lnTo>
                      <a:lnTo>
                        <a:pt x="13" y="199"/>
                      </a:lnTo>
                      <a:lnTo>
                        <a:pt x="16" y="200"/>
                      </a:lnTo>
                      <a:lnTo>
                        <a:pt x="18" y="203"/>
                      </a:lnTo>
                      <a:lnTo>
                        <a:pt x="19" y="204"/>
                      </a:lnTo>
                      <a:lnTo>
                        <a:pt x="21" y="210"/>
                      </a:lnTo>
                      <a:lnTo>
                        <a:pt x="22" y="212"/>
                      </a:lnTo>
                      <a:lnTo>
                        <a:pt x="21" y="215"/>
                      </a:lnTo>
                      <a:lnTo>
                        <a:pt x="17" y="216"/>
                      </a:lnTo>
                      <a:lnTo>
                        <a:pt x="14" y="217"/>
                      </a:lnTo>
                      <a:lnTo>
                        <a:pt x="13" y="218"/>
                      </a:lnTo>
                      <a:lnTo>
                        <a:pt x="12" y="234"/>
                      </a:lnTo>
                      <a:lnTo>
                        <a:pt x="9" y="245"/>
                      </a:lnTo>
                      <a:lnTo>
                        <a:pt x="5" y="256"/>
                      </a:lnTo>
                      <a:lnTo>
                        <a:pt x="0" y="268"/>
                      </a:lnTo>
                      <a:lnTo>
                        <a:pt x="2" y="269"/>
                      </a:lnTo>
                      <a:lnTo>
                        <a:pt x="3" y="271"/>
                      </a:lnTo>
                      <a:lnTo>
                        <a:pt x="4" y="277"/>
                      </a:lnTo>
                      <a:lnTo>
                        <a:pt x="5" y="283"/>
                      </a:lnTo>
                      <a:lnTo>
                        <a:pt x="7" y="289"/>
                      </a:lnTo>
                      <a:lnTo>
                        <a:pt x="8" y="292"/>
                      </a:lnTo>
                      <a:lnTo>
                        <a:pt x="12" y="294"/>
                      </a:lnTo>
                      <a:lnTo>
                        <a:pt x="12" y="295"/>
                      </a:lnTo>
                      <a:lnTo>
                        <a:pt x="12" y="299"/>
                      </a:lnTo>
                      <a:lnTo>
                        <a:pt x="11" y="301"/>
                      </a:lnTo>
                      <a:lnTo>
                        <a:pt x="11" y="305"/>
                      </a:lnTo>
                      <a:lnTo>
                        <a:pt x="16" y="318"/>
                      </a:lnTo>
                      <a:lnTo>
                        <a:pt x="18" y="324"/>
                      </a:lnTo>
                      <a:lnTo>
                        <a:pt x="22" y="330"/>
                      </a:lnTo>
                      <a:lnTo>
                        <a:pt x="23" y="332"/>
                      </a:lnTo>
                      <a:lnTo>
                        <a:pt x="24" y="334"/>
                      </a:lnTo>
                      <a:lnTo>
                        <a:pt x="26" y="337"/>
                      </a:lnTo>
                      <a:lnTo>
                        <a:pt x="24" y="340"/>
                      </a:lnTo>
                      <a:lnTo>
                        <a:pt x="23" y="346"/>
                      </a:lnTo>
                      <a:lnTo>
                        <a:pt x="24" y="351"/>
                      </a:lnTo>
                      <a:lnTo>
                        <a:pt x="26" y="356"/>
                      </a:lnTo>
                      <a:lnTo>
                        <a:pt x="27" y="359"/>
                      </a:lnTo>
                      <a:lnTo>
                        <a:pt x="27" y="363"/>
                      </a:lnTo>
                      <a:lnTo>
                        <a:pt x="24" y="371"/>
                      </a:lnTo>
                      <a:lnTo>
                        <a:pt x="31" y="372"/>
                      </a:lnTo>
                      <a:lnTo>
                        <a:pt x="37" y="372"/>
                      </a:lnTo>
                      <a:lnTo>
                        <a:pt x="51" y="372"/>
                      </a:lnTo>
                      <a:lnTo>
                        <a:pt x="52" y="371"/>
                      </a:lnTo>
                      <a:lnTo>
                        <a:pt x="54" y="369"/>
                      </a:lnTo>
                      <a:lnTo>
                        <a:pt x="55" y="365"/>
                      </a:lnTo>
                      <a:lnTo>
                        <a:pt x="58" y="360"/>
                      </a:lnTo>
                      <a:lnTo>
                        <a:pt x="59" y="356"/>
                      </a:lnTo>
                      <a:lnTo>
                        <a:pt x="60" y="351"/>
                      </a:lnTo>
                      <a:lnTo>
                        <a:pt x="63" y="347"/>
                      </a:lnTo>
                      <a:lnTo>
                        <a:pt x="66" y="345"/>
                      </a:lnTo>
                      <a:lnTo>
                        <a:pt x="70" y="344"/>
                      </a:lnTo>
                      <a:lnTo>
                        <a:pt x="75" y="341"/>
                      </a:lnTo>
                      <a:lnTo>
                        <a:pt x="79" y="338"/>
                      </a:lnTo>
                      <a:lnTo>
                        <a:pt x="87" y="326"/>
                      </a:lnTo>
                      <a:lnTo>
                        <a:pt x="91" y="318"/>
                      </a:lnTo>
                      <a:lnTo>
                        <a:pt x="94" y="309"/>
                      </a:lnTo>
                      <a:lnTo>
                        <a:pt x="97" y="302"/>
                      </a:lnTo>
                      <a:lnTo>
                        <a:pt x="97" y="295"/>
                      </a:lnTo>
                      <a:lnTo>
                        <a:pt x="97" y="293"/>
                      </a:lnTo>
                      <a:lnTo>
                        <a:pt x="96" y="289"/>
                      </a:lnTo>
                      <a:lnTo>
                        <a:pt x="93" y="288"/>
                      </a:lnTo>
                      <a:lnTo>
                        <a:pt x="91" y="286"/>
                      </a:lnTo>
                      <a:lnTo>
                        <a:pt x="91" y="283"/>
                      </a:lnTo>
                      <a:lnTo>
                        <a:pt x="91" y="281"/>
                      </a:lnTo>
                      <a:lnTo>
                        <a:pt x="96" y="277"/>
                      </a:lnTo>
                      <a:lnTo>
                        <a:pt x="102" y="276"/>
                      </a:lnTo>
                      <a:lnTo>
                        <a:pt x="107" y="274"/>
                      </a:lnTo>
                      <a:lnTo>
                        <a:pt x="112" y="271"/>
                      </a:lnTo>
                      <a:lnTo>
                        <a:pt x="115" y="268"/>
                      </a:lnTo>
                      <a:lnTo>
                        <a:pt x="115" y="266"/>
                      </a:lnTo>
                      <a:lnTo>
                        <a:pt x="115" y="263"/>
                      </a:lnTo>
                      <a:lnTo>
                        <a:pt x="112" y="262"/>
                      </a:lnTo>
                      <a:lnTo>
                        <a:pt x="110" y="261"/>
                      </a:lnTo>
                      <a:lnTo>
                        <a:pt x="106" y="260"/>
                      </a:lnTo>
                      <a:lnTo>
                        <a:pt x="101" y="261"/>
                      </a:lnTo>
                      <a:lnTo>
                        <a:pt x="99" y="262"/>
                      </a:lnTo>
                      <a:lnTo>
                        <a:pt x="97" y="261"/>
                      </a:lnTo>
                      <a:lnTo>
                        <a:pt x="97" y="260"/>
                      </a:lnTo>
                      <a:lnTo>
                        <a:pt x="97" y="258"/>
                      </a:lnTo>
                      <a:lnTo>
                        <a:pt x="99" y="257"/>
                      </a:lnTo>
                      <a:lnTo>
                        <a:pt x="103" y="257"/>
                      </a:lnTo>
                      <a:lnTo>
                        <a:pt x="107" y="257"/>
                      </a:lnTo>
                      <a:lnTo>
                        <a:pt x="111" y="258"/>
                      </a:lnTo>
                      <a:lnTo>
                        <a:pt x="115" y="260"/>
                      </a:lnTo>
                      <a:lnTo>
                        <a:pt x="116" y="260"/>
                      </a:lnTo>
                      <a:lnTo>
                        <a:pt x="117" y="261"/>
                      </a:lnTo>
                      <a:lnTo>
                        <a:pt x="118" y="263"/>
                      </a:lnTo>
                      <a:lnTo>
                        <a:pt x="118" y="267"/>
                      </a:lnTo>
                      <a:lnTo>
                        <a:pt x="121" y="269"/>
                      </a:lnTo>
                      <a:lnTo>
                        <a:pt x="122" y="266"/>
                      </a:lnTo>
                      <a:lnTo>
                        <a:pt x="125" y="263"/>
                      </a:lnTo>
                      <a:lnTo>
                        <a:pt x="127" y="261"/>
                      </a:lnTo>
                      <a:lnTo>
                        <a:pt x="132" y="261"/>
                      </a:lnTo>
                      <a:lnTo>
                        <a:pt x="134" y="261"/>
                      </a:lnTo>
                      <a:lnTo>
                        <a:pt x="132" y="258"/>
                      </a:lnTo>
                      <a:lnTo>
                        <a:pt x="131" y="256"/>
                      </a:lnTo>
                      <a:lnTo>
                        <a:pt x="131" y="254"/>
                      </a:lnTo>
                      <a:lnTo>
                        <a:pt x="134" y="249"/>
                      </a:lnTo>
                      <a:lnTo>
                        <a:pt x="135" y="245"/>
                      </a:lnTo>
                      <a:lnTo>
                        <a:pt x="135" y="243"/>
                      </a:lnTo>
                      <a:lnTo>
                        <a:pt x="135" y="242"/>
                      </a:lnTo>
                      <a:lnTo>
                        <a:pt x="132" y="241"/>
                      </a:lnTo>
                      <a:lnTo>
                        <a:pt x="129" y="241"/>
                      </a:lnTo>
                      <a:lnTo>
                        <a:pt x="127" y="238"/>
                      </a:lnTo>
                      <a:lnTo>
                        <a:pt x="125" y="236"/>
                      </a:lnTo>
                      <a:lnTo>
                        <a:pt x="117" y="236"/>
                      </a:lnTo>
                      <a:lnTo>
                        <a:pt x="113" y="235"/>
                      </a:lnTo>
                      <a:lnTo>
                        <a:pt x="111" y="232"/>
                      </a:lnTo>
                      <a:lnTo>
                        <a:pt x="106" y="219"/>
                      </a:lnTo>
                      <a:lnTo>
                        <a:pt x="103" y="204"/>
                      </a:lnTo>
                      <a:lnTo>
                        <a:pt x="103" y="197"/>
                      </a:lnTo>
                      <a:lnTo>
                        <a:pt x="103" y="190"/>
                      </a:lnTo>
                      <a:lnTo>
                        <a:pt x="106" y="183"/>
                      </a:lnTo>
                      <a:lnTo>
                        <a:pt x="108" y="175"/>
                      </a:lnTo>
                      <a:lnTo>
                        <a:pt x="110" y="174"/>
                      </a:lnTo>
                      <a:lnTo>
                        <a:pt x="111" y="173"/>
                      </a:lnTo>
                      <a:lnTo>
                        <a:pt x="115" y="173"/>
                      </a:lnTo>
                      <a:lnTo>
                        <a:pt x="118" y="173"/>
                      </a:lnTo>
                      <a:lnTo>
                        <a:pt x="121" y="173"/>
                      </a:lnTo>
                      <a:lnTo>
                        <a:pt x="125" y="165"/>
                      </a:lnTo>
                      <a:lnTo>
                        <a:pt x="127" y="162"/>
                      </a:lnTo>
                      <a:lnTo>
                        <a:pt x="132" y="161"/>
                      </a:lnTo>
                      <a:lnTo>
                        <a:pt x="140" y="159"/>
                      </a:lnTo>
                      <a:lnTo>
                        <a:pt x="143" y="158"/>
                      </a:lnTo>
                      <a:lnTo>
                        <a:pt x="144" y="156"/>
                      </a:lnTo>
                      <a:lnTo>
                        <a:pt x="146" y="151"/>
                      </a:lnTo>
                      <a:lnTo>
                        <a:pt x="149" y="148"/>
                      </a:lnTo>
                      <a:lnTo>
                        <a:pt x="150" y="148"/>
                      </a:lnTo>
                      <a:lnTo>
                        <a:pt x="154" y="147"/>
                      </a:lnTo>
                      <a:lnTo>
                        <a:pt x="158" y="146"/>
                      </a:lnTo>
                      <a:lnTo>
                        <a:pt x="162" y="141"/>
                      </a:lnTo>
                      <a:lnTo>
                        <a:pt x="165" y="136"/>
                      </a:lnTo>
                      <a:lnTo>
                        <a:pt x="169" y="132"/>
                      </a:lnTo>
                      <a:lnTo>
                        <a:pt x="173" y="129"/>
                      </a:lnTo>
                      <a:lnTo>
                        <a:pt x="174" y="128"/>
                      </a:lnTo>
                      <a:lnTo>
                        <a:pt x="174" y="127"/>
                      </a:lnTo>
                      <a:lnTo>
                        <a:pt x="172" y="120"/>
                      </a:lnTo>
                      <a:lnTo>
                        <a:pt x="172" y="113"/>
                      </a:lnTo>
                      <a:lnTo>
                        <a:pt x="176" y="107"/>
                      </a:lnTo>
                      <a:lnTo>
                        <a:pt x="182" y="101"/>
                      </a:lnTo>
                      <a:lnTo>
                        <a:pt x="186" y="96"/>
                      </a:lnTo>
                      <a:lnTo>
                        <a:pt x="188" y="94"/>
                      </a:lnTo>
                      <a:lnTo>
                        <a:pt x="191" y="91"/>
                      </a:lnTo>
                      <a:lnTo>
                        <a:pt x="192" y="91"/>
                      </a:lnTo>
                      <a:lnTo>
                        <a:pt x="195" y="92"/>
                      </a:lnTo>
                      <a:lnTo>
                        <a:pt x="196" y="94"/>
                      </a:lnTo>
                      <a:lnTo>
                        <a:pt x="198" y="94"/>
                      </a:lnTo>
                      <a:lnTo>
                        <a:pt x="200" y="92"/>
                      </a:lnTo>
                      <a:lnTo>
                        <a:pt x="201" y="90"/>
                      </a:lnTo>
                      <a:lnTo>
                        <a:pt x="204" y="88"/>
                      </a:lnTo>
                      <a:lnTo>
                        <a:pt x="205" y="87"/>
                      </a:lnTo>
                      <a:lnTo>
                        <a:pt x="206" y="88"/>
                      </a:lnTo>
                      <a:lnTo>
                        <a:pt x="207" y="89"/>
                      </a:lnTo>
                      <a:lnTo>
                        <a:pt x="209" y="90"/>
                      </a:lnTo>
                      <a:lnTo>
                        <a:pt x="211" y="91"/>
                      </a:lnTo>
                      <a:lnTo>
                        <a:pt x="214" y="92"/>
                      </a:lnTo>
                      <a:lnTo>
                        <a:pt x="216" y="91"/>
                      </a:lnTo>
                      <a:lnTo>
                        <a:pt x="221" y="8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0" name="Freeform 1259">
                  <a:extLst>
                    <a:ext uri="{FF2B5EF4-FFF2-40B4-BE49-F238E27FC236}">
                      <a16:creationId xmlns:a16="http://schemas.microsoft.com/office/drawing/2014/main" id="{108CA59A-BCC8-7649-953D-97C8E5BC7B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9964" y="2768525"/>
                  <a:ext cx="28117" cy="48835"/>
                </a:xfrm>
                <a:custGeom>
                  <a:avLst/>
                  <a:gdLst>
                    <a:gd name="T0" fmla="*/ 2147483647 w 20"/>
                    <a:gd name="T1" fmla="*/ 2147483647 h 33"/>
                    <a:gd name="T2" fmla="*/ 2147483647 w 20"/>
                    <a:gd name="T3" fmla="*/ 2147483647 h 33"/>
                    <a:gd name="T4" fmla="*/ 2147483647 w 20"/>
                    <a:gd name="T5" fmla="*/ 2147483647 h 33"/>
                    <a:gd name="T6" fmla="*/ 2147483647 w 20"/>
                    <a:gd name="T7" fmla="*/ 2147483647 h 33"/>
                    <a:gd name="T8" fmla="*/ 2147483647 w 20"/>
                    <a:gd name="T9" fmla="*/ 2147483647 h 33"/>
                    <a:gd name="T10" fmla="*/ 2147483647 w 20"/>
                    <a:gd name="T11" fmla="*/ 2147483647 h 33"/>
                    <a:gd name="T12" fmla="*/ 2147483647 w 20"/>
                    <a:gd name="T13" fmla="*/ 2147483647 h 33"/>
                    <a:gd name="T14" fmla="*/ 2147483647 w 20"/>
                    <a:gd name="T15" fmla="*/ 0 h 33"/>
                    <a:gd name="T16" fmla="*/ 2147483647 w 20"/>
                    <a:gd name="T17" fmla="*/ 0 h 33"/>
                    <a:gd name="T18" fmla="*/ 2147483647 w 20"/>
                    <a:gd name="T19" fmla="*/ 2147483647 h 33"/>
                    <a:gd name="T20" fmla="*/ 2147483647 w 20"/>
                    <a:gd name="T21" fmla="*/ 2147483647 h 33"/>
                    <a:gd name="T22" fmla="*/ 2147483647 w 20"/>
                    <a:gd name="T23" fmla="*/ 2147483647 h 33"/>
                    <a:gd name="T24" fmla="*/ 2147483647 w 20"/>
                    <a:gd name="T25" fmla="*/ 2147483647 h 33"/>
                    <a:gd name="T26" fmla="*/ 2147483647 w 20"/>
                    <a:gd name="T27" fmla="*/ 2147483647 h 33"/>
                    <a:gd name="T28" fmla="*/ 2147483647 w 20"/>
                    <a:gd name="T29" fmla="*/ 2147483647 h 33"/>
                    <a:gd name="T30" fmla="*/ 2147483647 w 20"/>
                    <a:gd name="T31" fmla="*/ 2147483647 h 33"/>
                    <a:gd name="T32" fmla="*/ 0 w 20"/>
                    <a:gd name="T33" fmla="*/ 2147483647 h 33"/>
                    <a:gd name="T34" fmla="*/ 2147483647 w 20"/>
                    <a:gd name="T35" fmla="*/ 2147483647 h 33"/>
                    <a:gd name="T36" fmla="*/ 2147483647 w 20"/>
                    <a:gd name="T37" fmla="*/ 2147483647 h 33"/>
                    <a:gd name="T38" fmla="*/ 2147483647 w 20"/>
                    <a:gd name="T39" fmla="*/ 2147483647 h 33"/>
                    <a:gd name="T40" fmla="*/ 2147483647 w 20"/>
                    <a:gd name="T41" fmla="*/ 2147483647 h 33"/>
                    <a:gd name="T42" fmla="*/ 2147483647 w 20"/>
                    <a:gd name="T43" fmla="*/ 2147483647 h 33"/>
                    <a:gd name="T44" fmla="*/ 2147483647 w 20"/>
                    <a:gd name="T45" fmla="*/ 2147483647 h 33"/>
                    <a:gd name="T46" fmla="*/ 2147483647 w 20"/>
                    <a:gd name="T47" fmla="*/ 2147483647 h 33"/>
                    <a:gd name="T48" fmla="*/ 2147483647 w 20"/>
                    <a:gd name="T49" fmla="*/ 2147483647 h 33"/>
                    <a:gd name="T50" fmla="*/ 2147483647 w 20"/>
                    <a:gd name="T51" fmla="*/ 2147483647 h 33"/>
                    <a:gd name="T52" fmla="*/ 2147483647 w 20"/>
                    <a:gd name="T53" fmla="*/ 2147483647 h 33"/>
                    <a:gd name="T54" fmla="*/ 2147483647 w 20"/>
                    <a:gd name="T55" fmla="*/ 2147483647 h 33"/>
                    <a:gd name="T56" fmla="*/ 2147483647 w 20"/>
                    <a:gd name="T57" fmla="*/ 2147483647 h 33"/>
                    <a:gd name="T58" fmla="*/ 2147483647 w 20"/>
                    <a:gd name="T59" fmla="*/ 2147483647 h 33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"/>
                    <a:gd name="T91" fmla="*/ 0 h 33"/>
                    <a:gd name="T92" fmla="*/ 20 w 20"/>
                    <a:gd name="T93" fmla="*/ 33 h 33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" h="33">
                      <a:moveTo>
                        <a:pt x="18" y="14"/>
                      </a:moveTo>
                      <a:lnTo>
                        <a:pt x="18" y="14"/>
                      </a:lnTo>
                      <a:lnTo>
                        <a:pt x="16" y="11"/>
                      </a:lnTo>
                      <a:lnTo>
                        <a:pt x="18" y="9"/>
                      </a:lnTo>
                      <a:lnTo>
                        <a:pt x="20" y="5"/>
                      </a:lnTo>
                      <a:lnTo>
                        <a:pt x="20" y="1"/>
                      </a:lnTo>
                      <a:lnTo>
                        <a:pt x="20" y="0"/>
                      </a:lnTo>
                      <a:lnTo>
                        <a:pt x="14" y="1"/>
                      </a:lnTo>
                      <a:lnTo>
                        <a:pt x="9" y="4"/>
                      </a:lnTo>
                      <a:lnTo>
                        <a:pt x="4" y="7"/>
                      </a:lnTo>
                      <a:lnTo>
                        <a:pt x="2" y="9"/>
                      </a:lnTo>
                      <a:lnTo>
                        <a:pt x="1" y="12"/>
                      </a:lnTo>
                      <a:lnTo>
                        <a:pt x="1" y="18"/>
                      </a:lnTo>
                      <a:lnTo>
                        <a:pt x="0" y="24"/>
                      </a:lnTo>
                      <a:lnTo>
                        <a:pt x="1" y="30"/>
                      </a:lnTo>
                      <a:lnTo>
                        <a:pt x="2" y="32"/>
                      </a:lnTo>
                      <a:lnTo>
                        <a:pt x="5" y="33"/>
                      </a:lnTo>
                      <a:lnTo>
                        <a:pt x="6" y="26"/>
                      </a:ln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3" y="20"/>
                      </a:lnTo>
                      <a:lnTo>
                        <a:pt x="15" y="18"/>
                      </a:lnTo>
                      <a:lnTo>
                        <a:pt x="18" y="15"/>
                      </a:lnTo>
                      <a:lnTo>
                        <a:pt x="18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1" name="Freeform 1260">
                  <a:extLst>
                    <a:ext uri="{FF2B5EF4-FFF2-40B4-BE49-F238E27FC236}">
                      <a16:creationId xmlns:a16="http://schemas.microsoft.com/office/drawing/2014/main" id="{FAE15B47-3581-224D-8C9A-C0FD7467FD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0138" y="2331959"/>
                  <a:ext cx="301894" cy="550512"/>
                </a:xfrm>
                <a:custGeom>
                  <a:avLst/>
                  <a:gdLst>
                    <a:gd name="T0" fmla="*/ 2147483647 w 221"/>
                    <a:gd name="T1" fmla="*/ 2147483647 h 372"/>
                    <a:gd name="T2" fmla="*/ 2147483647 w 221"/>
                    <a:gd name="T3" fmla="*/ 2147483647 h 372"/>
                    <a:gd name="T4" fmla="*/ 2147483647 w 221"/>
                    <a:gd name="T5" fmla="*/ 0 h 372"/>
                    <a:gd name="T6" fmla="*/ 2147483647 w 221"/>
                    <a:gd name="T7" fmla="*/ 2147483647 h 372"/>
                    <a:gd name="T8" fmla="*/ 2147483647 w 221"/>
                    <a:gd name="T9" fmla="*/ 2147483647 h 372"/>
                    <a:gd name="T10" fmla="*/ 2147483647 w 221"/>
                    <a:gd name="T11" fmla="*/ 2147483647 h 372"/>
                    <a:gd name="T12" fmla="*/ 2147483647 w 221"/>
                    <a:gd name="T13" fmla="*/ 2147483647 h 372"/>
                    <a:gd name="T14" fmla="*/ 2147483647 w 221"/>
                    <a:gd name="T15" fmla="*/ 2147483647 h 372"/>
                    <a:gd name="T16" fmla="*/ 2147483647 w 221"/>
                    <a:gd name="T17" fmla="*/ 2147483647 h 372"/>
                    <a:gd name="T18" fmla="*/ 2147483647 w 221"/>
                    <a:gd name="T19" fmla="*/ 2147483647 h 372"/>
                    <a:gd name="T20" fmla="*/ 2147483647 w 221"/>
                    <a:gd name="T21" fmla="*/ 2147483647 h 372"/>
                    <a:gd name="T22" fmla="*/ 2147483647 w 221"/>
                    <a:gd name="T23" fmla="*/ 2147483647 h 372"/>
                    <a:gd name="T24" fmla="*/ 2147483647 w 221"/>
                    <a:gd name="T25" fmla="*/ 2147483647 h 372"/>
                    <a:gd name="T26" fmla="*/ 2147483647 w 221"/>
                    <a:gd name="T27" fmla="*/ 2147483647 h 372"/>
                    <a:gd name="T28" fmla="*/ 2147483647 w 221"/>
                    <a:gd name="T29" fmla="*/ 2147483647 h 372"/>
                    <a:gd name="T30" fmla="*/ 2147483647 w 221"/>
                    <a:gd name="T31" fmla="*/ 2147483647 h 372"/>
                    <a:gd name="T32" fmla="*/ 2147483647 w 221"/>
                    <a:gd name="T33" fmla="*/ 2147483647 h 372"/>
                    <a:gd name="T34" fmla="*/ 2147483647 w 221"/>
                    <a:gd name="T35" fmla="*/ 2147483647 h 372"/>
                    <a:gd name="T36" fmla="*/ 2147483647 w 221"/>
                    <a:gd name="T37" fmla="*/ 2147483647 h 372"/>
                    <a:gd name="T38" fmla="*/ 0 w 221"/>
                    <a:gd name="T39" fmla="*/ 2147483647 h 372"/>
                    <a:gd name="T40" fmla="*/ 2147483647 w 221"/>
                    <a:gd name="T41" fmla="*/ 2147483647 h 372"/>
                    <a:gd name="T42" fmla="*/ 2147483647 w 221"/>
                    <a:gd name="T43" fmla="*/ 2147483647 h 372"/>
                    <a:gd name="T44" fmla="*/ 2147483647 w 221"/>
                    <a:gd name="T45" fmla="*/ 2147483647 h 372"/>
                    <a:gd name="T46" fmla="*/ 2147483647 w 221"/>
                    <a:gd name="T47" fmla="*/ 2147483647 h 372"/>
                    <a:gd name="T48" fmla="*/ 2147483647 w 221"/>
                    <a:gd name="T49" fmla="*/ 2147483647 h 372"/>
                    <a:gd name="T50" fmla="*/ 2147483647 w 221"/>
                    <a:gd name="T51" fmla="*/ 2147483647 h 372"/>
                    <a:gd name="T52" fmla="*/ 2147483647 w 221"/>
                    <a:gd name="T53" fmla="*/ 2147483647 h 372"/>
                    <a:gd name="T54" fmla="*/ 2147483647 w 221"/>
                    <a:gd name="T55" fmla="*/ 2147483647 h 372"/>
                    <a:gd name="T56" fmla="*/ 2147483647 w 221"/>
                    <a:gd name="T57" fmla="*/ 2147483647 h 372"/>
                    <a:gd name="T58" fmla="*/ 2147483647 w 221"/>
                    <a:gd name="T59" fmla="*/ 2147483647 h 372"/>
                    <a:gd name="T60" fmla="*/ 2147483647 w 221"/>
                    <a:gd name="T61" fmla="*/ 2147483647 h 372"/>
                    <a:gd name="T62" fmla="*/ 2147483647 w 221"/>
                    <a:gd name="T63" fmla="*/ 2147483647 h 372"/>
                    <a:gd name="T64" fmla="*/ 2147483647 w 221"/>
                    <a:gd name="T65" fmla="*/ 2147483647 h 372"/>
                    <a:gd name="T66" fmla="*/ 2147483647 w 221"/>
                    <a:gd name="T67" fmla="*/ 2147483647 h 372"/>
                    <a:gd name="T68" fmla="*/ 2147483647 w 221"/>
                    <a:gd name="T69" fmla="*/ 2147483647 h 372"/>
                    <a:gd name="T70" fmla="*/ 2147483647 w 221"/>
                    <a:gd name="T71" fmla="*/ 2147483647 h 372"/>
                    <a:gd name="T72" fmla="*/ 2147483647 w 221"/>
                    <a:gd name="T73" fmla="*/ 2147483647 h 372"/>
                    <a:gd name="T74" fmla="*/ 2147483647 w 221"/>
                    <a:gd name="T75" fmla="*/ 2147483647 h 372"/>
                    <a:gd name="T76" fmla="*/ 2147483647 w 221"/>
                    <a:gd name="T77" fmla="*/ 2147483647 h 372"/>
                    <a:gd name="T78" fmla="*/ 2147483647 w 221"/>
                    <a:gd name="T79" fmla="*/ 2147483647 h 372"/>
                    <a:gd name="T80" fmla="*/ 2147483647 w 221"/>
                    <a:gd name="T81" fmla="*/ 2147483647 h 372"/>
                    <a:gd name="T82" fmla="*/ 2147483647 w 221"/>
                    <a:gd name="T83" fmla="*/ 2147483647 h 372"/>
                    <a:gd name="T84" fmla="*/ 2147483647 w 221"/>
                    <a:gd name="T85" fmla="*/ 2147483647 h 372"/>
                    <a:gd name="T86" fmla="*/ 2147483647 w 221"/>
                    <a:gd name="T87" fmla="*/ 2147483647 h 372"/>
                    <a:gd name="T88" fmla="*/ 2147483647 w 221"/>
                    <a:gd name="T89" fmla="*/ 2147483647 h 372"/>
                    <a:gd name="T90" fmla="*/ 2147483647 w 221"/>
                    <a:gd name="T91" fmla="*/ 2147483647 h 372"/>
                    <a:gd name="T92" fmla="*/ 2147483647 w 221"/>
                    <a:gd name="T93" fmla="*/ 2147483647 h 372"/>
                    <a:gd name="T94" fmla="*/ 2147483647 w 221"/>
                    <a:gd name="T95" fmla="*/ 2147483647 h 372"/>
                    <a:gd name="T96" fmla="*/ 2147483647 w 221"/>
                    <a:gd name="T97" fmla="*/ 2147483647 h 372"/>
                    <a:gd name="T98" fmla="*/ 2147483647 w 221"/>
                    <a:gd name="T99" fmla="*/ 2147483647 h 372"/>
                    <a:gd name="T100" fmla="*/ 2147483647 w 221"/>
                    <a:gd name="T101" fmla="*/ 2147483647 h 372"/>
                    <a:gd name="T102" fmla="*/ 2147483647 w 221"/>
                    <a:gd name="T103" fmla="*/ 2147483647 h 372"/>
                    <a:gd name="T104" fmla="*/ 2147483647 w 221"/>
                    <a:gd name="T105" fmla="*/ 2147483647 h 372"/>
                    <a:gd name="T106" fmla="*/ 2147483647 w 221"/>
                    <a:gd name="T107" fmla="*/ 2147483647 h 372"/>
                    <a:gd name="T108" fmla="*/ 2147483647 w 221"/>
                    <a:gd name="T109" fmla="*/ 2147483647 h 372"/>
                    <a:gd name="T110" fmla="*/ 2147483647 w 221"/>
                    <a:gd name="T111" fmla="*/ 2147483647 h 372"/>
                    <a:gd name="T112" fmla="*/ 2147483647 w 221"/>
                    <a:gd name="T113" fmla="*/ 2147483647 h 372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21"/>
                    <a:gd name="T172" fmla="*/ 0 h 372"/>
                    <a:gd name="T173" fmla="*/ 221 w 221"/>
                    <a:gd name="T174" fmla="*/ 372 h 372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21" h="372">
                      <a:moveTo>
                        <a:pt x="221" y="89"/>
                      </a:moveTo>
                      <a:lnTo>
                        <a:pt x="221" y="89"/>
                      </a:lnTo>
                      <a:lnTo>
                        <a:pt x="219" y="78"/>
                      </a:lnTo>
                      <a:lnTo>
                        <a:pt x="217" y="67"/>
                      </a:lnTo>
                      <a:lnTo>
                        <a:pt x="216" y="46"/>
                      </a:lnTo>
                      <a:lnTo>
                        <a:pt x="215" y="37"/>
                      </a:lnTo>
                      <a:lnTo>
                        <a:pt x="213" y="29"/>
                      </a:lnTo>
                      <a:lnTo>
                        <a:pt x="210" y="23"/>
                      </a:lnTo>
                      <a:lnTo>
                        <a:pt x="208" y="21"/>
                      </a:lnTo>
                      <a:lnTo>
                        <a:pt x="205" y="20"/>
                      </a:lnTo>
                      <a:lnTo>
                        <a:pt x="185" y="13"/>
                      </a:lnTo>
                      <a:lnTo>
                        <a:pt x="175" y="7"/>
                      </a:lnTo>
                      <a:lnTo>
                        <a:pt x="164" y="0"/>
                      </a:lnTo>
                      <a:lnTo>
                        <a:pt x="158" y="7"/>
                      </a:lnTo>
                      <a:lnTo>
                        <a:pt x="152" y="14"/>
                      </a:lnTo>
                      <a:lnTo>
                        <a:pt x="149" y="16"/>
                      </a:lnTo>
                      <a:lnTo>
                        <a:pt x="146" y="18"/>
                      </a:lnTo>
                      <a:lnTo>
                        <a:pt x="142" y="18"/>
                      </a:lnTo>
                      <a:lnTo>
                        <a:pt x="139" y="16"/>
                      </a:lnTo>
                      <a:lnTo>
                        <a:pt x="133" y="15"/>
                      </a:lnTo>
                      <a:lnTo>
                        <a:pt x="128" y="15"/>
                      </a:lnTo>
                      <a:lnTo>
                        <a:pt x="125" y="15"/>
                      </a:lnTo>
                      <a:lnTo>
                        <a:pt x="121" y="18"/>
                      </a:lnTo>
                      <a:lnTo>
                        <a:pt x="117" y="22"/>
                      </a:lnTo>
                      <a:lnTo>
                        <a:pt x="113" y="26"/>
                      </a:lnTo>
                      <a:lnTo>
                        <a:pt x="104" y="31"/>
                      </a:lnTo>
                      <a:lnTo>
                        <a:pt x="94" y="35"/>
                      </a:lnTo>
                      <a:lnTo>
                        <a:pt x="84" y="40"/>
                      </a:lnTo>
                      <a:lnTo>
                        <a:pt x="81" y="42"/>
                      </a:lnTo>
                      <a:lnTo>
                        <a:pt x="79" y="45"/>
                      </a:lnTo>
                      <a:lnTo>
                        <a:pt x="78" y="51"/>
                      </a:lnTo>
                      <a:lnTo>
                        <a:pt x="75" y="56"/>
                      </a:lnTo>
                      <a:lnTo>
                        <a:pt x="71" y="60"/>
                      </a:lnTo>
                      <a:lnTo>
                        <a:pt x="66" y="64"/>
                      </a:lnTo>
                      <a:lnTo>
                        <a:pt x="65" y="65"/>
                      </a:lnTo>
                      <a:lnTo>
                        <a:pt x="64" y="67"/>
                      </a:lnTo>
                      <a:lnTo>
                        <a:pt x="64" y="72"/>
                      </a:lnTo>
                      <a:lnTo>
                        <a:pt x="61" y="76"/>
                      </a:lnTo>
                      <a:lnTo>
                        <a:pt x="57" y="78"/>
                      </a:lnTo>
                      <a:lnTo>
                        <a:pt x="52" y="79"/>
                      </a:lnTo>
                      <a:lnTo>
                        <a:pt x="48" y="83"/>
                      </a:lnTo>
                      <a:lnTo>
                        <a:pt x="47" y="86"/>
                      </a:lnTo>
                      <a:lnTo>
                        <a:pt x="46" y="102"/>
                      </a:lnTo>
                      <a:lnTo>
                        <a:pt x="43" y="109"/>
                      </a:lnTo>
                      <a:lnTo>
                        <a:pt x="39" y="116"/>
                      </a:lnTo>
                      <a:lnTo>
                        <a:pt x="39" y="118"/>
                      </a:lnTo>
                      <a:lnTo>
                        <a:pt x="41" y="121"/>
                      </a:lnTo>
                      <a:lnTo>
                        <a:pt x="45" y="128"/>
                      </a:lnTo>
                      <a:lnTo>
                        <a:pt x="46" y="131"/>
                      </a:lnTo>
                      <a:lnTo>
                        <a:pt x="43" y="134"/>
                      </a:lnTo>
                      <a:lnTo>
                        <a:pt x="41" y="135"/>
                      </a:lnTo>
                      <a:lnTo>
                        <a:pt x="37" y="135"/>
                      </a:lnTo>
                      <a:lnTo>
                        <a:pt x="31" y="133"/>
                      </a:lnTo>
                      <a:lnTo>
                        <a:pt x="25" y="133"/>
                      </a:lnTo>
                      <a:lnTo>
                        <a:pt x="20" y="134"/>
                      </a:lnTo>
                      <a:lnTo>
                        <a:pt x="17" y="136"/>
                      </a:lnTo>
                      <a:lnTo>
                        <a:pt x="14" y="140"/>
                      </a:lnTo>
                      <a:lnTo>
                        <a:pt x="12" y="144"/>
                      </a:lnTo>
                      <a:lnTo>
                        <a:pt x="9" y="155"/>
                      </a:lnTo>
                      <a:lnTo>
                        <a:pt x="8" y="165"/>
                      </a:lnTo>
                      <a:lnTo>
                        <a:pt x="8" y="172"/>
                      </a:lnTo>
                      <a:lnTo>
                        <a:pt x="9" y="179"/>
                      </a:lnTo>
                      <a:lnTo>
                        <a:pt x="9" y="186"/>
                      </a:lnTo>
                      <a:lnTo>
                        <a:pt x="9" y="192"/>
                      </a:lnTo>
                      <a:lnTo>
                        <a:pt x="12" y="198"/>
                      </a:lnTo>
                      <a:lnTo>
                        <a:pt x="13" y="199"/>
                      </a:lnTo>
                      <a:lnTo>
                        <a:pt x="15" y="200"/>
                      </a:lnTo>
                      <a:lnTo>
                        <a:pt x="18" y="203"/>
                      </a:lnTo>
                      <a:lnTo>
                        <a:pt x="19" y="204"/>
                      </a:lnTo>
                      <a:lnTo>
                        <a:pt x="20" y="210"/>
                      </a:lnTo>
                      <a:lnTo>
                        <a:pt x="22" y="212"/>
                      </a:lnTo>
                      <a:lnTo>
                        <a:pt x="20" y="214"/>
                      </a:lnTo>
                      <a:lnTo>
                        <a:pt x="17" y="216"/>
                      </a:lnTo>
                      <a:lnTo>
                        <a:pt x="14" y="217"/>
                      </a:lnTo>
                      <a:lnTo>
                        <a:pt x="13" y="218"/>
                      </a:lnTo>
                      <a:lnTo>
                        <a:pt x="12" y="233"/>
                      </a:lnTo>
                      <a:lnTo>
                        <a:pt x="9" y="245"/>
                      </a:lnTo>
                      <a:lnTo>
                        <a:pt x="5" y="256"/>
                      </a:lnTo>
                      <a:lnTo>
                        <a:pt x="0" y="268"/>
                      </a:lnTo>
                      <a:lnTo>
                        <a:pt x="1" y="269"/>
                      </a:lnTo>
                      <a:lnTo>
                        <a:pt x="3" y="271"/>
                      </a:lnTo>
                      <a:lnTo>
                        <a:pt x="4" y="277"/>
                      </a:lnTo>
                      <a:lnTo>
                        <a:pt x="5" y="283"/>
                      </a:lnTo>
                      <a:lnTo>
                        <a:pt x="6" y="289"/>
                      </a:lnTo>
                      <a:lnTo>
                        <a:pt x="8" y="291"/>
                      </a:lnTo>
                      <a:lnTo>
                        <a:pt x="12" y="294"/>
                      </a:lnTo>
                      <a:lnTo>
                        <a:pt x="12" y="295"/>
                      </a:lnTo>
                      <a:lnTo>
                        <a:pt x="12" y="299"/>
                      </a:lnTo>
                      <a:lnTo>
                        <a:pt x="10" y="301"/>
                      </a:lnTo>
                      <a:lnTo>
                        <a:pt x="10" y="304"/>
                      </a:lnTo>
                      <a:lnTo>
                        <a:pt x="15" y="318"/>
                      </a:lnTo>
                      <a:lnTo>
                        <a:pt x="18" y="323"/>
                      </a:lnTo>
                      <a:lnTo>
                        <a:pt x="22" y="329"/>
                      </a:lnTo>
                      <a:lnTo>
                        <a:pt x="23" y="332"/>
                      </a:lnTo>
                      <a:lnTo>
                        <a:pt x="24" y="334"/>
                      </a:lnTo>
                      <a:lnTo>
                        <a:pt x="25" y="336"/>
                      </a:lnTo>
                      <a:lnTo>
                        <a:pt x="24" y="340"/>
                      </a:lnTo>
                      <a:lnTo>
                        <a:pt x="23" y="346"/>
                      </a:lnTo>
                      <a:lnTo>
                        <a:pt x="24" y="351"/>
                      </a:lnTo>
                      <a:lnTo>
                        <a:pt x="25" y="355"/>
                      </a:lnTo>
                      <a:lnTo>
                        <a:pt x="27" y="359"/>
                      </a:lnTo>
                      <a:lnTo>
                        <a:pt x="27" y="363"/>
                      </a:lnTo>
                      <a:lnTo>
                        <a:pt x="24" y="371"/>
                      </a:lnTo>
                      <a:lnTo>
                        <a:pt x="31" y="372"/>
                      </a:lnTo>
                      <a:lnTo>
                        <a:pt x="37" y="372"/>
                      </a:lnTo>
                      <a:lnTo>
                        <a:pt x="51" y="372"/>
                      </a:lnTo>
                      <a:lnTo>
                        <a:pt x="52" y="371"/>
                      </a:lnTo>
                      <a:lnTo>
                        <a:pt x="53" y="368"/>
                      </a:lnTo>
                      <a:lnTo>
                        <a:pt x="55" y="365"/>
                      </a:lnTo>
                      <a:lnTo>
                        <a:pt x="57" y="360"/>
                      </a:lnTo>
                      <a:lnTo>
                        <a:pt x="59" y="355"/>
                      </a:lnTo>
                      <a:lnTo>
                        <a:pt x="60" y="351"/>
                      </a:lnTo>
                      <a:lnTo>
                        <a:pt x="62" y="347"/>
                      </a:lnTo>
                      <a:lnTo>
                        <a:pt x="66" y="345"/>
                      </a:lnTo>
                      <a:lnTo>
                        <a:pt x="70" y="344"/>
                      </a:lnTo>
                      <a:lnTo>
                        <a:pt x="75" y="341"/>
                      </a:lnTo>
                      <a:lnTo>
                        <a:pt x="79" y="338"/>
                      </a:lnTo>
                      <a:lnTo>
                        <a:pt x="86" y="326"/>
                      </a:lnTo>
                      <a:lnTo>
                        <a:pt x="90" y="318"/>
                      </a:lnTo>
                      <a:lnTo>
                        <a:pt x="94" y="309"/>
                      </a:lnTo>
                      <a:lnTo>
                        <a:pt x="97" y="302"/>
                      </a:lnTo>
                      <a:lnTo>
                        <a:pt x="97" y="295"/>
                      </a:lnTo>
                      <a:lnTo>
                        <a:pt x="97" y="293"/>
                      </a:lnTo>
                      <a:lnTo>
                        <a:pt x="95" y="289"/>
                      </a:lnTo>
                      <a:lnTo>
                        <a:pt x="93" y="288"/>
                      </a:lnTo>
                      <a:lnTo>
                        <a:pt x="90" y="286"/>
                      </a:lnTo>
                      <a:lnTo>
                        <a:pt x="90" y="283"/>
                      </a:lnTo>
                      <a:lnTo>
                        <a:pt x="90" y="281"/>
                      </a:lnTo>
                      <a:lnTo>
                        <a:pt x="95" y="277"/>
                      </a:lnTo>
                      <a:lnTo>
                        <a:pt x="102" y="276"/>
                      </a:lnTo>
                      <a:lnTo>
                        <a:pt x="107" y="274"/>
                      </a:lnTo>
                      <a:lnTo>
                        <a:pt x="112" y="271"/>
                      </a:lnTo>
                      <a:lnTo>
                        <a:pt x="114" y="268"/>
                      </a:lnTo>
                      <a:lnTo>
                        <a:pt x="114" y="265"/>
                      </a:lnTo>
                      <a:lnTo>
                        <a:pt x="114" y="263"/>
                      </a:lnTo>
                      <a:lnTo>
                        <a:pt x="112" y="262"/>
                      </a:lnTo>
                      <a:lnTo>
                        <a:pt x="109" y="261"/>
                      </a:lnTo>
                      <a:lnTo>
                        <a:pt x="105" y="259"/>
                      </a:lnTo>
                      <a:lnTo>
                        <a:pt x="100" y="261"/>
                      </a:lnTo>
                      <a:lnTo>
                        <a:pt x="99" y="262"/>
                      </a:lnTo>
                      <a:lnTo>
                        <a:pt x="97" y="261"/>
                      </a:lnTo>
                      <a:lnTo>
                        <a:pt x="97" y="259"/>
                      </a:lnTo>
                      <a:lnTo>
                        <a:pt x="97" y="258"/>
                      </a:lnTo>
                      <a:lnTo>
                        <a:pt x="99" y="257"/>
                      </a:lnTo>
                      <a:lnTo>
                        <a:pt x="103" y="257"/>
                      </a:lnTo>
                      <a:lnTo>
                        <a:pt x="107" y="257"/>
                      </a:lnTo>
                      <a:lnTo>
                        <a:pt x="111" y="258"/>
                      </a:lnTo>
                      <a:lnTo>
                        <a:pt x="114" y="259"/>
                      </a:lnTo>
                      <a:lnTo>
                        <a:pt x="116" y="259"/>
                      </a:lnTo>
                      <a:lnTo>
                        <a:pt x="117" y="261"/>
                      </a:lnTo>
                      <a:lnTo>
                        <a:pt x="118" y="263"/>
                      </a:lnTo>
                      <a:lnTo>
                        <a:pt x="118" y="267"/>
                      </a:lnTo>
                      <a:lnTo>
                        <a:pt x="121" y="269"/>
                      </a:lnTo>
                      <a:lnTo>
                        <a:pt x="122" y="265"/>
                      </a:lnTo>
                      <a:lnTo>
                        <a:pt x="125" y="263"/>
                      </a:lnTo>
                      <a:lnTo>
                        <a:pt x="127" y="261"/>
                      </a:lnTo>
                      <a:lnTo>
                        <a:pt x="132" y="261"/>
                      </a:lnTo>
                      <a:lnTo>
                        <a:pt x="133" y="261"/>
                      </a:lnTo>
                      <a:lnTo>
                        <a:pt x="132" y="258"/>
                      </a:lnTo>
                      <a:lnTo>
                        <a:pt x="131" y="256"/>
                      </a:lnTo>
                      <a:lnTo>
                        <a:pt x="131" y="253"/>
                      </a:lnTo>
                      <a:lnTo>
                        <a:pt x="133" y="249"/>
                      </a:lnTo>
                      <a:lnTo>
                        <a:pt x="135" y="245"/>
                      </a:lnTo>
                      <a:lnTo>
                        <a:pt x="135" y="243"/>
                      </a:lnTo>
                      <a:lnTo>
                        <a:pt x="135" y="242"/>
                      </a:lnTo>
                      <a:lnTo>
                        <a:pt x="132" y="240"/>
                      </a:lnTo>
                      <a:lnTo>
                        <a:pt x="128" y="240"/>
                      </a:lnTo>
                      <a:lnTo>
                        <a:pt x="127" y="238"/>
                      </a:lnTo>
                      <a:lnTo>
                        <a:pt x="125" y="236"/>
                      </a:lnTo>
                      <a:lnTo>
                        <a:pt x="117" y="236"/>
                      </a:lnTo>
                      <a:lnTo>
                        <a:pt x="113" y="235"/>
                      </a:lnTo>
                      <a:lnTo>
                        <a:pt x="111" y="232"/>
                      </a:lnTo>
                      <a:lnTo>
                        <a:pt x="105" y="219"/>
                      </a:lnTo>
                      <a:lnTo>
                        <a:pt x="103" y="204"/>
                      </a:lnTo>
                      <a:lnTo>
                        <a:pt x="103" y="197"/>
                      </a:lnTo>
                      <a:lnTo>
                        <a:pt x="103" y="189"/>
                      </a:lnTo>
                      <a:lnTo>
                        <a:pt x="105" y="182"/>
                      </a:lnTo>
                      <a:lnTo>
                        <a:pt x="108" y="175"/>
                      </a:lnTo>
                      <a:lnTo>
                        <a:pt x="109" y="174"/>
                      </a:lnTo>
                      <a:lnTo>
                        <a:pt x="111" y="173"/>
                      </a:lnTo>
                      <a:lnTo>
                        <a:pt x="114" y="173"/>
                      </a:lnTo>
                      <a:lnTo>
                        <a:pt x="118" y="173"/>
                      </a:lnTo>
                      <a:lnTo>
                        <a:pt x="121" y="173"/>
                      </a:lnTo>
                      <a:lnTo>
                        <a:pt x="125" y="165"/>
                      </a:lnTo>
                      <a:lnTo>
                        <a:pt x="127" y="162"/>
                      </a:lnTo>
                      <a:lnTo>
                        <a:pt x="132" y="161"/>
                      </a:lnTo>
                      <a:lnTo>
                        <a:pt x="140" y="159"/>
                      </a:lnTo>
                      <a:lnTo>
                        <a:pt x="142" y="157"/>
                      </a:lnTo>
                      <a:lnTo>
                        <a:pt x="144" y="156"/>
                      </a:lnTo>
                      <a:lnTo>
                        <a:pt x="146" y="150"/>
                      </a:lnTo>
                      <a:lnTo>
                        <a:pt x="149" y="148"/>
                      </a:lnTo>
                      <a:lnTo>
                        <a:pt x="150" y="148"/>
                      </a:lnTo>
                      <a:lnTo>
                        <a:pt x="154" y="147"/>
                      </a:lnTo>
                      <a:lnTo>
                        <a:pt x="158" y="146"/>
                      </a:lnTo>
                      <a:lnTo>
                        <a:pt x="161" y="141"/>
                      </a:lnTo>
                      <a:lnTo>
                        <a:pt x="165" y="136"/>
                      </a:lnTo>
                      <a:lnTo>
                        <a:pt x="169" y="131"/>
                      </a:lnTo>
                      <a:lnTo>
                        <a:pt x="173" y="129"/>
                      </a:lnTo>
                      <a:lnTo>
                        <a:pt x="174" y="128"/>
                      </a:lnTo>
                      <a:lnTo>
                        <a:pt x="174" y="127"/>
                      </a:lnTo>
                      <a:lnTo>
                        <a:pt x="172" y="120"/>
                      </a:lnTo>
                      <a:lnTo>
                        <a:pt x="172" y="112"/>
                      </a:lnTo>
                      <a:lnTo>
                        <a:pt x="175" y="106"/>
                      </a:lnTo>
                      <a:lnTo>
                        <a:pt x="182" y="101"/>
                      </a:lnTo>
                      <a:lnTo>
                        <a:pt x="185" y="96"/>
                      </a:lnTo>
                      <a:lnTo>
                        <a:pt x="188" y="93"/>
                      </a:lnTo>
                      <a:lnTo>
                        <a:pt x="191" y="91"/>
                      </a:lnTo>
                      <a:lnTo>
                        <a:pt x="192" y="91"/>
                      </a:lnTo>
                      <a:lnTo>
                        <a:pt x="194" y="92"/>
                      </a:lnTo>
                      <a:lnTo>
                        <a:pt x="196" y="93"/>
                      </a:lnTo>
                      <a:lnTo>
                        <a:pt x="198" y="93"/>
                      </a:lnTo>
                      <a:lnTo>
                        <a:pt x="199" y="92"/>
                      </a:lnTo>
                      <a:lnTo>
                        <a:pt x="201" y="90"/>
                      </a:lnTo>
                      <a:lnTo>
                        <a:pt x="203" y="88"/>
                      </a:lnTo>
                      <a:lnTo>
                        <a:pt x="205" y="86"/>
                      </a:lnTo>
                      <a:lnTo>
                        <a:pt x="206" y="88"/>
                      </a:lnTo>
                      <a:lnTo>
                        <a:pt x="207" y="89"/>
                      </a:lnTo>
                      <a:lnTo>
                        <a:pt x="208" y="90"/>
                      </a:lnTo>
                      <a:lnTo>
                        <a:pt x="211" y="91"/>
                      </a:lnTo>
                      <a:lnTo>
                        <a:pt x="213" y="92"/>
                      </a:lnTo>
                      <a:lnTo>
                        <a:pt x="216" y="91"/>
                      </a:lnTo>
                      <a:lnTo>
                        <a:pt x="221" y="8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2" name="Freeform 1261">
                  <a:extLst>
                    <a:ext uri="{FF2B5EF4-FFF2-40B4-BE49-F238E27FC236}">
                      <a16:creationId xmlns:a16="http://schemas.microsoft.com/office/drawing/2014/main" id="{E4434909-03F5-B548-A7B3-1882FE127A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6070" y="2223930"/>
                  <a:ext cx="22199" cy="17758"/>
                </a:xfrm>
                <a:custGeom>
                  <a:avLst/>
                  <a:gdLst>
                    <a:gd name="T0" fmla="*/ 2147483647 w 16"/>
                    <a:gd name="T1" fmla="*/ 2147483647 h 12"/>
                    <a:gd name="T2" fmla="*/ 2147483647 w 16"/>
                    <a:gd name="T3" fmla="*/ 2147483647 h 12"/>
                    <a:gd name="T4" fmla="*/ 2147483647 w 16"/>
                    <a:gd name="T5" fmla="*/ 2147483647 h 12"/>
                    <a:gd name="T6" fmla="*/ 2147483647 w 16"/>
                    <a:gd name="T7" fmla="*/ 2147483647 h 12"/>
                    <a:gd name="T8" fmla="*/ 2147483647 w 16"/>
                    <a:gd name="T9" fmla="*/ 2147483647 h 12"/>
                    <a:gd name="T10" fmla="*/ 2147483647 w 16"/>
                    <a:gd name="T11" fmla="*/ 2147483647 h 12"/>
                    <a:gd name="T12" fmla="*/ 2147483647 w 16"/>
                    <a:gd name="T13" fmla="*/ 2147483647 h 12"/>
                    <a:gd name="T14" fmla="*/ 2147483647 w 16"/>
                    <a:gd name="T15" fmla="*/ 2147483647 h 12"/>
                    <a:gd name="T16" fmla="*/ 0 w 16"/>
                    <a:gd name="T17" fmla="*/ 2147483647 h 12"/>
                    <a:gd name="T18" fmla="*/ 2147483647 w 16"/>
                    <a:gd name="T19" fmla="*/ 2147483647 h 12"/>
                    <a:gd name="T20" fmla="*/ 2147483647 w 16"/>
                    <a:gd name="T21" fmla="*/ 2147483647 h 12"/>
                    <a:gd name="T22" fmla="*/ 2147483647 w 16"/>
                    <a:gd name="T23" fmla="*/ 0 h 12"/>
                    <a:gd name="T24" fmla="*/ 2147483647 w 16"/>
                    <a:gd name="T25" fmla="*/ 0 h 12"/>
                    <a:gd name="T26" fmla="*/ 2147483647 w 16"/>
                    <a:gd name="T27" fmla="*/ 2147483647 h 12"/>
                    <a:gd name="T28" fmla="*/ 2147483647 w 16"/>
                    <a:gd name="T29" fmla="*/ 2147483647 h 1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6"/>
                    <a:gd name="T46" fmla="*/ 0 h 12"/>
                    <a:gd name="T47" fmla="*/ 16 w 16"/>
                    <a:gd name="T48" fmla="*/ 12 h 1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6" h="12">
                      <a:moveTo>
                        <a:pt x="16" y="6"/>
                      </a:moveTo>
                      <a:lnTo>
                        <a:pt x="16" y="9"/>
                      </a:lnTo>
                      <a:lnTo>
                        <a:pt x="14" y="11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8" y="11"/>
                      </a:lnTo>
                      <a:lnTo>
                        <a:pt x="3" y="9"/>
                      </a:lnTo>
                      <a:lnTo>
                        <a:pt x="2" y="8"/>
                      </a:lnTo>
                      <a:lnTo>
                        <a:pt x="0" y="5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13" y="2"/>
                      </a:lnTo>
                      <a:lnTo>
                        <a:pt x="1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3" name="Freeform 1262">
                  <a:extLst>
                    <a:ext uri="{FF2B5EF4-FFF2-40B4-BE49-F238E27FC236}">
                      <a16:creationId xmlns:a16="http://schemas.microsoft.com/office/drawing/2014/main" id="{9BA816FC-96AA-964E-BCBE-9D3F58409A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4363" y="2263889"/>
                  <a:ext cx="13318" cy="20718"/>
                </a:xfrm>
                <a:custGeom>
                  <a:avLst/>
                  <a:gdLst>
                    <a:gd name="T0" fmla="*/ 2147483647 w 10"/>
                    <a:gd name="T1" fmla="*/ 2147483647 h 14"/>
                    <a:gd name="T2" fmla="*/ 2147483647 w 10"/>
                    <a:gd name="T3" fmla="*/ 2147483647 h 14"/>
                    <a:gd name="T4" fmla="*/ 2147483647 w 10"/>
                    <a:gd name="T5" fmla="*/ 2147483647 h 14"/>
                    <a:gd name="T6" fmla="*/ 2147483647 w 10"/>
                    <a:gd name="T7" fmla="*/ 2147483647 h 14"/>
                    <a:gd name="T8" fmla="*/ 2147483647 w 10"/>
                    <a:gd name="T9" fmla="*/ 2147483647 h 14"/>
                    <a:gd name="T10" fmla="*/ 0 w 10"/>
                    <a:gd name="T11" fmla="*/ 2147483647 h 14"/>
                    <a:gd name="T12" fmla="*/ 0 w 10"/>
                    <a:gd name="T13" fmla="*/ 2147483647 h 14"/>
                    <a:gd name="T14" fmla="*/ 2147483647 w 10"/>
                    <a:gd name="T15" fmla="*/ 2147483647 h 14"/>
                    <a:gd name="T16" fmla="*/ 2147483647 w 10"/>
                    <a:gd name="T17" fmla="*/ 2147483647 h 14"/>
                    <a:gd name="T18" fmla="*/ 2147483647 w 10"/>
                    <a:gd name="T19" fmla="*/ 0 h 14"/>
                    <a:gd name="T20" fmla="*/ 2147483647 w 10"/>
                    <a:gd name="T21" fmla="*/ 2147483647 h 14"/>
                    <a:gd name="T22" fmla="*/ 2147483647 w 10"/>
                    <a:gd name="T23" fmla="*/ 2147483647 h 14"/>
                    <a:gd name="T24" fmla="*/ 2147483647 w 10"/>
                    <a:gd name="T25" fmla="*/ 2147483647 h 14"/>
                    <a:gd name="T26" fmla="*/ 2147483647 w 10"/>
                    <a:gd name="T27" fmla="*/ 2147483647 h 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"/>
                    <a:gd name="T43" fmla="*/ 0 h 14"/>
                    <a:gd name="T44" fmla="*/ 10 w 10"/>
                    <a:gd name="T45" fmla="*/ 14 h 1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" h="14">
                      <a:moveTo>
                        <a:pt x="9" y="9"/>
                      </a:moveTo>
                      <a:lnTo>
                        <a:pt x="7" y="11"/>
                      </a:lnTo>
                      <a:lnTo>
                        <a:pt x="5" y="14"/>
                      </a:lnTo>
                      <a:lnTo>
                        <a:pt x="2" y="14"/>
                      </a:lnTo>
                      <a:lnTo>
                        <a:pt x="1" y="13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1" y="3"/>
                      </a:ln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10" y="2"/>
                      </a:lnTo>
                      <a:lnTo>
                        <a:pt x="10" y="5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4" name="Freeform 1263">
                  <a:extLst>
                    <a:ext uri="{FF2B5EF4-FFF2-40B4-BE49-F238E27FC236}">
                      <a16:creationId xmlns:a16="http://schemas.microsoft.com/office/drawing/2014/main" id="{AC258346-4D16-6B45-856C-AA23CD258A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4593" y="2222449"/>
                  <a:ext cx="20718" cy="17758"/>
                </a:xfrm>
                <a:custGeom>
                  <a:avLst/>
                  <a:gdLst>
                    <a:gd name="T0" fmla="*/ 2147483647 w 15"/>
                    <a:gd name="T1" fmla="*/ 2147483647 h 12"/>
                    <a:gd name="T2" fmla="*/ 2147483647 w 15"/>
                    <a:gd name="T3" fmla="*/ 2147483647 h 12"/>
                    <a:gd name="T4" fmla="*/ 2147483647 w 15"/>
                    <a:gd name="T5" fmla="*/ 2147483647 h 12"/>
                    <a:gd name="T6" fmla="*/ 2147483647 w 15"/>
                    <a:gd name="T7" fmla="*/ 2147483647 h 12"/>
                    <a:gd name="T8" fmla="*/ 2147483647 w 15"/>
                    <a:gd name="T9" fmla="*/ 2147483647 h 12"/>
                    <a:gd name="T10" fmla="*/ 2147483647 w 15"/>
                    <a:gd name="T11" fmla="*/ 2147483647 h 12"/>
                    <a:gd name="T12" fmla="*/ 2147483647 w 15"/>
                    <a:gd name="T13" fmla="*/ 2147483647 h 12"/>
                    <a:gd name="T14" fmla="*/ 2147483647 w 15"/>
                    <a:gd name="T15" fmla="*/ 2147483647 h 12"/>
                    <a:gd name="T16" fmla="*/ 2147483647 w 15"/>
                    <a:gd name="T17" fmla="*/ 2147483647 h 12"/>
                    <a:gd name="T18" fmla="*/ 2147483647 w 15"/>
                    <a:gd name="T19" fmla="*/ 2147483647 h 12"/>
                    <a:gd name="T20" fmla="*/ 0 w 15"/>
                    <a:gd name="T21" fmla="*/ 2147483647 h 12"/>
                    <a:gd name="T22" fmla="*/ 2147483647 w 15"/>
                    <a:gd name="T23" fmla="*/ 2147483647 h 12"/>
                    <a:gd name="T24" fmla="*/ 2147483647 w 15"/>
                    <a:gd name="T25" fmla="*/ 2147483647 h 12"/>
                    <a:gd name="T26" fmla="*/ 2147483647 w 15"/>
                    <a:gd name="T27" fmla="*/ 2147483647 h 12"/>
                    <a:gd name="T28" fmla="*/ 2147483647 w 15"/>
                    <a:gd name="T29" fmla="*/ 0 h 12"/>
                    <a:gd name="T30" fmla="*/ 2147483647 w 15"/>
                    <a:gd name="T31" fmla="*/ 0 h 12"/>
                    <a:gd name="T32" fmla="*/ 2147483647 w 15"/>
                    <a:gd name="T33" fmla="*/ 2147483647 h 12"/>
                    <a:gd name="T34" fmla="*/ 2147483647 w 15"/>
                    <a:gd name="T35" fmla="*/ 2147483647 h 12"/>
                    <a:gd name="T36" fmla="*/ 2147483647 w 15"/>
                    <a:gd name="T37" fmla="*/ 2147483647 h 1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"/>
                    <a:gd name="T58" fmla="*/ 0 h 12"/>
                    <a:gd name="T59" fmla="*/ 15 w 15"/>
                    <a:gd name="T60" fmla="*/ 12 h 1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" h="12">
                      <a:moveTo>
                        <a:pt x="15" y="6"/>
                      </a:moveTo>
                      <a:lnTo>
                        <a:pt x="15" y="6"/>
                      </a:lnTo>
                      <a:lnTo>
                        <a:pt x="15" y="9"/>
                      </a:lnTo>
                      <a:lnTo>
                        <a:pt x="14" y="11"/>
                      </a:lnTo>
                      <a:lnTo>
                        <a:pt x="13" y="11"/>
                      </a:lnTo>
                      <a:lnTo>
                        <a:pt x="10" y="12"/>
                      </a:lnTo>
                      <a:lnTo>
                        <a:pt x="8" y="11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3" y="1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13" y="1"/>
                      </a:lnTo>
                      <a:lnTo>
                        <a:pt x="15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5" name="Freeform 1264">
                  <a:extLst>
                    <a:ext uri="{FF2B5EF4-FFF2-40B4-BE49-F238E27FC236}">
                      <a16:creationId xmlns:a16="http://schemas.microsoft.com/office/drawing/2014/main" id="{99A0D254-0FCB-B14A-A586-779B653C08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1401" y="2260929"/>
                  <a:ext cx="14799" cy="22199"/>
                </a:xfrm>
                <a:custGeom>
                  <a:avLst/>
                  <a:gdLst>
                    <a:gd name="T0" fmla="*/ 2147483647 w 11"/>
                    <a:gd name="T1" fmla="*/ 2147483647 h 15"/>
                    <a:gd name="T2" fmla="*/ 2147483647 w 11"/>
                    <a:gd name="T3" fmla="*/ 2147483647 h 15"/>
                    <a:gd name="T4" fmla="*/ 2147483647 w 11"/>
                    <a:gd name="T5" fmla="*/ 2147483647 h 15"/>
                    <a:gd name="T6" fmla="*/ 2147483647 w 11"/>
                    <a:gd name="T7" fmla="*/ 2147483647 h 15"/>
                    <a:gd name="T8" fmla="*/ 2147483647 w 11"/>
                    <a:gd name="T9" fmla="*/ 2147483647 h 15"/>
                    <a:gd name="T10" fmla="*/ 2147483647 w 11"/>
                    <a:gd name="T11" fmla="*/ 2147483647 h 15"/>
                    <a:gd name="T12" fmla="*/ 2147483647 w 11"/>
                    <a:gd name="T13" fmla="*/ 2147483647 h 15"/>
                    <a:gd name="T14" fmla="*/ 0 w 11"/>
                    <a:gd name="T15" fmla="*/ 2147483647 h 15"/>
                    <a:gd name="T16" fmla="*/ 0 w 11"/>
                    <a:gd name="T17" fmla="*/ 2147483647 h 15"/>
                    <a:gd name="T18" fmla="*/ 2147483647 w 11"/>
                    <a:gd name="T19" fmla="*/ 2147483647 h 15"/>
                    <a:gd name="T20" fmla="*/ 2147483647 w 11"/>
                    <a:gd name="T21" fmla="*/ 2147483647 h 15"/>
                    <a:gd name="T22" fmla="*/ 2147483647 w 11"/>
                    <a:gd name="T23" fmla="*/ 2147483647 h 15"/>
                    <a:gd name="T24" fmla="*/ 2147483647 w 11"/>
                    <a:gd name="T25" fmla="*/ 0 h 15"/>
                    <a:gd name="T26" fmla="*/ 2147483647 w 11"/>
                    <a:gd name="T27" fmla="*/ 2147483647 h 15"/>
                    <a:gd name="T28" fmla="*/ 2147483647 w 11"/>
                    <a:gd name="T29" fmla="*/ 2147483647 h 15"/>
                    <a:gd name="T30" fmla="*/ 2147483647 w 11"/>
                    <a:gd name="T31" fmla="*/ 2147483647 h 15"/>
                    <a:gd name="T32" fmla="*/ 2147483647 w 11"/>
                    <a:gd name="T33" fmla="*/ 2147483647 h 15"/>
                    <a:gd name="T34" fmla="*/ 2147483647 w 11"/>
                    <a:gd name="T35" fmla="*/ 2147483647 h 1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1"/>
                    <a:gd name="T55" fmla="*/ 0 h 15"/>
                    <a:gd name="T56" fmla="*/ 11 w 11"/>
                    <a:gd name="T57" fmla="*/ 15 h 1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1" h="15">
                      <a:moveTo>
                        <a:pt x="9" y="10"/>
                      </a:move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5" y="15"/>
                      </a:lnTo>
                      <a:lnTo>
                        <a:pt x="3" y="15"/>
                      </a:lnTo>
                      <a:lnTo>
                        <a:pt x="2" y="13"/>
                      </a:lnTo>
                      <a:lnTo>
                        <a:pt x="0" y="10"/>
                      </a:lnTo>
                      <a:lnTo>
                        <a:pt x="0" y="7"/>
                      </a:lnTo>
                      <a:lnTo>
                        <a:pt x="2" y="4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11" y="3"/>
                      </a:lnTo>
                      <a:lnTo>
                        <a:pt x="11" y="6"/>
                      </a:lnTo>
                      <a:lnTo>
                        <a:pt x="9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6" name="Freeform 1265">
                  <a:extLst>
                    <a:ext uri="{FF2B5EF4-FFF2-40B4-BE49-F238E27FC236}">
                      <a16:creationId xmlns:a16="http://schemas.microsoft.com/office/drawing/2014/main" id="{98C67EB3-34BF-914D-A679-3F257940F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3195" y="2247610"/>
                  <a:ext cx="31078" cy="20718"/>
                </a:xfrm>
                <a:custGeom>
                  <a:avLst/>
                  <a:gdLst>
                    <a:gd name="T0" fmla="*/ 2147483647 w 23"/>
                    <a:gd name="T1" fmla="*/ 2147483647 h 14"/>
                    <a:gd name="T2" fmla="*/ 2147483647 w 23"/>
                    <a:gd name="T3" fmla="*/ 2147483647 h 14"/>
                    <a:gd name="T4" fmla="*/ 2147483647 w 23"/>
                    <a:gd name="T5" fmla="*/ 2147483647 h 14"/>
                    <a:gd name="T6" fmla="*/ 2147483647 w 23"/>
                    <a:gd name="T7" fmla="*/ 0 h 14"/>
                    <a:gd name="T8" fmla="*/ 2147483647 w 23"/>
                    <a:gd name="T9" fmla="*/ 2147483647 h 14"/>
                    <a:gd name="T10" fmla="*/ 2147483647 w 23"/>
                    <a:gd name="T11" fmla="*/ 2147483647 h 14"/>
                    <a:gd name="T12" fmla="*/ 2147483647 w 23"/>
                    <a:gd name="T13" fmla="*/ 2147483647 h 14"/>
                    <a:gd name="T14" fmla="*/ 2147483647 w 23"/>
                    <a:gd name="T15" fmla="*/ 2147483647 h 14"/>
                    <a:gd name="T16" fmla="*/ 0 w 23"/>
                    <a:gd name="T17" fmla="*/ 2147483647 h 14"/>
                    <a:gd name="T18" fmla="*/ 2147483647 w 23"/>
                    <a:gd name="T19" fmla="*/ 2147483647 h 14"/>
                    <a:gd name="T20" fmla="*/ 2147483647 w 23"/>
                    <a:gd name="T21" fmla="*/ 2147483647 h 14"/>
                    <a:gd name="T22" fmla="*/ 2147483647 w 23"/>
                    <a:gd name="T23" fmla="*/ 2147483647 h 14"/>
                    <a:gd name="T24" fmla="*/ 2147483647 w 23"/>
                    <a:gd name="T25" fmla="*/ 2147483647 h 14"/>
                    <a:gd name="T26" fmla="*/ 2147483647 w 23"/>
                    <a:gd name="T27" fmla="*/ 2147483647 h 14"/>
                    <a:gd name="T28" fmla="*/ 2147483647 w 23"/>
                    <a:gd name="T29" fmla="*/ 2147483647 h 14"/>
                    <a:gd name="T30" fmla="*/ 2147483647 w 23"/>
                    <a:gd name="T31" fmla="*/ 2147483647 h 14"/>
                    <a:gd name="T32" fmla="*/ 2147483647 w 23"/>
                    <a:gd name="T33" fmla="*/ 2147483647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3"/>
                    <a:gd name="T52" fmla="*/ 0 h 14"/>
                    <a:gd name="T53" fmla="*/ 23 w 23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3" h="14">
                      <a:moveTo>
                        <a:pt x="23" y="8"/>
                      </a:moveTo>
                      <a:lnTo>
                        <a:pt x="21" y="3"/>
                      </a:lnTo>
                      <a:lnTo>
                        <a:pt x="21" y="2"/>
                      </a:lnTo>
                      <a:lnTo>
                        <a:pt x="20" y="0"/>
                      </a:lnTo>
                      <a:lnTo>
                        <a:pt x="13" y="2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2" y="6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6" y="9"/>
                      </a:lnTo>
                      <a:lnTo>
                        <a:pt x="9" y="9"/>
                      </a:lnTo>
                      <a:lnTo>
                        <a:pt x="16" y="14"/>
                      </a:lnTo>
                      <a:lnTo>
                        <a:pt x="18" y="14"/>
                      </a:lnTo>
                      <a:lnTo>
                        <a:pt x="21" y="13"/>
                      </a:lnTo>
                      <a:lnTo>
                        <a:pt x="22" y="11"/>
                      </a:lnTo>
                      <a:lnTo>
                        <a:pt x="23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7" name="Freeform 1266">
                  <a:extLst>
                    <a:ext uri="{FF2B5EF4-FFF2-40B4-BE49-F238E27FC236}">
                      <a16:creationId xmlns:a16="http://schemas.microsoft.com/office/drawing/2014/main" id="{FBEDB65B-3F65-ED43-93FC-56804DC78B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5887" y="2266845"/>
                  <a:ext cx="31077" cy="36997"/>
                </a:xfrm>
                <a:custGeom>
                  <a:avLst/>
                  <a:gdLst>
                    <a:gd name="T0" fmla="*/ 2147483647 w 23"/>
                    <a:gd name="T1" fmla="*/ 2147483647 h 25"/>
                    <a:gd name="T2" fmla="*/ 2147483647 w 23"/>
                    <a:gd name="T3" fmla="*/ 2147483647 h 25"/>
                    <a:gd name="T4" fmla="*/ 2147483647 w 23"/>
                    <a:gd name="T5" fmla="*/ 2147483647 h 25"/>
                    <a:gd name="T6" fmla="*/ 2147483647 w 23"/>
                    <a:gd name="T7" fmla="*/ 2147483647 h 25"/>
                    <a:gd name="T8" fmla="*/ 2147483647 w 23"/>
                    <a:gd name="T9" fmla="*/ 2147483647 h 25"/>
                    <a:gd name="T10" fmla="*/ 2147483647 w 23"/>
                    <a:gd name="T11" fmla="*/ 2147483647 h 25"/>
                    <a:gd name="T12" fmla="*/ 2147483647 w 23"/>
                    <a:gd name="T13" fmla="*/ 0 h 25"/>
                    <a:gd name="T14" fmla="*/ 2147483647 w 23"/>
                    <a:gd name="T15" fmla="*/ 0 h 25"/>
                    <a:gd name="T16" fmla="*/ 2147483647 w 23"/>
                    <a:gd name="T17" fmla="*/ 2147483647 h 25"/>
                    <a:gd name="T18" fmla="*/ 2147483647 w 23"/>
                    <a:gd name="T19" fmla="*/ 2147483647 h 25"/>
                    <a:gd name="T20" fmla="*/ 2147483647 w 23"/>
                    <a:gd name="T21" fmla="*/ 2147483647 h 25"/>
                    <a:gd name="T22" fmla="*/ 2147483647 w 23"/>
                    <a:gd name="T23" fmla="*/ 2147483647 h 25"/>
                    <a:gd name="T24" fmla="*/ 2147483647 w 23"/>
                    <a:gd name="T25" fmla="*/ 2147483647 h 25"/>
                    <a:gd name="T26" fmla="*/ 2147483647 w 23"/>
                    <a:gd name="T27" fmla="*/ 2147483647 h 25"/>
                    <a:gd name="T28" fmla="*/ 2147483647 w 23"/>
                    <a:gd name="T29" fmla="*/ 2147483647 h 25"/>
                    <a:gd name="T30" fmla="*/ 0 w 23"/>
                    <a:gd name="T31" fmla="*/ 2147483647 h 25"/>
                    <a:gd name="T32" fmla="*/ 0 w 23"/>
                    <a:gd name="T33" fmla="*/ 2147483647 h 25"/>
                    <a:gd name="T34" fmla="*/ 2147483647 w 23"/>
                    <a:gd name="T35" fmla="*/ 2147483647 h 25"/>
                    <a:gd name="T36" fmla="*/ 2147483647 w 23"/>
                    <a:gd name="T37" fmla="*/ 2147483647 h 25"/>
                    <a:gd name="T38" fmla="*/ 2147483647 w 23"/>
                    <a:gd name="T39" fmla="*/ 2147483647 h 25"/>
                    <a:gd name="T40" fmla="*/ 2147483647 w 23"/>
                    <a:gd name="T41" fmla="*/ 2147483647 h 25"/>
                    <a:gd name="T42" fmla="*/ 2147483647 w 23"/>
                    <a:gd name="T43" fmla="*/ 2147483647 h 2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3"/>
                    <a:gd name="T67" fmla="*/ 0 h 25"/>
                    <a:gd name="T68" fmla="*/ 23 w 23"/>
                    <a:gd name="T69" fmla="*/ 25 h 2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3" h="25">
                      <a:moveTo>
                        <a:pt x="18" y="15"/>
                      </a:moveTo>
                      <a:lnTo>
                        <a:pt x="21" y="13"/>
                      </a:lnTo>
                      <a:lnTo>
                        <a:pt x="23" y="9"/>
                      </a:lnTo>
                      <a:lnTo>
                        <a:pt x="23" y="7"/>
                      </a:lnTo>
                      <a:lnTo>
                        <a:pt x="21" y="3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5" y="2"/>
                      </a:lnTo>
                      <a:lnTo>
                        <a:pt x="14" y="6"/>
                      </a:lnTo>
                      <a:lnTo>
                        <a:pt x="14" y="9"/>
                      </a:lnTo>
                      <a:lnTo>
                        <a:pt x="12" y="12"/>
                      </a:lnTo>
                      <a:lnTo>
                        <a:pt x="10" y="13"/>
                      </a:lnTo>
                      <a:lnTo>
                        <a:pt x="5" y="17"/>
                      </a:lnTo>
                      <a:lnTo>
                        <a:pt x="1" y="19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2" y="24"/>
                      </a:lnTo>
                      <a:lnTo>
                        <a:pt x="4" y="25"/>
                      </a:lnTo>
                      <a:lnTo>
                        <a:pt x="9" y="22"/>
                      </a:lnTo>
                      <a:lnTo>
                        <a:pt x="14" y="19"/>
                      </a:lnTo>
                      <a:lnTo>
                        <a:pt x="18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8" name="Freeform 1267">
                  <a:extLst>
                    <a:ext uri="{FF2B5EF4-FFF2-40B4-BE49-F238E27FC236}">
                      <a16:creationId xmlns:a16="http://schemas.microsoft.com/office/drawing/2014/main" id="{A0D9D137-08B9-E94D-8731-6052CE1610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1720" y="2246130"/>
                  <a:ext cx="31077" cy="20718"/>
                </a:xfrm>
                <a:custGeom>
                  <a:avLst/>
                  <a:gdLst>
                    <a:gd name="T0" fmla="*/ 2147483647 w 23"/>
                    <a:gd name="T1" fmla="*/ 2147483647 h 14"/>
                    <a:gd name="T2" fmla="*/ 2147483647 w 23"/>
                    <a:gd name="T3" fmla="*/ 2147483647 h 14"/>
                    <a:gd name="T4" fmla="*/ 2147483647 w 23"/>
                    <a:gd name="T5" fmla="*/ 2147483647 h 14"/>
                    <a:gd name="T6" fmla="*/ 2147483647 w 23"/>
                    <a:gd name="T7" fmla="*/ 2147483647 h 14"/>
                    <a:gd name="T8" fmla="*/ 2147483647 w 23"/>
                    <a:gd name="T9" fmla="*/ 0 h 14"/>
                    <a:gd name="T10" fmla="*/ 2147483647 w 23"/>
                    <a:gd name="T11" fmla="*/ 0 h 14"/>
                    <a:gd name="T12" fmla="*/ 2147483647 w 23"/>
                    <a:gd name="T13" fmla="*/ 2147483647 h 14"/>
                    <a:gd name="T14" fmla="*/ 2147483647 w 23"/>
                    <a:gd name="T15" fmla="*/ 2147483647 h 14"/>
                    <a:gd name="T16" fmla="*/ 2147483647 w 23"/>
                    <a:gd name="T17" fmla="*/ 2147483647 h 14"/>
                    <a:gd name="T18" fmla="*/ 2147483647 w 23"/>
                    <a:gd name="T19" fmla="*/ 2147483647 h 14"/>
                    <a:gd name="T20" fmla="*/ 2147483647 w 23"/>
                    <a:gd name="T21" fmla="*/ 2147483647 h 14"/>
                    <a:gd name="T22" fmla="*/ 0 w 23"/>
                    <a:gd name="T23" fmla="*/ 2147483647 h 14"/>
                    <a:gd name="T24" fmla="*/ 2147483647 w 23"/>
                    <a:gd name="T25" fmla="*/ 2147483647 h 14"/>
                    <a:gd name="T26" fmla="*/ 2147483647 w 23"/>
                    <a:gd name="T27" fmla="*/ 2147483647 h 14"/>
                    <a:gd name="T28" fmla="*/ 2147483647 w 23"/>
                    <a:gd name="T29" fmla="*/ 2147483647 h 14"/>
                    <a:gd name="T30" fmla="*/ 2147483647 w 23"/>
                    <a:gd name="T31" fmla="*/ 2147483647 h 14"/>
                    <a:gd name="T32" fmla="*/ 2147483647 w 23"/>
                    <a:gd name="T33" fmla="*/ 2147483647 h 14"/>
                    <a:gd name="T34" fmla="*/ 2147483647 w 23"/>
                    <a:gd name="T35" fmla="*/ 2147483647 h 14"/>
                    <a:gd name="T36" fmla="*/ 2147483647 w 23"/>
                    <a:gd name="T37" fmla="*/ 2147483647 h 14"/>
                    <a:gd name="T38" fmla="*/ 2147483647 w 23"/>
                    <a:gd name="T39" fmla="*/ 2147483647 h 14"/>
                    <a:gd name="T40" fmla="*/ 2147483647 w 23"/>
                    <a:gd name="T41" fmla="*/ 2147483647 h 14"/>
                    <a:gd name="T42" fmla="*/ 2147483647 w 23"/>
                    <a:gd name="T43" fmla="*/ 2147483647 h 14"/>
                    <a:gd name="T44" fmla="*/ 2147483647 w 23"/>
                    <a:gd name="T45" fmla="*/ 2147483647 h 1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3"/>
                    <a:gd name="T70" fmla="*/ 0 h 14"/>
                    <a:gd name="T71" fmla="*/ 23 w 23"/>
                    <a:gd name="T72" fmla="*/ 14 h 1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3" h="14">
                      <a:moveTo>
                        <a:pt x="23" y="8"/>
                      </a:moveTo>
                      <a:lnTo>
                        <a:pt x="23" y="8"/>
                      </a:lnTo>
                      <a:lnTo>
                        <a:pt x="21" y="3"/>
                      </a:lnTo>
                      <a:lnTo>
                        <a:pt x="21" y="2"/>
                      </a:lnTo>
                      <a:lnTo>
                        <a:pt x="19" y="0"/>
                      </a:lnTo>
                      <a:lnTo>
                        <a:pt x="13" y="2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1" y="10"/>
                      </a:lnTo>
                      <a:lnTo>
                        <a:pt x="5" y="9"/>
                      </a:lnTo>
                      <a:lnTo>
                        <a:pt x="9" y="9"/>
                      </a:lnTo>
                      <a:lnTo>
                        <a:pt x="15" y="14"/>
                      </a:lnTo>
                      <a:lnTo>
                        <a:pt x="18" y="14"/>
                      </a:lnTo>
                      <a:lnTo>
                        <a:pt x="21" y="13"/>
                      </a:lnTo>
                      <a:lnTo>
                        <a:pt x="22" y="10"/>
                      </a:lnTo>
                      <a:lnTo>
                        <a:pt x="23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9" name="Freeform 1268">
                  <a:extLst>
                    <a:ext uri="{FF2B5EF4-FFF2-40B4-BE49-F238E27FC236}">
                      <a16:creationId xmlns:a16="http://schemas.microsoft.com/office/drawing/2014/main" id="{3CEEC7C5-342B-0A4F-8B78-7A22B38CB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2927" y="2265369"/>
                  <a:ext cx="31077" cy="36996"/>
                </a:xfrm>
                <a:custGeom>
                  <a:avLst/>
                  <a:gdLst>
                    <a:gd name="T0" fmla="*/ 2147483647 w 23"/>
                    <a:gd name="T1" fmla="*/ 2147483647 h 25"/>
                    <a:gd name="T2" fmla="*/ 2147483647 w 23"/>
                    <a:gd name="T3" fmla="*/ 2147483647 h 25"/>
                    <a:gd name="T4" fmla="*/ 2147483647 w 23"/>
                    <a:gd name="T5" fmla="*/ 2147483647 h 25"/>
                    <a:gd name="T6" fmla="*/ 2147483647 w 23"/>
                    <a:gd name="T7" fmla="*/ 2147483647 h 25"/>
                    <a:gd name="T8" fmla="*/ 2147483647 w 23"/>
                    <a:gd name="T9" fmla="*/ 2147483647 h 25"/>
                    <a:gd name="T10" fmla="*/ 2147483647 w 23"/>
                    <a:gd name="T11" fmla="*/ 2147483647 h 25"/>
                    <a:gd name="T12" fmla="*/ 2147483647 w 23"/>
                    <a:gd name="T13" fmla="*/ 2147483647 h 25"/>
                    <a:gd name="T14" fmla="*/ 2147483647 w 23"/>
                    <a:gd name="T15" fmla="*/ 2147483647 h 25"/>
                    <a:gd name="T16" fmla="*/ 2147483647 w 23"/>
                    <a:gd name="T17" fmla="*/ 0 h 25"/>
                    <a:gd name="T18" fmla="*/ 2147483647 w 23"/>
                    <a:gd name="T19" fmla="*/ 0 h 25"/>
                    <a:gd name="T20" fmla="*/ 2147483647 w 23"/>
                    <a:gd name="T21" fmla="*/ 2147483647 h 25"/>
                    <a:gd name="T22" fmla="*/ 2147483647 w 23"/>
                    <a:gd name="T23" fmla="*/ 2147483647 h 25"/>
                    <a:gd name="T24" fmla="*/ 2147483647 w 23"/>
                    <a:gd name="T25" fmla="*/ 2147483647 h 25"/>
                    <a:gd name="T26" fmla="*/ 2147483647 w 23"/>
                    <a:gd name="T27" fmla="*/ 2147483647 h 25"/>
                    <a:gd name="T28" fmla="*/ 2147483647 w 23"/>
                    <a:gd name="T29" fmla="*/ 2147483647 h 25"/>
                    <a:gd name="T30" fmla="*/ 2147483647 w 23"/>
                    <a:gd name="T31" fmla="*/ 2147483647 h 25"/>
                    <a:gd name="T32" fmla="*/ 2147483647 w 23"/>
                    <a:gd name="T33" fmla="*/ 2147483647 h 25"/>
                    <a:gd name="T34" fmla="*/ 2147483647 w 23"/>
                    <a:gd name="T35" fmla="*/ 2147483647 h 25"/>
                    <a:gd name="T36" fmla="*/ 2147483647 w 23"/>
                    <a:gd name="T37" fmla="*/ 2147483647 h 25"/>
                    <a:gd name="T38" fmla="*/ 0 w 23"/>
                    <a:gd name="T39" fmla="*/ 2147483647 h 25"/>
                    <a:gd name="T40" fmla="*/ 0 w 23"/>
                    <a:gd name="T41" fmla="*/ 2147483647 h 25"/>
                    <a:gd name="T42" fmla="*/ 0 w 23"/>
                    <a:gd name="T43" fmla="*/ 2147483647 h 25"/>
                    <a:gd name="T44" fmla="*/ 2147483647 w 23"/>
                    <a:gd name="T45" fmla="*/ 2147483647 h 25"/>
                    <a:gd name="T46" fmla="*/ 2147483647 w 23"/>
                    <a:gd name="T47" fmla="*/ 2147483647 h 25"/>
                    <a:gd name="T48" fmla="*/ 2147483647 w 23"/>
                    <a:gd name="T49" fmla="*/ 2147483647 h 25"/>
                    <a:gd name="T50" fmla="*/ 2147483647 w 23"/>
                    <a:gd name="T51" fmla="*/ 2147483647 h 25"/>
                    <a:gd name="T52" fmla="*/ 2147483647 w 23"/>
                    <a:gd name="T53" fmla="*/ 2147483647 h 25"/>
                    <a:gd name="T54" fmla="*/ 2147483647 w 23"/>
                    <a:gd name="T55" fmla="*/ 2147483647 h 25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23"/>
                    <a:gd name="T85" fmla="*/ 0 h 25"/>
                    <a:gd name="T86" fmla="*/ 23 w 23"/>
                    <a:gd name="T87" fmla="*/ 25 h 25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23" h="25">
                      <a:moveTo>
                        <a:pt x="18" y="15"/>
                      </a:moveTo>
                      <a:lnTo>
                        <a:pt x="18" y="15"/>
                      </a:lnTo>
                      <a:lnTo>
                        <a:pt x="22" y="13"/>
                      </a:lnTo>
                      <a:lnTo>
                        <a:pt x="23" y="9"/>
                      </a:lnTo>
                      <a:lnTo>
                        <a:pt x="23" y="7"/>
                      </a:lnTo>
                      <a:lnTo>
                        <a:pt x="22" y="3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6" y="2"/>
                      </a:lnTo>
                      <a:lnTo>
                        <a:pt x="14" y="6"/>
                      </a:lnTo>
                      <a:lnTo>
                        <a:pt x="14" y="9"/>
                      </a:lnTo>
                      <a:lnTo>
                        <a:pt x="13" y="12"/>
                      </a:lnTo>
                      <a:lnTo>
                        <a:pt x="11" y="13"/>
                      </a:lnTo>
                      <a:lnTo>
                        <a:pt x="6" y="16"/>
                      </a:lnTo>
                      <a:lnTo>
                        <a:pt x="2" y="19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3" y="23"/>
                      </a:lnTo>
                      <a:lnTo>
                        <a:pt x="4" y="25"/>
                      </a:lnTo>
                      <a:lnTo>
                        <a:pt x="9" y="22"/>
                      </a:lnTo>
                      <a:lnTo>
                        <a:pt x="14" y="19"/>
                      </a:lnTo>
                      <a:lnTo>
                        <a:pt x="18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0" name="Freeform 1269">
                  <a:extLst>
                    <a:ext uri="{FF2B5EF4-FFF2-40B4-BE49-F238E27FC236}">
                      <a16:creationId xmlns:a16="http://schemas.microsoft.com/office/drawing/2014/main" id="{34DB2A80-D6F6-5C4F-B6B6-C410B1570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0725" y="2303842"/>
                  <a:ext cx="19239" cy="28117"/>
                </a:xfrm>
                <a:custGeom>
                  <a:avLst/>
                  <a:gdLst>
                    <a:gd name="T0" fmla="*/ 2147483647 w 14"/>
                    <a:gd name="T1" fmla="*/ 2147483647 h 19"/>
                    <a:gd name="T2" fmla="*/ 2147483647 w 14"/>
                    <a:gd name="T3" fmla="*/ 2147483647 h 19"/>
                    <a:gd name="T4" fmla="*/ 2147483647 w 14"/>
                    <a:gd name="T5" fmla="*/ 2147483647 h 19"/>
                    <a:gd name="T6" fmla="*/ 2147483647 w 14"/>
                    <a:gd name="T7" fmla="*/ 2147483647 h 19"/>
                    <a:gd name="T8" fmla="*/ 2147483647 w 14"/>
                    <a:gd name="T9" fmla="*/ 2147483647 h 19"/>
                    <a:gd name="T10" fmla="*/ 2147483647 w 14"/>
                    <a:gd name="T11" fmla="*/ 0 h 19"/>
                    <a:gd name="T12" fmla="*/ 2147483647 w 14"/>
                    <a:gd name="T13" fmla="*/ 2147483647 h 19"/>
                    <a:gd name="T14" fmla="*/ 2147483647 w 14"/>
                    <a:gd name="T15" fmla="*/ 2147483647 h 19"/>
                    <a:gd name="T16" fmla="*/ 0 w 14"/>
                    <a:gd name="T17" fmla="*/ 2147483647 h 19"/>
                    <a:gd name="T18" fmla="*/ 0 w 14"/>
                    <a:gd name="T19" fmla="*/ 2147483647 h 19"/>
                    <a:gd name="T20" fmla="*/ 2147483647 w 14"/>
                    <a:gd name="T21" fmla="*/ 2147483647 h 19"/>
                    <a:gd name="T22" fmla="*/ 2147483647 w 14"/>
                    <a:gd name="T23" fmla="*/ 2147483647 h 19"/>
                    <a:gd name="T24" fmla="*/ 2147483647 w 14"/>
                    <a:gd name="T25" fmla="*/ 2147483647 h 19"/>
                    <a:gd name="T26" fmla="*/ 2147483647 w 14"/>
                    <a:gd name="T27" fmla="*/ 2147483647 h 19"/>
                    <a:gd name="T28" fmla="*/ 2147483647 w 14"/>
                    <a:gd name="T29" fmla="*/ 2147483647 h 19"/>
                    <a:gd name="T30" fmla="*/ 2147483647 w 14"/>
                    <a:gd name="T31" fmla="*/ 2147483647 h 19"/>
                    <a:gd name="T32" fmla="*/ 2147483647 w 14"/>
                    <a:gd name="T33" fmla="*/ 2147483647 h 19"/>
                    <a:gd name="T34" fmla="*/ 2147483647 w 14"/>
                    <a:gd name="T35" fmla="*/ 2147483647 h 1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"/>
                    <a:gd name="T55" fmla="*/ 0 h 19"/>
                    <a:gd name="T56" fmla="*/ 14 w 14"/>
                    <a:gd name="T57" fmla="*/ 19 h 1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" h="19">
                      <a:moveTo>
                        <a:pt x="6" y="13"/>
                      </a:moveTo>
                      <a:lnTo>
                        <a:pt x="11" y="8"/>
                      </a:lnTo>
                      <a:lnTo>
                        <a:pt x="14" y="6"/>
                      </a:lnTo>
                      <a:lnTo>
                        <a:pt x="13" y="2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1" y="5"/>
                      </a:lnTo>
                      <a:lnTo>
                        <a:pt x="0" y="9"/>
                      </a:lnTo>
                      <a:lnTo>
                        <a:pt x="0" y="14"/>
                      </a:lnTo>
                      <a:lnTo>
                        <a:pt x="1" y="18"/>
                      </a:lnTo>
                      <a:lnTo>
                        <a:pt x="2" y="19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6" y="16"/>
                      </a:lnTo>
                      <a:lnTo>
                        <a:pt x="6" y="14"/>
                      </a:lnTo>
                      <a:lnTo>
                        <a:pt x="8" y="13"/>
                      </a:ln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1" name="Freeform 1270">
                  <a:extLst>
                    <a:ext uri="{FF2B5EF4-FFF2-40B4-BE49-F238E27FC236}">
                      <a16:creationId xmlns:a16="http://schemas.microsoft.com/office/drawing/2014/main" id="{FBB7CD23-116D-7046-89C8-61D6EE9568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5926" y="2330483"/>
                  <a:ext cx="4440" cy="10359"/>
                </a:xfrm>
                <a:custGeom>
                  <a:avLst/>
                  <a:gdLst>
                    <a:gd name="T0" fmla="*/ 2147483647 w 3"/>
                    <a:gd name="T1" fmla="*/ 2147483647 h 7"/>
                    <a:gd name="T2" fmla="*/ 2147483647 w 3"/>
                    <a:gd name="T3" fmla="*/ 2147483647 h 7"/>
                    <a:gd name="T4" fmla="*/ 2147483647 w 3"/>
                    <a:gd name="T5" fmla="*/ 2147483647 h 7"/>
                    <a:gd name="T6" fmla="*/ 2147483647 w 3"/>
                    <a:gd name="T7" fmla="*/ 2147483647 h 7"/>
                    <a:gd name="T8" fmla="*/ 2147483647 w 3"/>
                    <a:gd name="T9" fmla="*/ 2147483647 h 7"/>
                    <a:gd name="T10" fmla="*/ 2147483647 w 3"/>
                    <a:gd name="T11" fmla="*/ 2147483647 h 7"/>
                    <a:gd name="T12" fmla="*/ 0 w 3"/>
                    <a:gd name="T13" fmla="*/ 0 h 7"/>
                    <a:gd name="T14" fmla="*/ 0 w 3"/>
                    <a:gd name="T15" fmla="*/ 2147483647 h 7"/>
                    <a:gd name="T16" fmla="*/ 0 w 3"/>
                    <a:gd name="T17" fmla="*/ 2147483647 h 7"/>
                    <a:gd name="T18" fmla="*/ 2147483647 w 3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"/>
                    <a:gd name="T31" fmla="*/ 0 h 7"/>
                    <a:gd name="T32" fmla="*/ 3 w 3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" h="7">
                      <a:moveTo>
                        <a:pt x="1" y="7"/>
                      </a:move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2" name="Freeform 1271">
                  <a:extLst>
                    <a:ext uri="{FF2B5EF4-FFF2-40B4-BE49-F238E27FC236}">
                      <a16:creationId xmlns:a16="http://schemas.microsoft.com/office/drawing/2014/main" id="{4E9B5C3E-F170-4349-94C1-652B6D3CB5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9248" y="2302365"/>
                  <a:ext cx="19238" cy="28118"/>
                </a:xfrm>
                <a:custGeom>
                  <a:avLst/>
                  <a:gdLst>
                    <a:gd name="T0" fmla="*/ 2147483647 w 14"/>
                    <a:gd name="T1" fmla="*/ 2147483647 h 19"/>
                    <a:gd name="T2" fmla="*/ 2147483647 w 14"/>
                    <a:gd name="T3" fmla="*/ 2147483647 h 19"/>
                    <a:gd name="T4" fmla="*/ 2147483647 w 14"/>
                    <a:gd name="T5" fmla="*/ 2147483647 h 19"/>
                    <a:gd name="T6" fmla="*/ 2147483647 w 14"/>
                    <a:gd name="T7" fmla="*/ 2147483647 h 19"/>
                    <a:gd name="T8" fmla="*/ 2147483647 w 14"/>
                    <a:gd name="T9" fmla="*/ 2147483647 h 19"/>
                    <a:gd name="T10" fmla="*/ 2147483647 w 14"/>
                    <a:gd name="T11" fmla="*/ 2147483647 h 19"/>
                    <a:gd name="T12" fmla="*/ 2147483647 w 14"/>
                    <a:gd name="T13" fmla="*/ 2147483647 h 19"/>
                    <a:gd name="T14" fmla="*/ 2147483647 w 14"/>
                    <a:gd name="T15" fmla="*/ 0 h 19"/>
                    <a:gd name="T16" fmla="*/ 2147483647 w 14"/>
                    <a:gd name="T17" fmla="*/ 2147483647 h 19"/>
                    <a:gd name="T18" fmla="*/ 2147483647 w 14"/>
                    <a:gd name="T19" fmla="*/ 2147483647 h 19"/>
                    <a:gd name="T20" fmla="*/ 2147483647 w 14"/>
                    <a:gd name="T21" fmla="*/ 2147483647 h 19"/>
                    <a:gd name="T22" fmla="*/ 0 w 14"/>
                    <a:gd name="T23" fmla="*/ 2147483647 h 19"/>
                    <a:gd name="T24" fmla="*/ 0 w 14"/>
                    <a:gd name="T25" fmla="*/ 2147483647 h 19"/>
                    <a:gd name="T26" fmla="*/ 2147483647 w 14"/>
                    <a:gd name="T27" fmla="*/ 2147483647 h 19"/>
                    <a:gd name="T28" fmla="*/ 2147483647 w 14"/>
                    <a:gd name="T29" fmla="*/ 2147483647 h 19"/>
                    <a:gd name="T30" fmla="*/ 2147483647 w 14"/>
                    <a:gd name="T31" fmla="*/ 2147483647 h 19"/>
                    <a:gd name="T32" fmla="*/ 2147483647 w 14"/>
                    <a:gd name="T33" fmla="*/ 2147483647 h 19"/>
                    <a:gd name="T34" fmla="*/ 2147483647 w 14"/>
                    <a:gd name="T35" fmla="*/ 2147483647 h 19"/>
                    <a:gd name="T36" fmla="*/ 2147483647 w 14"/>
                    <a:gd name="T37" fmla="*/ 2147483647 h 19"/>
                    <a:gd name="T38" fmla="*/ 2147483647 w 14"/>
                    <a:gd name="T39" fmla="*/ 2147483647 h 19"/>
                    <a:gd name="T40" fmla="*/ 2147483647 w 14"/>
                    <a:gd name="T41" fmla="*/ 2147483647 h 19"/>
                    <a:gd name="T42" fmla="*/ 2147483647 w 14"/>
                    <a:gd name="T43" fmla="*/ 2147483647 h 19"/>
                    <a:gd name="T44" fmla="*/ 2147483647 w 14"/>
                    <a:gd name="T45" fmla="*/ 2147483647 h 19"/>
                    <a:gd name="T46" fmla="*/ 2147483647 w 14"/>
                    <a:gd name="T47" fmla="*/ 2147483647 h 1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4"/>
                    <a:gd name="T73" fmla="*/ 0 h 19"/>
                    <a:gd name="T74" fmla="*/ 14 w 14"/>
                    <a:gd name="T75" fmla="*/ 19 h 19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4" h="19">
                      <a:moveTo>
                        <a:pt x="6" y="13"/>
                      </a:moveTo>
                      <a:lnTo>
                        <a:pt x="6" y="13"/>
                      </a:lnTo>
                      <a:lnTo>
                        <a:pt x="11" y="8"/>
                      </a:lnTo>
                      <a:lnTo>
                        <a:pt x="14" y="6"/>
                      </a:lnTo>
                      <a:lnTo>
                        <a:pt x="12" y="2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1" y="4"/>
                      </a:lnTo>
                      <a:lnTo>
                        <a:pt x="0" y="9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2" y="19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6" y="16"/>
                      </a:lnTo>
                      <a:lnTo>
                        <a:pt x="6" y="14"/>
                      </a:lnTo>
                      <a:lnTo>
                        <a:pt x="7" y="13"/>
                      </a:ln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3" name="Freeform 1272">
                  <a:extLst>
                    <a:ext uri="{FF2B5EF4-FFF2-40B4-BE49-F238E27FC236}">
                      <a16:creationId xmlns:a16="http://schemas.microsoft.com/office/drawing/2014/main" id="{C2279978-11DC-C647-946B-C03876A30D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2967" y="2327521"/>
                  <a:ext cx="5919" cy="11839"/>
                </a:xfrm>
                <a:custGeom>
                  <a:avLst/>
                  <a:gdLst>
                    <a:gd name="T0" fmla="*/ 2147483647 w 4"/>
                    <a:gd name="T1" fmla="*/ 2147483647 h 8"/>
                    <a:gd name="T2" fmla="*/ 2147483647 w 4"/>
                    <a:gd name="T3" fmla="*/ 2147483647 h 8"/>
                    <a:gd name="T4" fmla="*/ 2147483647 w 4"/>
                    <a:gd name="T5" fmla="*/ 2147483647 h 8"/>
                    <a:gd name="T6" fmla="*/ 2147483647 w 4"/>
                    <a:gd name="T7" fmla="*/ 2147483647 h 8"/>
                    <a:gd name="T8" fmla="*/ 2147483647 w 4"/>
                    <a:gd name="T9" fmla="*/ 2147483647 h 8"/>
                    <a:gd name="T10" fmla="*/ 2147483647 w 4"/>
                    <a:gd name="T11" fmla="*/ 2147483647 h 8"/>
                    <a:gd name="T12" fmla="*/ 2147483647 w 4"/>
                    <a:gd name="T13" fmla="*/ 2147483647 h 8"/>
                    <a:gd name="T14" fmla="*/ 2147483647 w 4"/>
                    <a:gd name="T15" fmla="*/ 2147483647 h 8"/>
                    <a:gd name="T16" fmla="*/ 2147483647 w 4"/>
                    <a:gd name="T17" fmla="*/ 2147483647 h 8"/>
                    <a:gd name="T18" fmla="*/ 0 w 4"/>
                    <a:gd name="T19" fmla="*/ 0 h 8"/>
                    <a:gd name="T20" fmla="*/ 0 w 4"/>
                    <a:gd name="T21" fmla="*/ 2147483647 h 8"/>
                    <a:gd name="T22" fmla="*/ 0 w 4"/>
                    <a:gd name="T23" fmla="*/ 2147483647 h 8"/>
                    <a:gd name="T24" fmla="*/ 0 w 4"/>
                    <a:gd name="T25" fmla="*/ 2147483647 h 8"/>
                    <a:gd name="T26" fmla="*/ 2147483647 w 4"/>
                    <a:gd name="T27" fmla="*/ 2147483647 h 8"/>
                    <a:gd name="T28" fmla="*/ 2147483647 w 4"/>
                    <a:gd name="T29" fmla="*/ 2147483647 h 8"/>
                    <a:gd name="T30" fmla="*/ 2147483647 w 4"/>
                    <a:gd name="T31" fmla="*/ 2147483647 h 8"/>
                    <a:gd name="T32" fmla="*/ 2147483647 w 4"/>
                    <a:gd name="T33" fmla="*/ 2147483647 h 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"/>
                    <a:gd name="T52" fmla="*/ 0 h 8"/>
                    <a:gd name="T53" fmla="*/ 4 w 4"/>
                    <a:gd name="T54" fmla="*/ 8 h 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" h="8"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4" name="Freeform 1273">
                  <a:extLst>
                    <a:ext uri="{FF2B5EF4-FFF2-40B4-BE49-F238E27FC236}">
                      <a16:creationId xmlns:a16="http://schemas.microsoft.com/office/drawing/2014/main" id="{82571298-3DDD-CD4B-A7C6-77C6418EA8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77810" y="2336403"/>
                  <a:ext cx="23678" cy="25157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2147483647 h 17"/>
                    <a:gd name="T6" fmla="*/ 2147483647 w 18"/>
                    <a:gd name="T7" fmla="*/ 0 h 17"/>
                    <a:gd name="T8" fmla="*/ 2147483647 w 18"/>
                    <a:gd name="T9" fmla="*/ 0 h 17"/>
                    <a:gd name="T10" fmla="*/ 2147483647 w 18"/>
                    <a:gd name="T11" fmla="*/ 2147483647 h 17"/>
                    <a:gd name="T12" fmla="*/ 2147483647 w 18"/>
                    <a:gd name="T13" fmla="*/ 2147483647 h 17"/>
                    <a:gd name="T14" fmla="*/ 2147483647 w 18"/>
                    <a:gd name="T15" fmla="*/ 2147483647 h 17"/>
                    <a:gd name="T16" fmla="*/ 2147483647 w 18"/>
                    <a:gd name="T17" fmla="*/ 2147483647 h 17"/>
                    <a:gd name="T18" fmla="*/ 0 w 18"/>
                    <a:gd name="T19" fmla="*/ 2147483647 h 17"/>
                    <a:gd name="T20" fmla="*/ 2147483647 w 18"/>
                    <a:gd name="T21" fmla="*/ 2147483647 h 17"/>
                    <a:gd name="T22" fmla="*/ 2147483647 w 18"/>
                    <a:gd name="T23" fmla="*/ 2147483647 h 17"/>
                    <a:gd name="T24" fmla="*/ 2147483647 w 18"/>
                    <a:gd name="T25" fmla="*/ 2147483647 h 17"/>
                    <a:gd name="T26" fmla="*/ 2147483647 w 18"/>
                    <a:gd name="T27" fmla="*/ 2147483647 h 17"/>
                    <a:gd name="T28" fmla="*/ 2147483647 w 18"/>
                    <a:gd name="T29" fmla="*/ 2147483647 h 17"/>
                    <a:gd name="T30" fmla="*/ 2147483647 w 18"/>
                    <a:gd name="T31" fmla="*/ 2147483647 h 17"/>
                    <a:gd name="T32" fmla="*/ 2147483647 w 18"/>
                    <a:gd name="T33" fmla="*/ 2147483647 h 17"/>
                    <a:gd name="T34" fmla="*/ 2147483647 w 18"/>
                    <a:gd name="T35" fmla="*/ 2147483647 h 17"/>
                    <a:gd name="T36" fmla="*/ 2147483647 w 18"/>
                    <a:gd name="T37" fmla="*/ 2147483647 h 1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"/>
                    <a:gd name="T58" fmla="*/ 0 h 17"/>
                    <a:gd name="T59" fmla="*/ 18 w 18"/>
                    <a:gd name="T60" fmla="*/ 17 h 1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" h="17">
                      <a:moveTo>
                        <a:pt x="18" y="6"/>
                      </a:moveTo>
                      <a:lnTo>
                        <a:pt x="17" y="4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1" y="17"/>
                      </a:lnTo>
                      <a:lnTo>
                        <a:pt x="3" y="17"/>
                      </a:lnTo>
                      <a:lnTo>
                        <a:pt x="4" y="17"/>
                      </a:lnTo>
                      <a:lnTo>
                        <a:pt x="5" y="16"/>
                      </a:lnTo>
                      <a:lnTo>
                        <a:pt x="7" y="15"/>
                      </a:lnTo>
                      <a:lnTo>
                        <a:pt x="12" y="15"/>
                      </a:lnTo>
                      <a:lnTo>
                        <a:pt x="14" y="12"/>
                      </a:lnTo>
                      <a:lnTo>
                        <a:pt x="17" y="10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5" name="Freeform 1274">
                  <a:extLst>
                    <a:ext uri="{FF2B5EF4-FFF2-40B4-BE49-F238E27FC236}">
                      <a16:creationId xmlns:a16="http://schemas.microsoft.com/office/drawing/2014/main" id="{64F7CD3F-30FA-A545-9625-29D290A653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3729" y="2318642"/>
                  <a:ext cx="11839" cy="11839"/>
                </a:xfrm>
                <a:custGeom>
                  <a:avLst/>
                  <a:gdLst>
                    <a:gd name="T0" fmla="*/ 2147483647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2147483647 w 8"/>
                    <a:gd name="T7" fmla="*/ 0 h 8"/>
                    <a:gd name="T8" fmla="*/ 2147483647 w 8"/>
                    <a:gd name="T9" fmla="*/ 0 h 8"/>
                    <a:gd name="T10" fmla="*/ 2147483647 w 8"/>
                    <a:gd name="T11" fmla="*/ 2147483647 h 8"/>
                    <a:gd name="T12" fmla="*/ 0 w 8"/>
                    <a:gd name="T13" fmla="*/ 2147483647 h 8"/>
                    <a:gd name="T14" fmla="*/ 2147483647 w 8"/>
                    <a:gd name="T15" fmla="*/ 2147483647 h 8"/>
                    <a:gd name="T16" fmla="*/ 2147483647 w 8"/>
                    <a:gd name="T17" fmla="*/ 2147483647 h 8"/>
                    <a:gd name="T18" fmla="*/ 2147483647 w 8"/>
                    <a:gd name="T19" fmla="*/ 2147483647 h 8"/>
                    <a:gd name="T20" fmla="*/ 2147483647 w 8"/>
                    <a:gd name="T21" fmla="*/ 2147483647 h 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8"/>
                    <a:gd name="T35" fmla="*/ 8 w 8"/>
                    <a:gd name="T36" fmla="*/ 8 h 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8">
                      <a:moveTo>
                        <a:pt x="5" y="4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3" y="3"/>
                      </a:ln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6" name="Freeform 1275">
                  <a:extLst>
                    <a:ext uri="{FF2B5EF4-FFF2-40B4-BE49-F238E27FC236}">
                      <a16:creationId xmlns:a16="http://schemas.microsoft.com/office/drawing/2014/main" id="{FF6985F3-EBB9-2040-A009-399670751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76329" y="2334920"/>
                  <a:ext cx="23678" cy="25158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2147483647 w 18"/>
                    <a:gd name="T9" fmla="*/ 0 h 17"/>
                    <a:gd name="T10" fmla="*/ 2147483647 w 18"/>
                    <a:gd name="T11" fmla="*/ 0 h 17"/>
                    <a:gd name="T12" fmla="*/ 2147483647 w 18"/>
                    <a:gd name="T13" fmla="*/ 0 h 17"/>
                    <a:gd name="T14" fmla="*/ 2147483647 w 18"/>
                    <a:gd name="T15" fmla="*/ 2147483647 h 17"/>
                    <a:gd name="T16" fmla="*/ 2147483647 w 18"/>
                    <a:gd name="T17" fmla="*/ 2147483647 h 17"/>
                    <a:gd name="T18" fmla="*/ 2147483647 w 18"/>
                    <a:gd name="T19" fmla="*/ 2147483647 h 17"/>
                    <a:gd name="T20" fmla="*/ 2147483647 w 18"/>
                    <a:gd name="T21" fmla="*/ 2147483647 h 17"/>
                    <a:gd name="T22" fmla="*/ 2147483647 w 18"/>
                    <a:gd name="T23" fmla="*/ 2147483647 h 17"/>
                    <a:gd name="T24" fmla="*/ 0 w 18"/>
                    <a:gd name="T25" fmla="*/ 2147483647 h 17"/>
                    <a:gd name="T26" fmla="*/ 2147483647 w 18"/>
                    <a:gd name="T27" fmla="*/ 2147483647 h 17"/>
                    <a:gd name="T28" fmla="*/ 2147483647 w 18"/>
                    <a:gd name="T29" fmla="*/ 2147483647 h 17"/>
                    <a:gd name="T30" fmla="*/ 2147483647 w 18"/>
                    <a:gd name="T31" fmla="*/ 2147483647 h 17"/>
                    <a:gd name="T32" fmla="*/ 2147483647 w 18"/>
                    <a:gd name="T33" fmla="*/ 2147483647 h 17"/>
                    <a:gd name="T34" fmla="*/ 2147483647 w 18"/>
                    <a:gd name="T35" fmla="*/ 2147483647 h 17"/>
                    <a:gd name="T36" fmla="*/ 2147483647 w 18"/>
                    <a:gd name="T37" fmla="*/ 2147483647 h 17"/>
                    <a:gd name="T38" fmla="*/ 2147483647 w 18"/>
                    <a:gd name="T39" fmla="*/ 2147483647 h 17"/>
                    <a:gd name="T40" fmla="*/ 2147483647 w 18"/>
                    <a:gd name="T41" fmla="*/ 2147483647 h 17"/>
                    <a:gd name="T42" fmla="*/ 2147483647 w 18"/>
                    <a:gd name="T43" fmla="*/ 2147483647 h 17"/>
                    <a:gd name="T44" fmla="*/ 2147483647 w 18"/>
                    <a:gd name="T45" fmla="*/ 2147483647 h 17"/>
                    <a:gd name="T46" fmla="*/ 2147483647 w 18"/>
                    <a:gd name="T47" fmla="*/ 2147483647 h 17"/>
                    <a:gd name="T48" fmla="*/ 2147483647 w 18"/>
                    <a:gd name="T49" fmla="*/ 2147483647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8"/>
                    <a:gd name="T76" fmla="*/ 0 h 17"/>
                    <a:gd name="T77" fmla="*/ 18 w 18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8" h="17">
                      <a:moveTo>
                        <a:pt x="18" y="6"/>
                      </a:moveTo>
                      <a:lnTo>
                        <a:pt x="18" y="6"/>
                      </a:lnTo>
                      <a:lnTo>
                        <a:pt x="16" y="4"/>
                      </a:lnTo>
                      <a:lnTo>
                        <a:pt x="15" y="1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3"/>
                      </a:lnTo>
                      <a:lnTo>
                        <a:pt x="4" y="6"/>
                      </a:lnTo>
                      <a:lnTo>
                        <a:pt x="2" y="11"/>
                      </a:lnTo>
                      <a:lnTo>
                        <a:pt x="1" y="14"/>
                      </a:lnTo>
                      <a:lnTo>
                        <a:pt x="0" y="16"/>
                      </a:lnTo>
                      <a:lnTo>
                        <a:pt x="1" y="17"/>
                      </a:lnTo>
                      <a:lnTo>
                        <a:pt x="2" y="17"/>
                      </a:lnTo>
                      <a:lnTo>
                        <a:pt x="4" y="17"/>
                      </a:lnTo>
                      <a:lnTo>
                        <a:pt x="5" y="16"/>
                      </a:lnTo>
                      <a:lnTo>
                        <a:pt x="6" y="14"/>
                      </a:lnTo>
                      <a:lnTo>
                        <a:pt x="11" y="14"/>
                      </a:lnTo>
                      <a:lnTo>
                        <a:pt x="14" y="12"/>
                      </a:lnTo>
                      <a:lnTo>
                        <a:pt x="16" y="10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7" name="Freeform 1276">
                  <a:extLst>
                    <a:ext uri="{FF2B5EF4-FFF2-40B4-BE49-F238E27FC236}">
                      <a16:creationId xmlns:a16="http://schemas.microsoft.com/office/drawing/2014/main" id="{A352961D-663C-974F-A594-B90F4B72A0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2248" y="2317160"/>
                  <a:ext cx="11839" cy="10360"/>
                </a:xfrm>
                <a:custGeom>
                  <a:avLst/>
                  <a:gdLst>
                    <a:gd name="T0" fmla="*/ 2147483647 w 8"/>
                    <a:gd name="T1" fmla="*/ 2147483647 h 7"/>
                    <a:gd name="T2" fmla="*/ 2147483647 w 8"/>
                    <a:gd name="T3" fmla="*/ 2147483647 h 7"/>
                    <a:gd name="T4" fmla="*/ 2147483647 w 8"/>
                    <a:gd name="T5" fmla="*/ 2147483647 h 7"/>
                    <a:gd name="T6" fmla="*/ 2147483647 w 8"/>
                    <a:gd name="T7" fmla="*/ 0 h 7"/>
                    <a:gd name="T8" fmla="*/ 2147483647 w 8"/>
                    <a:gd name="T9" fmla="*/ 0 h 7"/>
                    <a:gd name="T10" fmla="*/ 2147483647 w 8"/>
                    <a:gd name="T11" fmla="*/ 0 h 7"/>
                    <a:gd name="T12" fmla="*/ 2147483647 w 8"/>
                    <a:gd name="T13" fmla="*/ 0 h 7"/>
                    <a:gd name="T14" fmla="*/ 2147483647 w 8"/>
                    <a:gd name="T15" fmla="*/ 2147483647 h 7"/>
                    <a:gd name="T16" fmla="*/ 0 w 8"/>
                    <a:gd name="T17" fmla="*/ 2147483647 h 7"/>
                    <a:gd name="T18" fmla="*/ 2147483647 w 8"/>
                    <a:gd name="T19" fmla="*/ 2147483647 h 7"/>
                    <a:gd name="T20" fmla="*/ 2147483647 w 8"/>
                    <a:gd name="T21" fmla="*/ 2147483647 h 7"/>
                    <a:gd name="T22" fmla="*/ 2147483647 w 8"/>
                    <a:gd name="T23" fmla="*/ 2147483647 h 7"/>
                    <a:gd name="T24" fmla="*/ 2147483647 w 8"/>
                    <a:gd name="T25" fmla="*/ 2147483647 h 7"/>
                    <a:gd name="T26" fmla="*/ 2147483647 w 8"/>
                    <a:gd name="T27" fmla="*/ 2147483647 h 7"/>
                    <a:gd name="T28" fmla="*/ 2147483647 w 8"/>
                    <a:gd name="T29" fmla="*/ 2147483647 h 7"/>
                    <a:gd name="T30" fmla="*/ 2147483647 w 8"/>
                    <a:gd name="T31" fmla="*/ 2147483647 h 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"/>
                    <a:gd name="T49" fmla="*/ 0 h 7"/>
                    <a:gd name="T50" fmla="*/ 8 w 8"/>
                    <a:gd name="T51" fmla="*/ 7 h 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" h="7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3" y="3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8" name="Freeform 1277">
                  <a:extLst>
                    <a:ext uri="{FF2B5EF4-FFF2-40B4-BE49-F238E27FC236}">
                      <a16:creationId xmlns:a16="http://schemas.microsoft.com/office/drawing/2014/main" id="{099545FF-54BE-1A46-8EC8-07CF0A697C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8570" y="2334920"/>
                  <a:ext cx="17758" cy="25158"/>
                </a:xfrm>
                <a:custGeom>
                  <a:avLst/>
                  <a:gdLst>
                    <a:gd name="T0" fmla="*/ 2147483647 w 13"/>
                    <a:gd name="T1" fmla="*/ 2147483647 h 17"/>
                    <a:gd name="T2" fmla="*/ 2147483647 w 13"/>
                    <a:gd name="T3" fmla="*/ 2147483647 h 17"/>
                    <a:gd name="T4" fmla="*/ 2147483647 w 13"/>
                    <a:gd name="T5" fmla="*/ 2147483647 h 17"/>
                    <a:gd name="T6" fmla="*/ 2147483647 w 13"/>
                    <a:gd name="T7" fmla="*/ 2147483647 h 17"/>
                    <a:gd name="T8" fmla="*/ 2147483647 w 13"/>
                    <a:gd name="T9" fmla="*/ 2147483647 h 17"/>
                    <a:gd name="T10" fmla="*/ 2147483647 w 13"/>
                    <a:gd name="T11" fmla="*/ 2147483647 h 17"/>
                    <a:gd name="T12" fmla="*/ 0 w 13"/>
                    <a:gd name="T13" fmla="*/ 2147483647 h 17"/>
                    <a:gd name="T14" fmla="*/ 2147483647 w 13"/>
                    <a:gd name="T15" fmla="*/ 2147483647 h 17"/>
                    <a:gd name="T16" fmla="*/ 2147483647 w 13"/>
                    <a:gd name="T17" fmla="*/ 2147483647 h 17"/>
                    <a:gd name="T18" fmla="*/ 2147483647 w 13"/>
                    <a:gd name="T19" fmla="*/ 0 h 17"/>
                    <a:gd name="T20" fmla="*/ 2147483647 w 13"/>
                    <a:gd name="T21" fmla="*/ 0 h 17"/>
                    <a:gd name="T22" fmla="*/ 2147483647 w 13"/>
                    <a:gd name="T23" fmla="*/ 2147483647 h 17"/>
                    <a:gd name="T24" fmla="*/ 2147483647 w 13"/>
                    <a:gd name="T25" fmla="*/ 2147483647 h 17"/>
                    <a:gd name="T26" fmla="*/ 2147483647 w 13"/>
                    <a:gd name="T27" fmla="*/ 2147483647 h 1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17"/>
                    <a:gd name="T44" fmla="*/ 13 w 13"/>
                    <a:gd name="T45" fmla="*/ 17 h 1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17">
                      <a:moveTo>
                        <a:pt x="13" y="7"/>
                      </a:moveTo>
                      <a:lnTo>
                        <a:pt x="10" y="12"/>
                      </a:lnTo>
                      <a:lnTo>
                        <a:pt x="8" y="16"/>
                      </a:lnTo>
                      <a:lnTo>
                        <a:pt x="4" y="17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0" y="11"/>
                      </a:lnTo>
                      <a:lnTo>
                        <a:pt x="2" y="7"/>
                      </a:lnTo>
                      <a:lnTo>
                        <a:pt x="4" y="3"/>
                      </a:lnTo>
                      <a:lnTo>
                        <a:pt x="9" y="0"/>
                      </a:lnTo>
                      <a:lnTo>
                        <a:pt x="12" y="0"/>
                      </a:lnTo>
                      <a:lnTo>
                        <a:pt x="13" y="3"/>
                      </a:lnTo>
                      <a:lnTo>
                        <a:pt x="13" y="5"/>
                      </a:lnTo>
                      <a:lnTo>
                        <a:pt x="13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9" name="Freeform 1278">
                  <a:extLst>
                    <a:ext uri="{FF2B5EF4-FFF2-40B4-BE49-F238E27FC236}">
                      <a16:creationId xmlns:a16="http://schemas.microsoft.com/office/drawing/2014/main" id="{64FB3AAC-6D70-FD41-9E5C-424697F3B1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0673" y="2696008"/>
                  <a:ext cx="8879" cy="17758"/>
                </a:xfrm>
                <a:custGeom>
                  <a:avLst/>
                  <a:gdLst>
                    <a:gd name="T0" fmla="*/ 2147483647 w 6"/>
                    <a:gd name="T1" fmla="*/ 2147483647 h 12"/>
                    <a:gd name="T2" fmla="*/ 2147483647 w 6"/>
                    <a:gd name="T3" fmla="*/ 2147483647 h 12"/>
                    <a:gd name="T4" fmla="*/ 2147483647 w 6"/>
                    <a:gd name="T5" fmla="*/ 2147483647 h 12"/>
                    <a:gd name="T6" fmla="*/ 2147483647 w 6"/>
                    <a:gd name="T7" fmla="*/ 2147483647 h 12"/>
                    <a:gd name="T8" fmla="*/ 0 w 6"/>
                    <a:gd name="T9" fmla="*/ 2147483647 h 12"/>
                    <a:gd name="T10" fmla="*/ 0 w 6"/>
                    <a:gd name="T11" fmla="*/ 2147483647 h 12"/>
                    <a:gd name="T12" fmla="*/ 2147483647 w 6"/>
                    <a:gd name="T13" fmla="*/ 2147483647 h 12"/>
                    <a:gd name="T14" fmla="*/ 2147483647 w 6"/>
                    <a:gd name="T15" fmla="*/ 2147483647 h 12"/>
                    <a:gd name="T16" fmla="*/ 2147483647 w 6"/>
                    <a:gd name="T17" fmla="*/ 0 h 12"/>
                    <a:gd name="T18" fmla="*/ 2147483647 w 6"/>
                    <a:gd name="T19" fmla="*/ 0 h 12"/>
                    <a:gd name="T20" fmla="*/ 2147483647 w 6"/>
                    <a:gd name="T21" fmla="*/ 2147483647 h 12"/>
                    <a:gd name="T22" fmla="*/ 2147483647 w 6"/>
                    <a:gd name="T23" fmla="*/ 2147483647 h 1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12"/>
                    <a:gd name="T38" fmla="*/ 6 w 6"/>
                    <a:gd name="T39" fmla="*/ 12 h 1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12">
                      <a:moveTo>
                        <a:pt x="6" y="10"/>
                      </a:moveTo>
                      <a:lnTo>
                        <a:pt x="5" y="12"/>
                      </a:lnTo>
                      <a:lnTo>
                        <a:pt x="4" y="12"/>
                      </a:lnTo>
                      <a:lnTo>
                        <a:pt x="2" y="12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6" y="3"/>
                      </a:ln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0" name="Freeform 1279">
                  <a:extLst>
                    <a:ext uri="{FF2B5EF4-FFF2-40B4-BE49-F238E27FC236}">
                      <a16:creationId xmlns:a16="http://schemas.microsoft.com/office/drawing/2014/main" id="{EBDD7211-6619-B446-8B6A-F189E340EB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7091" y="2333443"/>
                  <a:ext cx="17758" cy="25157"/>
                </a:xfrm>
                <a:custGeom>
                  <a:avLst/>
                  <a:gdLst>
                    <a:gd name="T0" fmla="*/ 2147483647 w 13"/>
                    <a:gd name="T1" fmla="*/ 2147483647 h 17"/>
                    <a:gd name="T2" fmla="*/ 2147483647 w 13"/>
                    <a:gd name="T3" fmla="*/ 2147483647 h 17"/>
                    <a:gd name="T4" fmla="*/ 2147483647 w 13"/>
                    <a:gd name="T5" fmla="*/ 2147483647 h 17"/>
                    <a:gd name="T6" fmla="*/ 2147483647 w 13"/>
                    <a:gd name="T7" fmla="*/ 2147483647 h 17"/>
                    <a:gd name="T8" fmla="*/ 2147483647 w 13"/>
                    <a:gd name="T9" fmla="*/ 2147483647 h 17"/>
                    <a:gd name="T10" fmla="*/ 2147483647 w 13"/>
                    <a:gd name="T11" fmla="*/ 2147483647 h 17"/>
                    <a:gd name="T12" fmla="*/ 2147483647 w 13"/>
                    <a:gd name="T13" fmla="*/ 2147483647 h 17"/>
                    <a:gd name="T14" fmla="*/ 2147483647 w 13"/>
                    <a:gd name="T15" fmla="*/ 2147483647 h 17"/>
                    <a:gd name="T16" fmla="*/ 0 w 13"/>
                    <a:gd name="T17" fmla="*/ 2147483647 h 17"/>
                    <a:gd name="T18" fmla="*/ 2147483647 w 13"/>
                    <a:gd name="T19" fmla="*/ 2147483647 h 17"/>
                    <a:gd name="T20" fmla="*/ 2147483647 w 13"/>
                    <a:gd name="T21" fmla="*/ 2147483647 h 17"/>
                    <a:gd name="T22" fmla="*/ 2147483647 w 13"/>
                    <a:gd name="T23" fmla="*/ 0 h 17"/>
                    <a:gd name="T24" fmla="*/ 2147483647 w 13"/>
                    <a:gd name="T25" fmla="*/ 0 h 17"/>
                    <a:gd name="T26" fmla="*/ 2147483647 w 13"/>
                    <a:gd name="T27" fmla="*/ 0 h 17"/>
                    <a:gd name="T28" fmla="*/ 2147483647 w 13"/>
                    <a:gd name="T29" fmla="*/ 2147483647 h 17"/>
                    <a:gd name="T30" fmla="*/ 2147483647 w 13"/>
                    <a:gd name="T31" fmla="*/ 2147483647 h 17"/>
                    <a:gd name="T32" fmla="*/ 2147483647 w 13"/>
                    <a:gd name="T33" fmla="*/ 2147483647 h 17"/>
                    <a:gd name="T34" fmla="*/ 2147483647 w 13"/>
                    <a:gd name="T35" fmla="*/ 2147483647 h 1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17"/>
                    <a:gd name="T56" fmla="*/ 13 w 13"/>
                    <a:gd name="T57" fmla="*/ 17 h 1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17">
                      <a:moveTo>
                        <a:pt x="13" y="7"/>
                      </a:moveTo>
                      <a:lnTo>
                        <a:pt x="13" y="7"/>
                      </a:lnTo>
                      <a:lnTo>
                        <a:pt x="10" y="12"/>
                      </a:lnTo>
                      <a:lnTo>
                        <a:pt x="8" y="15"/>
                      </a:lnTo>
                      <a:lnTo>
                        <a:pt x="4" y="17"/>
                      </a:lnTo>
                      <a:lnTo>
                        <a:pt x="3" y="17"/>
                      </a:lnTo>
                      <a:lnTo>
                        <a:pt x="1" y="15"/>
                      </a:lnTo>
                      <a:lnTo>
                        <a:pt x="0" y="11"/>
                      </a:lnTo>
                      <a:lnTo>
                        <a:pt x="1" y="7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2"/>
                      </a:lnTo>
                      <a:lnTo>
                        <a:pt x="13" y="5"/>
                      </a:lnTo>
                      <a:lnTo>
                        <a:pt x="13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1" name="Freeform 1280">
                  <a:extLst>
                    <a:ext uri="{FF2B5EF4-FFF2-40B4-BE49-F238E27FC236}">
                      <a16:creationId xmlns:a16="http://schemas.microsoft.com/office/drawing/2014/main" id="{18E60F73-65E7-F846-BACD-136F8D61A6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0670" y="2694531"/>
                  <a:ext cx="7400" cy="17758"/>
                </a:xfrm>
                <a:custGeom>
                  <a:avLst/>
                  <a:gdLst>
                    <a:gd name="T0" fmla="*/ 2147483647 w 6"/>
                    <a:gd name="T1" fmla="*/ 2147483647 h 12"/>
                    <a:gd name="T2" fmla="*/ 2147483647 w 6"/>
                    <a:gd name="T3" fmla="*/ 2147483647 h 12"/>
                    <a:gd name="T4" fmla="*/ 2147483647 w 6"/>
                    <a:gd name="T5" fmla="*/ 2147483647 h 12"/>
                    <a:gd name="T6" fmla="*/ 2147483647 w 6"/>
                    <a:gd name="T7" fmla="*/ 2147483647 h 12"/>
                    <a:gd name="T8" fmla="*/ 2147483647 w 6"/>
                    <a:gd name="T9" fmla="*/ 2147483647 h 12"/>
                    <a:gd name="T10" fmla="*/ 2147483647 w 6"/>
                    <a:gd name="T11" fmla="*/ 2147483647 h 12"/>
                    <a:gd name="T12" fmla="*/ 0 w 6"/>
                    <a:gd name="T13" fmla="*/ 2147483647 h 12"/>
                    <a:gd name="T14" fmla="*/ 0 w 6"/>
                    <a:gd name="T15" fmla="*/ 2147483647 h 12"/>
                    <a:gd name="T16" fmla="*/ 2147483647 w 6"/>
                    <a:gd name="T17" fmla="*/ 2147483647 h 12"/>
                    <a:gd name="T18" fmla="*/ 2147483647 w 6"/>
                    <a:gd name="T19" fmla="*/ 2147483647 h 12"/>
                    <a:gd name="T20" fmla="*/ 2147483647 w 6"/>
                    <a:gd name="T21" fmla="*/ 2147483647 h 12"/>
                    <a:gd name="T22" fmla="*/ 2147483647 w 6"/>
                    <a:gd name="T23" fmla="*/ 0 h 12"/>
                    <a:gd name="T24" fmla="*/ 2147483647 w 6"/>
                    <a:gd name="T25" fmla="*/ 0 h 12"/>
                    <a:gd name="T26" fmla="*/ 2147483647 w 6"/>
                    <a:gd name="T27" fmla="*/ 2147483647 h 12"/>
                    <a:gd name="T28" fmla="*/ 2147483647 w 6"/>
                    <a:gd name="T29" fmla="*/ 2147483647 h 12"/>
                    <a:gd name="T30" fmla="*/ 2147483647 w 6"/>
                    <a:gd name="T31" fmla="*/ 2147483647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12"/>
                    <a:gd name="T50" fmla="*/ 6 w 6"/>
                    <a:gd name="T51" fmla="*/ 12 h 1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12">
                      <a:moveTo>
                        <a:pt x="6" y="10"/>
                      </a:moveTo>
                      <a:lnTo>
                        <a:pt x="6" y="10"/>
                      </a:lnTo>
                      <a:lnTo>
                        <a:pt x="5" y="12"/>
                      </a:lnTo>
                      <a:lnTo>
                        <a:pt x="3" y="12"/>
                      </a:lnTo>
                      <a:lnTo>
                        <a:pt x="2" y="12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3"/>
                      </a:ln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2" name="Freeform 1281">
                  <a:extLst>
                    <a:ext uri="{FF2B5EF4-FFF2-40B4-BE49-F238E27FC236}">
                      <a16:creationId xmlns:a16="http://schemas.microsoft.com/office/drawing/2014/main" id="{3D47FC02-B6AE-574E-8B56-D3008BEAE2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3631" y="2238730"/>
                  <a:ext cx="614147" cy="537193"/>
                </a:xfrm>
                <a:custGeom>
                  <a:avLst/>
                  <a:gdLst>
                    <a:gd name="T0" fmla="*/ 2147483647 w 449"/>
                    <a:gd name="T1" fmla="*/ 2147483647 h 363"/>
                    <a:gd name="T2" fmla="*/ 2147483647 w 449"/>
                    <a:gd name="T3" fmla="*/ 2147483647 h 363"/>
                    <a:gd name="T4" fmla="*/ 2147483647 w 449"/>
                    <a:gd name="T5" fmla="*/ 2147483647 h 363"/>
                    <a:gd name="T6" fmla="*/ 2147483647 w 449"/>
                    <a:gd name="T7" fmla="*/ 2147483647 h 363"/>
                    <a:gd name="T8" fmla="*/ 2147483647 w 449"/>
                    <a:gd name="T9" fmla="*/ 2147483647 h 363"/>
                    <a:gd name="T10" fmla="*/ 2147483647 w 449"/>
                    <a:gd name="T11" fmla="*/ 2147483647 h 363"/>
                    <a:gd name="T12" fmla="*/ 2147483647 w 449"/>
                    <a:gd name="T13" fmla="*/ 2147483647 h 363"/>
                    <a:gd name="T14" fmla="*/ 2147483647 w 449"/>
                    <a:gd name="T15" fmla="*/ 2147483647 h 363"/>
                    <a:gd name="T16" fmla="*/ 2147483647 w 449"/>
                    <a:gd name="T17" fmla="*/ 2147483647 h 363"/>
                    <a:gd name="T18" fmla="*/ 2147483647 w 449"/>
                    <a:gd name="T19" fmla="*/ 2147483647 h 363"/>
                    <a:gd name="T20" fmla="*/ 2147483647 w 449"/>
                    <a:gd name="T21" fmla="*/ 2147483647 h 363"/>
                    <a:gd name="T22" fmla="*/ 2147483647 w 449"/>
                    <a:gd name="T23" fmla="*/ 2147483647 h 363"/>
                    <a:gd name="T24" fmla="*/ 2147483647 w 449"/>
                    <a:gd name="T25" fmla="*/ 2147483647 h 363"/>
                    <a:gd name="T26" fmla="*/ 2147483647 w 449"/>
                    <a:gd name="T27" fmla="*/ 2147483647 h 363"/>
                    <a:gd name="T28" fmla="*/ 2147483647 w 449"/>
                    <a:gd name="T29" fmla="*/ 2147483647 h 363"/>
                    <a:gd name="T30" fmla="*/ 2147483647 w 449"/>
                    <a:gd name="T31" fmla="*/ 2147483647 h 363"/>
                    <a:gd name="T32" fmla="*/ 2147483647 w 449"/>
                    <a:gd name="T33" fmla="*/ 2147483647 h 363"/>
                    <a:gd name="T34" fmla="*/ 2147483647 w 449"/>
                    <a:gd name="T35" fmla="*/ 2147483647 h 363"/>
                    <a:gd name="T36" fmla="*/ 2147483647 w 449"/>
                    <a:gd name="T37" fmla="*/ 2147483647 h 363"/>
                    <a:gd name="T38" fmla="*/ 2147483647 w 449"/>
                    <a:gd name="T39" fmla="*/ 2147483647 h 363"/>
                    <a:gd name="T40" fmla="*/ 0 w 449"/>
                    <a:gd name="T41" fmla="*/ 2147483647 h 363"/>
                    <a:gd name="T42" fmla="*/ 2147483647 w 449"/>
                    <a:gd name="T43" fmla="*/ 2147483647 h 363"/>
                    <a:gd name="T44" fmla="*/ 2147483647 w 449"/>
                    <a:gd name="T45" fmla="*/ 2147483647 h 363"/>
                    <a:gd name="T46" fmla="*/ 2147483647 w 449"/>
                    <a:gd name="T47" fmla="*/ 2147483647 h 363"/>
                    <a:gd name="T48" fmla="*/ 2147483647 w 449"/>
                    <a:gd name="T49" fmla="*/ 2147483647 h 363"/>
                    <a:gd name="T50" fmla="*/ 2147483647 w 449"/>
                    <a:gd name="T51" fmla="*/ 2147483647 h 363"/>
                    <a:gd name="T52" fmla="*/ 2147483647 w 449"/>
                    <a:gd name="T53" fmla="*/ 2147483647 h 363"/>
                    <a:gd name="T54" fmla="*/ 2147483647 w 449"/>
                    <a:gd name="T55" fmla="*/ 2147483647 h 363"/>
                    <a:gd name="T56" fmla="*/ 2147483647 w 449"/>
                    <a:gd name="T57" fmla="*/ 2147483647 h 363"/>
                    <a:gd name="T58" fmla="*/ 2147483647 w 449"/>
                    <a:gd name="T59" fmla="*/ 2147483647 h 363"/>
                    <a:gd name="T60" fmla="*/ 2147483647 w 449"/>
                    <a:gd name="T61" fmla="*/ 2147483647 h 363"/>
                    <a:gd name="T62" fmla="*/ 2147483647 w 449"/>
                    <a:gd name="T63" fmla="*/ 2147483647 h 363"/>
                    <a:gd name="T64" fmla="*/ 2147483647 w 449"/>
                    <a:gd name="T65" fmla="*/ 2147483647 h 363"/>
                    <a:gd name="T66" fmla="*/ 2147483647 w 449"/>
                    <a:gd name="T67" fmla="*/ 2147483647 h 363"/>
                    <a:gd name="T68" fmla="*/ 2147483647 w 449"/>
                    <a:gd name="T69" fmla="*/ 2147483647 h 363"/>
                    <a:gd name="T70" fmla="*/ 2147483647 w 449"/>
                    <a:gd name="T71" fmla="*/ 2147483647 h 363"/>
                    <a:gd name="T72" fmla="*/ 2147483647 w 449"/>
                    <a:gd name="T73" fmla="*/ 2147483647 h 363"/>
                    <a:gd name="T74" fmla="*/ 2147483647 w 449"/>
                    <a:gd name="T75" fmla="*/ 2147483647 h 363"/>
                    <a:gd name="T76" fmla="*/ 2147483647 w 449"/>
                    <a:gd name="T77" fmla="*/ 2147483647 h 363"/>
                    <a:gd name="T78" fmla="*/ 2147483647 w 449"/>
                    <a:gd name="T79" fmla="*/ 2147483647 h 363"/>
                    <a:gd name="T80" fmla="*/ 2147483647 w 449"/>
                    <a:gd name="T81" fmla="*/ 2147483647 h 363"/>
                    <a:gd name="T82" fmla="*/ 2147483647 w 449"/>
                    <a:gd name="T83" fmla="*/ 2147483647 h 363"/>
                    <a:gd name="T84" fmla="*/ 2147483647 w 449"/>
                    <a:gd name="T85" fmla="*/ 2147483647 h 363"/>
                    <a:gd name="T86" fmla="*/ 2147483647 w 449"/>
                    <a:gd name="T87" fmla="*/ 2147483647 h 363"/>
                    <a:gd name="T88" fmla="*/ 2147483647 w 449"/>
                    <a:gd name="T89" fmla="*/ 2147483647 h 363"/>
                    <a:gd name="T90" fmla="*/ 2147483647 w 449"/>
                    <a:gd name="T91" fmla="*/ 2147483647 h 363"/>
                    <a:gd name="T92" fmla="*/ 2147483647 w 449"/>
                    <a:gd name="T93" fmla="*/ 2147483647 h 363"/>
                    <a:gd name="T94" fmla="*/ 2147483647 w 449"/>
                    <a:gd name="T95" fmla="*/ 2147483647 h 363"/>
                    <a:gd name="T96" fmla="*/ 2147483647 w 449"/>
                    <a:gd name="T97" fmla="*/ 2147483647 h 363"/>
                    <a:gd name="T98" fmla="*/ 2147483647 w 449"/>
                    <a:gd name="T99" fmla="*/ 2147483647 h 363"/>
                    <a:gd name="T100" fmla="*/ 2147483647 w 449"/>
                    <a:gd name="T101" fmla="*/ 2147483647 h 363"/>
                    <a:gd name="T102" fmla="*/ 2147483647 w 449"/>
                    <a:gd name="T103" fmla="*/ 2147483647 h 363"/>
                    <a:gd name="T104" fmla="*/ 2147483647 w 449"/>
                    <a:gd name="T105" fmla="*/ 2147483647 h 363"/>
                    <a:gd name="T106" fmla="*/ 2147483647 w 449"/>
                    <a:gd name="T107" fmla="*/ 2147483647 h 363"/>
                    <a:gd name="T108" fmla="*/ 2147483647 w 449"/>
                    <a:gd name="T109" fmla="*/ 2147483647 h 363"/>
                    <a:gd name="T110" fmla="*/ 2147483647 w 449"/>
                    <a:gd name="T111" fmla="*/ 2147483647 h 363"/>
                    <a:gd name="T112" fmla="*/ 2147483647 w 449"/>
                    <a:gd name="T113" fmla="*/ 2147483647 h 36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449"/>
                    <a:gd name="T172" fmla="*/ 0 h 363"/>
                    <a:gd name="T173" fmla="*/ 449 w 449"/>
                    <a:gd name="T174" fmla="*/ 363 h 363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449" h="363">
                      <a:moveTo>
                        <a:pt x="272" y="64"/>
                      </a:moveTo>
                      <a:lnTo>
                        <a:pt x="266" y="71"/>
                      </a:lnTo>
                      <a:lnTo>
                        <a:pt x="261" y="78"/>
                      </a:lnTo>
                      <a:lnTo>
                        <a:pt x="257" y="81"/>
                      </a:lnTo>
                      <a:lnTo>
                        <a:pt x="254" y="82"/>
                      </a:lnTo>
                      <a:lnTo>
                        <a:pt x="251" y="82"/>
                      </a:lnTo>
                      <a:lnTo>
                        <a:pt x="247" y="81"/>
                      </a:lnTo>
                      <a:lnTo>
                        <a:pt x="242" y="79"/>
                      </a:lnTo>
                      <a:lnTo>
                        <a:pt x="237" y="79"/>
                      </a:lnTo>
                      <a:lnTo>
                        <a:pt x="233" y="79"/>
                      </a:lnTo>
                      <a:lnTo>
                        <a:pt x="229" y="82"/>
                      </a:lnTo>
                      <a:lnTo>
                        <a:pt x="225" y="86"/>
                      </a:lnTo>
                      <a:lnTo>
                        <a:pt x="221" y="90"/>
                      </a:lnTo>
                      <a:lnTo>
                        <a:pt x="212" y="95"/>
                      </a:lnTo>
                      <a:lnTo>
                        <a:pt x="202" y="100"/>
                      </a:lnTo>
                      <a:lnTo>
                        <a:pt x="192" y="104"/>
                      </a:lnTo>
                      <a:lnTo>
                        <a:pt x="190" y="107"/>
                      </a:lnTo>
                      <a:lnTo>
                        <a:pt x="187" y="109"/>
                      </a:lnTo>
                      <a:lnTo>
                        <a:pt x="186" y="115"/>
                      </a:lnTo>
                      <a:lnTo>
                        <a:pt x="183" y="120"/>
                      </a:lnTo>
                      <a:lnTo>
                        <a:pt x="179" y="124"/>
                      </a:lnTo>
                      <a:lnTo>
                        <a:pt x="174" y="128"/>
                      </a:lnTo>
                      <a:lnTo>
                        <a:pt x="173" y="129"/>
                      </a:lnTo>
                      <a:lnTo>
                        <a:pt x="172" y="132"/>
                      </a:lnTo>
                      <a:lnTo>
                        <a:pt x="172" y="136"/>
                      </a:lnTo>
                      <a:lnTo>
                        <a:pt x="169" y="140"/>
                      </a:lnTo>
                      <a:lnTo>
                        <a:pt x="166" y="142"/>
                      </a:lnTo>
                      <a:lnTo>
                        <a:pt x="160" y="143"/>
                      </a:lnTo>
                      <a:lnTo>
                        <a:pt x="157" y="147"/>
                      </a:lnTo>
                      <a:lnTo>
                        <a:pt x="155" y="151"/>
                      </a:lnTo>
                      <a:lnTo>
                        <a:pt x="154" y="166"/>
                      </a:lnTo>
                      <a:lnTo>
                        <a:pt x="152" y="173"/>
                      </a:lnTo>
                      <a:lnTo>
                        <a:pt x="148" y="180"/>
                      </a:lnTo>
                      <a:lnTo>
                        <a:pt x="148" y="183"/>
                      </a:lnTo>
                      <a:lnTo>
                        <a:pt x="149" y="185"/>
                      </a:lnTo>
                      <a:lnTo>
                        <a:pt x="153" y="192"/>
                      </a:lnTo>
                      <a:lnTo>
                        <a:pt x="154" y="196"/>
                      </a:lnTo>
                      <a:lnTo>
                        <a:pt x="152" y="198"/>
                      </a:lnTo>
                      <a:lnTo>
                        <a:pt x="149" y="199"/>
                      </a:lnTo>
                      <a:lnTo>
                        <a:pt x="145" y="199"/>
                      </a:lnTo>
                      <a:lnTo>
                        <a:pt x="139" y="197"/>
                      </a:lnTo>
                      <a:lnTo>
                        <a:pt x="134" y="197"/>
                      </a:lnTo>
                      <a:lnTo>
                        <a:pt x="129" y="198"/>
                      </a:lnTo>
                      <a:lnTo>
                        <a:pt x="125" y="200"/>
                      </a:lnTo>
                      <a:lnTo>
                        <a:pt x="122" y="204"/>
                      </a:lnTo>
                      <a:lnTo>
                        <a:pt x="120" y="209"/>
                      </a:lnTo>
                      <a:lnTo>
                        <a:pt x="117" y="219"/>
                      </a:lnTo>
                      <a:lnTo>
                        <a:pt x="116" y="229"/>
                      </a:lnTo>
                      <a:lnTo>
                        <a:pt x="116" y="236"/>
                      </a:lnTo>
                      <a:lnTo>
                        <a:pt x="117" y="243"/>
                      </a:lnTo>
                      <a:lnTo>
                        <a:pt x="117" y="250"/>
                      </a:lnTo>
                      <a:lnTo>
                        <a:pt x="117" y="256"/>
                      </a:lnTo>
                      <a:lnTo>
                        <a:pt x="120" y="262"/>
                      </a:lnTo>
                      <a:lnTo>
                        <a:pt x="121" y="263"/>
                      </a:lnTo>
                      <a:lnTo>
                        <a:pt x="124" y="264"/>
                      </a:lnTo>
                      <a:lnTo>
                        <a:pt x="126" y="267"/>
                      </a:lnTo>
                      <a:lnTo>
                        <a:pt x="127" y="268"/>
                      </a:lnTo>
                      <a:lnTo>
                        <a:pt x="129" y="274"/>
                      </a:lnTo>
                      <a:lnTo>
                        <a:pt x="130" y="276"/>
                      </a:lnTo>
                      <a:lnTo>
                        <a:pt x="129" y="279"/>
                      </a:lnTo>
                      <a:lnTo>
                        <a:pt x="125" y="280"/>
                      </a:lnTo>
                      <a:lnTo>
                        <a:pt x="122" y="281"/>
                      </a:lnTo>
                      <a:lnTo>
                        <a:pt x="121" y="282"/>
                      </a:lnTo>
                      <a:lnTo>
                        <a:pt x="120" y="298"/>
                      </a:lnTo>
                      <a:lnTo>
                        <a:pt x="117" y="309"/>
                      </a:lnTo>
                      <a:lnTo>
                        <a:pt x="113" y="320"/>
                      </a:lnTo>
                      <a:lnTo>
                        <a:pt x="108" y="332"/>
                      </a:lnTo>
                      <a:lnTo>
                        <a:pt x="103" y="330"/>
                      </a:lnTo>
                      <a:lnTo>
                        <a:pt x="101" y="327"/>
                      </a:lnTo>
                      <a:lnTo>
                        <a:pt x="98" y="326"/>
                      </a:lnTo>
                      <a:lnTo>
                        <a:pt x="97" y="321"/>
                      </a:lnTo>
                      <a:lnTo>
                        <a:pt x="96" y="315"/>
                      </a:lnTo>
                      <a:lnTo>
                        <a:pt x="97" y="311"/>
                      </a:lnTo>
                      <a:lnTo>
                        <a:pt x="99" y="306"/>
                      </a:lnTo>
                      <a:lnTo>
                        <a:pt x="99" y="305"/>
                      </a:lnTo>
                      <a:lnTo>
                        <a:pt x="98" y="303"/>
                      </a:lnTo>
                      <a:lnTo>
                        <a:pt x="97" y="302"/>
                      </a:lnTo>
                      <a:lnTo>
                        <a:pt x="94" y="303"/>
                      </a:lnTo>
                      <a:lnTo>
                        <a:pt x="92" y="305"/>
                      </a:lnTo>
                      <a:lnTo>
                        <a:pt x="91" y="308"/>
                      </a:lnTo>
                      <a:lnTo>
                        <a:pt x="91" y="315"/>
                      </a:lnTo>
                      <a:lnTo>
                        <a:pt x="92" y="326"/>
                      </a:lnTo>
                      <a:lnTo>
                        <a:pt x="92" y="331"/>
                      </a:lnTo>
                      <a:lnTo>
                        <a:pt x="91" y="333"/>
                      </a:lnTo>
                      <a:lnTo>
                        <a:pt x="88" y="334"/>
                      </a:lnTo>
                      <a:lnTo>
                        <a:pt x="80" y="339"/>
                      </a:lnTo>
                      <a:lnTo>
                        <a:pt x="74" y="345"/>
                      </a:lnTo>
                      <a:lnTo>
                        <a:pt x="61" y="357"/>
                      </a:lnTo>
                      <a:lnTo>
                        <a:pt x="58" y="360"/>
                      </a:lnTo>
                      <a:lnTo>
                        <a:pt x="52" y="363"/>
                      </a:lnTo>
                      <a:lnTo>
                        <a:pt x="49" y="363"/>
                      </a:lnTo>
                      <a:lnTo>
                        <a:pt x="44" y="363"/>
                      </a:lnTo>
                      <a:lnTo>
                        <a:pt x="32" y="360"/>
                      </a:lnTo>
                      <a:lnTo>
                        <a:pt x="22" y="357"/>
                      </a:lnTo>
                      <a:lnTo>
                        <a:pt x="17" y="357"/>
                      </a:lnTo>
                      <a:lnTo>
                        <a:pt x="14" y="357"/>
                      </a:lnTo>
                      <a:lnTo>
                        <a:pt x="12" y="356"/>
                      </a:lnTo>
                      <a:lnTo>
                        <a:pt x="11" y="351"/>
                      </a:lnTo>
                      <a:lnTo>
                        <a:pt x="9" y="346"/>
                      </a:lnTo>
                      <a:lnTo>
                        <a:pt x="8" y="343"/>
                      </a:lnTo>
                      <a:lnTo>
                        <a:pt x="6" y="340"/>
                      </a:lnTo>
                      <a:lnTo>
                        <a:pt x="3" y="339"/>
                      </a:lnTo>
                      <a:lnTo>
                        <a:pt x="3" y="338"/>
                      </a:lnTo>
                      <a:lnTo>
                        <a:pt x="14" y="340"/>
                      </a:lnTo>
                      <a:lnTo>
                        <a:pt x="18" y="339"/>
                      </a:lnTo>
                      <a:lnTo>
                        <a:pt x="21" y="337"/>
                      </a:lnTo>
                      <a:lnTo>
                        <a:pt x="21" y="333"/>
                      </a:lnTo>
                      <a:lnTo>
                        <a:pt x="21" y="331"/>
                      </a:lnTo>
                      <a:lnTo>
                        <a:pt x="19" y="330"/>
                      </a:lnTo>
                      <a:lnTo>
                        <a:pt x="14" y="326"/>
                      </a:lnTo>
                      <a:lnTo>
                        <a:pt x="13" y="324"/>
                      </a:lnTo>
                      <a:lnTo>
                        <a:pt x="13" y="320"/>
                      </a:lnTo>
                      <a:lnTo>
                        <a:pt x="13" y="319"/>
                      </a:lnTo>
                      <a:lnTo>
                        <a:pt x="14" y="318"/>
                      </a:lnTo>
                      <a:lnTo>
                        <a:pt x="18" y="315"/>
                      </a:lnTo>
                      <a:lnTo>
                        <a:pt x="18" y="314"/>
                      </a:lnTo>
                      <a:lnTo>
                        <a:pt x="17" y="313"/>
                      </a:lnTo>
                      <a:lnTo>
                        <a:pt x="11" y="312"/>
                      </a:lnTo>
                      <a:lnTo>
                        <a:pt x="9" y="311"/>
                      </a:lnTo>
                      <a:lnTo>
                        <a:pt x="9" y="308"/>
                      </a:lnTo>
                      <a:lnTo>
                        <a:pt x="11" y="303"/>
                      </a:lnTo>
                      <a:lnTo>
                        <a:pt x="11" y="299"/>
                      </a:lnTo>
                      <a:lnTo>
                        <a:pt x="9" y="294"/>
                      </a:lnTo>
                      <a:lnTo>
                        <a:pt x="8" y="289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8" y="282"/>
                      </a:lnTo>
                      <a:lnTo>
                        <a:pt x="11" y="282"/>
                      </a:lnTo>
                      <a:lnTo>
                        <a:pt x="12" y="282"/>
                      </a:lnTo>
                      <a:lnTo>
                        <a:pt x="14" y="283"/>
                      </a:lnTo>
                      <a:lnTo>
                        <a:pt x="17" y="286"/>
                      </a:lnTo>
                      <a:lnTo>
                        <a:pt x="18" y="286"/>
                      </a:lnTo>
                      <a:lnTo>
                        <a:pt x="19" y="286"/>
                      </a:lnTo>
                      <a:lnTo>
                        <a:pt x="23" y="284"/>
                      </a:lnTo>
                      <a:lnTo>
                        <a:pt x="28" y="284"/>
                      </a:lnTo>
                      <a:lnTo>
                        <a:pt x="31" y="284"/>
                      </a:lnTo>
                      <a:lnTo>
                        <a:pt x="32" y="283"/>
                      </a:lnTo>
                      <a:lnTo>
                        <a:pt x="32" y="281"/>
                      </a:lnTo>
                      <a:lnTo>
                        <a:pt x="31" y="280"/>
                      </a:lnTo>
                      <a:lnTo>
                        <a:pt x="25" y="279"/>
                      </a:lnTo>
                      <a:lnTo>
                        <a:pt x="16" y="279"/>
                      </a:lnTo>
                      <a:lnTo>
                        <a:pt x="9" y="279"/>
                      </a:lnTo>
                      <a:lnTo>
                        <a:pt x="7" y="277"/>
                      </a:lnTo>
                      <a:lnTo>
                        <a:pt x="4" y="276"/>
                      </a:lnTo>
                      <a:lnTo>
                        <a:pt x="2" y="275"/>
                      </a:lnTo>
                      <a:lnTo>
                        <a:pt x="0" y="274"/>
                      </a:lnTo>
                      <a:lnTo>
                        <a:pt x="0" y="273"/>
                      </a:lnTo>
                      <a:lnTo>
                        <a:pt x="2" y="271"/>
                      </a:lnTo>
                      <a:lnTo>
                        <a:pt x="4" y="270"/>
                      </a:lnTo>
                      <a:lnTo>
                        <a:pt x="6" y="263"/>
                      </a:lnTo>
                      <a:lnTo>
                        <a:pt x="9" y="257"/>
                      </a:lnTo>
                      <a:lnTo>
                        <a:pt x="12" y="255"/>
                      </a:lnTo>
                      <a:lnTo>
                        <a:pt x="14" y="254"/>
                      </a:lnTo>
                      <a:lnTo>
                        <a:pt x="18" y="254"/>
                      </a:lnTo>
                      <a:lnTo>
                        <a:pt x="22" y="254"/>
                      </a:lnTo>
                      <a:lnTo>
                        <a:pt x="23" y="251"/>
                      </a:lnTo>
                      <a:lnTo>
                        <a:pt x="25" y="250"/>
                      </a:lnTo>
                      <a:lnTo>
                        <a:pt x="32" y="248"/>
                      </a:lnTo>
                      <a:lnTo>
                        <a:pt x="40" y="244"/>
                      </a:lnTo>
                      <a:lnTo>
                        <a:pt x="42" y="242"/>
                      </a:lnTo>
                      <a:lnTo>
                        <a:pt x="44" y="239"/>
                      </a:lnTo>
                      <a:lnTo>
                        <a:pt x="45" y="236"/>
                      </a:lnTo>
                      <a:lnTo>
                        <a:pt x="44" y="232"/>
                      </a:lnTo>
                      <a:lnTo>
                        <a:pt x="50" y="234"/>
                      </a:lnTo>
                      <a:lnTo>
                        <a:pt x="56" y="232"/>
                      </a:lnTo>
                      <a:lnTo>
                        <a:pt x="63" y="230"/>
                      </a:lnTo>
                      <a:lnTo>
                        <a:pt x="68" y="226"/>
                      </a:lnTo>
                      <a:lnTo>
                        <a:pt x="72" y="225"/>
                      </a:lnTo>
                      <a:lnTo>
                        <a:pt x="75" y="224"/>
                      </a:lnTo>
                      <a:lnTo>
                        <a:pt x="79" y="224"/>
                      </a:lnTo>
                      <a:lnTo>
                        <a:pt x="82" y="223"/>
                      </a:lnTo>
                      <a:lnTo>
                        <a:pt x="83" y="222"/>
                      </a:lnTo>
                      <a:lnTo>
                        <a:pt x="86" y="216"/>
                      </a:lnTo>
                      <a:lnTo>
                        <a:pt x="88" y="209"/>
                      </a:lnTo>
                      <a:lnTo>
                        <a:pt x="92" y="201"/>
                      </a:lnTo>
                      <a:lnTo>
                        <a:pt x="96" y="196"/>
                      </a:lnTo>
                      <a:lnTo>
                        <a:pt x="98" y="192"/>
                      </a:lnTo>
                      <a:lnTo>
                        <a:pt x="99" y="188"/>
                      </a:lnTo>
                      <a:lnTo>
                        <a:pt x="102" y="187"/>
                      </a:lnTo>
                      <a:lnTo>
                        <a:pt x="105" y="185"/>
                      </a:lnTo>
                      <a:lnTo>
                        <a:pt x="107" y="184"/>
                      </a:lnTo>
                      <a:lnTo>
                        <a:pt x="110" y="183"/>
                      </a:lnTo>
                      <a:lnTo>
                        <a:pt x="110" y="180"/>
                      </a:lnTo>
                      <a:lnTo>
                        <a:pt x="110" y="178"/>
                      </a:lnTo>
                      <a:lnTo>
                        <a:pt x="110" y="172"/>
                      </a:lnTo>
                      <a:lnTo>
                        <a:pt x="111" y="169"/>
                      </a:lnTo>
                      <a:lnTo>
                        <a:pt x="112" y="169"/>
                      </a:lnTo>
                      <a:lnTo>
                        <a:pt x="113" y="169"/>
                      </a:lnTo>
                      <a:lnTo>
                        <a:pt x="117" y="174"/>
                      </a:lnTo>
                      <a:lnTo>
                        <a:pt x="122" y="178"/>
                      </a:lnTo>
                      <a:lnTo>
                        <a:pt x="125" y="178"/>
                      </a:lnTo>
                      <a:lnTo>
                        <a:pt x="127" y="178"/>
                      </a:lnTo>
                      <a:lnTo>
                        <a:pt x="130" y="177"/>
                      </a:lnTo>
                      <a:lnTo>
                        <a:pt x="132" y="174"/>
                      </a:lnTo>
                      <a:lnTo>
                        <a:pt x="134" y="172"/>
                      </a:lnTo>
                      <a:lnTo>
                        <a:pt x="134" y="168"/>
                      </a:lnTo>
                      <a:lnTo>
                        <a:pt x="132" y="166"/>
                      </a:lnTo>
                      <a:lnTo>
                        <a:pt x="131" y="164"/>
                      </a:lnTo>
                      <a:lnTo>
                        <a:pt x="127" y="160"/>
                      </a:lnTo>
                      <a:lnTo>
                        <a:pt x="126" y="156"/>
                      </a:lnTo>
                      <a:lnTo>
                        <a:pt x="127" y="152"/>
                      </a:lnTo>
                      <a:lnTo>
                        <a:pt x="129" y="147"/>
                      </a:lnTo>
                      <a:lnTo>
                        <a:pt x="136" y="139"/>
                      </a:lnTo>
                      <a:lnTo>
                        <a:pt x="140" y="135"/>
                      </a:lnTo>
                      <a:lnTo>
                        <a:pt x="144" y="129"/>
                      </a:lnTo>
                      <a:lnTo>
                        <a:pt x="145" y="128"/>
                      </a:lnTo>
                      <a:lnTo>
                        <a:pt x="148" y="126"/>
                      </a:lnTo>
                      <a:lnTo>
                        <a:pt x="153" y="123"/>
                      </a:lnTo>
                      <a:lnTo>
                        <a:pt x="164" y="120"/>
                      </a:lnTo>
                      <a:lnTo>
                        <a:pt x="166" y="119"/>
                      </a:lnTo>
                      <a:lnTo>
                        <a:pt x="167" y="117"/>
                      </a:lnTo>
                      <a:lnTo>
                        <a:pt x="171" y="114"/>
                      </a:lnTo>
                      <a:lnTo>
                        <a:pt x="174" y="113"/>
                      </a:lnTo>
                      <a:lnTo>
                        <a:pt x="178" y="109"/>
                      </a:lnTo>
                      <a:lnTo>
                        <a:pt x="179" y="108"/>
                      </a:lnTo>
                      <a:lnTo>
                        <a:pt x="179" y="105"/>
                      </a:lnTo>
                      <a:lnTo>
                        <a:pt x="179" y="103"/>
                      </a:lnTo>
                      <a:lnTo>
                        <a:pt x="178" y="102"/>
                      </a:lnTo>
                      <a:lnTo>
                        <a:pt x="174" y="100"/>
                      </a:lnTo>
                      <a:lnTo>
                        <a:pt x="174" y="98"/>
                      </a:lnTo>
                      <a:lnTo>
                        <a:pt x="176" y="97"/>
                      </a:lnTo>
                      <a:lnTo>
                        <a:pt x="177" y="95"/>
                      </a:lnTo>
                      <a:lnTo>
                        <a:pt x="185" y="92"/>
                      </a:lnTo>
                      <a:lnTo>
                        <a:pt x="187" y="91"/>
                      </a:lnTo>
                      <a:lnTo>
                        <a:pt x="192" y="91"/>
                      </a:lnTo>
                      <a:lnTo>
                        <a:pt x="197" y="90"/>
                      </a:lnTo>
                      <a:lnTo>
                        <a:pt x="201" y="88"/>
                      </a:lnTo>
                      <a:lnTo>
                        <a:pt x="204" y="83"/>
                      </a:lnTo>
                      <a:lnTo>
                        <a:pt x="205" y="76"/>
                      </a:lnTo>
                      <a:lnTo>
                        <a:pt x="205" y="75"/>
                      </a:lnTo>
                      <a:lnTo>
                        <a:pt x="209" y="73"/>
                      </a:lnTo>
                      <a:lnTo>
                        <a:pt x="216" y="73"/>
                      </a:lnTo>
                      <a:lnTo>
                        <a:pt x="219" y="72"/>
                      </a:lnTo>
                      <a:lnTo>
                        <a:pt x="219" y="70"/>
                      </a:lnTo>
                      <a:lnTo>
                        <a:pt x="219" y="66"/>
                      </a:lnTo>
                      <a:lnTo>
                        <a:pt x="220" y="64"/>
                      </a:lnTo>
                      <a:lnTo>
                        <a:pt x="224" y="62"/>
                      </a:lnTo>
                      <a:lnTo>
                        <a:pt x="228" y="56"/>
                      </a:lnTo>
                      <a:lnTo>
                        <a:pt x="234" y="52"/>
                      </a:lnTo>
                      <a:lnTo>
                        <a:pt x="238" y="51"/>
                      </a:lnTo>
                      <a:lnTo>
                        <a:pt x="240" y="51"/>
                      </a:lnTo>
                      <a:lnTo>
                        <a:pt x="248" y="52"/>
                      </a:lnTo>
                      <a:lnTo>
                        <a:pt x="249" y="52"/>
                      </a:lnTo>
                      <a:lnTo>
                        <a:pt x="251" y="51"/>
                      </a:lnTo>
                      <a:lnTo>
                        <a:pt x="251" y="50"/>
                      </a:lnTo>
                      <a:lnTo>
                        <a:pt x="251" y="49"/>
                      </a:lnTo>
                      <a:lnTo>
                        <a:pt x="247" y="46"/>
                      </a:lnTo>
                      <a:lnTo>
                        <a:pt x="246" y="45"/>
                      </a:lnTo>
                      <a:lnTo>
                        <a:pt x="246" y="44"/>
                      </a:lnTo>
                      <a:lnTo>
                        <a:pt x="246" y="43"/>
                      </a:lnTo>
                      <a:lnTo>
                        <a:pt x="247" y="41"/>
                      </a:lnTo>
                      <a:lnTo>
                        <a:pt x="252" y="41"/>
                      </a:lnTo>
                      <a:lnTo>
                        <a:pt x="256" y="39"/>
                      </a:lnTo>
                      <a:lnTo>
                        <a:pt x="259" y="37"/>
                      </a:lnTo>
                      <a:lnTo>
                        <a:pt x="263" y="34"/>
                      </a:lnTo>
                      <a:lnTo>
                        <a:pt x="267" y="33"/>
                      </a:lnTo>
                      <a:lnTo>
                        <a:pt x="267" y="36"/>
                      </a:lnTo>
                      <a:lnTo>
                        <a:pt x="266" y="39"/>
                      </a:lnTo>
                      <a:lnTo>
                        <a:pt x="266" y="41"/>
                      </a:lnTo>
                      <a:lnTo>
                        <a:pt x="266" y="43"/>
                      </a:lnTo>
                      <a:lnTo>
                        <a:pt x="267" y="43"/>
                      </a:lnTo>
                      <a:lnTo>
                        <a:pt x="277" y="39"/>
                      </a:lnTo>
                      <a:lnTo>
                        <a:pt x="287" y="36"/>
                      </a:lnTo>
                      <a:lnTo>
                        <a:pt x="289" y="36"/>
                      </a:lnTo>
                      <a:lnTo>
                        <a:pt x="289" y="34"/>
                      </a:lnTo>
                      <a:lnTo>
                        <a:pt x="287" y="32"/>
                      </a:lnTo>
                      <a:lnTo>
                        <a:pt x="285" y="26"/>
                      </a:lnTo>
                      <a:lnTo>
                        <a:pt x="284" y="25"/>
                      </a:lnTo>
                      <a:lnTo>
                        <a:pt x="285" y="24"/>
                      </a:lnTo>
                      <a:lnTo>
                        <a:pt x="287" y="21"/>
                      </a:lnTo>
                      <a:lnTo>
                        <a:pt x="290" y="21"/>
                      </a:lnTo>
                      <a:lnTo>
                        <a:pt x="294" y="22"/>
                      </a:lnTo>
                      <a:lnTo>
                        <a:pt x="301" y="27"/>
                      </a:lnTo>
                      <a:lnTo>
                        <a:pt x="306" y="31"/>
                      </a:lnTo>
                      <a:lnTo>
                        <a:pt x="310" y="32"/>
                      </a:lnTo>
                      <a:lnTo>
                        <a:pt x="313" y="31"/>
                      </a:lnTo>
                      <a:lnTo>
                        <a:pt x="313" y="27"/>
                      </a:lnTo>
                      <a:lnTo>
                        <a:pt x="315" y="24"/>
                      </a:lnTo>
                      <a:lnTo>
                        <a:pt x="320" y="19"/>
                      </a:lnTo>
                      <a:lnTo>
                        <a:pt x="328" y="12"/>
                      </a:lnTo>
                      <a:lnTo>
                        <a:pt x="337" y="5"/>
                      </a:lnTo>
                      <a:lnTo>
                        <a:pt x="339" y="4"/>
                      </a:lnTo>
                      <a:lnTo>
                        <a:pt x="341" y="4"/>
                      </a:lnTo>
                      <a:lnTo>
                        <a:pt x="343" y="4"/>
                      </a:lnTo>
                      <a:lnTo>
                        <a:pt x="347" y="4"/>
                      </a:lnTo>
                      <a:lnTo>
                        <a:pt x="350" y="5"/>
                      </a:lnTo>
                      <a:lnTo>
                        <a:pt x="352" y="5"/>
                      </a:lnTo>
                      <a:lnTo>
                        <a:pt x="356" y="5"/>
                      </a:lnTo>
                      <a:lnTo>
                        <a:pt x="356" y="6"/>
                      </a:lnTo>
                      <a:lnTo>
                        <a:pt x="356" y="8"/>
                      </a:lnTo>
                      <a:lnTo>
                        <a:pt x="355" y="12"/>
                      </a:lnTo>
                      <a:lnTo>
                        <a:pt x="351" y="15"/>
                      </a:lnTo>
                      <a:lnTo>
                        <a:pt x="345" y="22"/>
                      </a:lnTo>
                      <a:lnTo>
                        <a:pt x="345" y="24"/>
                      </a:lnTo>
                      <a:lnTo>
                        <a:pt x="345" y="26"/>
                      </a:lnTo>
                      <a:lnTo>
                        <a:pt x="346" y="27"/>
                      </a:lnTo>
                      <a:lnTo>
                        <a:pt x="347" y="27"/>
                      </a:lnTo>
                      <a:lnTo>
                        <a:pt x="353" y="22"/>
                      </a:lnTo>
                      <a:lnTo>
                        <a:pt x="360" y="18"/>
                      </a:lnTo>
                      <a:lnTo>
                        <a:pt x="365" y="12"/>
                      </a:lnTo>
                      <a:lnTo>
                        <a:pt x="370" y="6"/>
                      </a:lnTo>
                      <a:lnTo>
                        <a:pt x="372" y="5"/>
                      </a:lnTo>
                      <a:lnTo>
                        <a:pt x="374" y="6"/>
                      </a:lnTo>
                      <a:lnTo>
                        <a:pt x="375" y="9"/>
                      </a:lnTo>
                      <a:lnTo>
                        <a:pt x="375" y="13"/>
                      </a:lnTo>
                      <a:lnTo>
                        <a:pt x="376" y="14"/>
                      </a:lnTo>
                      <a:lnTo>
                        <a:pt x="378" y="15"/>
                      </a:lnTo>
                      <a:lnTo>
                        <a:pt x="379" y="15"/>
                      </a:lnTo>
                      <a:lnTo>
                        <a:pt x="380" y="14"/>
                      </a:lnTo>
                      <a:lnTo>
                        <a:pt x="385" y="7"/>
                      </a:lnTo>
                      <a:lnTo>
                        <a:pt x="388" y="4"/>
                      </a:lnTo>
                      <a:lnTo>
                        <a:pt x="392" y="1"/>
                      </a:lnTo>
                      <a:lnTo>
                        <a:pt x="395" y="0"/>
                      </a:lnTo>
                      <a:lnTo>
                        <a:pt x="399" y="0"/>
                      </a:lnTo>
                      <a:lnTo>
                        <a:pt x="402" y="1"/>
                      </a:lnTo>
                      <a:lnTo>
                        <a:pt x="403" y="4"/>
                      </a:lnTo>
                      <a:lnTo>
                        <a:pt x="403" y="5"/>
                      </a:lnTo>
                      <a:lnTo>
                        <a:pt x="403" y="7"/>
                      </a:lnTo>
                      <a:lnTo>
                        <a:pt x="400" y="9"/>
                      </a:lnTo>
                      <a:lnTo>
                        <a:pt x="399" y="12"/>
                      </a:lnTo>
                      <a:lnTo>
                        <a:pt x="400" y="13"/>
                      </a:lnTo>
                      <a:lnTo>
                        <a:pt x="400" y="14"/>
                      </a:lnTo>
                      <a:lnTo>
                        <a:pt x="403" y="14"/>
                      </a:lnTo>
                      <a:lnTo>
                        <a:pt x="404" y="14"/>
                      </a:lnTo>
                      <a:lnTo>
                        <a:pt x="408" y="12"/>
                      </a:lnTo>
                      <a:lnTo>
                        <a:pt x="411" y="8"/>
                      </a:lnTo>
                      <a:lnTo>
                        <a:pt x="413" y="6"/>
                      </a:lnTo>
                      <a:lnTo>
                        <a:pt x="418" y="4"/>
                      </a:lnTo>
                      <a:lnTo>
                        <a:pt x="423" y="4"/>
                      </a:lnTo>
                      <a:lnTo>
                        <a:pt x="428" y="4"/>
                      </a:lnTo>
                      <a:lnTo>
                        <a:pt x="433" y="6"/>
                      </a:lnTo>
                      <a:lnTo>
                        <a:pt x="439" y="7"/>
                      </a:lnTo>
                      <a:lnTo>
                        <a:pt x="442" y="9"/>
                      </a:lnTo>
                      <a:lnTo>
                        <a:pt x="446" y="13"/>
                      </a:lnTo>
                      <a:lnTo>
                        <a:pt x="447" y="15"/>
                      </a:lnTo>
                      <a:lnTo>
                        <a:pt x="449" y="19"/>
                      </a:lnTo>
                      <a:lnTo>
                        <a:pt x="449" y="20"/>
                      </a:lnTo>
                      <a:lnTo>
                        <a:pt x="447" y="20"/>
                      </a:lnTo>
                      <a:lnTo>
                        <a:pt x="445" y="21"/>
                      </a:lnTo>
                      <a:lnTo>
                        <a:pt x="442" y="24"/>
                      </a:lnTo>
                      <a:lnTo>
                        <a:pt x="440" y="25"/>
                      </a:lnTo>
                      <a:lnTo>
                        <a:pt x="436" y="26"/>
                      </a:lnTo>
                      <a:lnTo>
                        <a:pt x="433" y="26"/>
                      </a:lnTo>
                      <a:lnTo>
                        <a:pt x="431" y="25"/>
                      </a:lnTo>
                      <a:lnTo>
                        <a:pt x="426" y="21"/>
                      </a:lnTo>
                      <a:lnTo>
                        <a:pt x="423" y="20"/>
                      </a:lnTo>
                      <a:lnTo>
                        <a:pt x="419" y="20"/>
                      </a:lnTo>
                      <a:lnTo>
                        <a:pt x="417" y="21"/>
                      </a:lnTo>
                      <a:lnTo>
                        <a:pt x="416" y="24"/>
                      </a:lnTo>
                      <a:lnTo>
                        <a:pt x="416" y="26"/>
                      </a:lnTo>
                      <a:lnTo>
                        <a:pt x="417" y="28"/>
                      </a:lnTo>
                      <a:lnTo>
                        <a:pt x="418" y="31"/>
                      </a:lnTo>
                      <a:lnTo>
                        <a:pt x="421" y="32"/>
                      </a:lnTo>
                      <a:lnTo>
                        <a:pt x="427" y="33"/>
                      </a:lnTo>
                      <a:lnTo>
                        <a:pt x="432" y="36"/>
                      </a:lnTo>
                      <a:lnTo>
                        <a:pt x="435" y="39"/>
                      </a:lnTo>
                      <a:lnTo>
                        <a:pt x="440" y="41"/>
                      </a:lnTo>
                      <a:lnTo>
                        <a:pt x="447" y="44"/>
                      </a:lnTo>
                      <a:lnTo>
                        <a:pt x="445" y="47"/>
                      </a:lnTo>
                      <a:lnTo>
                        <a:pt x="442" y="50"/>
                      </a:lnTo>
                      <a:lnTo>
                        <a:pt x="439" y="50"/>
                      </a:lnTo>
                      <a:lnTo>
                        <a:pt x="435" y="52"/>
                      </a:lnTo>
                      <a:lnTo>
                        <a:pt x="431" y="53"/>
                      </a:lnTo>
                      <a:lnTo>
                        <a:pt x="422" y="52"/>
                      </a:lnTo>
                      <a:lnTo>
                        <a:pt x="418" y="47"/>
                      </a:lnTo>
                      <a:lnTo>
                        <a:pt x="414" y="44"/>
                      </a:lnTo>
                      <a:lnTo>
                        <a:pt x="409" y="40"/>
                      </a:lnTo>
                      <a:lnTo>
                        <a:pt x="404" y="38"/>
                      </a:lnTo>
                      <a:lnTo>
                        <a:pt x="402" y="36"/>
                      </a:lnTo>
                      <a:lnTo>
                        <a:pt x="399" y="32"/>
                      </a:lnTo>
                      <a:lnTo>
                        <a:pt x="398" y="28"/>
                      </a:lnTo>
                      <a:lnTo>
                        <a:pt x="397" y="26"/>
                      </a:lnTo>
                      <a:lnTo>
                        <a:pt x="394" y="25"/>
                      </a:lnTo>
                      <a:lnTo>
                        <a:pt x="392" y="25"/>
                      </a:lnTo>
                      <a:lnTo>
                        <a:pt x="384" y="28"/>
                      </a:lnTo>
                      <a:lnTo>
                        <a:pt x="376" y="32"/>
                      </a:lnTo>
                      <a:lnTo>
                        <a:pt x="369" y="34"/>
                      </a:lnTo>
                      <a:lnTo>
                        <a:pt x="361" y="38"/>
                      </a:lnTo>
                      <a:lnTo>
                        <a:pt x="359" y="40"/>
                      </a:lnTo>
                      <a:lnTo>
                        <a:pt x="357" y="43"/>
                      </a:lnTo>
                      <a:lnTo>
                        <a:pt x="356" y="45"/>
                      </a:lnTo>
                      <a:lnTo>
                        <a:pt x="356" y="49"/>
                      </a:lnTo>
                      <a:lnTo>
                        <a:pt x="359" y="54"/>
                      </a:lnTo>
                      <a:lnTo>
                        <a:pt x="361" y="60"/>
                      </a:lnTo>
                      <a:lnTo>
                        <a:pt x="360" y="62"/>
                      </a:lnTo>
                      <a:lnTo>
                        <a:pt x="359" y="63"/>
                      </a:lnTo>
                      <a:lnTo>
                        <a:pt x="355" y="68"/>
                      </a:lnTo>
                      <a:lnTo>
                        <a:pt x="348" y="70"/>
                      </a:lnTo>
                      <a:lnTo>
                        <a:pt x="345" y="71"/>
                      </a:lnTo>
                      <a:lnTo>
                        <a:pt x="333" y="68"/>
                      </a:lnTo>
                      <a:lnTo>
                        <a:pt x="331" y="66"/>
                      </a:lnTo>
                      <a:lnTo>
                        <a:pt x="329" y="68"/>
                      </a:lnTo>
                      <a:lnTo>
                        <a:pt x="324" y="70"/>
                      </a:lnTo>
                      <a:lnTo>
                        <a:pt x="320" y="71"/>
                      </a:lnTo>
                      <a:lnTo>
                        <a:pt x="314" y="72"/>
                      </a:lnTo>
                      <a:lnTo>
                        <a:pt x="310" y="73"/>
                      </a:lnTo>
                      <a:lnTo>
                        <a:pt x="306" y="72"/>
                      </a:lnTo>
                      <a:lnTo>
                        <a:pt x="303" y="71"/>
                      </a:lnTo>
                      <a:lnTo>
                        <a:pt x="300" y="69"/>
                      </a:lnTo>
                      <a:lnTo>
                        <a:pt x="295" y="63"/>
                      </a:lnTo>
                      <a:lnTo>
                        <a:pt x="291" y="56"/>
                      </a:lnTo>
                      <a:lnTo>
                        <a:pt x="290" y="54"/>
                      </a:lnTo>
                      <a:lnTo>
                        <a:pt x="287" y="53"/>
                      </a:lnTo>
                      <a:lnTo>
                        <a:pt x="280" y="58"/>
                      </a:lnTo>
                      <a:lnTo>
                        <a:pt x="272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3" name="Freeform 1282">
                  <a:extLst>
                    <a:ext uri="{FF2B5EF4-FFF2-40B4-BE49-F238E27FC236}">
                      <a16:creationId xmlns:a16="http://schemas.microsoft.com/office/drawing/2014/main" id="{243D604E-99B5-7840-BB8C-F18681BF24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7178" y="2846957"/>
                  <a:ext cx="29597" cy="42918"/>
                </a:xfrm>
                <a:custGeom>
                  <a:avLst/>
                  <a:gdLst>
                    <a:gd name="T0" fmla="*/ 2147483647 w 21"/>
                    <a:gd name="T1" fmla="*/ 2147483647 h 29"/>
                    <a:gd name="T2" fmla="*/ 2147483647 w 21"/>
                    <a:gd name="T3" fmla="*/ 2147483647 h 29"/>
                    <a:gd name="T4" fmla="*/ 2147483647 w 21"/>
                    <a:gd name="T5" fmla="*/ 2147483647 h 29"/>
                    <a:gd name="T6" fmla="*/ 2147483647 w 21"/>
                    <a:gd name="T7" fmla="*/ 2147483647 h 29"/>
                    <a:gd name="T8" fmla="*/ 2147483647 w 21"/>
                    <a:gd name="T9" fmla="*/ 2147483647 h 29"/>
                    <a:gd name="T10" fmla="*/ 2147483647 w 21"/>
                    <a:gd name="T11" fmla="*/ 2147483647 h 29"/>
                    <a:gd name="T12" fmla="*/ 2147483647 w 21"/>
                    <a:gd name="T13" fmla="*/ 2147483647 h 29"/>
                    <a:gd name="T14" fmla="*/ 0 w 21"/>
                    <a:gd name="T15" fmla="*/ 2147483647 h 29"/>
                    <a:gd name="T16" fmla="*/ 0 w 21"/>
                    <a:gd name="T17" fmla="*/ 2147483647 h 29"/>
                    <a:gd name="T18" fmla="*/ 0 w 21"/>
                    <a:gd name="T19" fmla="*/ 2147483647 h 29"/>
                    <a:gd name="T20" fmla="*/ 2147483647 w 21"/>
                    <a:gd name="T21" fmla="*/ 2147483647 h 29"/>
                    <a:gd name="T22" fmla="*/ 2147483647 w 21"/>
                    <a:gd name="T23" fmla="*/ 2147483647 h 29"/>
                    <a:gd name="T24" fmla="*/ 2147483647 w 21"/>
                    <a:gd name="T25" fmla="*/ 2147483647 h 29"/>
                    <a:gd name="T26" fmla="*/ 2147483647 w 21"/>
                    <a:gd name="T27" fmla="*/ 0 h 29"/>
                    <a:gd name="T28" fmla="*/ 2147483647 w 21"/>
                    <a:gd name="T29" fmla="*/ 0 h 29"/>
                    <a:gd name="T30" fmla="*/ 2147483647 w 21"/>
                    <a:gd name="T31" fmla="*/ 2147483647 h 29"/>
                    <a:gd name="T32" fmla="*/ 2147483647 w 21"/>
                    <a:gd name="T33" fmla="*/ 2147483647 h 29"/>
                    <a:gd name="T34" fmla="*/ 2147483647 w 21"/>
                    <a:gd name="T35" fmla="*/ 2147483647 h 29"/>
                    <a:gd name="T36" fmla="*/ 2147483647 w 21"/>
                    <a:gd name="T37" fmla="*/ 2147483647 h 29"/>
                    <a:gd name="T38" fmla="*/ 2147483647 w 21"/>
                    <a:gd name="T39" fmla="*/ 2147483647 h 29"/>
                    <a:gd name="T40" fmla="*/ 2147483647 w 21"/>
                    <a:gd name="T41" fmla="*/ 2147483647 h 29"/>
                    <a:gd name="T42" fmla="*/ 2147483647 w 21"/>
                    <a:gd name="T43" fmla="*/ 2147483647 h 29"/>
                    <a:gd name="T44" fmla="*/ 2147483647 w 21"/>
                    <a:gd name="T45" fmla="*/ 2147483647 h 29"/>
                    <a:gd name="T46" fmla="*/ 2147483647 w 21"/>
                    <a:gd name="T47" fmla="*/ 2147483647 h 29"/>
                    <a:gd name="T48" fmla="*/ 2147483647 w 21"/>
                    <a:gd name="T49" fmla="*/ 2147483647 h 29"/>
                    <a:gd name="T50" fmla="*/ 2147483647 w 21"/>
                    <a:gd name="T51" fmla="*/ 2147483647 h 29"/>
                    <a:gd name="T52" fmla="*/ 2147483647 w 21"/>
                    <a:gd name="T53" fmla="*/ 2147483647 h 29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1"/>
                    <a:gd name="T82" fmla="*/ 0 h 29"/>
                    <a:gd name="T83" fmla="*/ 21 w 21"/>
                    <a:gd name="T84" fmla="*/ 29 h 29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1" h="29">
                      <a:moveTo>
                        <a:pt x="20" y="25"/>
                      </a:moveTo>
                      <a:lnTo>
                        <a:pt x="17" y="29"/>
                      </a:lnTo>
                      <a:lnTo>
                        <a:pt x="16" y="29"/>
                      </a:lnTo>
                      <a:lnTo>
                        <a:pt x="15" y="29"/>
                      </a:lnTo>
                      <a:lnTo>
                        <a:pt x="11" y="26"/>
                      </a:lnTo>
                      <a:lnTo>
                        <a:pt x="7" y="25"/>
                      </a:lnTo>
                      <a:lnTo>
                        <a:pt x="3" y="24"/>
                      </a:lnTo>
                      <a:lnTo>
                        <a:pt x="0" y="23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2" y="13"/>
                      </a:lnTo>
                      <a:lnTo>
                        <a:pt x="2" y="10"/>
                      </a:ln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11" y="4"/>
                      </a:lnTo>
                      <a:lnTo>
                        <a:pt x="17" y="5"/>
                      </a:lnTo>
                      <a:lnTo>
                        <a:pt x="19" y="6"/>
                      </a:lnTo>
                      <a:lnTo>
                        <a:pt x="19" y="9"/>
                      </a:lnTo>
                      <a:lnTo>
                        <a:pt x="17" y="13"/>
                      </a:lnTo>
                      <a:lnTo>
                        <a:pt x="16" y="16"/>
                      </a:lnTo>
                      <a:lnTo>
                        <a:pt x="17" y="18"/>
                      </a:lnTo>
                      <a:lnTo>
                        <a:pt x="21" y="22"/>
                      </a:lnTo>
                      <a:lnTo>
                        <a:pt x="21" y="23"/>
                      </a:lnTo>
                      <a:lnTo>
                        <a:pt x="20" y="2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4" name="Freeform 1283">
                  <a:extLst>
                    <a:ext uri="{FF2B5EF4-FFF2-40B4-BE49-F238E27FC236}">
                      <a16:creationId xmlns:a16="http://schemas.microsoft.com/office/drawing/2014/main" id="{98143458-67E0-FE45-B47E-044F6CE09A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2154" y="2237248"/>
                  <a:ext cx="612667" cy="537194"/>
                </a:xfrm>
                <a:custGeom>
                  <a:avLst/>
                  <a:gdLst>
                    <a:gd name="T0" fmla="*/ 2147483647 w 448"/>
                    <a:gd name="T1" fmla="*/ 2147483647 h 363"/>
                    <a:gd name="T2" fmla="*/ 2147483647 w 448"/>
                    <a:gd name="T3" fmla="*/ 2147483647 h 363"/>
                    <a:gd name="T4" fmla="*/ 2147483647 w 448"/>
                    <a:gd name="T5" fmla="*/ 2147483647 h 363"/>
                    <a:gd name="T6" fmla="*/ 2147483647 w 448"/>
                    <a:gd name="T7" fmla="*/ 2147483647 h 363"/>
                    <a:gd name="T8" fmla="*/ 2147483647 w 448"/>
                    <a:gd name="T9" fmla="*/ 2147483647 h 363"/>
                    <a:gd name="T10" fmla="*/ 2147483647 w 448"/>
                    <a:gd name="T11" fmla="*/ 2147483647 h 363"/>
                    <a:gd name="T12" fmla="*/ 2147483647 w 448"/>
                    <a:gd name="T13" fmla="*/ 2147483647 h 363"/>
                    <a:gd name="T14" fmla="*/ 2147483647 w 448"/>
                    <a:gd name="T15" fmla="*/ 2147483647 h 363"/>
                    <a:gd name="T16" fmla="*/ 2147483647 w 448"/>
                    <a:gd name="T17" fmla="*/ 2147483647 h 363"/>
                    <a:gd name="T18" fmla="*/ 2147483647 w 448"/>
                    <a:gd name="T19" fmla="*/ 2147483647 h 363"/>
                    <a:gd name="T20" fmla="*/ 2147483647 w 448"/>
                    <a:gd name="T21" fmla="*/ 2147483647 h 363"/>
                    <a:gd name="T22" fmla="*/ 2147483647 w 448"/>
                    <a:gd name="T23" fmla="*/ 2147483647 h 363"/>
                    <a:gd name="T24" fmla="*/ 2147483647 w 448"/>
                    <a:gd name="T25" fmla="*/ 2147483647 h 363"/>
                    <a:gd name="T26" fmla="*/ 2147483647 w 448"/>
                    <a:gd name="T27" fmla="*/ 2147483647 h 363"/>
                    <a:gd name="T28" fmla="*/ 2147483647 w 448"/>
                    <a:gd name="T29" fmla="*/ 2147483647 h 363"/>
                    <a:gd name="T30" fmla="*/ 2147483647 w 448"/>
                    <a:gd name="T31" fmla="*/ 2147483647 h 363"/>
                    <a:gd name="T32" fmla="*/ 2147483647 w 448"/>
                    <a:gd name="T33" fmla="*/ 2147483647 h 363"/>
                    <a:gd name="T34" fmla="*/ 2147483647 w 448"/>
                    <a:gd name="T35" fmla="*/ 2147483647 h 363"/>
                    <a:gd name="T36" fmla="*/ 2147483647 w 448"/>
                    <a:gd name="T37" fmla="*/ 2147483647 h 363"/>
                    <a:gd name="T38" fmla="*/ 2147483647 w 448"/>
                    <a:gd name="T39" fmla="*/ 2147483647 h 363"/>
                    <a:gd name="T40" fmla="*/ 0 w 448"/>
                    <a:gd name="T41" fmla="*/ 2147483647 h 363"/>
                    <a:gd name="T42" fmla="*/ 2147483647 w 448"/>
                    <a:gd name="T43" fmla="*/ 2147483647 h 363"/>
                    <a:gd name="T44" fmla="*/ 2147483647 w 448"/>
                    <a:gd name="T45" fmla="*/ 2147483647 h 363"/>
                    <a:gd name="T46" fmla="*/ 2147483647 w 448"/>
                    <a:gd name="T47" fmla="*/ 2147483647 h 363"/>
                    <a:gd name="T48" fmla="*/ 2147483647 w 448"/>
                    <a:gd name="T49" fmla="*/ 2147483647 h 363"/>
                    <a:gd name="T50" fmla="*/ 2147483647 w 448"/>
                    <a:gd name="T51" fmla="*/ 2147483647 h 363"/>
                    <a:gd name="T52" fmla="*/ 2147483647 w 448"/>
                    <a:gd name="T53" fmla="*/ 2147483647 h 363"/>
                    <a:gd name="T54" fmla="*/ 2147483647 w 448"/>
                    <a:gd name="T55" fmla="*/ 2147483647 h 363"/>
                    <a:gd name="T56" fmla="*/ 2147483647 w 448"/>
                    <a:gd name="T57" fmla="*/ 2147483647 h 363"/>
                    <a:gd name="T58" fmla="*/ 2147483647 w 448"/>
                    <a:gd name="T59" fmla="*/ 2147483647 h 363"/>
                    <a:gd name="T60" fmla="*/ 2147483647 w 448"/>
                    <a:gd name="T61" fmla="*/ 2147483647 h 363"/>
                    <a:gd name="T62" fmla="*/ 2147483647 w 448"/>
                    <a:gd name="T63" fmla="*/ 2147483647 h 363"/>
                    <a:gd name="T64" fmla="*/ 2147483647 w 448"/>
                    <a:gd name="T65" fmla="*/ 2147483647 h 363"/>
                    <a:gd name="T66" fmla="*/ 2147483647 w 448"/>
                    <a:gd name="T67" fmla="*/ 2147483647 h 363"/>
                    <a:gd name="T68" fmla="*/ 2147483647 w 448"/>
                    <a:gd name="T69" fmla="*/ 2147483647 h 363"/>
                    <a:gd name="T70" fmla="*/ 2147483647 w 448"/>
                    <a:gd name="T71" fmla="*/ 2147483647 h 363"/>
                    <a:gd name="T72" fmla="*/ 2147483647 w 448"/>
                    <a:gd name="T73" fmla="*/ 2147483647 h 363"/>
                    <a:gd name="T74" fmla="*/ 2147483647 w 448"/>
                    <a:gd name="T75" fmla="*/ 2147483647 h 363"/>
                    <a:gd name="T76" fmla="*/ 2147483647 w 448"/>
                    <a:gd name="T77" fmla="*/ 2147483647 h 363"/>
                    <a:gd name="T78" fmla="*/ 2147483647 w 448"/>
                    <a:gd name="T79" fmla="*/ 2147483647 h 363"/>
                    <a:gd name="T80" fmla="*/ 2147483647 w 448"/>
                    <a:gd name="T81" fmla="*/ 2147483647 h 363"/>
                    <a:gd name="T82" fmla="*/ 2147483647 w 448"/>
                    <a:gd name="T83" fmla="*/ 2147483647 h 363"/>
                    <a:gd name="T84" fmla="*/ 2147483647 w 448"/>
                    <a:gd name="T85" fmla="*/ 2147483647 h 363"/>
                    <a:gd name="T86" fmla="*/ 2147483647 w 448"/>
                    <a:gd name="T87" fmla="*/ 2147483647 h 363"/>
                    <a:gd name="T88" fmla="*/ 2147483647 w 448"/>
                    <a:gd name="T89" fmla="*/ 2147483647 h 363"/>
                    <a:gd name="T90" fmla="*/ 2147483647 w 448"/>
                    <a:gd name="T91" fmla="*/ 2147483647 h 363"/>
                    <a:gd name="T92" fmla="*/ 2147483647 w 448"/>
                    <a:gd name="T93" fmla="*/ 2147483647 h 363"/>
                    <a:gd name="T94" fmla="*/ 2147483647 w 448"/>
                    <a:gd name="T95" fmla="*/ 2147483647 h 363"/>
                    <a:gd name="T96" fmla="*/ 2147483647 w 448"/>
                    <a:gd name="T97" fmla="*/ 2147483647 h 363"/>
                    <a:gd name="T98" fmla="*/ 2147483647 w 448"/>
                    <a:gd name="T99" fmla="*/ 2147483647 h 363"/>
                    <a:gd name="T100" fmla="*/ 2147483647 w 448"/>
                    <a:gd name="T101" fmla="*/ 2147483647 h 363"/>
                    <a:gd name="T102" fmla="*/ 2147483647 w 448"/>
                    <a:gd name="T103" fmla="*/ 2147483647 h 363"/>
                    <a:gd name="T104" fmla="*/ 2147483647 w 448"/>
                    <a:gd name="T105" fmla="*/ 2147483647 h 363"/>
                    <a:gd name="T106" fmla="*/ 2147483647 w 448"/>
                    <a:gd name="T107" fmla="*/ 2147483647 h 363"/>
                    <a:gd name="T108" fmla="*/ 2147483647 w 448"/>
                    <a:gd name="T109" fmla="*/ 2147483647 h 363"/>
                    <a:gd name="T110" fmla="*/ 2147483647 w 448"/>
                    <a:gd name="T111" fmla="*/ 2147483647 h 363"/>
                    <a:gd name="T112" fmla="*/ 2147483647 w 448"/>
                    <a:gd name="T113" fmla="*/ 2147483647 h 363"/>
                    <a:gd name="T114" fmla="*/ 2147483647 w 448"/>
                    <a:gd name="T115" fmla="*/ 2147483647 h 363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448"/>
                    <a:gd name="T175" fmla="*/ 0 h 363"/>
                    <a:gd name="T176" fmla="*/ 448 w 448"/>
                    <a:gd name="T177" fmla="*/ 363 h 363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448" h="363">
                      <a:moveTo>
                        <a:pt x="272" y="64"/>
                      </a:moveTo>
                      <a:lnTo>
                        <a:pt x="272" y="64"/>
                      </a:lnTo>
                      <a:lnTo>
                        <a:pt x="266" y="71"/>
                      </a:lnTo>
                      <a:lnTo>
                        <a:pt x="260" y="78"/>
                      </a:lnTo>
                      <a:lnTo>
                        <a:pt x="257" y="80"/>
                      </a:lnTo>
                      <a:lnTo>
                        <a:pt x="254" y="82"/>
                      </a:lnTo>
                      <a:lnTo>
                        <a:pt x="250" y="82"/>
                      </a:lnTo>
                      <a:lnTo>
                        <a:pt x="247" y="80"/>
                      </a:lnTo>
                      <a:lnTo>
                        <a:pt x="241" y="79"/>
                      </a:lnTo>
                      <a:lnTo>
                        <a:pt x="236" y="79"/>
                      </a:lnTo>
                      <a:lnTo>
                        <a:pt x="233" y="79"/>
                      </a:lnTo>
                      <a:lnTo>
                        <a:pt x="229" y="82"/>
                      </a:lnTo>
                      <a:lnTo>
                        <a:pt x="225" y="86"/>
                      </a:lnTo>
                      <a:lnTo>
                        <a:pt x="221" y="90"/>
                      </a:lnTo>
                      <a:lnTo>
                        <a:pt x="212" y="95"/>
                      </a:lnTo>
                      <a:lnTo>
                        <a:pt x="202" y="99"/>
                      </a:lnTo>
                      <a:lnTo>
                        <a:pt x="192" y="104"/>
                      </a:lnTo>
                      <a:lnTo>
                        <a:pt x="189" y="106"/>
                      </a:lnTo>
                      <a:lnTo>
                        <a:pt x="187" y="109"/>
                      </a:lnTo>
                      <a:lnTo>
                        <a:pt x="186" y="115"/>
                      </a:lnTo>
                      <a:lnTo>
                        <a:pt x="183" y="120"/>
                      </a:lnTo>
                      <a:lnTo>
                        <a:pt x="179" y="124"/>
                      </a:lnTo>
                      <a:lnTo>
                        <a:pt x="174" y="128"/>
                      </a:lnTo>
                      <a:lnTo>
                        <a:pt x="173" y="129"/>
                      </a:lnTo>
                      <a:lnTo>
                        <a:pt x="172" y="131"/>
                      </a:lnTo>
                      <a:lnTo>
                        <a:pt x="172" y="136"/>
                      </a:lnTo>
                      <a:lnTo>
                        <a:pt x="169" y="140"/>
                      </a:lnTo>
                      <a:lnTo>
                        <a:pt x="165" y="142"/>
                      </a:lnTo>
                      <a:lnTo>
                        <a:pt x="160" y="143"/>
                      </a:lnTo>
                      <a:lnTo>
                        <a:pt x="156" y="147"/>
                      </a:lnTo>
                      <a:lnTo>
                        <a:pt x="155" y="150"/>
                      </a:lnTo>
                      <a:lnTo>
                        <a:pt x="154" y="166"/>
                      </a:lnTo>
                      <a:lnTo>
                        <a:pt x="151" y="173"/>
                      </a:lnTo>
                      <a:lnTo>
                        <a:pt x="147" y="180"/>
                      </a:lnTo>
                      <a:lnTo>
                        <a:pt x="147" y="182"/>
                      </a:lnTo>
                      <a:lnTo>
                        <a:pt x="149" y="185"/>
                      </a:lnTo>
                      <a:lnTo>
                        <a:pt x="153" y="192"/>
                      </a:lnTo>
                      <a:lnTo>
                        <a:pt x="154" y="195"/>
                      </a:lnTo>
                      <a:lnTo>
                        <a:pt x="151" y="198"/>
                      </a:lnTo>
                      <a:lnTo>
                        <a:pt x="149" y="199"/>
                      </a:lnTo>
                      <a:lnTo>
                        <a:pt x="145" y="199"/>
                      </a:lnTo>
                      <a:lnTo>
                        <a:pt x="139" y="197"/>
                      </a:lnTo>
                      <a:lnTo>
                        <a:pt x="133" y="197"/>
                      </a:lnTo>
                      <a:lnTo>
                        <a:pt x="128" y="198"/>
                      </a:lnTo>
                      <a:lnTo>
                        <a:pt x="125" y="200"/>
                      </a:lnTo>
                      <a:lnTo>
                        <a:pt x="122" y="204"/>
                      </a:lnTo>
                      <a:lnTo>
                        <a:pt x="120" y="208"/>
                      </a:lnTo>
                      <a:lnTo>
                        <a:pt x="117" y="219"/>
                      </a:lnTo>
                      <a:lnTo>
                        <a:pt x="116" y="229"/>
                      </a:lnTo>
                      <a:lnTo>
                        <a:pt x="116" y="236"/>
                      </a:lnTo>
                      <a:lnTo>
                        <a:pt x="117" y="243"/>
                      </a:lnTo>
                      <a:lnTo>
                        <a:pt x="117" y="250"/>
                      </a:lnTo>
                      <a:lnTo>
                        <a:pt x="117" y="256"/>
                      </a:lnTo>
                      <a:lnTo>
                        <a:pt x="120" y="262"/>
                      </a:lnTo>
                      <a:lnTo>
                        <a:pt x="121" y="263"/>
                      </a:lnTo>
                      <a:lnTo>
                        <a:pt x="123" y="264"/>
                      </a:lnTo>
                      <a:lnTo>
                        <a:pt x="126" y="267"/>
                      </a:lnTo>
                      <a:lnTo>
                        <a:pt x="127" y="268"/>
                      </a:lnTo>
                      <a:lnTo>
                        <a:pt x="128" y="274"/>
                      </a:lnTo>
                      <a:lnTo>
                        <a:pt x="130" y="276"/>
                      </a:lnTo>
                      <a:lnTo>
                        <a:pt x="128" y="278"/>
                      </a:lnTo>
                      <a:lnTo>
                        <a:pt x="125" y="280"/>
                      </a:lnTo>
                      <a:lnTo>
                        <a:pt x="122" y="281"/>
                      </a:lnTo>
                      <a:lnTo>
                        <a:pt x="121" y="282"/>
                      </a:lnTo>
                      <a:lnTo>
                        <a:pt x="120" y="297"/>
                      </a:lnTo>
                      <a:lnTo>
                        <a:pt x="117" y="309"/>
                      </a:lnTo>
                      <a:lnTo>
                        <a:pt x="113" y="320"/>
                      </a:lnTo>
                      <a:lnTo>
                        <a:pt x="108" y="332"/>
                      </a:lnTo>
                      <a:lnTo>
                        <a:pt x="103" y="329"/>
                      </a:lnTo>
                      <a:lnTo>
                        <a:pt x="100" y="327"/>
                      </a:lnTo>
                      <a:lnTo>
                        <a:pt x="98" y="326"/>
                      </a:lnTo>
                      <a:lnTo>
                        <a:pt x="97" y="321"/>
                      </a:lnTo>
                      <a:lnTo>
                        <a:pt x="95" y="315"/>
                      </a:lnTo>
                      <a:lnTo>
                        <a:pt x="97" y="310"/>
                      </a:lnTo>
                      <a:lnTo>
                        <a:pt x="99" y="306"/>
                      </a:lnTo>
                      <a:lnTo>
                        <a:pt x="99" y="304"/>
                      </a:lnTo>
                      <a:lnTo>
                        <a:pt x="98" y="303"/>
                      </a:lnTo>
                      <a:lnTo>
                        <a:pt x="97" y="302"/>
                      </a:lnTo>
                      <a:lnTo>
                        <a:pt x="94" y="303"/>
                      </a:lnTo>
                      <a:lnTo>
                        <a:pt x="92" y="304"/>
                      </a:lnTo>
                      <a:lnTo>
                        <a:pt x="90" y="308"/>
                      </a:lnTo>
                      <a:lnTo>
                        <a:pt x="90" y="315"/>
                      </a:lnTo>
                      <a:lnTo>
                        <a:pt x="92" y="326"/>
                      </a:lnTo>
                      <a:lnTo>
                        <a:pt x="92" y="331"/>
                      </a:lnTo>
                      <a:lnTo>
                        <a:pt x="90" y="333"/>
                      </a:lnTo>
                      <a:lnTo>
                        <a:pt x="88" y="334"/>
                      </a:lnTo>
                      <a:lnTo>
                        <a:pt x="80" y="339"/>
                      </a:lnTo>
                      <a:lnTo>
                        <a:pt x="74" y="345"/>
                      </a:lnTo>
                      <a:lnTo>
                        <a:pt x="61" y="357"/>
                      </a:lnTo>
                      <a:lnTo>
                        <a:pt x="57" y="360"/>
                      </a:lnTo>
                      <a:lnTo>
                        <a:pt x="52" y="363"/>
                      </a:lnTo>
                      <a:lnTo>
                        <a:pt x="48" y="363"/>
                      </a:lnTo>
                      <a:lnTo>
                        <a:pt x="43" y="363"/>
                      </a:lnTo>
                      <a:lnTo>
                        <a:pt x="32" y="360"/>
                      </a:lnTo>
                      <a:lnTo>
                        <a:pt x="22" y="357"/>
                      </a:lnTo>
                      <a:lnTo>
                        <a:pt x="17" y="357"/>
                      </a:lnTo>
                      <a:lnTo>
                        <a:pt x="14" y="357"/>
                      </a:lnTo>
                      <a:lnTo>
                        <a:pt x="12" y="355"/>
                      </a:lnTo>
                      <a:lnTo>
                        <a:pt x="10" y="351"/>
                      </a:lnTo>
                      <a:lnTo>
                        <a:pt x="9" y="346"/>
                      </a:lnTo>
                      <a:lnTo>
                        <a:pt x="8" y="342"/>
                      </a:lnTo>
                      <a:lnTo>
                        <a:pt x="5" y="340"/>
                      </a:lnTo>
                      <a:lnTo>
                        <a:pt x="3" y="339"/>
                      </a:lnTo>
                      <a:lnTo>
                        <a:pt x="3" y="338"/>
                      </a:lnTo>
                      <a:lnTo>
                        <a:pt x="14" y="340"/>
                      </a:lnTo>
                      <a:lnTo>
                        <a:pt x="18" y="339"/>
                      </a:lnTo>
                      <a:lnTo>
                        <a:pt x="20" y="336"/>
                      </a:lnTo>
                      <a:lnTo>
                        <a:pt x="20" y="333"/>
                      </a:lnTo>
                      <a:lnTo>
                        <a:pt x="20" y="331"/>
                      </a:lnTo>
                      <a:lnTo>
                        <a:pt x="19" y="329"/>
                      </a:lnTo>
                      <a:lnTo>
                        <a:pt x="14" y="326"/>
                      </a:lnTo>
                      <a:lnTo>
                        <a:pt x="13" y="323"/>
                      </a:lnTo>
                      <a:lnTo>
                        <a:pt x="13" y="320"/>
                      </a:lnTo>
                      <a:lnTo>
                        <a:pt x="13" y="319"/>
                      </a:lnTo>
                      <a:lnTo>
                        <a:pt x="14" y="317"/>
                      </a:lnTo>
                      <a:lnTo>
                        <a:pt x="18" y="315"/>
                      </a:lnTo>
                      <a:lnTo>
                        <a:pt x="18" y="314"/>
                      </a:lnTo>
                      <a:lnTo>
                        <a:pt x="17" y="313"/>
                      </a:lnTo>
                      <a:lnTo>
                        <a:pt x="10" y="312"/>
                      </a:lnTo>
                      <a:lnTo>
                        <a:pt x="9" y="310"/>
                      </a:lnTo>
                      <a:lnTo>
                        <a:pt x="9" y="308"/>
                      </a:lnTo>
                      <a:lnTo>
                        <a:pt x="10" y="303"/>
                      </a:lnTo>
                      <a:lnTo>
                        <a:pt x="10" y="299"/>
                      </a:lnTo>
                      <a:lnTo>
                        <a:pt x="9" y="294"/>
                      </a:lnTo>
                      <a:lnTo>
                        <a:pt x="8" y="289"/>
                      </a:lnTo>
                      <a:lnTo>
                        <a:pt x="7" y="285"/>
                      </a:lnTo>
                      <a:lnTo>
                        <a:pt x="7" y="284"/>
                      </a:lnTo>
                      <a:lnTo>
                        <a:pt x="8" y="282"/>
                      </a:lnTo>
                      <a:lnTo>
                        <a:pt x="10" y="282"/>
                      </a:lnTo>
                      <a:lnTo>
                        <a:pt x="12" y="282"/>
                      </a:lnTo>
                      <a:lnTo>
                        <a:pt x="14" y="283"/>
                      </a:lnTo>
                      <a:lnTo>
                        <a:pt x="17" y="285"/>
                      </a:lnTo>
                      <a:lnTo>
                        <a:pt x="18" y="285"/>
                      </a:lnTo>
                      <a:lnTo>
                        <a:pt x="19" y="285"/>
                      </a:lnTo>
                      <a:lnTo>
                        <a:pt x="23" y="284"/>
                      </a:lnTo>
                      <a:lnTo>
                        <a:pt x="28" y="284"/>
                      </a:lnTo>
                      <a:lnTo>
                        <a:pt x="31" y="284"/>
                      </a:lnTo>
                      <a:lnTo>
                        <a:pt x="32" y="283"/>
                      </a:lnTo>
                      <a:lnTo>
                        <a:pt x="32" y="281"/>
                      </a:lnTo>
                      <a:lnTo>
                        <a:pt x="31" y="280"/>
                      </a:lnTo>
                      <a:lnTo>
                        <a:pt x="24" y="278"/>
                      </a:lnTo>
                      <a:lnTo>
                        <a:pt x="15" y="278"/>
                      </a:lnTo>
                      <a:lnTo>
                        <a:pt x="9" y="278"/>
                      </a:lnTo>
                      <a:lnTo>
                        <a:pt x="7" y="277"/>
                      </a:lnTo>
                      <a:lnTo>
                        <a:pt x="4" y="276"/>
                      </a:lnTo>
                      <a:lnTo>
                        <a:pt x="1" y="275"/>
                      </a:lnTo>
                      <a:lnTo>
                        <a:pt x="0" y="274"/>
                      </a:lnTo>
                      <a:lnTo>
                        <a:pt x="0" y="272"/>
                      </a:lnTo>
                      <a:lnTo>
                        <a:pt x="1" y="271"/>
                      </a:lnTo>
                      <a:lnTo>
                        <a:pt x="4" y="270"/>
                      </a:lnTo>
                      <a:lnTo>
                        <a:pt x="5" y="263"/>
                      </a:lnTo>
                      <a:lnTo>
                        <a:pt x="9" y="257"/>
                      </a:lnTo>
                      <a:lnTo>
                        <a:pt x="12" y="255"/>
                      </a:lnTo>
                      <a:lnTo>
                        <a:pt x="14" y="253"/>
                      </a:lnTo>
                      <a:lnTo>
                        <a:pt x="18" y="253"/>
                      </a:lnTo>
                      <a:lnTo>
                        <a:pt x="22" y="253"/>
                      </a:lnTo>
                      <a:lnTo>
                        <a:pt x="23" y="251"/>
                      </a:lnTo>
                      <a:lnTo>
                        <a:pt x="24" y="250"/>
                      </a:lnTo>
                      <a:lnTo>
                        <a:pt x="32" y="248"/>
                      </a:lnTo>
                      <a:lnTo>
                        <a:pt x="40" y="244"/>
                      </a:lnTo>
                      <a:lnTo>
                        <a:pt x="42" y="242"/>
                      </a:lnTo>
                      <a:lnTo>
                        <a:pt x="43" y="239"/>
                      </a:lnTo>
                      <a:lnTo>
                        <a:pt x="45" y="236"/>
                      </a:lnTo>
                      <a:lnTo>
                        <a:pt x="43" y="232"/>
                      </a:lnTo>
                      <a:lnTo>
                        <a:pt x="50" y="233"/>
                      </a:lnTo>
                      <a:lnTo>
                        <a:pt x="56" y="232"/>
                      </a:lnTo>
                      <a:lnTo>
                        <a:pt x="62" y="230"/>
                      </a:lnTo>
                      <a:lnTo>
                        <a:pt x="67" y="226"/>
                      </a:lnTo>
                      <a:lnTo>
                        <a:pt x="71" y="225"/>
                      </a:lnTo>
                      <a:lnTo>
                        <a:pt x="75" y="224"/>
                      </a:lnTo>
                      <a:lnTo>
                        <a:pt x="79" y="224"/>
                      </a:lnTo>
                      <a:lnTo>
                        <a:pt x="81" y="223"/>
                      </a:lnTo>
                      <a:lnTo>
                        <a:pt x="83" y="221"/>
                      </a:lnTo>
                      <a:lnTo>
                        <a:pt x="85" y="216"/>
                      </a:lnTo>
                      <a:lnTo>
                        <a:pt x="88" y="208"/>
                      </a:lnTo>
                      <a:lnTo>
                        <a:pt x="92" y="201"/>
                      </a:lnTo>
                      <a:lnTo>
                        <a:pt x="95" y="195"/>
                      </a:lnTo>
                      <a:lnTo>
                        <a:pt x="98" y="192"/>
                      </a:lnTo>
                      <a:lnTo>
                        <a:pt x="99" y="188"/>
                      </a:lnTo>
                      <a:lnTo>
                        <a:pt x="102" y="187"/>
                      </a:lnTo>
                      <a:lnTo>
                        <a:pt x="104" y="185"/>
                      </a:lnTo>
                      <a:lnTo>
                        <a:pt x="107" y="184"/>
                      </a:lnTo>
                      <a:lnTo>
                        <a:pt x="109" y="182"/>
                      </a:lnTo>
                      <a:lnTo>
                        <a:pt x="109" y="180"/>
                      </a:lnTo>
                      <a:lnTo>
                        <a:pt x="109" y="178"/>
                      </a:lnTo>
                      <a:lnTo>
                        <a:pt x="109" y="172"/>
                      </a:lnTo>
                      <a:lnTo>
                        <a:pt x="111" y="169"/>
                      </a:lnTo>
                      <a:lnTo>
                        <a:pt x="112" y="169"/>
                      </a:lnTo>
                      <a:lnTo>
                        <a:pt x="113" y="169"/>
                      </a:lnTo>
                      <a:lnTo>
                        <a:pt x="117" y="174"/>
                      </a:lnTo>
                      <a:lnTo>
                        <a:pt x="122" y="178"/>
                      </a:lnTo>
                      <a:lnTo>
                        <a:pt x="125" y="178"/>
                      </a:lnTo>
                      <a:lnTo>
                        <a:pt x="127" y="178"/>
                      </a:lnTo>
                      <a:lnTo>
                        <a:pt x="130" y="176"/>
                      </a:lnTo>
                      <a:lnTo>
                        <a:pt x="132" y="174"/>
                      </a:lnTo>
                      <a:lnTo>
                        <a:pt x="133" y="172"/>
                      </a:lnTo>
                      <a:lnTo>
                        <a:pt x="133" y="168"/>
                      </a:lnTo>
                      <a:lnTo>
                        <a:pt x="132" y="166"/>
                      </a:lnTo>
                      <a:lnTo>
                        <a:pt x="131" y="163"/>
                      </a:lnTo>
                      <a:lnTo>
                        <a:pt x="127" y="160"/>
                      </a:lnTo>
                      <a:lnTo>
                        <a:pt x="126" y="156"/>
                      </a:lnTo>
                      <a:lnTo>
                        <a:pt x="127" y="152"/>
                      </a:lnTo>
                      <a:lnTo>
                        <a:pt x="128" y="147"/>
                      </a:lnTo>
                      <a:lnTo>
                        <a:pt x="136" y="138"/>
                      </a:lnTo>
                      <a:lnTo>
                        <a:pt x="140" y="135"/>
                      </a:lnTo>
                      <a:lnTo>
                        <a:pt x="144" y="129"/>
                      </a:lnTo>
                      <a:lnTo>
                        <a:pt x="145" y="128"/>
                      </a:lnTo>
                      <a:lnTo>
                        <a:pt x="147" y="125"/>
                      </a:lnTo>
                      <a:lnTo>
                        <a:pt x="153" y="123"/>
                      </a:lnTo>
                      <a:lnTo>
                        <a:pt x="164" y="120"/>
                      </a:lnTo>
                      <a:lnTo>
                        <a:pt x="165" y="118"/>
                      </a:lnTo>
                      <a:lnTo>
                        <a:pt x="167" y="117"/>
                      </a:lnTo>
                      <a:lnTo>
                        <a:pt x="170" y="114"/>
                      </a:lnTo>
                      <a:lnTo>
                        <a:pt x="174" y="112"/>
                      </a:lnTo>
                      <a:lnTo>
                        <a:pt x="178" y="109"/>
                      </a:lnTo>
                      <a:lnTo>
                        <a:pt x="179" y="108"/>
                      </a:lnTo>
                      <a:lnTo>
                        <a:pt x="179" y="105"/>
                      </a:lnTo>
                      <a:lnTo>
                        <a:pt x="179" y="103"/>
                      </a:lnTo>
                      <a:lnTo>
                        <a:pt x="178" y="102"/>
                      </a:lnTo>
                      <a:lnTo>
                        <a:pt x="174" y="99"/>
                      </a:lnTo>
                      <a:lnTo>
                        <a:pt x="174" y="98"/>
                      </a:lnTo>
                      <a:lnTo>
                        <a:pt x="175" y="97"/>
                      </a:lnTo>
                      <a:lnTo>
                        <a:pt x="177" y="95"/>
                      </a:lnTo>
                      <a:lnTo>
                        <a:pt x="184" y="92"/>
                      </a:lnTo>
                      <a:lnTo>
                        <a:pt x="187" y="91"/>
                      </a:lnTo>
                      <a:lnTo>
                        <a:pt x="192" y="91"/>
                      </a:lnTo>
                      <a:lnTo>
                        <a:pt x="197" y="90"/>
                      </a:lnTo>
                      <a:lnTo>
                        <a:pt x="201" y="87"/>
                      </a:lnTo>
                      <a:lnTo>
                        <a:pt x="203" y="83"/>
                      </a:lnTo>
                      <a:lnTo>
                        <a:pt x="205" y="76"/>
                      </a:lnTo>
                      <a:lnTo>
                        <a:pt x="205" y="74"/>
                      </a:lnTo>
                      <a:lnTo>
                        <a:pt x="208" y="73"/>
                      </a:lnTo>
                      <a:lnTo>
                        <a:pt x="216" y="73"/>
                      </a:lnTo>
                      <a:lnTo>
                        <a:pt x="219" y="72"/>
                      </a:lnTo>
                      <a:lnTo>
                        <a:pt x="219" y="70"/>
                      </a:lnTo>
                      <a:lnTo>
                        <a:pt x="219" y="66"/>
                      </a:lnTo>
                      <a:lnTo>
                        <a:pt x="220" y="64"/>
                      </a:lnTo>
                      <a:lnTo>
                        <a:pt x="224" y="61"/>
                      </a:lnTo>
                      <a:lnTo>
                        <a:pt x="227" y="55"/>
                      </a:lnTo>
                      <a:lnTo>
                        <a:pt x="234" y="52"/>
                      </a:lnTo>
                      <a:lnTo>
                        <a:pt x="238" y="51"/>
                      </a:lnTo>
                      <a:lnTo>
                        <a:pt x="240" y="51"/>
                      </a:lnTo>
                      <a:lnTo>
                        <a:pt x="248" y="52"/>
                      </a:lnTo>
                      <a:lnTo>
                        <a:pt x="249" y="52"/>
                      </a:lnTo>
                      <a:lnTo>
                        <a:pt x="250" y="51"/>
                      </a:lnTo>
                      <a:lnTo>
                        <a:pt x="250" y="50"/>
                      </a:lnTo>
                      <a:lnTo>
                        <a:pt x="250" y="48"/>
                      </a:lnTo>
                      <a:lnTo>
                        <a:pt x="247" y="46"/>
                      </a:lnTo>
                      <a:lnTo>
                        <a:pt x="245" y="45"/>
                      </a:lnTo>
                      <a:lnTo>
                        <a:pt x="245" y="44"/>
                      </a:lnTo>
                      <a:lnTo>
                        <a:pt x="245" y="42"/>
                      </a:lnTo>
                      <a:lnTo>
                        <a:pt x="247" y="41"/>
                      </a:lnTo>
                      <a:lnTo>
                        <a:pt x="252" y="41"/>
                      </a:lnTo>
                      <a:lnTo>
                        <a:pt x="255" y="39"/>
                      </a:lnTo>
                      <a:lnTo>
                        <a:pt x="259" y="37"/>
                      </a:lnTo>
                      <a:lnTo>
                        <a:pt x="263" y="34"/>
                      </a:lnTo>
                      <a:lnTo>
                        <a:pt x="267" y="33"/>
                      </a:lnTo>
                      <a:lnTo>
                        <a:pt x="267" y="35"/>
                      </a:lnTo>
                      <a:lnTo>
                        <a:pt x="266" y="39"/>
                      </a:lnTo>
                      <a:lnTo>
                        <a:pt x="266" y="41"/>
                      </a:lnTo>
                      <a:lnTo>
                        <a:pt x="266" y="42"/>
                      </a:lnTo>
                      <a:lnTo>
                        <a:pt x="267" y="42"/>
                      </a:lnTo>
                      <a:lnTo>
                        <a:pt x="277" y="39"/>
                      </a:lnTo>
                      <a:lnTo>
                        <a:pt x="287" y="35"/>
                      </a:lnTo>
                      <a:lnTo>
                        <a:pt x="288" y="35"/>
                      </a:lnTo>
                      <a:lnTo>
                        <a:pt x="288" y="34"/>
                      </a:lnTo>
                      <a:lnTo>
                        <a:pt x="287" y="32"/>
                      </a:lnTo>
                      <a:lnTo>
                        <a:pt x="285" y="26"/>
                      </a:lnTo>
                      <a:lnTo>
                        <a:pt x="283" y="25"/>
                      </a:lnTo>
                      <a:lnTo>
                        <a:pt x="285" y="23"/>
                      </a:lnTo>
                      <a:lnTo>
                        <a:pt x="287" y="21"/>
                      </a:lnTo>
                      <a:lnTo>
                        <a:pt x="290" y="21"/>
                      </a:lnTo>
                      <a:lnTo>
                        <a:pt x="293" y="22"/>
                      </a:lnTo>
                      <a:lnTo>
                        <a:pt x="301" y="27"/>
                      </a:lnTo>
                      <a:lnTo>
                        <a:pt x="306" y="31"/>
                      </a:lnTo>
                      <a:lnTo>
                        <a:pt x="310" y="32"/>
                      </a:lnTo>
                      <a:lnTo>
                        <a:pt x="313" y="31"/>
                      </a:lnTo>
                      <a:lnTo>
                        <a:pt x="313" y="27"/>
                      </a:lnTo>
                      <a:lnTo>
                        <a:pt x="315" y="23"/>
                      </a:lnTo>
                      <a:lnTo>
                        <a:pt x="320" y="19"/>
                      </a:lnTo>
                      <a:lnTo>
                        <a:pt x="328" y="12"/>
                      </a:lnTo>
                      <a:lnTo>
                        <a:pt x="337" y="5"/>
                      </a:lnTo>
                      <a:lnTo>
                        <a:pt x="339" y="3"/>
                      </a:lnTo>
                      <a:lnTo>
                        <a:pt x="340" y="3"/>
                      </a:lnTo>
                      <a:lnTo>
                        <a:pt x="343" y="3"/>
                      </a:lnTo>
                      <a:lnTo>
                        <a:pt x="347" y="3"/>
                      </a:lnTo>
                      <a:lnTo>
                        <a:pt x="349" y="5"/>
                      </a:lnTo>
                      <a:lnTo>
                        <a:pt x="352" y="5"/>
                      </a:lnTo>
                      <a:lnTo>
                        <a:pt x="356" y="5"/>
                      </a:lnTo>
                      <a:lnTo>
                        <a:pt x="356" y="6"/>
                      </a:lnTo>
                      <a:lnTo>
                        <a:pt x="356" y="8"/>
                      </a:lnTo>
                      <a:lnTo>
                        <a:pt x="354" y="12"/>
                      </a:lnTo>
                      <a:lnTo>
                        <a:pt x="351" y="15"/>
                      </a:lnTo>
                      <a:lnTo>
                        <a:pt x="344" y="22"/>
                      </a:lnTo>
                      <a:lnTo>
                        <a:pt x="344" y="23"/>
                      </a:lnTo>
                      <a:lnTo>
                        <a:pt x="344" y="26"/>
                      </a:lnTo>
                      <a:lnTo>
                        <a:pt x="346" y="27"/>
                      </a:lnTo>
                      <a:lnTo>
                        <a:pt x="347" y="27"/>
                      </a:lnTo>
                      <a:lnTo>
                        <a:pt x="353" y="22"/>
                      </a:lnTo>
                      <a:lnTo>
                        <a:pt x="360" y="18"/>
                      </a:lnTo>
                      <a:lnTo>
                        <a:pt x="365" y="12"/>
                      </a:lnTo>
                      <a:lnTo>
                        <a:pt x="370" y="6"/>
                      </a:lnTo>
                      <a:lnTo>
                        <a:pt x="372" y="5"/>
                      </a:lnTo>
                      <a:lnTo>
                        <a:pt x="373" y="6"/>
                      </a:lnTo>
                      <a:lnTo>
                        <a:pt x="375" y="9"/>
                      </a:lnTo>
                      <a:lnTo>
                        <a:pt x="375" y="13"/>
                      </a:lnTo>
                      <a:lnTo>
                        <a:pt x="376" y="14"/>
                      </a:lnTo>
                      <a:lnTo>
                        <a:pt x="377" y="15"/>
                      </a:lnTo>
                      <a:lnTo>
                        <a:pt x="379" y="15"/>
                      </a:lnTo>
                      <a:lnTo>
                        <a:pt x="380" y="14"/>
                      </a:lnTo>
                      <a:lnTo>
                        <a:pt x="385" y="7"/>
                      </a:lnTo>
                      <a:lnTo>
                        <a:pt x="387" y="3"/>
                      </a:lnTo>
                      <a:lnTo>
                        <a:pt x="391" y="1"/>
                      </a:lnTo>
                      <a:lnTo>
                        <a:pt x="395" y="0"/>
                      </a:lnTo>
                      <a:lnTo>
                        <a:pt x="399" y="0"/>
                      </a:lnTo>
                      <a:lnTo>
                        <a:pt x="401" y="1"/>
                      </a:lnTo>
                      <a:lnTo>
                        <a:pt x="403" y="3"/>
                      </a:lnTo>
                      <a:lnTo>
                        <a:pt x="403" y="5"/>
                      </a:lnTo>
                      <a:lnTo>
                        <a:pt x="403" y="7"/>
                      </a:lnTo>
                      <a:lnTo>
                        <a:pt x="400" y="9"/>
                      </a:lnTo>
                      <a:lnTo>
                        <a:pt x="399" y="12"/>
                      </a:lnTo>
                      <a:lnTo>
                        <a:pt x="400" y="13"/>
                      </a:lnTo>
                      <a:lnTo>
                        <a:pt x="400" y="14"/>
                      </a:lnTo>
                      <a:lnTo>
                        <a:pt x="403" y="14"/>
                      </a:lnTo>
                      <a:lnTo>
                        <a:pt x="404" y="14"/>
                      </a:lnTo>
                      <a:lnTo>
                        <a:pt x="408" y="12"/>
                      </a:lnTo>
                      <a:lnTo>
                        <a:pt x="410" y="8"/>
                      </a:lnTo>
                      <a:lnTo>
                        <a:pt x="413" y="6"/>
                      </a:lnTo>
                      <a:lnTo>
                        <a:pt x="418" y="3"/>
                      </a:lnTo>
                      <a:lnTo>
                        <a:pt x="423" y="3"/>
                      </a:lnTo>
                      <a:lnTo>
                        <a:pt x="428" y="3"/>
                      </a:lnTo>
                      <a:lnTo>
                        <a:pt x="433" y="6"/>
                      </a:lnTo>
                      <a:lnTo>
                        <a:pt x="438" y="7"/>
                      </a:lnTo>
                      <a:lnTo>
                        <a:pt x="442" y="9"/>
                      </a:lnTo>
                      <a:lnTo>
                        <a:pt x="446" y="13"/>
                      </a:lnTo>
                      <a:lnTo>
                        <a:pt x="447" y="15"/>
                      </a:lnTo>
                      <a:lnTo>
                        <a:pt x="448" y="19"/>
                      </a:lnTo>
                      <a:lnTo>
                        <a:pt x="448" y="20"/>
                      </a:lnTo>
                      <a:lnTo>
                        <a:pt x="447" y="20"/>
                      </a:lnTo>
                      <a:lnTo>
                        <a:pt x="445" y="21"/>
                      </a:lnTo>
                      <a:lnTo>
                        <a:pt x="442" y="23"/>
                      </a:lnTo>
                      <a:lnTo>
                        <a:pt x="440" y="25"/>
                      </a:lnTo>
                      <a:lnTo>
                        <a:pt x="436" y="26"/>
                      </a:lnTo>
                      <a:lnTo>
                        <a:pt x="433" y="26"/>
                      </a:lnTo>
                      <a:lnTo>
                        <a:pt x="431" y="25"/>
                      </a:lnTo>
                      <a:lnTo>
                        <a:pt x="426" y="21"/>
                      </a:lnTo>
                      <a:lnTo>
                        <a:pt x="423" y="20"/>
                      </a:lnTo>
                      <a:lnTo>
                        <a:pt x="419" y="20"/>
                      </a:lnTo>
                      <a:lnTo>
                        <a:pt x="417" y="21"/>
                      </a:lnTo>
                      <a:lnTo>
                        <a:pt x="415" y="23"/>
                      </a:lnTo>
                      <a:lnTo>
                        <a:pt x="415" y="26"/>
                      </a:lnTo>
                      <a:lnTo>
                        <a:pt x="417" y="28"/>
                      </a:lnTo>
                      <a:lnTo>
                        <a:pt x="418" y="31"/>
                      </a:lnTo>
                      <a:lnTo>
                        <a:pt x="420" y="32"/>
                      </a:lnTo>
                      <a:lnTo>
                        <a:pt x="427" y="33"/>
                      </a:lnTo>
                      <a:lnTo>
                        <a:pt x="432" y="35"/>
                      </a:lnTo>
                      <a:lnTo>
                        <a:pt x="434" y="39"/>
                      </a:lnTo>
                      <a:lnTo>
                        <a:pt x="440" y="41"/>
                      </a:lnTo>
                      <a:lnTo>
                        <a:pt x="447" y="44"/>
                      </a:lnTo>
                      <a:lnTo>
                        <a:pt x="445" y="47"/>
                      </a:lnTo>
                      <a:lnTo>
                        <a:pt x="442" y="50"/>
                      </a:lnTo>
                      <a:lnTo>
                        <a:pt x="438" y="50"/>
                      </a:lnTo>
                      <a:lnTo>
                        <a:pt x="434" y="52"/>
                      </a:lnTo>
                      <a:lnTo>
                        <a:pt x="431" y="53"/>
                      </a:lnTo>
                      <a:lnTo>
                        <a:pt x="422" y="52"/>
                      </a:lnTo>
                      <a:lnTo>
                        <a:pt x="418" y="47"/>
                      </a:lnTo>
                      <a:lnTo>
                        <a:pt x="414" y="44"/>
                      </a:lnTo>
                      <a:lnTo>
                        <a:pt x="409" y="40"/>
                      </a:lnTo>
                      <a:lnTo>
                        <a:pt x="404" y="38"/>
                      </a:lnTo>
                      <a:lnTo>
                        <a:pt x="401" y="35"/>
                      </a:lnTo>
                      <a:lnTo>
                        <a:pt x="399" y="32"/>
                      </a:lnTo>
                      <a:lnTo>
                        <a:pt x="398" y="28"/>
                      </a:lnTo>
                      <a:lnTo>
                        <a:pt x="396" y="26"/>
                      </a:lnTo>
                      <a:lnTo>
                        <a:pt x="394" y="25"/>
                      </a:lnTo>
                      <a:lnTo>
                        <a:pt x="391" y="25"/>
                      </a:lnTo>
                      <a:lnTo>
                        <a:pt x="384" y="28"/>
                      </a:lnTo>
                      <a:lnTo>
                        <a:pt x="376" y="32"/>
                      </a:lnTo>
                      <a:lnTo>
                        <a:pt x="368" y="34"/>
                      </a:lnTo>
                      <a:lnTo>
                        <a:pt x="361" y="38"/>
                      </a:lnTo>
                      <a:lnTo>
                        <a:pt x="358" y="40"/>
                      </a:lnTo>
                      <a:lnTo>
                        <a:pt x="357" y="42"/>
                      </a:lnTo>
                      <a:lnTo>
                        <a:pt x="356" y="45"/>
                      </a:lnTo>
                      <a:lnTo>
                        <a:pt x="356" y="48"/>
                      </a:lnTo>
                      <a:lnTo>
                        <a:pt x="358" y="54"/>
                      </a:lnTo>
                      <a:lnTo>
                        <a:pt x="361" y="60"/>
                      </a:lnTo>
                      <a:lnTo>
                        <a:pt x="360" y="61"/>
                      </a:lnTo>
                      <a:lnTo>
                        <a:pt x="358" y="63"/>
                      </a:lnTo>
                      <a:lnTo>
                        <a:pt x="354" y="67"/>
                      </a:lnTo>
                      <a:lnTo>
                        <a:pt x="348" y="70"/>
                      </a:lnTo>
                      <a:lnTo>
                        <a:pt x="344" y="71"/>
                      </a:lnTo>
                      <a:lnTo>
                        <a:pt x="333" y="67"/>
                      </a:lnTo>
                      <a:lnTo>
                        <a:pt x="330" y="66"/>
                      </a:lnTo>
                      <a:lnTo>
                        <a:pt x="329" y="67"/>
                      </a:lnTo>
                      <a:lnTo>
                        <a:pt x="324" y="70"/>
                      </a:lnTo>
                      <a:lnTo>
                        <a:pt x="320" y="71"/>
                      </a:lnTo>
                      <a:lnTo>
                        <a:pt x="314" y="72"/>
                      </a:lnTo>
                      <a:lnTo>
                        <a:pt x="310" y="73"/>
                      </a:lnTo>
                      <a:lnTo>
                        <a:pt x="306" y="72"/>
                      </a:lnTo>
                      <a:lnTo>
                        <a:pt x="302" y="71"/>
                      </a:lnTo>
                      <a:lnTo>
                        <a:pt x="300" y="69"/>
                      </a:lnTo>
                      <a:lnTo>
                        <a:pt x="295" y="63"/>
                      </a:lnTo>
                      <a:lnTo>
                        <a:pt x="291" y="55"/>
                      </a:lnTo>
                      <a:lnTo>
                        <a:pt x="290" y="54"/>
                      </a:lnTo>
                      <a:lnTo>
                        <a:pt x="287" y="53"/>
                      </a:lnTo>
                      <a:lnTo>
                        <a:pt x="280" y="58"/>
                      </a:lnTo>
                      <a:lnTo>
                        <a:pt x="272" y="6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5" name="Freeform 1284">
                  <a:extLst>
                    <a:ext uri="{FF2B5EF4-FFF2-40B4-BE49-F238E27FC236}">
                      <a16:creationId xmlns:a16="http://schemas.microsoft.com/office/drawing/2014/main" id="{4965D03D-D814-474B-BD3A-C9AE7FAB3D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4222" y="2845476"/>
                  <a:ext cx="31077" cy="42916"/>
                </a:xfrm>
                <a:custGeom>
                  <a:avLst/>
                  <a:gdLst>
                    <a:gd name="T0" fmla="*/ 2147483647 w 22"/>
                    <a:gd name="T1" fmla="*/ 2147483647 h 29"/>
                    <a:gd name="T2" fmla="*/ 2147483647 w 22"/>
                    <a:gd name="T3" fmla="*/ 2147483647 h 29"/>
                    <a:gd name="T4" fmla="*/ 2147483647 w 22"/>
                    <a:gd name="T5" fmla="*/ 2147483647 h 29"/>
                    <a:gd name="T6" fmla="*/ 2147483647 w 22"/>
                    <a:gd name="T7" fmla="*/ 2147483647 h 29"/>
                    <a:gd name="T8" fmla="*/ 2147483647 w 22"/>
                    <a:gd name="T9" fmla="*/ 2147483647 h 29"/>
                    <a:gd name="T10" fmla="*/ 2147483647 w 22"/>
                    <a:gd name="T11" fmla="*/ 2147483647 h 29"/>
                    <a:gd name="T12" fmla="*/ 2147483647 w 22"/>
                    <a:gd name="T13" fmla="*/ 2147483647 h 29"/>
                    <a:gd name="T14" fmla="*/ 2147483647 w 22"/>
                    <a:gd name="T15" fmla="*/ 2147483647 h 29"/>
                    <a:gd name="T16" fmla="*/ 2147483647 w 22"/>
                    <a:gd name="T17" fmla="*/ 2147483647 h 29"/>
                    <a:gd name="T18" fmla="*/ 0 w 22"/>
                    <a:gd name="T19" fmla="*/ 2147483647 h 29"/>
                    <a:gd name="T20" fmla="*/ 0 w 22"/>
                    <a:gd name="T21" fmla="*/ 2147483647 h 29"/>
                    <a:gd name="T22" fmla="*/ 0 w 22"/>
                    <a:gd name="T23" fmla="*/ 2147483647 h 29"/>
                    <a:gd name="T24" fmla="*/ 0 w 22"/>
                    <a:gd name="T25" fmla="*/ 2147483647 h 29"/>
                    <a:gd name="T26" fmla="*/ 0 w 22"/>
                    <a:gd name="T27" fmla="*/ 2147483647 h 29"/>
                    <a:gd name="T28" fmla="*/ 2147483647 w 22"/>
                    <a:gd name="T29" fmla="*/ 2147483647 h 29"/>
                    <a:gd name="T30" fmla="*/ 2147483647 w 22"/>
                    <a:gd name="T31" fmla="*/ 2147483647 h 29"/>
                    <a:gd name="T32" fmla="*/ 2147483647 w 22"/>
                    <a:gd name="T33" fmla="*/ 2147483647 h 29"/>
                    <a:gd name="T34" fmla="*/ 2147483647 w 22"/>
                    <a:gd name="T35" fmla="*/ 0 h 29"/>
                    <a:gd name="T36" fmla="*/ 2147483647 w 22"/>
                    <a:gd name="T37" fmla="*/ 0 h 29"/>
                    <a:gd name="T38" fmla="*/ 2147483647 w 22"/>
                    <a:gd name="T39" fmla="*/ 0 h 29"/>
                    <a:gd name="T40" fmla="*/ 2147483647 w 22"/>
                    <a:gd name="T41" fmla="*/ 2147483647 h 29"/>
                    <a:gd name="T42" fmla="*/ 2147483647 w 22"/>
                    <a:gd name="T43" fmla="*/ 2147483647 h 29"/>
                    <a:gd name="T44" fmla="*/ 2147483647 w 22"/>
                    <a:gd name="T45" fmla="*/ 2147483647 h 29"/>
                    <a:gd name="T46" fmla="*/ 2147483647 w 22"/>
                    <a:gd name="T47" fmla="*/ 2147483647 h 29"/>
                    <a:gd name="T48" fmla="*/ 2147483647 w 22"/>
                    <a:gd name="T49" fmla="*/ 2147483647 h 29"/>
                    <a:gd name="T50" fmla="*/ 2147483647 w 22"/>
                    <a:gd name="T51" fmla="*/ 2147483647 h 29"/>
                    <a:gd name="T52" fmla="*/ 2147483647 w 22"/>
                    <a:gd name="T53" fmla="*/ 2147483647 h 29"/>
                    <a:gd name="T54" fmla="*/ 2147483647 w 22"/>
                    <a:gd name="T55" fmla="*/ 2147483647 h 29"/>
                    <a:gd name="T56" fmla="*/ 2147483647 w 22"/>
                    <a:gd name="T57" fmla="*/ 2147483647 h 29"/>
                    <a:gd name="T58" fmla="*/ 2147483647 w 22"/>
                    <a:gd name="T59" fmla="*/ 2147483647 h 29"/>
                    <a:gd name="T60" fmla="*/ 2147483647 w 22"/>
                    <a:gd name="T61" fmla="*/ 2147483647 h 29"/>
                    <a:gd name="T62" fmla="*/ 2147483647 w 22"/>
                    <a:gd name="T63" fmla="*/ 2147483647 h 29"/>
                    <a:gd name="T64" fmla="*/ 2147483647 w 22"/>
                    <a:gd name="T65" fmla="*/ 2147483647 h 29"/>
                    <a:gd name="T66" fmla="*/ 2147483647 w 22"/>
                    <a:gd name="T67" fmla="*/ 2147483647 h 29"/>
                    <a:gd name="T68" fmla="*/ 2147483647 w 22"/>
                    <a:gd name="T69" fmla="*/ 2147483647 h 29"/>
                    <a:gd name="T70" fmla="*/ 2147483647 w 22"/>
                    <a:gd name="T71" fmla="*/ 2147483647 h 29"/>
                    <a:gd name="T72" fmla="*/ 2147483647 w 22"/>
                    <a:gd name="T73" fmla="*/ 2147483647 h 2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2"/>
                    <a:gd name="T112" fmla="*/ 0 h 29"/>
                    <a:gd name="T113" fmla="*/ 22 w 22"/>
                    <a:gd name="T114" fmla="*/ 29 h 2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2" h="29">
                      <a:moveTo>
                        <a:pt x="21" y="25"/>
                      </a:moveTo>
                      <a:lnTo>
                        <a:pt x="21" y="25"/>
                      </a:lnTo>
                      <a:lnTo>
                        <a:pt x="18" y="29"/>
                      </a:lnTo>
                      <a:lnTo>
                        <a:pt x="17" y="29"/>
                      </a:lnTo>
                      <a:lnTo>
                        <a:pt x="16" y="29"/>
                      </a:lnTo>
                      <a:lnTo>
                        <a:pt x="12" y="26"/>
                      </a:lnTo>
                      <a:lnTo>
                        <a:pt x="8" y="25"/>
                      </a:lnTo>
                      <a:lnTo>
                        <a:pt x="4" y="24"/>
                      </a:lnTo>
                      <a:lnTo>
                        <a:pt x="0" y="23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3" y="13"/>
                      </a:lnTo>
                      <a:lnTo>
                        <a:pt x="3" y="10"/>
                      </a:lnTo>
                      <a:lnTo>
                        <a:pt x="3" y="5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8" y="5"/>
                      </a:lnTo>
                      <a:lnTo>
                        <a:pt x="19" y="6"/>
                      </a:lnTo>
                      <a:lnTo>
                        <a:pt x="19" y="8"/>
                      </a:lnTo>
                      <a:lnTo>
                        <a:pt x="18" y="13"/>
                      </a:lnTo>
                      <a:lnTo>
                        <a:pt x="17" y="16"/>
                      </a:lnTo>
                      <a:lnTo>
                        <a:pt x="18" y="18"/>
                      </a:lnTo>
                      <a:lnTo>
                        <a:pt x="22" y="21"/>
                      </a:lnTo>
                      <a:lnTo>
                        <a:pt x="22" y="23"/>
                      </a:lnTo>
                      <a:lnTo>
                        <a:pt x="21" y="2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6" name="Freeform 1285">
                  <a:extLst>
                    <a:ext uri="{FF2B5EF4-FFF2-40B4-BE49-F238E27FC236}">
                      <a16:creationId xmlns:a16="http://schemas.microsoft.com/office/drawing/2014/main" id="{4EF393B8-CAA6-2745-A2F5-AE0D5967AD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2020" y="2870632"/>
                  <a:ext cx="17758" cy="34038"/>
                </a:xfrm>
                <a:custGeom>
                  <a:avLst/>
                  <a:gdLst>
                    <a:gd name="T0" fmla="*/ 2147483647 w 13"/>
                    <a:gd name="T1" fmla="*/ 2147483647 h 23"/>
                    <a:gd name="T2" fmla="*/ 2147483647 w 13"/>
                    <a:gd name="T3" fmla="*/ 2147483647 h 23"/>
                    <a:gd name="T4" fmla="*/ 2147483647 w 13"/>
                    <a:gd name="T5" fmla="*/ 2147483647 h 23"/>
                    <a:gd name="T6" fmla="*/ 2147483647 w 13"/>
                    <a:gd name="T7" fmla="*/ 2147483647 h 23"/>
                    <a:gd name="T8" fmla="*/ 2147483647 w 13"/>
                    <a:gd name="T9" fmla="*/ 2147483647 h 23"/>
                    <a:gd name="T10" fmla="*/ 2147483647 w 13"/>
                    <a:gd name="T11" fmla="*/ 2147483647 h 23"/>
                    <a:gd name="T12" fmla="*/ 2147483647 w 13"/>
                    <a:gd name="T13" fmla="*/ 2147483647 h 23"/>
                    <a:gd name="T14" fmla="*/ 2147483647 w 13"/>
                    <a:gd name="T15" fmla="*/ 2147483647 h 23"/>
                    <a:gd name="T16" fmla="*/ 0 w 13"/>
                    <a:gd name="T17" fmla="*/ 2147483647 h 23"/>
                    <a:gd name="T18" fmla="*/ 0 w 13"/>
                    <a:gd name="T19" fmla="*/ 2147483647 h 23"/>
                    <a:gd name="T20" fmla="*/ 2147483647 w 13"/>
                    <a:gd name="T21" fmla="*/ 2147483647 h 23"/>
                    <a:gd name="T22" fmla="*/ 2147483647 w 13"/>
                    <a:gd name="T23" fmla="*/ 2147483647 h 23"/>
                    <a:gd name="T24" fmla="*/ 2147483647 w 13"/>
                    <a:gd name="T25" fmla="*/ 2147483647 h 23"/>
                    <a:gd name="T26" fmla="*/ 2147483647 w 13"/>
                    <a:gd name="T27" fmla="*/ 0 h 23"/>
                    <a:gd name="T28" fmla="*/ 2147483647 w 13"/>
                    <a:gd name="T29" fmla="*/ 2147483647 h 23"/>
                    <a:gd name="T30" fmla="*/ 2147483647 w 13"/>
                    <a:gd name="T31" fmla="*/ 2147483647 h 23"/>
                    <a:gd name="T32" fmla="*/ 2147483647 w 13"/>
                    <a:gd name="T33" fmla="*/ 2147483647 h 23"/>
                    <a:gd name="T34" fmla="*/ 2147483647 w 13"/>
                    <a:gd name="T35" fmla="*/ 2147483647 h 23"/>
                    <a:gd name="T36" fmla="*/ 2147483647 w 13"/>
                    <a:gd name="T37" fmla="*/ 2147483647 h 23"/>
                    <a:gd name="T38" fmla="*/ 2147483647 w 13"/>
                    <a:gd name="T39" fmla="*/ 2147483647 h 2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3"/>
                    <a:gd name="T61" fmla="*/ 0 h 23"/>
                    <a:gd name="T62" fmla="*/ 13 w 13"/>
                    <a:gd name="T63" fmla="*/ 23 h 2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3" h="23">
                      <a:moveTo>
                        <a:pt x="12" y="14"/>
                      </a:moveTo>
                      <a:lnTo>
                        <a:pt x="12" y="18"/>
                      </a:lnTo>
                      <a:lnTo>
                        <a:pt x="11" y="21"/>
                      </a:lnTo>
                      <a:lnTo>
                        <a:pt x="10" y="22"/>
                      </a:lnTo>
                      <a:lnTo>
                        <a:pt x="8" y="23"/>
                      </a:lnTo>
                      <a:lnTo>
                        <a:pt x="6" y="22"/>
                      </a:lnTo>
                      <a:lnTo>
                        <a:pt x="3" y="21"/>
                      </a:lnTo>
                      <a:lnTo>
                        <a:pt x="1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2" y="6"/>
                      </a:lnTo>
                      <a:lnTo>
                        <a:pt x="3" y="3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11" y="1"/>
                      </a:lnTo>
                      <a:lnTo>
                        <a:pt x="12" y="2"/>
                      </a:lnTo>
                      <a:lnTo>
                        <a:pt x="13" y="4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2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7" name="Freeform 1286">
                  <a:extLst>
                    <a:ext uri="{FF2B5EF4-FFF2-40B4-BE49-F238E27FC236}">
                      <a16:creationId xmlns:a16="http://schemas.microsoft.com/office/drawing/2014/main" id="{C22280A0-E0DA-9B4D-84FE-01F267DC0C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2742" y="2894314"/>
                  <a:ext cx="20718" cy="16279"/>
                </a:xfrm>
                <a:custGeom>
                  <a:avLst/>
                  <a:gdLst>
                    <a:gd name="T0" fmla="*/ 2147483647 w 15"/>
                    <a:gd name="T1" fmla="*/ 2147483647 h 11"/>
                    <a:gd name="T2" fmla="*/ 2147483647 w 15"/>
                    <a:gd name="T3" fmla="*/ 2147483647 h 11"/>
                    <a:gd name="T4" fmla="*/ 2147483647 w 15"/>
                    <a:gd name="T5" fmla="*/ 2147483647 h 11"/>
                    <a:gd name="T6" fmla="*/ 2147483647 w 15"/>
                    <a:gd name="T7" fmla="*/ 2147483647 h 11"/>
                    <a:gd name="T8" fmla="*/ 0 w 15"/>
                    <a:gd name="T9" fmla="*/ 2147483647 h 11"/>
                    <a:gd name="T10" fmla="*/ 0 w 15"/>
                    <a:gd name="T11" fmla="*/ 2147483647 h 11"/>
                    <a:gd name="T12" fmla="*/ 2147483647 w 15"/>
                    <a:gd name="T13" fmla="*/ 2147483647 h 11"/>
                    <a:gd name="T14" fmla="*/ 2147483647 w 15"/>
                    <a:gd name="T15" fmla="*/ 2147483647 h 11"/>
                    <a:gd name="T16" fmla="*/ 2147483647 w 15"/>
                    <a:gd name="T17" fmla="*/ 0 h 11"/>
                    <a:gd name="T18" fmla="*/ 2147483647 w 15"/>
                    <a:gd name="T19" fmla="*/ 0 h 11"/>
                    <a:gd name="T20" fmla="*/ 2147483647 w 15"/>
                    <a:gd name="T21" fmla="*/ 2147483647 h 11"/>
                    <a:gd name="T22" fmla="*/ 2147483647 w 15"/>
                    <a:gd name="T23" fmla="*/ 2147483647 h 11"/>
                    <a:gd name="T24" fmla="*/ 2147483647 w 15"/>
                    <a:gd name="T25" fmla="*/ 2147483647 h 11"/>
                    <a:gd name="T26" fmla="*/ 2147483647 w 15"/>
                    <a:gd name="T27" fmla="*/ 2147483647 h 11"/>
                    <a:gd name="T28" fmla="*/ 2147483647 w 15"/>
                    <a:gd name="T29" fmla="*/ 2147483647 h 1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5"/>
                    <a:gd name="T46" fmla="*/ 0 h 11"/>
                    <a:gd name="T47" fmla="*/ 15 w 15"/>
                    <a:gd name="T48" fmla="*/ 11 h 1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5" h="11">
                      <a:moveTo>
                        <a:pt x="11" y="10"/>
                      </a:moveTo>
                      <a:lnTo>
                        <a:pt x="6" y="11"/>
                      </a:lnTo>
                      <a:lnTo>
                        <a:pt x="4" y="11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1" y="2"/>
                      </a:lnTo>
                      <a:lnTo>
                        <a:pt x="14" y="3"/>
                      </a:lnTo>
                      <a:lnTo>
                        <a:pt x="15" y="5"/>
                      </a:lnTo>
                      <a:lnTo>
                        <a:pt x="14" y="7"/>
                      </a:lnTo>
                      <a:lnTo>
                        <a:pt x="11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8" name="Freeform 1287">
                  <a:extLst>
                    <a:ext uri="{FF2B5EF4-FFF2-40B4-BE49-F238E27FC236}">
                      <a16:creationId xmlns:a16="http://schemas.microsoft.com/office/drawing/2014/main" id="{98B3A293-5C95-3844-A950-104052B1EC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9061" y="2869154"/>
                  <a:ext cx="19239" cy="34037"/>
                </a:xfrm>
                <a:custGeom>
                  <a:avLst/>
                  <a:gdLst>
                    <a:gd name="T0" fmla="*/ 2147483647 w 14"/>
                    <a:gd name="T1" fmla="*/ 2147483647 h 23"/>
                    <a:gd name="T2" fmla="*/ 2147483647 w 14"/>
                    <a:gd name="T3" fmla="*/ 2147483647 h 23"/>
                    <a:gd name="T4" fmla="*/ 2147483647 w 14"/>
                    <a:gd name="T5" fmla="*/ 2147483647 h 23"/>
                    <a:gd name="T6" fmla="*/ 2147483647 w 14"/>
                    <a:gd name="T7" fmla="*/ 2147483647 h 23"/>
                    <a:gd name="T8" fmla="*/ 2147483647 w 14"/>
                    <a:gd name="T9" fmla="*/ 2147483647 h 23"/>
                    <a:gd name="T10" fmla="*/ 2147483647 w 14"/>
                    <a:gd name="T11" fmla="*/ 2147483647 h 23"/>
                    <a:gd name="T12" fmla="*/ 2147483647 w 14"/>
                    <a:gd name="T13" fmla="*/ 2147483647 h 23"/>
                    <a:gd name="T14" fmla="*/ 2147483647 w 14"/>
                    <a:gd name="T15" fmla="*/ 2147483647 h 23"/>
                    <a:gd name="T16" fmla="*/ 2147483647 w 14"/>
                    <a:gd name="T17" fmla="*/ 2147483647 h 23"/>
                    <a:gd name="T18" fmla="*/ 2147483647 w 14"/>
                    <a:gd name="T19" fmla="*/ 2147483647 h 23"/>
                    <a:gd name="T20" fmla="*/ 0 w 14"/>
                    <a:gd name="T21" fmla="*/ 2147483647 h 23"/>
                    <a:gd name="T22" fmla="*/ 0 w 14"/>
                    <a:gd name="T23" fmla="*/ 2147483647 h 23"/>
                    <a:gd name="T24" fmla="*/ 2147483647 w 14"/>
                    <a:gd name="T25" fmla="*/ 2147483647 h 23"/>
                    <a:gd name="T26" fmla="*/ 2147483647 w 14"/>
                    <a:gd name="T27" fmla="*/ 2147483647 h 23"/>
                    <a:gd name="T28" fmla="*/ 2147483647 w 14"/>
                    <a:gd name="T29" fmla="*/ 2147483647 h 23"/>
                    <a:gd name="T30" fmla="*/ 2147483647 w 14"/>
                    <a:gd name="T31" fmla="*/ 2147483647 h 23"/>
                    <a:gd name="T32" fmla="*/ 2147483647 w 14"/>
                    <a:gd name="T33" fmla="*/ 0 h 23"/>
                    <a:gd name="T34" fmla="*/ 2147483647 w 14"/>
                    <a:gd name="T35" fmla="*/ 2147483647 h 23"/>
                    <a:gd name="T36" fmla="*/ 2147483647 w 14"/>
                    <a:gd name="T37" fmla="*/ 2147483647 h 23"/>
                    <a:gd name="T38" fmla="*/ 2147483647 w 14"/>
                    <a:gd name="T39" fmla="*/ 2147483647 h 23"/>
                    <a:gd name="T40" fmla="*/ 2147483647 w 14"/>
                    <a:gd name="T41" fmla="*/ 2147483647 h 23"/>
                    <a:gd name="T42" fmla="*/ 2147483647 w 14"/>
                    <a:gd name="T43" fmla="*/ 2147483647 h 23"/>
                    <a:gd name="T44" fmla="*/ 2147483647 w 14"/>
                    <a:gd name="T45" fmla="*/ 2147483647 h 23"/>
                    <a:gd name="T46" fmla="*/ 2147483647 w 14"/>
                    <a:gd name="T47" fmla="*/ 2147483647 h 23"/>
                    <a:gd name="T48" fmla="*/ 2147483647 w 14"/>
                    <a:gd name="T49" fmla="*/ 2147483647 h 23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"/>
                    <a:gd name="T76" fmla="*/ 0 h 23"/>
                    <a:gd name="T77" fmla="*/ 14 w 14"/>
                    <a:gd name="T78" fmla="*/ 23 h 23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" h="23">
                      <a:moveTo>
                        <a:pt x="13" y="14"/>
                      </a:moveTo>
                      <a:lnTo>
                        <a:pt x="13" y="14"/>
                      </a:lnTo>
                      <a:lnTo>
                        <a:pt x="13" y="17"/>
                      </a:lnTo>
                      <a:lnTo>
                        <a:pt x="12" y="21"/>
                      </a:lnTo>
                      <a:lnTo>
                        <a:pt x="10" y="22"/>
                      </a:lnTo>
                      <a:lnTo>
                        <a:pt x="9" y="23"/>
                      </a:lnTo>
                      <a:lnTo>
                        <a:pt x="7" y="22"/>
                      </a:lnTo>
                      <a:lnTo>
                        <a:pt x="4" y="21"/>
                      </a:lnTo>
                      <a:lnTo>
                        <a:pt x="2" y="17"/>
                      </a:lnTo>
                      <a:lnTo>
                        <a:pt x="0" y="15"/>
                      </a:lnTo>
                      <a:lnTo>
                        <a:pt x="0" y="11"/>
                      </a:lnTo>
                      <a:lnTo>
                        <a:pt x="3" y="5"/>
                      </a:lnTo>
                      <a:lnTo>
                        <a:pt x="4" y="3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2" y="1"/>
                      </a:lnTo>
                      <a:lnTo>
                        <a:pt x="13" y="2"/>
                      </a:lnTo>
                      <a:lnTo>
                        <a:pt x="14" y="4"/>
                      </a:lnTo>
                      <a:lnTo>
                        <a:pt x="14" y="7"/>
                      </a:lnTo>
                      <a:lnTo>
                        <a:pt x="14" y="9"/>
                      </a:lnTo>
                      <a:lnTo>
                        <a:pt x="13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9" name="Freeform 1288">
                  <a:extLst>
                    <a:ext uri="{FF2B5EF4-FFF2-40B4-BE49-F238E27FC236}">
                      <a16:creationId xmlns:a16="http://schemas.microsoft.com/office/drawing/2014/main" id="{CE7D729E-29D5-D542-8679-29597946B7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2738" y="2892831"/>
                  <a:ext cx="19239" cy="16278"/>
                </a:xfrm>
                <a:custGeom>
                  <a:avLst/>
                  <a:gdLst>
                    <a:gd name="T0" fmla="*/ 2147483647 w 15"/>
                    <a:gd name="T1" fmla="*/ 2147483647 h 11"/>
                    <a:gd name="T2" fmla="*/ 2147483647 w 15"/>
                    <a:gd name="T3" fmla="*/ 2147483647 h 11"/>
                    <a:gd name="T4" fmla="*/ 2147483647 w 15"/>
                    <a:gd name="T5" fmla="*/ 2147483647 h 11"/>
                    <a:gd name="T6" fmla="*/ 2147483647 w 15"/>
                    <a:gd name="T7" fmla="*/ 2147483647 h 11"/>
                    <a:gd name="T8" fmla="*/ 2147483647 w 15"/>
                    <a:gd name="T9" fmla="*/ 2147483647 h 11"/>
                    <a:gd name="T10" fmla="*/ 2147483647 w 15"/>
                    <a:gd name="T11" fmla="*/ 2147483647 h 11"/>
                    <a:gd name="T12" fmla="*/ 0 w 15"/>
                    <a:gd name="T13" fmla="*/ 2147483647 h 11"/>
                    <a:gd name="T14" fmla="*/ 0 w 15"/>
                    <a:gd name="T15" fmla="*/ 2147483647 h 11"/>
                    <a:gd name="T16" fmla="*/ 2147483647 w 15"/>
                    <a:gd name="T17" fmla="*/ 2147483647 h 11"/>
                    <a:gd name="T18" fmla="*/ 2147483647 w 15"/>
                    <a:gd name="T19" fmla="*/ 2147483647 h 11"/>
                    <a:gd name="T20" fmla="*/ 2147483647 w 15"/>
                    <a:gd name="T21" fmla="*/ 2147483647 h 11"/>
                    <a:gd name="T22" fmla="*/ 2147483647 w 15"/>
                    <a:gd name="T23" fmla="*/ 0 h 11"/>
                    <a:gd name="T24" fmla="*/ 2147483647 w 15"/>
                    <a:gd name="T25" fmla="*/ 0 h 11"/>
                    <a:gd name="T26" fmla="*/ 2147483647 w 15"/>
                    <a:gd name="T27" fmla="*/ 2147483647 h 11"/>
                    <a:gd name="T28" fmla="*/ 2147483647 w 15"/>
                    <a:gd name="T29" fmla="*/ 2147483647 h 11"/>
                    <a:gd name="T30" fmla="*/ 2147483647 w 15"/>
                    <a:gd name="T31" fmla="*/ 2147483647 h 11"/>
                    <a:gd name="T32" fmla="*/ 2147483647 w 15"/>
                    <a:gd name="T33" fmla="*/ 2147483647 h 11"/>
                    <a:gd name="T34" fmla="*/ 2147483647 w 15"/>
                    <a:gd name="T35" fmla="*/ 2147483647 h 11"/>
                    <a:gd name="T36" fmla="*/ 2147483647 w 15"/>
                    <a:gd name="T37" fmla="*/ 2147483647 h 11"/>
                    <a:gd name="T38" fmla="*/ 2147483647 w 15"/>
                    <a:gd name="T39" fmla="*/ 2147483647 h 1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11"/>
                    <a:gd name="T62" fmla="*/ 15 w 15"/>
                    <a:gd name="T63" fmla="*/ 11 h 1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11">
                      <a:moveTo>
                        <a:pt x="11" y="10"/>
                      </a:move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4" y="11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11" y="1"/>
                      </a:lnTo>
                      <a:lnTo>
                        <a:pt x="14" y="3"/>
                      </a:lnTo>
                      <a:lnTo>
                        <a:pt x="15" y="5"/>
                      </a:lnTo>
                      <a:lnTo>
                        <a:pt x="14" y="7"/>
                      </a:lnTo>
                      <a:lnTo>
                        <a:pt x="11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0" name="Freeform 1289">
                  <a:extLst>
                    <a:ext uri="{FF2B5EF4-FFF2-40B4-BE49-F238E27FC236}">
                      <a16:creationId xmlns:a16="http://schemas.microsoft.com/office/drawing/2014/main" id="{2E97B5FB-4AD4-E54B-8165-E585B67689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3187" y="2777401"/>
                  <a:ext cx="62155" cy="136148"/>
                </a:xfrm>
                <a:custGeom>
                  <a:avLst/>
                  <a:gdLst>
                    <a:gd name="T0" fmla="*/ 2147483647 w 45"/>
                    <a:gd name="T1" fmla="*/ 2147483647 h 92"/>
                    <a:gd name="T2" fmla="*/ 2147483647 w 45"/>
                    <a:gd name="T3" fmla="*/ 2147483647 h 92"/>
                    <a:gd name="T4" fmla="*/ 2147483647 w 45"/>
                    <a:gd name="T5" fmla="*/ 2147483647 h 92"/>
                    <a:gd name="T6" fmla="*/ 2147483647 w 45"/>
                    <a:gd name="T7" fmla="*/ 2147483647 h 92"/>
                    <a:gd name="T8" fmla="*/ 2147483647 w 45"/>
                    <a:gd name="T9" fmla="*/ 2147483647 h 92"/>
                    <a:gd name="T10" fmla="*/ 2147483647 w 45"/>
                    <a:gd name="T11" fmla="*/ 2147483647 h 92"/>
                    <a:gd name="T12" fmla="*/ 2147483647 w 45"/>
                    <a:gd name="T13" fmla="*/ 2147483647 h 92"/>
                    <a:gd name="T14" fmla="*/ 2147483647 w 45"/>
                    <a:gd name="T15" fmla="*/ 2147483647 h 92"/>
                    <a:gd name="T16" fmla="*/ 2147483647 w 45"/>
                    <a:gd name="T17" fmla="*/ 2147483647 h 92"/>
                    <a:gd name="T18" fmla="*/ 2147483647 w 45"/>
                    <a:gd name="T19" fmla="*/ 2147483647 h 92"/>
                    <a:gd name="T20" fmla="*/ 2147483647 w 45"/>
                    <a:gd name="T21" fmla="*/ 2147483647 h 92"/>
                    <a:gd name="T22" fmla="*/ 2147483647 w 45"/>
                    <a:gd name="T23" fmla="*/ 2147483647 h 92"/>
                    <a:gd name="T24" fmla="*/ 2147483647 w 45"/>
                    <a:gd name="T25" fmla="*/ 2147483647 h 92"/>
                    <a:gd name="T26" fmla="*/ 0 w 45"/>
                    <a:gd name="T27" fmla="*/ 2147483647 h 92"/>
                    <a:gd name="T28" fmla="*/ 2147483647 w 45"/>
                    <a:gd name="T29" fmla="*/ 2147483647 h 92"/>
                    <a:gd name="T30" fmla="*/ 2147483647 w 45"/>
                    <a:gd name="T31" fmla="*/ 2147483647 h 92"/>
                    <a:gd name="T32" fmla="*/ 2147483647 w 45"/>
                    <a:gd name="T33" fmla="*/ 2147483647 h 92"/>
                    <a:gd name="T34" fmla="*/ 2147483647 w 45"/>
                    <a:gd name="T35" fmla="*/ 2147483647 h 92"/>
                    <a:gd name="T36" fmla="*/ 2147483647 w 45"/>
                    <a:gd name="T37" fmla="*/ 2147483647 h 92"/>
                    <a:gd name="T38" fmla="*/ 2147483647 w 45"/>
                    <a:gd name="T39" fmla="*/ 2147483647 h 92"/>
                    <a:gd name="T40" fmla="*/ 2147483647 w 45"/>
                    <a:gd name="T41" fmla="*/ 2147483647 h 92"/>
                    <a:gd name="T42" fmla="*/ 2147483647 w 45"/>
                    <a:gd name="T43" fmla="*/ 2147483647 h 92"/>
                    <a:gd name="T44" fmla="*/ 2147483647 w 45"/>
                    <a:gd name="T45" fmla="*/ 2147483647 h 92"/>
                    <a:gd name="T46" fmla="*/ 2147483647 w 45"/>
                    <a:gd name="T47" fmla="*/ 2147483647 h 92"/>
                    <a:gd name="T48" fmla="*/ 2147483647 w 45"/>
                    <a:gd name="T49" fmla="*/ 2147483647 h 92"/>
                    <a:gd name="T50" fmla="*/ 2147483647 w 45"/>
                    <a:gd name="T51" fmla="*/ 0 h 92"/>
                    <a:gd name="T52" fmla="*/ 2147483647 w 45"/>
                    <a:gd name="T53" fmla="*/ 2147483647 h 92"/>
                    <a:gd name="T54" fmla="*/ 2147483647 w 45"/>
                    <a:gd name="T55" fmla="*/ 2147483647 h 92"/>
                    <a:gd name="T56" fmla="*/ 2147483647 w 45"/>
                    <a:gd name="T57" fmla="*/ 2147483647 h 92"/>
                    <a:gd name="T58" fmla="*/ 2147483647 w 45"/>
                    <a:gd name="T59" fmla="*/ 2147483647 h 92"/>
                    <a:gd name="T60" fmla="*/ 2147483647 w 45"/>
                    <a:gd name="T61" fmla="*/ 2147483647 h 92"/>
                    <a:gd name="T62" fmla="*/ 2147483647 w 45"/>
                    <a:gd name="T63" fmla="*/ 2147483647 h 92"/>
                    <a:gd name="T64" fmla="*/ 2147483647 w 45"/>
                    <a:gd name="T65" fmla="*/ 2147483647 h 92"/>
                    <a:gd name="T66" fmla="*/ 2147483647 w 45"/>
                    <a:gd name="T67" fmla="*/ 2147483647 h 92"/>
                    <a:gd name="T68" fmla="*/ 2147483647 w 45"/>
                    <a:gd name="T69" fmla="*/ 2147483647 h 92"/>
                    <a:gd name="T70" fmla="*/ 2147483647 w 45"/>
                    <a:gd name="T71" fmla="*/ 2147483647 h 92"/>
                    <a:gd name="T72" fmla="*/ 2147483647 w 45"/>
                    <a:gd name="T73" fmla="*/ 2147483647 h 92"/>
                    <a:gd name="T74" fmla="*/ 2147483647 w 45"/>
                    <a:gd name="T75" fmla="*/ 2147483647 h 92"/>
                    <a:gd name="T76" fmla="*/ 2147483647 w 45"/>
                    <a:gd name="T77" fmla="*/ 2147483647 h 92"/>
                    <a:gd name="T78" fmla="*/ 2147483647 w 45"/>
                    <a:gd name="T79" fmla="*/ 2147483647 h 92"/>
                    <a:gd name="T80" fmla="*/ 2147483647 w 45"/>
                    <a:gd name="T81" fmla="*/ 2147483647 h 92"/>
                    <a:gd name="T82" fmla="*/ 2147483647 w 45"/>
                    <a:gd name="T83" fmla="*/ 2147483647 h 92"/>
                    <a:gd name="T84" fmla="*/ 2147483647 w 45"/>
                    <a:gd name="T85" fmla="*/ 2147483647 h 92"/>
                    <a:gd name="T86" fmla="*/ 2147483647 w 45"/>
                    <a:gd name="T87" fmla="*/ 2147483647 h 92"/>
                    <a:gd name="T88" fmla="*/ 2147483647 w 45"/>
                    <a:gd name="T89" fmla="*/ 2147483647 h 92"/>
                    <a:gd name="T90" fmla="*/ 2147483647 w 45"/>
                    <a:gd name="T91" fmla="*/ 2147483647 h 92"/>
                    <a:gd name="T92" fmla="*/ 2147483647 w 45"/>
                    <a:gd name="T93" fmla="*/ 2147483647 h 92"/>
                    <a:gd name="T94" fmla="*/ 2147483647 w 45"/>
                    <a:gd name="T95" fmla="*/ 2147483647 h 92"/>
                    <a:gd name="T96" fmla="*/ 2147483647 w 45"/>
                    <a:gd name="T97" fmla="*/ 2147483647 h 9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5"/>
                    <a:gd name="T148" fmla="*/ 0 h 92"/>
                    <a:gd name="T149" fmla="*/ 45 w 45"/>
                    <a:gd name="T150" fmla="*/ 92 h 9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5" h="92">
                      <a:moveTo>
                        <a:pt x="31" y="90"/>
                      </a:moveTo>
                      <a:lnTo>
                        <a:pt x="28" y="91"/>
                      </a:lnTo>
                      <a:lnTo>
                        <a:pt x="23" y="91"/>
                      </a:lnTo>
                      <a:lnTo>
                        <a:pt x="18" y="92"/>
                      </a:lnTo>
                      <a:lnTo>
                        <a:pt x="13" y="89"/>
                      </a:lnTo>
                      <a:lnTo>
                        <a:pt x="12" y="86"/>
                      </a:lnTo>
                      <a:lnTo>
                        <a:pt x="9" y="84"/>
                      </a:lnTo>
                      <a:lnTo>
                        <a:pt x="9" y="82"/>
                      </a:lnTo>
                      <a:lnTo>
                        <a:pt x="10" y="78"/>
                      </a:lnTo>
                      <a:lnTo>
                        <a:pt x="10" y="75"/>
                      </a:lnTo>
                      <a:lnTo>
                        <a:pt x="9" y="71"/>
                      </a:lnTo>
                      <a:lnTo>
                        <a:pt x="4" y="59"/>
                      </a:lnTo>
                      <a:lnTo>
                        <a:pt x="1" y="53"/>
                      </a:lnTo>
                      <a:lnTo>
                        <a:pt x="0" y="47"/>
                      </a:lnTo>
                      <a:lnTo>
                        <a:pt x="1" y="41"/>
                      </a:lnTo>
                      <a:lnTo>
                        <a:pt x="3" y="35"/>
                      </a:lnTo>
                      <a:lnTo>
                        <a:pt x="7" y="30"/>
                      </a:lnTo>
                      <a:lnTo>
                        <a:pt x="12" y="25"/>
                      </a:lnTo>
                      <a:lnTo>
                        <a:pt x="17" y="22"/>
                      </a:lnTo>
                      <a:lnTo>
                        <a:pt x="21" y="20"/>
                      </a:lnTo>
                      <a:lnTo>
                        <a:pt x="26" y="18"/>
                      </a:lnTo>
                      <a:lnTo>
                        <a:pt x="28" y="14"/>
                      </a:lnTo>
                      <a:lnTo>
                        <a:pt x="31" y="9"/>
                      </a:lnTo>
                      <a:lnTo>
                        <a:pt x="35" y="5"/>
                      </a:lnTo>
                      <a:lnTo>
                        <a:pt x="40" y="2"/>
                      </a:lnTo>
                      <a:lnTo>
                        <a:pt x="45" y="0"/>
                      </a:lnTo>
                      <a:lnTo>
                        <a:pt x="43" y="2"/>
                      </a:lnTo>
                      <a:lnTo>
                        <a:pt x="42" y="6"/>
                      </a:lnTo>
                      <a:lnTo>
                        <a:pt x="40" y="8"/>
                      </a:lnTo>
                      <a:lnTo>
                        <a:pt x="38" y="11"/>
                      </a:lnTo>
                      <a:lnTo>
                        <a:pt x="38" y="14"/>
                      </a:lnTo>
                      <a:lnTo>
                        <a:pt x="38" y="18"/>
                      </a:lnTo>
                      <a:lnTo>
                        <a:pt x="38" y="22"/>
                      </a:lnTo>
                      <a:lnTo>
                        <a:pt x="37" y="26"/>
                      </a:lnTo>
                      <a:lnTo>
                        <a:pt x="36" y="30"/>
                      </a:lnTo>
                      <a:lnTo>
                        <a:pt x="37" y="32"/>
                      </a:lnTo>
                      <a:lnTo>
                        <a:pt x="43" y="40"/>
                      </a:lnTo>
                      <a:lnTo>
                        <a:pt x="45" y="44"/>
                      </a:lnTo>
                      <a:lnTo>
                        <a:pt x="45" y="47"/>
                      </a:lnTo>
                      <a:lnTo>
                        <a:pt x="43" y="52"/>
                      </a:lnTo>
                      <a:lnTo>
                        <a:pt x="41" y="57"/>
                      </a:lnTo>
                      <a:lnTo>
                        <a:pt x="36" y="59"/>
                      </a:lnTo>
                      <a:lnTo>
                        <a:pt x="32" y="62"/>
                      </a:lnTo>
                      <a:lnTo>
                        <a:pt x="26" y="64"/>
                      </a:lnTo>
                      <a:lnTo>
                        <a:pt x="24" y="66"/>
                      </a:lnTo>
                      <a:lnTo>
                        <a:pt x="23" y="70"/>
                      </a:lnTo>
                      <a:lnTo>
                        <a:pt x="23" y="76"/>
                      </a:lnTo>
                      <a:lnTo>
                        <a:pt x="26" y="83"/>
                      </a:lnTo>
                      <a:lnTo>
                        <a:pt x="31" y="9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1" name="Freeform 1299">
                  <a:extLst>
                    <a:ext uri="{FF2B5EF4-FFF2-40B4-BE49-F238E27FC236}">
                      <a16:creationId xmlns:a16="http://schemas.microsoft.com/office/drawing/2014/main" id="{2B650620-E971-2D46-9122-901089557F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3668" y="2755206"/>
                  <a:ext cx="966356" cy="796171"/>
                </a:xfrm>
                <a:custGeom>
                  <a:avLst/>
                  <a:gdLst>
                    <a:gd name="T0" fmla="*/ 2147483647 w 708"/>
                    <a:gd name="T1" fmla="*/ 2147483647 h 538"/>
                    <a:gd name="T2" fmla="*/ 2147483647 w 708"/>
                    <a:gd name="T3" fmla="*/ 2147483647 h 538"/>
                    <a:gd name="T4" fmla="*/ 2147483647 w 708"/>
                    <a:gd name="T5" fmla="*/ 2147483647 h 538"/>
                    <a:gd name="T6" fmla="*/ 0 w 708"/>
                    <a:gd name="T7" fmla="*/ 2147483647 h 538"/>
                    <a:gd name="T8" fmla="*/ 2147483647 w 708"/>
                    <a:gd name="T9" fmla="*/ 2147483647 h 538"/>
                    <a:gd name="T10" fmla="*/ 2147483647 w 708"/>
                    <a:gd name="T11" fmla="*/ 2147483647 h 538"/>
                    <a:gd name="T12" fmla="*/ 2147483647 w 708"/>
                    <a:gd name="T13" fmla="*/ 2147483647 h 538"/>
                    <a:gd name="T14" fmla="*/ 2147483647 w 708"/>
                    <a:gd name="T15" fmla="*/ 2147483647 h 538"/>
                    <a:gd name="T16" fmla="*/ 2147483647 w 708"/>
                    <a:gd name="T17" fmla="*/ 2147483647 h 538"/>
                    <a:gd name="T18" fmla="*/ 2147483647 w 708"/>
                    <a:gd name="T19" fmla="*/ 2147483647 h 538"/>
                    <a:gd name="T20" fmla="*/ 2147483647 w 708"/>
                    <a:gd name="T21" fmla="*/ 2147483647 h 538"/>
                    <a:gd name="T22" fmla="*/ 2147483647 w 708"/>
                    <a:gd name="T23" fmla="*/ 0 h 538"/>
                    <a:gd name="T24" fmla="*/ 2147483647 w 708"/>
                    <a:gd name="T25" fmla="*/ 2147483647 h 538"/>
                    <a:gd name="T26" fmla="*/ 2147483647 w 708"/>
                    <a:gd name="T27" fmla="*/ 2147483647 h 538"/>
                    <a:gd name="T28" fmla="*/ 2147483647 w 708"/>
                    <a:gd name="T29" fmla="*/ 2147483647 h 538"/>
                    <a:gd name="T30" fmla="*/ 2147483647 w 708"/>
                    <a:gd name="T31" fmla="*/ 2147483647 h 538"/>
                    <a:gd name="T32" fmla="*/ 2147483647 w 708"/>
                    <a:gd name="T33" fmla="*/ 2147483647 h 538"/>
                    <a:gd name="T34" fmla="*/ 2147483647 w 708"/>
                    <a:gd name="T35" fmla="*/ 2147483647 h 538"/>
                    <a:gd name="T36" fmla="*/ 2147483647 w 708"/>
                    <a:gd name="T37" fmla="*/ 2147483647 h 538"/>
                    <a:gd name="T38" fmla="*/ 2147483647 w 708"/>
                    <a:gd name="T39" fmla="*/ 2147483647 h 538"/>
                    <a:gd name="T40" fmla="*/ 2147483647 w 708"/>
                    <a:gd name="T41" fmla="*/ 2147483647 h 538"/>
                    <a:gd name="T42" fmla="*/ 2147483647 w 708"/>
                    <a:gd name="T43" fmla="*/ 2147483647 h 538"/>
                    <a:gd name="T44" fmla="*/ 2147483647 w 708"/>
                    <a:gd name="T45" fmla="*/ 2147483647 h 538"/>
                    <a:gd name="T46" fmla="*/ 2147483647 w 708"/>
                    <a:gd name="T47" fmla="*/ 2147483647 h 538"/>
                    <a:gd name="T48" fmla="*/ 2147483647 w 708"/>
                    <a:gd name="T49" fmla="*/ 2147483647 h 538"/>
                    <a:gd name="T50" fmla="*/ 2147483647 w 708"/>
                    <a:gd name="T51" fmla="*/ 2147483647 h 538"/>
                    <a:gd name="T52" fmla="*/ 2147483647 w 708"/>
                    <a:gd name="T53" fmla="*/ 2147483647 h 538"/>
                    <a:gd name="T54" fmla="*/ 2147483647 w 708"/>
                    <a:gd name="T55" fmla="*/ 2147483647 h 538"/>
                    <a:gd name="T56" fmla="*/ 2147483647 w 708"/>
                    <a:gd name="T57" fmla="*/ 2147483647 h 538"/>
                    <a:gd name="T58" fmla="*/ 2147483647 w 708"/>
                    <a:gd name="T59" fmla="*/ 2147483647 h 538"/>
                    <a:gd name="T60" fmla="*/ 2147483647 w 708"/>
                    <a:gd name="T61" fmla="*/ 2147483647 h 538"/>
                    <a:gd name="T62" fmla="*/ 2147483647 w 708"/>
                    <a:gd name="T63" fmla="*/ 2147483647 h 538"/>
                    <a:gd name="T64" fmla="*/ 2147483647 w 708"/>
                    <a:gd name="T65" fmla="*/ 2147483647 h 538"/>
                    <a:gd name="T66" fmla="*/ 2147483647 w 708"/>
                    <a:gd name="T67" fmla="*/ 2147483647 h 538"/>
                    <a:gd name="T68" fmla="*/ 2147483647 w 708"/>
                    <a:gd name="T69" fmla="*/ 2147483647 h 538"/>
                    <a:gd name="T70" fmla="*/ 2147483647 w 708"/>
                    <a:gd name="T71" fmla="*/ 2147483647 h 538"/>
                    <a:gd name="T72" fmla="*/ 2147483647 w 708"/>
                    <a:gd name="T73" fmla="*/ 2147483647 h 538"/>
                    <a:gd name="T74" fmla="*/ 2147483647 w 708"/>
                    <a:gd name="T75" fmla="*/ 2147483647 h 538"/>
                    <a:gd name="T76" fmla="*/ 2147483647 w 708"/>
                    <a:gd name="T77" fmla="*/ 2147483647 h 538"/>
                    <a:gd name="T78" fmla="*/ 2147483647 w 708"/>
                    <a:gd name="T79" fmla="*/ 2147483647 h 538"/>
                    <a:gd name="T80" fmla="*/ 2147483647 w 708"/>
                    <a:gd name="T81" fmla="*/ 2147483647 h 538"/>
                    <a:gd name="T82" fmla="*/ 2147483647 w 708"/>
                    <a:gd name="T83" fmla="*/ 2147483647 h 538"/>
                    <a:gd name="T84" fmla="*/ 2147483647 w 708"/>
                    <a:gd name="T85" fmla="*/ 2147483647 h 538"/>
                    <a:gd name="T86" fmla="*/ 2147483647 w 708"/>
                    <a:gd name="T87" fmla="*/ 2147483647 h 538"/>
                    <a:gd name="T88" fmla="*/ 2147483647 w 708"/>
                    <a:gd name="T89" fmla="*/ 2147483647 h 538"/>
                    <a:gd name="T90" fmla="*/ 2147483647 w 708"/>
                    <a:gd name="T91" fmla="*/ 2147483647 h 538"/>
                    <a:gd name="T92" fmla="*/ 2147483647 w 708"/>
                    <a:gd name="T93" fmla="*/ 2147483647 h 538"/>
                    <a:gd name="T94" fmla="*/ 2147483647 w 708"/>
                    <a:gd name="T95" fmla="*/ 2147483647 h 538"/>
                    <a:gd name="T96" fmla="*/ 2147483647 w 708"/>
                    <a:gd name="T97" fmla="*/ 2147483647 h 538"/>
                    <a:gd name="T98" fmla="*/ 2147483647 w 708"/>
                    <a:gd name="T99" fmla="*/ 2147483647 h 538"/>
                    <a:gd name="T100" fmla="*/ 2147483647 w 708"/>
                    <a:gd name="T101" fmla="*/ 2147483647 h 538"/>
                    <a:gd name="T102" fmla="*/ 2147483647 w 708"/>
                    <a:gd name="T103" fmla="*/ 2147483647 h 538"/>
                    <a:gd name="T104" fmla="*/ 2147483647 w 708"/>
                    <a:gd name="T105" fmla="*/ 2147483647 h 538"/>
                    <a:gd name="T106" fmla="*/ 2147483647 w 708"/>
                    <a:gd name="T107" fmla="*/ 2147483647 h 538"/>
                    <a:gd name="T108" fmla="*/ 2147483647 w 708"/>
                    <a:gd name="T109" fmla="*/ 2147483647 h 538"/>
                    <a:gd name="T110" fmla="*/ 2147483647 w 708"/>
                    <a:gd name="T111" fmla="*/ 2147483647 h 538"/>
                    <a:gd name="T112" fmla="*/ 2147483647 w 708"/>
                    <a:gd name="T113" fmla="*/ 2147483647 h 538"/>
                    <a:gd name="T114" fmla="*/ 2147483647 w 708"/>
                    <a:gd name="T115" fmla="*/ 2147483647 h 538"/>
                    <a:gd name="T116" fmla="*/ 2147483647 w 708"/>
                    <a:gd name="T117" fmla="*/ 2147483647 h 538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08"/>
                    <a:gd name="T178" fmla="*/ 0 h 538"/>
                    <a:gd name="T179" fmla="*/ 708 w 708"/>
                    <a:gd name="T180" fmla="*/ 538 h 538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08" h="538">
                      <a:moveTo>
                        <a:pt x="35" y="302"/>
                      </a:moveTo>
                      <a:lnTo>
                        <a:pt x="41" y="295"/>
                      </a:lnTo>
                      <a:lnTo>
                        <a:pt x="54" y="279"/>
                      </a:lnTo>
                      <a:lnTo>
                        <a:pt x="59" y="270"/>
                      </a:lnTo>
                      <a:lnTo>
                        <a:pt x="61" y="262"/>
                      </a:lnTo>
                      <a:lnTo>
                        <a:pt x="62" y="258"/>
                      </a:lnTo>
                      <a:lnTo>
                        <a:pt x="61" y="254"/>
                      </a:lnTo>
                      <a:lnTo>
                        <a:pt x="60" y="252"/>
                      </a:lnTo>
                      <a:lnTo>
                        <a:pt x="57" y="250"/>
                      </a:lnTo>
                      <a:lnTo>
                        <a:pt x="50" y="246"/>
                      </a:lnTo>
                      <a:lnTo>
                        <a:pt x="46" y="243"/>
                      </a:lnTo>
                      <a:lnTo>
                        <a:pt x="43" y="239"/>
                      </a:lnTo>
                      <a:lnTo>
                        <a:pt x="43" y="235"/>
                      </a:lnTo>
                      <a:lnTo>
                        <a:pt x="42" y="232"/>
                      </a:lnTo>
                      <a:lnTo>
                        <a:pt x="41" y="230"/>
                      </a:lnTo>
                      <a:lnTo>
                        <a:pt x="38" y="226"/>
                      </a:lnTo>
                      <a:lnTo>
                        <a:pt x="35" y="224"/>
                      </a:lnTo>
                      <a:lnTo>
                        <a:pt x="24" y="220"/>
                      </a:lnTo>
                      <a:lnTo>
                        <a:pt x="18" y="219"/>
                      </a:lnTo>
                      <a:lnTo>
                        <a:pt x="9" y="218"/>
                      </a:lnTo>
                      <a:lnTo>
                        <a:pt x="7" y="218"/>
                      </a:lnTo>
                      <a:lnTo>
                        <a:pt x="5" y="215"/>
                      </a:lnTo>
                      <a:lnTo>
                        <a:pt x="2" y="206"/>
                      </a:lnTo>
                      <a:lnTo>
                        <a:pt x="0" y="197"/>
                      </a:lnTo>
                      <a:lnTo>
                        <a:pt x="2" y="190"/>
                      </a:lnTo>
                      <a:lnTo>
                        <a:pt x="3" y="184"/>
                      </a:lnTo>
                      <a:lnTo>
                        <a:pt x="5" y="180"/>
                      </a:lnTo>
                      <a:lnTo>
                        <a:pt x="9" y="173"/>
                      </a:lnTo>
                      <a:lnTo>
                        <a:pt x="10" y="170"/>
                      </a:lnTo>
                      <a:lnTo>
                        <a:pt x="9" y="169"/>
                      </a:lnTo>
                      <a:lnTo>
                        <a:pt x="12" y="169"/>
                      </a:lnTo>
                      <a:lnTo>
                        <a:pt x="18" y="173"/>
                      </a:lnTo>
                      <a:lnTo>
                        <a:pt x="22" y="174"/>
                      </a:lnTo>
                      <a:lnTo>
                        <a:pt x="27" y="175"/>
                      </a:lnTo>
                      <a:lnTo>
                        <a:pt x="33" y="175"/>
                      </a:lnTo>
                      <a:lnTo>
                        <a:pt x="38" y="174"/>
                      </a:lnTo>
                      <a:lnTo>
                        <a:pt x="42" y="171"/>
                      </a:lnTo>
                      <a:lnTo>
                        <a:pt x="45" y="168"/>
                      </a:lnTo>
                      <a:lnTo>
                        <a:pt x="45" y="163"/>
                      </a:lnTo>
                      <a:lnTo>
                        <a:pt x="43" y="160"/>
                      </a:lnTo>
                      <a:lnTo>
                        <a:pt x="38" y="152"/>
                      </a:lnTo>
                      <a:lnTo>
                        <a:pt x="37" y="150"/>
                      </a:lnTo>
                      <a:lnTo>
                        <a:pt x="68" y="130"/>
                      </a:lnTo>
                      <a:lnTo>
                        <a:pt x="80" y="117"/>
                      </a:lnTo>
                      <a:lnTo>
                        <a:pt x="92" y="120"/>
                      </a:lnTo>
                      <a:lnTo>
                        <a:pt x="116" y="126"/>
                      </a:lnTo>
                      <a:lnTo>
                        <a:pt x="137" y="144"/>
                      </a:lnTo>
                      <a:lnTo>
                        <a:pt x="162" y="156"/>
                      </a:lnTo>
                      <a:lnTo>
                        <a:pt x="179" y="137"/>
                      </a:lnTo>
                      <a:lnTo>
                        <a:pt x="203" y="141"/>
                      </a:lnTo>
                      <a:lnTo>
                        <a:pt x="220" y="155"/>
                      </a:lnTo>
                      <a:lnTo>
                        <a:pt x="244" y="150"/>
                      </a:lnTo>
                      <a:lnTo>
                        <a:pt x="255" y="144"/>
                      </a:lnTo>
                      <a:lnTo>
                        <a:pt x="263" y="139"/>
                      </a:lnTo>
                      <a:lnTo>
                        <a:pt x="264" y="137"/>
                      </a:lnTo>
                      <a:lnTo>
                        <a:pt x="263" y="136"/>
                      </a:lnTo>
                      <a:lnTo>
                        <a:pt x="253" y="133"/>
                      </a:lnTo>
                      <a:lnTo>
                        <a:pt x="248" y="131"/>
                      </a:lnTo>
                      <a:lnTo>
                        <a:pt x="243" y="126"/>
                      </a:lnTo>
                      <a:lnTo>
                        <a:pt x="239" y="122"/>
                      </a:lnTo>
                      <a:lnTo>
                        <a:pt x="239" y="116"/>
                      </a:lnTo>
                      <a:lnTo>
                        <a:pt x="240" y="111"/>
                      </a:lnTo>
                      <a:lnTo>
                        <a:pt x="242" y="107"/>
                      </a:lnTo>
                      <a:lnTo>
                        <a:pt x="248" y="100"/>
                      </a:lnTo>
                      <a:lnTo>
                        <a:pt x="250" y="98"/>
                      </a:lnTo>
                      <a:lnTo>
                        <a:pt x="244" y="85"/>
                      </a:lnTo>
                      <a:lnTo>
                        <a:pt x="266" y="80"/>
                      </a:lnTo>
                      <a:lnTo>
                        <a:pt x="249" y="59"/>
                      </a:lnTo>
                      <a:lnTo>
                        <a:pt x="286" y="47"/>
                      </a:lnTo>
                      <a:lnTo>
                        <a:pt x="310" y="40"/>
                      </a:lnTo>
                      <a:lnTo>
                        <a:pt x="366" y="21"/>
                      </a:lnTo>
                      <a:lnTo>
                        <a:pt x="395" y="0"/>
                      </a:lnTo>
                      <a:lnTo>
                        <a:pt x="418" y="7"/>
                      </a:lnTo>
                      <a:lnTo>
                        <a:pt x="428" y="41"/>
                      </a:lnTo>
                      <a:lnTo>
                        <a:pt x="451" y="40"/>
                      </a:lnTo>
                      <a:lnTo>
                        <a:pt x="468" y="54"/>
                      </a:lnTo>
                      <a:lnTo>
                        <a:pt x="489" y="55"/>
                      </a:lnTo>
                      <a:lnTo>
                        <a:pt x="509" y="40"/>
                      </a:lnTo>
                      <a:lnTo>
                        <a:pt x="544" y="73"/>
                      </a:lnTo>
                      <a:lnTo>
                        <a:pt x="565" y="125"/>
                      </a:lnTo>
                      <a:lnTo>
                        <a:pt x="581" y="145"/>
                      </a:lnTo>
                      <a:lnTo>
                        <a:pt x="595" y="132"/>
                      </a:lnTo>
                      <a:lnTo>
                        <a:pt x="608" y="145"/>
                      </a:lnTo>
                      <a:lnTo>
                        <a:pt x="624" y="147"/>
                      </a:lnTo>
                      <a:lnTo>
                        <a:pt x="644" y="141"/>
                      </a:lnTo>
                      <a:lnTo>
                        <a:pt x="652" y="155"/>
                      </a:lnTo>
                      <a:lnTo>
                        <a:pt x="661" y="165"/>
                      </a:lnTo>
                      <a:lnTo>
                        <a:pt x="676" y="179"/>
                      </a:lnTo>
                      <a:lnTo>
                        <a:pt x="697" y="186"/>
                      </a:lnTo>
                      <a:lnTo>
                        <a:pt x="708" y="200"/>
                      </a:lnTo>
                      <a:lnTo>
                        <a:pt x="695" y="224"/>
                      </a:lnTo>
                      <a:lnTo>
                        <a:pt x="702" y="228"/>
                      </a:lnTo>
                      <a:lnTo>
                        <a:pt x="685" y="237"/>
                      </a:lnTo>
                      <a:lnTo>
                        <a:pt x="678" y="243"/>
                      </a:lnTo>
                      <a:lnTo>
                        <a:pt x="673" y="245"/>
                      </a:lnTo>
                      <a:lnTo>
                        <a:pt x="669" y="247"/>
                      </a:lnTo>
                      <a:lnTo>
                        <a:pt x="667" y="248"/>
                      </a:lnTo>
                      <a:lnTo>
                        <a:pt x="666" y="252"/>
                      </a:lnTo>
                      <a:lnTo>
                        <a:pt x="664" y="262"/>
                      </a:lnTo>
                      <a:lnTo>
                        <a:pt x="663" y="270"/>
                      </a:lnTo>
                      <a:lnTo>
                        <a:pt x="663" y="273"/>
                      </a:lnTo>
                      <a:lnTo>
                        <a:pt x="662" y="276"/>
                      </a:lnTo>
                      <a:lnTo>
                        <a:pt x="658" y="278"/>
                      </a:lnTo>
                      <a:lnTo>
                        <a:pt x="653" y="280"/>
                      </a:lnTo>
                      <a:lnTo>
                        <a:pt x="644" y="282"/>
                      </a:lnTo>
                      <a:lnTo>
                        <a:pt x="631" y="282"/>
                      </a:lnTo>
                      <a:lnTo>
                        <a:pt x="626" y="282"/>
                      </a:lnTo>
                      <a:lnTo>
                        <a:pt x="622" y="283"/>
                      </a:lnTo>
                      <a:lnTo>
                        <a:pt x="620" y="284"/>
                      </a:lnTo>
                      <a:lnTo>
                        <a:pt x="617" y="288"/>
                      </a:lnTo>
                      <a:lnTo>
                        <a:pt x="615" y="294"/>
                      </a:lnTo>
                      <a:lnTo>
                        <a:pt x="615" y="301"/>
                      </a:lnTo>
                      <a:lnTo>
                        <a:pt x="615" y="308"/>
                      </a:lnTo>
                      <a:lnTo>
                        <a:pt x="617" y="314"/>
                      </a:lnTo>
                      <a:lnTo>
                        <a:pt x="620" y="318"/>
                      </a:lnTo>
                      <a:lnTo>
                        <a:pt x="614" y="320"/>
                      </a:lnTo>
                      <a:lnTo>
                        <a:pt x="593" y="323"/>
                      </a:lnTo>
                      <a:lnTo>
                        <a:pt x="575" y="326"/>
                      </a:lnTo>
                      <a:lnTo>
                        <a:pt x="573" y="327"/>
                      </a:lnTo>
                      <a:lnTo>
                        <a:pt x="573" y="329"/>
                      </a:lnTo>
                      <a:lnTo>
                        <a:pt x="581" y="343"/>
                      </a:lnTo>
                      <a:lnTo>
                        <a:pt x="587" y="355"/>
                      </a:lnTo>
                      <a:lnTo>
                        <a:pt x="587" y="359"/>
                      </a:lnTo>
                      <a:lnTo>
                        <a:pt x="586" y="362"/>
                      </a:lnTo>
                      <a:lnTo>
                        <a:pt x="581" y="371"/>
                      </a:lnTo>
                      <a:lnTo>
                        <a:pt x="574" y="378"/>
                      </a:lnTo>
                      <a:lnTo>
                        <a:pt x="572" y="382"/>
                      </a:lnTo>
                      <a:lnTo>
                        <a:pt x="573" y="386"/>
                      </a:lnTo>
                      <a:lnTo>
                        <a:pt x="575" y="391"/>
                      </a:lnTo>
                      <a:lnTo>
                        <a:pt x="575" y="393"/>
                      </a:lnTo>
                      <a:lnTo>
                        <a:pt x="574" y="395"/>
                      </a:lnTo>
                      <a:lnTo>
                        <a:pt x="572" y="398"/>
                      </a:lnTo>
                      <a:lnTo>
                        <a:pt x="568" y="400"/>
                      </a:lnTo>
                      <a:lnTo>
                        <a:pt x="558" y="406"/>
                      </a:lnTo>
                      <a:lnTo>
                        <a:pt x="550" y="411"/>
                      </a:lnTo>
                      <a:lnTo>
                        <a:pt x="537" y="418"/>
                      </a:lnTo>
                      <a:lnTo>
                        <a:pt x="531" y="420"/>
                      </a:lnTo>
                      <a:lnTo>
                        <a:pt x="523" y="420"/>
                      </a:lnTo>
                      <a:lnTo>
                        <a:pt x="517" y="420"/>
                      </a:lnTo>
                      <a:lnTo>
                        <a:pt x="516" y="423"/>
                      </a:lnTo>
                      <a:lnTo>
                        <a:pt x="515" y="427"/>
                      </a:lnTo>
                      <a:lnTo>
                        <a:pt x="511" y="432"/>
                      </a:lnTo>
                      <a:lnTo>
                        <a:pt x="508" y="435"/>
                      </a:lnTo>
                      <a:lnTo>
                        <a:pt x="506" y="436"/>
                      </a:lnTo>
                      <a:lnTo>
                        <a:pt x="499" y="436"/>
                      </a:lnTo>
                      <a:lnTo>
                        <a:pt x="495" y="433"/>
                      </a:lnTo>
                      <a:lnTo>
                        <a:pt x="492" y="430"/>
                      </a:lnTo>
                      <a:lnTo>
                        <a:pt x="489" y="430"/>
                      </a:lnTo>
                      <a:lnTo>
                        <a:pt x="483" y="432"/>
                      </a:lnTo>
                      <a:lnTo>
                        <a:pt x="474" y="438"/>
                      </a:lnTo>
                      <a:lnTo>
                        <a:pt x="470" y="442"/>
                      </a:lnTo>
                      <a:lnTo>
                        <a:pt x="466" y="450"/>
                      </a:lnTo>
                      <a:lnTo>
                        <a:pt x="464" y="460"/>
                      </a:lnTo>
                      <a:lnTo>
                        <a:pt x="464" y="463"/>
                      </a:lnTo>
                      <a:lnTo>
                        <a:pt x="466" y="467"/>
                      </a:lnTo>
                      <a:lnTo>
                        <a:pt x="470" y="469"/>
                      </a:lnTo>
                      <a:lnTo>
                        <a:pt x="475" y="470"/>
                      </a:lnTo>
                      <a:lnTo>
                        <a:pt x="479" y="470"/>
                      </a:lnTo>
                      <a:lnTo>
                        <a:pt x="483" y="473"/>
                      </a:lnTo>
                      <a:lnTo>
                        <a:pt x="485" y="475"/>
                      </a:lnTo>
                      <a:lnTo>
                        <a:pt x="485" y="476"/>
                      </a:lnTo>
                      <a:lnTo>
                        <a:pt x="484" y="478"/>
                      </a:lnTo>
                      <a:lnTo>
                        <a:pt x="483" y="481"/>
                      </a:lnTo>
                      <a:lnTo>
                        <a:pt x="483" y="483"/>
                      </a:lnTo>
                      <a:lnTo>
                        <a:pt x="484" y="490"/>
                      </a:lnTo>
                      <a:lnTo>
                        <a:pt x="487" y="495"/>
                      </a:lnTo>
                      <a:lnTo>
                        <a:pt x="487" y="496"/>
                      </a:lnTo>
                      <a:lnTo>
                        <a:pt x="487" y="495"/>
                      </a:lnTo>
                      <a:lnTo>
                        <a:pt x="480" y="497"/>
                      </a:lnTo>
                      <a:lnTo>
                        <a:pt x="476" y="499"/>
                      </a:lnTo>
                      <a:lnTo>
                        <a:pt x="473" y="500"/>
                      </a:lnTo>
                      <a:lnTo>
                        <a:pt x="459" y="500"/>
                      </a:lnTo>
                      <a:lnTo>
                        <a:pt x="451" y="501"/>
                      </a:lnTo>
                      <a:lnTo>
                        <a:pt x="447" y="502"/>
                      </a:lnTo>
                      <a:lnTo>
                        <a:pt x="445" y="505"/>
                      </a:lnTo>
                      <a:lnTo>
                        <a:pt x="442" y="506"/>
                      </a:lnTo>
                      <a:lnTo>
                        <a:pt x="440" y="506"/>
                      </a:lnTo>
                      <a:lnTo>
                        <a:pt x="440" y="505"/>
                      </a:lnTo>
                      <a:lnTo>
                        <a:pt x="441" y="496"/>
                      </a:lnTo>
                      <a:lnTo>
                        <a:pt x="441" y="493"/>
                      </a:lnTo>
                      <a:lnTo>
                        <a:pt x="438" y="490"/>
                      </a:lnTo>
                      <a:lnTo>
                        <a:pt x="435" y="488"/>
                      </a:lnTo>
                      <a:lnTo>
                        <a:pt x="432" y="486"/>
                      </a:lnTo>
                      <a:lnTo>
                        <a:pt x="429" y="483"/>
                      </a:lnTo>
                      <a:lnTo>
                        <a:pt x="429" y="482"/>
                      </a:lnTo>
                      <a:lnTo>
                        <a:pt x="431" y="480"/>
                      </a:lnTo>
                      <a:lnTo>
                        <a:pt x="436" y="474"/>
                      </a:lnTo>
                      <a:lnTo>
                        <a:pt x="436" y="473"/>
                      </a:lnTo>
                      <a:lnTo>
                        <a:pt x="433" y="474"/>
                      </a:lnTo>
                      <a:lnTo>
                        <a:pt x="428" y="475"/>
                      </a:lnTo>
                      <a:lnTo>
                        <a:pt x="423" y="477"/>
                      </a:lnTo>
                      <a:lnTo>
                        <a:pt x="418" y="480"/>
                      </a:lnTo>
                      <a:lnTo>
                        <a:pt x="415" y="483"/>
                      </a:lnTo>
                      <a:lnTo>
                        <a:pt x="413" y="487"/>
                      </a:lnTo>
                      <a:lnTo>
                        <a:pt x="408" y="493"/>
                      </a:lnTo>
                      <a:lnTo>
                        <a:pt x="403" y="497"/>
                      </a:lnTo>
                      <a:lnTo>
                        <a:pt x="399" y="500"/>
                      </a:lnTo>
                      <a:lnTo>
                        <a:pt x="395" y="501"/>
                      </a:lnTo>
                      <a:lnTo>
                        <a:pt x="391" y="501"/>
                      </a:lnTo>
                      <a:lnTo>
                        <a:pt x="381" y="502"/>
                      </a:lnTo>
                      <a:lnTo>
                        <a:pt x="374" y="503"/>
                      </a:lnTo>
                      <a:lnTo>
                        <a:pt x="366" y="505"/>
                      </a:lnTo>
                      <a:lnTo>
                        <a:pt x="361" y="505"/>
                      </a:lnTo>
                      <a:lnTo>
                        <a:pt x="355" y="501"/>
                      </a:lnTo>
                      <a:lnTo>
                        <a:pt x="349" y="499"/>
                      </a:lnTo>
                      <a:lnTo>
                        <a:pt x="344" y="497"/>
                      </a:lnTo>
                      <a:lnTo>
                        <a:pt x="342" y="497"/>
                      </a:lnTo>
                      <a:lnTo>
                        <a:pt x="339" y="496"/>
                      </a:lnTo>
                      <a:lnTo>
                        <a:pt x="337" y="494"/>
                      </a:lnTo>
                      <a:lnTo>
                        <a:pt x="335" y="493"/>
                      </a:lnTo>
                      <a:lnTo>
                        <a:pt x="333" y="494"/>
                      </a:lnTo>
                      <a:lnTo>
                        <a:pt x="332" y="496"/>
                      </a:lnTo>
                      <a:lnTo>
                        <a:pt x="329" y="499"/>
                      </a:lnTo>
                      <a:lnTo>
                        <a:pt x="324" y="500"/>
                      </a:lnTo>
                      <a:lnTo>
                        <a:pt x="315" y="502"/>
                      </a:lnTo>
                      <a:lnTo>
                        <a:pt x="311" y="505"/>
                      </a:lnTo>
                      <a:lnTo>
                        <a:pt x="309" y="507"/>
                      </a:lnTo>
                      <a:lnTo>
                        <a:pt x="304" y="518"/>
                      </a:lnTo>
                      <a:lnTo>
                        <a:pt x="300" y="525"/>
                      </a:lnTo>
                      <a:lnTo>
                        <a:pt x="296" y="525"/>
                      </a:lnTo>
                      <a:lnTo>
                        <a:pt x="294" y="525"/>
                      </a:lnTo>
                      <a:lnTo>
                        <a:pt x="291" y="526"/>
                      </a:lnTo>
                      <a:lnTo>
                        <a:pt x="288" y="533"/>
                      </a:lnTo>
                      <a:lnTo>
                        <a:pt x="285" y="537"/>
                      </a:lnTo>
                      <a:lnTo>
                        <a:pt x="283" y="538"/>
                      </a:lnTo>
                      <a:lnTo>
                        <a:pt x="282" y="538"/>
                      </a:lnTo>
                      <a:lnTo>
                        <a:pt x="268" y="535"/>
                      </a:lnTo>
                      <a:lnTo>
                        <a:pt x="255" y="534"/>
                      </a:lnTo>
                      <a:lnTo>
                        <a:pt x="257" y="531"/>
                      </a:lnTo>
                      <a:lnTo>
                        <a:pt x="257" y="525"/>
                      </a:lnTo>
                      <a:lnTo>
                        <a:pt x="255" y="520"/>
                      </a:lnTo>
                      <a:lnTo>
                        <a:pt x="254" y="516"/>
                      </a:lnTo>
                      <a:lnTo>
                        <a:pt x="253" y="514"/>
                      </a:lnTo>
                      <a:lnTo>
                        <a:pt x="249" y="512"/>
                      </a:lnTo>
                      <a:lnTo>
                        <a:pt x="235" y="506"/>
                      </a:lnTo>
                      <a:lnTo>
                        <a:pt x="225" y="500"/>
                      </a:lnTo>
                      <a:lnTo>
                        <a:pt x="215" y="494"/>
                      </a:lnTo>
                      <a:lnTo>
                        <a:pt x="206" y="489"/>
                      </a:lnTo>
                      <a:lnTo>
                        <a:pt x="200" y="488"/>
                      </a:lnTo>
                      <a:lnTo>
                        <a:pt x="193" y="486"/>
                      </a:lnTo>
                      <a:lnTo>
                        <a:pt x="187" y="483"/>
                      </a:lnTo>
                      <a:lnTo>
                        <a:pt x="178" y="480"/>
                      </a:lnTo>
                      <a:lnTo>
                        <a:pt x="154" y="490"/>
                      </a:lnTo>
                      <a:lnTo>
                        <a:pt x="142" y="495"/>
                      </a:lnTo>
                      <a:lnTo>
                        <a:pt x="134" y="497"/>
                      </a:lnTo>
                      <a:lnTo>
                        <a:pt x="132" y="496"/>
                      </a:lnTo>
                      <a:lnTo>
                        <a:pt x="131" y="494"/>
                      </a:lnTo>
                      <a:lnTo>
                        <a:pt x="130" y="486"/>
                      </a:lnTo>
                      <a:lnTo>
                        <a:pt x="130" y="477"/>
                      </a:lnTo>
                      <a:lnTo>
                        <a:pt x="131" y="471"/>
                      </a:lnTo>
                      <a:lnTo>
                        <a:pt x="131" y="470"/>
                      </a:lnTo>
                      <a:lnTo>
                        <a:pt x="130" y="469"/>
                      </a:lnTo>
                      <a:lnTo>
                        <a:pt x="126" y="463"/>
                      </a:lnTo>
                      <a:lnTo>
                        <a:pt x="121" y="458"/>
                      </a:lnTo>
                      <a:lnTo>
                        <a:pt x="121" y="456"/>
                      </a:lnTo>
                      <a:lnTo>
                        <a:pt x="123" y="454"/>
                      </a:lnTo>
                      <a:lnTo>
                        <a:pt x="128" y="451"/>
                      </a:lnTo>
                      <a:lnTo>
                        <a:pt x="131" y="449"/>
                      </a:lnTo>
                      <a:lnTo>
                        <a:pt x="131" y="446"/>
                      </a:lnTo>
                      <a:lnTo>
                        <a:pt x="128" y="445"/>
                      </a:lnTo>
                      <a:lnTo>
                        <a:pt x="120" y="445"/>
                      </a:lnTo>
                      <a:lnTo>
                        <a:pt x="115" y="444"/>
                      </a:lnTo>
                      <a:lnTo>
                        <a:pt x="112" y="443"/>
                      </a:lnTo>
                      <a:lnTo>
                        <a:pt x="112" y="442"/>
                      </a:lnTo>
                      <a:lnTo>
                        <a:pt x="111" y="437"/>
                      </a:lnTo>
                      <a:lnTo>
                        <a:pt x="112" y="433"/>
                      </a:lnTo>
                      <a:lnTo>
                        <a:pt x="113" y="430"/>
                      </a:lnTo>
                      <a:lnTo>
                        <a:pt x="115" y="429"/>
                      </a:lnTo>
                      <a:lnTo>
                        <a:pt x="125" y="432"/>
                      </a:lnTo>
                      <a:lnTo>
                        <a:pt x="127" y="432"/>
                      </a:lnTo>
                      <a:lnTo>
                        <a:pt x="130" y="432"/>
                      </a:lnTo>
                      <a:lnTo>
                        <a:pt x="132" y="431"/>
                      </a:lnTo>
                      <a:lnTo>
                        <a:pt x="134" y="429"/>
                      </a:lnTo>
                      <a:lnTo>
                        <a:pt x="135" y="424"/>
                      </a:lnTo>
                      <a:lnTo>
                        <a:pt x="136" y="419"/>
                      </a:lnTo>
                      <a:lnTo>
                        <a:pt x="135" y="411"/>
                      </a:lnTo>
                      <a:lnTo>
                        <a:pt x="134" y="401"/>
                      </a:lnTo>
                      <a:lnTo>
                        <a:pt x="132" y="397"/>
                      </a:lnTo>
                      <a:lnTo>
                        <a:pt x="131" y="395"/>
                      </a:lnTo>
                      <a:lnTo>
                        <a:pt x="131" y="394"/>
                      </a:lnTo>
                      <a:lnTo>
                        <a:pt x="128" y="395"/>
                      </a:lnTo>
                      <a:lnTo>
                        <a:pt x="123" y="399"/>
                      </a:lnTo>
                      <a:lnTo>
                        <a:pt x="122" y="400"/>
                      </a:lnTo>
                      <a:lnTo>
                        <a:pt x="120" y="400"/>
                      </a:lnTo>
                      <a:lnTo>
                        <a:pt x="118" y="401"/>
                      </a:lnTo>
                      <a:lnTo>
                        <a:pt x="115" y="406"/>
                      </a:lnTo>
                      <a:lnTo>
                        <a:pt x="113" y="410"/>
                      </a:lnTo>
                      <a:lnTo>
                        <a:pt x="112" y="411"/>
                      </a:lnTo>
                      <a:lnTo>
                        <a:pt x="112" y="410"/>
                      </a:lnTo>
                      <a:lnTo>
                        <a:pt x="112" y="411"/>
                      </a:lnTo>
                      <a:lnTo>
                        <a:pt x="109" y="414"/>
                      </a:lnTo>
                      <a:lnTo>
                        <a:pt x="108" y="418"/>
                      </a:lnTo>
                      <a:lnTo>
                        <a:pt x="108" y="419"/>
                      </a:lnTo>
                      <a:lnTo>
                        <a:pt x="107" y="419"/>
                      </a:lnTo>
                      <a:lnTo>
                        <a:pt x="107" y="406"/>
                      </a:lnTo>
                      <a:lnTo>
                        <a:pt x="107" y="397"/>
                      </a:lnTo>
                      <a:lnTo>
                        <a:pt x="109" y="387"/>
                      </a:lnTo>
                      <a:lnTo>
                        <a:pt x="108" y="385"/>
                      </a:lnTo>
                      <a:lnTo>
                        <a:pt x="106" y="381"/>
                      </a:lnTo>
                      <a:lnTo>
                        <a:pt x="101" y="379"/>
                      </a:lnTo>
                      <a:lnTo>
                        <a:pt x="98" y="379"/>
                      </a:lnTo>
                      <a:lnTo>
                        <a:pt x="93" y="380"/>
                      </a:lnTo>
                      <a:lnTo>
                        <a:pt x="90" y="380"/>
                      </a:lnTo>
                      <a:lnTo>
                        <a:pt x="90" y="377"/>
                      </a:lnTo>
                      <a:lnTo>
                        <a:pt x="83" y="380"/>
                      </a:lnTo>
                      <a:lnTo>
                        <a:pt x="79" y="382"/>
                      </a:lnTo>
                      <a:lnTo>
                        <a:pt x="78" y="382"/>
                      </a:lnTo>
                      <a:lnTo>
                        <a:pt x="78" y="381"/>
                      </a:lnTo>
                      <a:lnTo>
                        <a:pt x="80" y="378"/>
                      </a:lnTo>
                      <a:lnTo>
                        <a:pt x="82" y="374"/>
                      </a:lnTo>
                      <a:lnTo>
                        <a:pt x="82" y="371"/>
                      </a:lnTo>
                      <a:lnTo>
                        <a:pt x="75" y="356"/>
                      </a:lnTo>
                      <a:lnTo>
                        <a:pt x="73" y="355"/>
                      </a:lnTo>
                      <a:lnTo>
                        <a:pt x="70" y="353"/>
                      </a:lnTo>
                      <a:lnTo>
                        <a:pt x="68" y="349"/>
                      </a:lnTo>
                      <a:lnTo>
                        <a:pt x="68" y="347"/>
                      </a:lnTo>
                      <a:lnTo>
                        <a:pt x="68" y="346"/>
                      </a:lnTo>
                      <a:lnTo>
                        <a:pt x="69" y="347"/>
                      </a:lnTo>
                      <a:lnTo>
                        <a:pt x="79" y="350"/>
                      </a:lnTo>
                      <a:lnTo>
                        <a:pt x="84" y="350"/>
                      </a:lnTo>
                      <a:lnTo>
                        <a:pt x="85" y="350"/>
                      </a:lnTo>
                      <a:lnTo>
                        <a:pt x="87" y="349"/>
                      </a:lnTo>
                      <a:lnTo>
                        <a:pt x="85" y="345"/>
                      </a:lnTo>
                      <a:lnTo>
                        <a:pt x="84" y="339"/>
                      </a:lnTo>
                      <a:lnTo>
                        <a:pt x="83" y="331"/>
                      </a:lnTo>
                      <a:lnTo>
                        <a:pt x="83" y="328"/>
                      </a:lnTo>
                      <a:lnTo>
                        <a:pt x="87" y="321"/>
                      </a:lnTo>
                      <a:lnTo>
                        <a:pt x="90" y="317"/>
                      </a:lnTo>
                      <a:lnTo>
                        <a:pt x="93" y="316"/>
                      </a:lnTo>
                      <a:lnTo>
                        <a:pt x="97" y="316"/>
                      </a:lnTo>
                      <a:lnTo>
                        <a:pt x="99" y="317"/>
                      </a:lnTo>
                      <a:lnTo>
                        <a:pt x="103" y="318"/>
                      </a:lnTo>
                      <a:lnTo>
                        <a:pt x="115" y="324"/>
                      </a:lnTo>
                      <a:lnTo>
                        <a:pt x="118" y="326"/>
                      </a:lnTo>
                      <a:lnTo>
                        <a:pt x="121" y="326"/>
                      </a:lnTo>
                      <a:lnTo>
                        <a:pt x="123" y="326"/>
                      </a:lnTo>
                      <a:lnTo>
                        <a:pt x="126" y="324"/>
                      </a:lnTo>
                      <a:lnTo>
                        <a:pt x="127" y="322"/>
                      </a:lnTo>
                      <a:lnTo>
                        <a:pt x="128" y="321"/>
                      </a:lnTo>
                      <a:lnTo>
                        <a:pt x="126" y="316"/>
                      </a:lnTo>
                      <a:lnTo>
                        <a:pt x="125" y="312"/>
                      </a:lnTo>
                      <a:lnTo>
                        <a:pt x="126" y="310"/>
                      </a:lnTo>
                      <a:lnTo>
                        <a:pt x="128" y="309"/>
                      </a:lnTo>
                      <a:lnTo>
                        <a:pt x="128" y="308"/>
                      </a:lnTo>
                      <a:lnTo>
                        <a:pt x="128" y="305"/>
                      </a:lnTo>
                      <a:lnTo>
                        <a:pt x="126" y="302"/>
                      </a:lnTo>
                      <a:lnTo>
                        <a:pt x="123" y="298"/>
                      </a:lnTo>
                      <a:lnTo>
                        <a:pt x="118" y="286"/>
                      </a:lnTo>
                      <a:lnTo>
                        <a:pt x="115" y="282"/>
                      </a:lnTo>
                      <a:lnTo>
                        <a:pt x="113" y="279"/>
                      </a:lnTo>
                      <a:lnTo>
                        <a:pt x="111" y="279"/>
                      </a:lnTo>
                      <a:lnTo>
                        <a:pt x="99" y="277"/>
                      </a:lnTo>
                      <a:lnTo>
                        <a:pt x="92" y="276"/>
                      </a:lnTo>
                      <a:lnTo>
                        <a:pt x="84" y="279"/>
                      </a:lnTo>
                      <a:lnTo>
                        <a:pt x="73" y="284"/>
                      </a:lnTo>
                      <a:lnTo>
                        <a:pt x="51" y="294"/>
                      </a:lnTo>
                      <a:lnTo>
                        <a:pt x="35" y="30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2" name="Freeform 1301">
                  <a:extLst>
                    <a:ext uri="{FF2B5EF4-FFF2-40B4-BE49-F238E27FC236}">
                      <a16:creationId xmlns:a16="http://schemas.microsoft.com/office/drawing/2014/main" id="{46B266D2-980B-F844-B263-FD1160F455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2184" y="2752244"/>
                  <a:ext cx="964877" cy="797651"/>
                </a:xfrm>
                <a:custGeom>
                  <a:avLst/>
                  <a:gdLst>
                    <a:gd name="T0" fmla="*/ 2147483647 w 707"/>
                    <a:gd name="T1" fmla="*/ 2147483647 h 539"/>
                    <a:gd name="T2" fmla="*/ 2147483647 w 707"/>
                    <a:gd name="T3" fmla="*/ 2147483647 h 539"/>
                    <a:gd name="T4" fmla="*/ 2147483647 w 707"/>
                    <a:gd name="T5" fmla="*/ 2147483647 h 539"/>
                    <a:gd name="T6" fmla="*/ 0 w 707"/>
                    <a:gd name="T7" fmla="*/ 2147483647 h 539"/>
                    <a:gd name="T8" fmla="*/ 2147483647 w 707"/>
                    <a:gd name="T9" fmla="*/ 2147483647 h 539"/>
                    <a:gd name="T10" fmla="*/ 2147483647 w 707"/>
                    <a:gd name="T11" fmla="*/ 2147483647 h 539"/>
                    <a:gd name="T12" fmla="*/ 2147483647 w 707"/>
                    <a:gd name="T13" fmla="*/ 2147483647 h 539"/>
                    <a:gd name="T14" fmla="*/ 2147483647 w 707"/>
                    <a:gd name="T15" fmla="*/ 2147483647 h 539"/>
                    <a:gd name="T16" fmla="*/ 2147483647 w 707"/>
                    <a:gd name="T17" fmla="*/ 2147483647 h 539"/>
                    <a:gd name="T18" fmla="*/ 2147483647 w 707"/>
                    <a:gd name="T19" fmla="*/ 2147483647 h 539"/>
                    <a:gd name="T20" fmla="*/ 2147483647 w 707"/>
                    <a:gd name="T21" fmla="*/ 2147483647 h 539"/>
                    <a:gd name="T22" fmla="*/ 2147483647 w 707"/>
                    <a:gd name="T23" fmla="*/ 2147483647 h 539"/>
                    <a:gd name="T24" fmla="*/ 2147483647 w 707"/>
                    <a:gd name="T25" fmla="*/ 2147483647 h 539"/>
                    <a:gd name="T26" fmla="*/ 2147483647 w 707"/>
                    <a:gd name="T27" fmla="*/ 2147483647 h 539"/>
                    <a:gd name="T28" fmla="*/ 2147483647 w 707"/>
                    <a:gd name="T29" fmla="*/ 2147483647 h 539"/>
                    <a:gd name="T30" fmla="*/ 2147483647 w 707"/>
                    <a:gd name="T31" fmla="*/ 2147483647 h 539"/>
                    <a:gd name="T32" fmla="*/ 2147483647 w 707"/>
                    <a:gd name="T33" fmla="*/ 2147483647 h 539"/>
                    <a:gd name="T34" fmla="*/ 2147483647 w 707"/>
                    <a:gd name="T35" fmla="*/ 2147483647 h 539"/>
                    <a:gd name="T36" fmla="*/ 2147483647 w 707"/>
                    <a:gd name="T37" fmla="*/ 2147483647 h 539"/>
                    <a:gd name="T38" fmla="*/ 2147483647 w 707"/>
                    <a:gd name="T39" fmla="*/ 2147483647 h 539"/>
                    <a:gd name="T40" fmla="*/ 2147483647 w 707"/>
                    <a:gd name="T41" fmla="*/ 2147483647 h 539"/>
                    <a:gd name="T42" fmla="*/ 2147483647 w 707"/>
                    <a:gd name="T43" fmla="*/ 2147483647 h 539"/>
                    <a:gd name="T44" fmla="*/ 2147483647 w 707"/>
                    <a:gd name="T45" fmla="*/ 2147483647 h 539"/>
                    <a:gd name="T46" fmla="*/ 2147483647 w 707"/>
                    <a:gd name="T47" fmla="*/ 2147483647 h 539"/>
                    <a:gd name="T48" fmla="*/ 2147483647 w 707"/>
                    <a:gd name="T49" fmla="*/ 2147483647 h 539"/>
                    <a:gd name="T50" fmla="*/ 2147483647 w 707"/>
                    <a:gd name="T51" fmla="*/ 2147483647 h 539"/>
                    <a:gd name="T52" fmla="*/ 2147483647 w 707"/>
                    <a:gd name="T53" fmla="*/ 2147483647 h 539"/>
                    <a:gd name="T54" fmla="*/ 2147483647 w 707"/>
                    <a:gd name="T55" fmla="*/ 2147483647 h 539"/>
                    <a:gd name="T56" fmla="*/ 2147483647 w 707"/>
                    <a:gd name="T57" fmla="*/ 2147483647 h 539"/>
                    <a:gd name="T58" fmla="*/ 2147483647 w 707"/>
                    <a:gd name="T59" fmla="*/ 2147483647 h 539"/>
                    <a:gd name="T60" fmla="*/ 2147483647 w 707"/>
                    <a:gd name="T61" fmla="*/ 2147483647 h 539"/>
                    <a:gd name="T62" fmla="*/ 2147483647 w 707"/>
                    <a:gd name="T63" fmla="*/ 2147483647 h 539"/>
                    <a:gd name="T64" fmla="*/ 2147483647 w 707"/>
                    <a:gd name="T65" fmla="*/ 2147483647 h 539"/>
                    <a:gd name="T66" fmla="*/ 2147483647 w 707"/>
                    <a:gd name="T67" fmla="*/ 2147483647 h 539"/>
                    <a:gd name="T68" fmla="*/ 2147483647 w 707"/>
                    <a:gd name="T69" fmla="*/ 2147483647 h 539"/>
                    <a:gd name="T70" fmla="*/ 2147483647 w 707"/>
                    <a:gd name="T71" fmla="*/ 2147483647 h 539"/>
                    <a:gd name="T72" fmla="*/ 2147483647 w 707"/>
                    <a:gd name="T73" fmla="*/ 2147483647 h 539"/>
                    <a:gd name="T74" fmla="*/ 2147483647 w 707"/>
                    <a:gd name="T75" fmla="*/ 2147483647 h 539"/>
                    <a:gd name="T76" fmla="*/ 2147483647 w 707"/>
                    <a:gd name="T77" fmla="*/ 2147483647 h 539"/>
                    <a:gd name="T78" fmla="*/ 2147483647 w 707"/>
                    <a:gd name="T79" fmla="*/ 2147483647 h 539"/>
                    <a:gd name="T80" fmla="*/ 2147483647 w 707"/>
                    <a:gd name="T81" fmla="*/ 2147483647 h 539"/>
                    <a:gd name="T82" fmla="*/ 2147483647 w 707"/>
                    <a:gd name="T83" fmla="*/ 2147483647 h 539"/>
                    <a:gd name="T84" fmla="*/ 2147483647 w 707"/>
                    <a:gd name="T85" fmla="*/ 2147483647 h 539"/>
                    <a:gd name="T86" fmla="*/ 2147483647 w 707"/>
                    <a:gd name="T87" fmla="*/ 2147483647 h 539"/>
                    <a:gd name="T88" fmla="*/ 2147483647 w 707"/>
                    <a:gd name="T89" fmla="*/ 2147483647 h 539"/>
                    <a:gd name="T90" fmla="*/ 2147483647 w 707"/>
                    <a:gd name="T91" fmla="*/ 2147483647 h 539"/>
                    <a:gd name="T92" fmla="*/ 2147483647 w 707"/>
                    <a:gd name="T93" fmla="*/ 2147483647 h 539"/>
                    <a:gd name="T94" fmla="*/ 2147483647 w 707"/>
                    <a:gd name="T95" fmla="*/ 2147483647 h 539"/>
                    <a:gd name="T96" fmla="*/ 2147483647 w 707"/>
                    <a:gd name="T97" fmla="*/ 2147483647 h 539"/>
                    <a:gd name="T98" fmla="*/ 2147483647 w 707"/>
                    <a:gd name="T99" fmla="*/ 2147483647 h 539"/>
                    <a:gd name="T100" fmla="*/ 2147483647 w 707"/>
                    <a:gd name="T101" fmla="*/ 2147483647 h 539"/>
                    <a:gd name="T102" fmla="*/ 2147483647 w 707"/>
                    <a:gd name="T103" fmla="*/ 2147483647 h 539"/>
                    <a:gd name="T104" fmla="*/ 2147483647 w 707"/>
                    <a:gd name="T105" fmla="*/ 2147483647 h 539"/>
                    <a:gd name="T106" fmla="*/ 2147483647 w 707"/>
                    <a:gd name="T107" fmla="*/ 2147483647 h 539"/>
                    <a:gd name="T108" fmla="*/ 2147483647 w 707"/>
                    <a:gd name="T109" fmla="*/ 2147483647 h 539"/>
                    <a:gd name="T110" fmla="*/ 2147483647 w 707"/>
                    <a:gd name="T111" fmla="*/ 2147483647 h 539"/>
                    <a:gd name="T112" fmla="*/ 2147483647 w 707"/>
                    <a:gd name="T113" fmla="*/ 2147483647 h 539"/>
                    <a:gd name="T114" fmla="*/ 2147483647 w 707"/>
                    <a:gd name="T115" fmla="*/ 2147483647 h 539"/>
                    <a:gd name="T116" fmla="*/ 2147483647 w 707"/>
                    <a:gd name="T117" fmla="*/ 2147483647 h 539"/>
                    <a:gd name="T118" fmla="*/ 2147483647 w 707"/>
                    <a:gd name="T119" fmla="*/ 2147483647 h 539"/>
                    <a:gd name="T120" fmla="*/ 2147483647 w 707"/>
                    <a:gd name="T121" fmla="*/ 2147483647 h 539"/>
                    <a:gd name="T122" fmla="*/ 2147483647 w 707"/>
                    <a:gd name="T123" fmla="*/ 2147483647 h 539"/>
                    <a:gd name="T124" fmla="*/ 2147483647 w 707"/>
                    <a:gd name="T125" fmla="*/ 2147483647 h 53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07"/>
                    <a:gd name="T190" fmla="*/ 0 h 539"/>
                    <a:gd name="T191" fmla="*/ 707 w 707"/>
                    <a:gd name="T192" fmla="*/ 539 h 539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07" h="539">
                      <a:moveTo>
                        <a:pt x="34" y="303"/>
                      </a:moveTo>
                      <a:lnTo>
                        <a:pt x="34" y="303"/>
                      </a:lnTo>
                      <a:lnTo>
                        <a:pt x="41" y="296"/>
                      </a:lnTo>
                      <a:lnTo>
                        <a:pt x="53" y="280"/>
                      </a:lnTo>
                      <a:lnTo>
                        <a:pt x="58" y="271"/>
                      </a:lnTo>
                      <a:lnTo>
                        <a:pt x="61" y="262"/>
                      </a:lnTo>
                      <a:lnTo>
                        <a:pt x="62" y="259"/>
                      </a:lnTo>
                      <a:lnTo>
                        <a:pt x="61" y="255"/>
                      </a:lnTo>
                      <a:lnTo>
                        <a:pt x="60" y="253"/>
                      </a:lnTo>
                      <a:lnTo>
                        <a:pt x="57" y="250"/>
                      </a:lnTo>
                      <a:lnTo>
                        <a:pt x="49" y="247"/>
                      </a:lnTo>
                      <a:lnTo>
                        <a:pt x="46" y="243"/>
                      </a:lnTo>
                      <a:lnTo>
                        <a:pt x="43" y="240"/>
                      </a:lnTo>
                      <a:lnTo>
                        <a:pt x="43" y="236"/>
                      </a:lnTo>
                      <a:lnTo>
                        <a:pt x="42" y="233"/>
                      </a:lnTo>
                      <a:lnTo>
                        <a:pt x="41" y="230"/>
                      </a:lnTo>
                      <a:lnTo>
                        <a:pt x="38" y="227"/>
                      </a:lnTo>
                      <a:lnTo>
                        <a:pt x="34" y="224"/>
                      </a:lnTo>
                      <a:lnTo>
                        <a:pt x="24" y="221"/>
                      </a:lnTo>
                      <a:lnTo>
                        <a:pt x="18" y="220"/>
                      </a:lnTo>
                      <a:lnTo>
                        <a:pt x="9" y="218"/>
                      </a:lnTo>
                      <a:lnTo>
                        <a:pt x="6" y="218"/>
                      </a:lnTo>
                      <a:lnTo>
                        <a:pt x="5" y="216"/>
                      </a:lnTo>
                      <a:lnTo>
                        <a:pt x="1" y="207"/>
                      </a:lnTo>
                      <a:lnTo>
                        <a:pt x="0" y="198"/>
                      </a:lnTo>
                      <a:lnTo>
                        <a:pt x="1" y="191"/>
                      </a:lnTo>
                      <a:lnTo>
                        <a:pt x="3" y="185"/>
                      </a:lnTo>
                      <a:lnTo>
                        <a:pt x="5" y="181"/>
                      </a:lnTo>
                      <a:lnTo>
                        <a:pt x="9" y="173"/>
                      </a:lnTo>
                      <a:lnTo>
                        <a:pt x="10" y="171"/>
                      </a:lnTo>
                      <a:lnTo>
                        <a:pt x="9" y="170"/>
                      </a:lnTo>
                      <a:lnTo>
                        <a:pt x="11" y="170"/>
                      </a:lnTo>
                      <a:lnTo>
                        <a:pt x="18" y="173"/>
                      </a:lnTo>
                      <a:lnTo>
                        <a:pt x="22" y="175"/>
                      </a:lnTo>
                      <a:lnTo>
                        <a:pt x="27" y="176"/>
                      </a:lnTo>
                      <a:lnTo>
                        <a:pt x="33" y="176"/>
                      </a:lnTo>
                      <a:lnTo>
                        <a:pt x="38" y="175"/>
                      </a:lnTo>
                      <a:lnTo>
                        <a:pt x="42" y="172"/>
                      </a:lnTo>
                      <a:lnTo>
                        <a:pt x="44" y="169"/>
                      </a:lnTo>
                      <a:lnTo>
                        <a:pt x="44" y="164"/>
                      </a:lnTo>
                      <a:lnTo>
                        <a:pt x="43" y="160"/>
                      </a:lnTo>
                      <a:lnTo>
                        <a:pt x="38" y="153"/>
                      </a:lnTo>
                      <a:lnTo>
                        <a:pt x="37" y="151"/>
                      </a:lnTo>
                      <a:lnTo>
                        <a:pt x="67" y="131"/>
                      </a:lnTo>
                      <a:lnTo>
                        <a:pt x="80" y="118"/>
                      </a:lnTo>
                      <a:lnTo>
                        <a:pt x="91" y="121"/>
                      </a:lnTo>
                      <a:lnTo>
                        <a:pt x="116" y="127"/>
                      </a:lnTo>
                      <a:lnTo>
                        <a:pt x="137" y="145"/>
                      </a:lnTo>
                      <a:lnTo>
                        <a:pt x="161" y="157"/>
                      </a:lnTo>
                      <a:lnTo>
                        <a:pt x="179" y="138"/>
                      </a:lnTo>
                      <a:lnTo>
                        <a:pt x="203" y="141"/>
                      </a:lnTo>
                      <a:lnTo>
                        <a:pt x="220" y="156"/>
                      </a:lnTo>
                      <a:lnTo>
                        <a:pt x="244" y="151"/>
                      </a:lnTo>
                      <a:lnTo>
                        <a:pt x="255" y="145"/>
                      </a:lnTo>
                      <a:lnTo>
                        <a:pt x="263" y="140"/>
                      </a:lnTo>
                      <a:lnTo>
                        <a:pt x="264" y="138"/>
                      </a:lnTo>
                      <a:lnTo>
                        <a:pt x="263" y="137"/>
                      </a:lnTo>
                      <a:lnTo>
                        <a:pt x="253" y="134"/>
                      </a:lnTo>
                      <a:lnTo>
                        <a:pt x="248" y="132"/>
                      </a:lnTo>
                      <a:lnTo>
                        <a:pt x="243" y="127"/>
                      </a:lnTo>
                      <a:lnTo>
                        <a:pt x="239" y="122"/>
                      </a:lnTo>
                      <a:lnTo>
                        <a:pt x="239" y="117"/>
                      </a:lnTo>
                      <a:lnTo>
                        <a:pt x="240" y="112"/>
                      </a:lnTo>
                      <a:lnTo>
                        <a:pt x="241" y="108"/>
                      </a:lnTo>
                      <a:lnTo>
                        <a:pt x="248" y="101"/>
                      </a:lnTo>
                      <a:lnTo>
                        <a:pt x="250" y="99"/>
                      </a:lnTo>
                      <a:lnTo>
                        <a:pt x="244" y="86"/>
                      </a:lnTo>
                      <a:lnTo>
                        <a:pt x="265" y="81"/>
                      </a:lnTo>
                      <a:lnTo>
                        <a:pt x="249" y="60"/>
                      </a:lnTo>
                      <a:lnTo>
                        <a:pt x="286" y="48"/>
                      </a:lnTo>
                      <a:lnTo>
                        <a:pt x="310" y="41"/>
                      </a:lnTo>
                      <a:lnTo>
                        <a:pt x="366" y="22"/>
                      </a:lnTo>
                      <a:lnTo>
                        <a:pt x="395" y="0"/>
                      </a:lnTo>
                      <a:lnTo>
                        <a:pt x="418" y="7"/>
                      </a:lnTo>
                      <a:lnTo>
                        <a:pt x="428" y="42"/>
                      </a:lnTo>
                      <a:lnTo>
                        <a:pt x="451" y="41"/>
                      </a:lnTo>
                      <a:lnTo>
                        <a:pt x="467" y="55"/>
                      </a:lnTo>
                      <a:lnTo>
                        <a:pt x="489" y="56"/>
                      </a:lnTo>
                      <a:lnTo>
                        <a:pt x="509" y="41"/>
                      </a:lnTo>
                      <a:lnTo>
                        <a:pt x="543" y="74"/>
                      </a:lnTo>
                      <a:lnTo>
                        <a:pt x="565" y="126"/>
                      </a:lnTo>
                      <a:lnTo>
                        <a:pt x="580" y="146"/>
                      </a:lnTo>
                      <a:lnTo>
                        <a:pt x="594" y="133"/>
                      </a:lnTo>
                      <a:lnTo>
                        <a:pt x="608" y="146"/>
                      </a:lnTo>
                      <a:lnTo>
                        <a:pt x="623" y="147"/>
                      </a:lnTo>
                      <a:lnTo>
                        <a:pt x="644" y="141"/>
                      </a:lnTo>
                      <a:lnTo>
                        <a:pt x="651" y="156"/>
                      </a:lnTo>
                      <a:lnTo>
                        <a:pt x="660" y="166"/>
                      </a:lnTo>
                      <a:lnTo>
                        <a:pt x="676" y="179"/>
                      </a:lnTo>
                      <a:lnTo>
                        <a:pt x="697" y="186"/>
                      </a:lnTo>
                      <a:lnTo>
                        <a:pt x="707" y="201"/>
                      </a:lnTo>
                      <a:lnTo>
                        <a:pt x="695" y="224"/>
                      </a:lnTo>
                      <a:lnTo>
                        <a:pt x="702" y="229"/>
                      </a:lnTo>
                      <a:lnTo>
                        <a:pt x="684" y="237"/>
                      </a:lnTo>
                      <a:lnTo>
                        <a:pt x="678" y="243"/>
                      </a:lnTo>
                      <a:lnTo>
                        <a:pt x="673" y="246"/>
                      </a:lnTo>
                      <a:lnTo>
                        <a:pt x="669" y="248"/>
                      </a:lnTo>
                      <a:lnTo>
                        <a:pt x="667" y="249"/>
                      </a:lnTo>
                      <a:lnTo>
                        <a:pt x="665" y="253"/>
                      </a:lnTo>
                      <a:lnTo>
                        <a:pt x="664" y="262"/>
                      </a:lnTo>
                      <a:lnTo>
                        <a:pt x="663" y="271"/>
                      </a:lnTo>
                      <a:lnTo>
                        <a:pt x="663" y="274"/>
                      </a:lnTo>
                      <a:lnTo>
                        <a:pt x="662" y="277"/>
                      </a:lnTo>
                      <a:lnTo>
                        <a:pt x="658" y="279"/>
                      </a:lnTo>
                      <a:lnTo>
                        <a:pt x="653" y="281"/>
                      </a:lnTo>
                      <a:lnTo>
                        <a:pt x="644" y="282"/>
                      </a:lnTo>
                      <a:lnTo>
                        <a:pt x="631" y="282"/>
                      </a:lnTo>
                      <a:lnTo>
                        <a:pt x="626" y="282"/>
                      </a:lnTo>
                      <a:lnTo>
                        <a:pt x="622" y="284"/>
                      </a:lnTo>
                      <a:lnTo>
                        <a:pt x="620" y="285"/>
                      </a:lnTo>
                      <a:lnTo>
                        <a:pt x="617" y="288"/>
                      </a:lnTo>
                      <a:lnTo>
                        <a:pt x="615" y="294"/>
                      </a:lnTo>
                      <a:lnTo>
                        <a:pt x="615" y="301"/>
                      </a:lnTo>
                      <a:lnTo>
                        <a:pt x="615" y="309"/>
                      </a:lnTo>
                      <a:lnTo>
                        <a:pt x="617" y="314"/>
                      </a:lnTo>
                      <a:lnTo>
                        <a:pt x="620" y="319"/>
                      </a:lnTo>
                      <a:lnTo>
                        <a:pt x="613" y="320"/>
                      </a:lnTo>
                      <a:lnTo>
                        <a:pt x="593" y="324"/>
                      </a:lnTo>
                      <a:lnTo>
                        <a:pt x="575" y="326"/>
                      </a:lnTo>
                      <a:lnTo>
                        <a:pt x="573" y="328"/>
                      </a:lnTo>
                      <a:lnTo>
                        <a:pt x="573" y="330"/>
                      </a:lnTo>
                      <a:lnTo>
                        <a:pt x="580" y="344"/>
                      </a:lnTo>
                      <a:lnTo>
                        <a:pt x="587" y="356"/>
                      </a:lnTo>
                      <a:lnTo>
                        <a:pt x="587" y="360"/>
                      </a:lnTo>
                      <a:lnTo>
                        <a:pt x="585" y="363"/>
                      </a:lnTo>
                      <a:lnTo>
                        <a:pt x="580" y="371"/>
                      </a:lnTo>
                      <a:lnTo>
                        <a:pt x="574" y="379"/>
                      </a:lnTo>
                      <a:lnTo>
                        <a:pt x="571" y="383"/>
                      </a:lnTo>
                      <a:lnTo>
                        <a:pt x="573" y="387"/>
                      </a:lnTo>
                      <a:lnTo>
                        <a:pt x="575" y="392"/>
                      </a:lnTo>
                      <a:lnTo>
                        <a:pt x="575" y="394"/>
                      </a:lnTo>
                      <a:lnTo>
                        <a:pt x="574" y="396"/>
                      </a:lnTo>
                      <a:lnTo>
                        <a:pt x="571" y="399"/>
                      </a:lnTo>
                      <a:lnTo>
                        <a:pt x="568" y="401"/>
                      </a:lnTo>
                      <a:lnTo>
                        <a:pt x="557" y="407"/>
                      </a:lnTo>
                      <a:lnTo>
                        <a:pt x="550" y="412"/>
                      </a:lnTo>
                      <a:lnTo>
                        <a:pt x="537" y="419"/>
                      </a:lnTo>
                      <a:lnTo>
                        <a:pt x="531" y="421"/>
                      </a:lnTo>
                      <a:lnTo>
                        <a:pt x="523" y="421"/>
                      </a:lnTo>
                      <a:lnTo>
                        <a:pt x="517" y="421"/>
                      </a:lnTo>
                      <a:lnTo>
                        <a:pt x="516" y="424"/>
                      </a:lnTo>
                      <a:lnTo>
                        <a:pt x="514" y="428"/>
                      </a:lnTo>
                      <a:lnTo>
                        <a:pt x="510" y="433"/>
                      </a:lnTo>
                      <a:lnTo>
                        <a:pt x="508" y="435"/>
                      </a:lnTo>
                      <a:lnTo>
                        <a:pt x="505" y="437"/>
                      </a:lnTo>
                      <a:lnTo>
                        <a:pt x="499" y="437"/>
                      </a:lnTo>
                      <a:lnTo>
                        <a:pt x="495" y="434"/>
                      </a:lnTo>
                      <a:lnTo>
                        <a:pt x="491" y="431"/>
                      </a:lnTo>
                      <a:lnTo>
                        <a:pt x="489" y="431"/>
                      </a:lnTo>
                      <a:lnTo>
                        <a:pt x="483" y="433"/>
                      </a:lnTo>
                      <a:lnTo>
                        <a:pt x="474" y="439"/>
                      </a:lnTo>
                      <a:lnTo>
                        <a:pt x="470" y="443"/>
                      </a:lnTo>
                      <a:lnTo>
                        <a:pt x="466" y="451"/>
                      </a:lnTo>
                      <a:lnTo>
                        <a:pt x="463" y="460"/>
                      </a:lnTo>
                      <a:lnTo>
                        <a:pt x="463" y="464"/>
                      </a:lnTo>
                      <a:lnTo>
                        <a:pt x="466" y="467"/>
                      </a:lnTo>
                      <a:lnTo>
                        <a:pt x="470" y="470"/>
                      </a:lnTo>
                      <a:lnTo>
                        <a:pt x="475" y="471"/>
                      </a:lnTo>
                      <a:lnTo>
                        <a:pt x="479" y="471"/>
                      </a:lnTo>
                      <a:lnTo>
                        <a:pt x="483" y="473"/>
                      </a:lnTo>
                      <a:lnTo>
                        <a:pt x="485" y="476"/>
                      </a:lnTo>
                      <a:lnTo>
                        <a:pt x="485" y="477"/>
                      </a:lnTo>
                      <a:lnTo>
                        <a:pt x="484" y="479"/>
                      </a:lnTo>
                      <a:lnTo>
                        <a:pt x="483" y="482"/>
                      </a:lnTo>
                      <a:lnTo>
                        <a:pt x="483" y="484"/>
                      </a:lnTo>
                      <a:lnTo>
                        <a:pt x="484" y="491"/>
                      </a:lnTo>
                      <a:lnTo>
                        <a:pt x="486" y="496"/>
                      </a:lnTo>
                      <a:lnTo>
                        <a:pt x="486" y="497"/>
                      </a:lnTo>
                      <a:lnTo>
                        <a:pt x="486" y="496"/>
                      </a:lnTo>
                      <a:lnTo>
                        <a:pt x="480" y="498"/>
                      </a:lnTo>
                      <a:lnTo>
                        <a:pt x="476" y="499"/>
                      </a:lnTo>
                      <a:lnTo>
                        <a:pt x="472" y="501"/>
                      </a:lnTo>
                      <a:lnTo>
                        <a:pt x="458" y="501"/>
                      </a:lnTo>
                      <a:lnTo>
                        <a:pt x="451" y="502"/>
                      </a:lnTo>
                      <a:lnTo>
                        <a:pt x="447" y="503"/>
                      </a:lnTo>
                      <a:lnTo>
                        <a:pt x="444" y="505"/>
                      </a:lnTo>
                      <a:lnTo>
                        <a:pt x="442" y="507"/>
                      </a:lnTo>
                      <a:lnTo>
                        <a:pt x="439" y="507"/>
                      </a:lnTo>
                      <a:lnTo>
                        <a:pt x="439" y="505"/>
                      </a:lnTo>
                      <a:lnTo>
                        <a:pt x="441" y="497"/>
                      </a:lnTo>
                      <a:lnTo>
                        <a:pt x="441" y="494"/>
                      </a:lnTo>
                      <a:lnTo>
                        <a:pt x="438" y="491"/>
                      </a:lnTo>
                      <a:lnTo>
                        <a:pt x="434" y="489"/>
                      </a:lnTo>
                      <a:lnTo>
                        <a:pt x="432" y="486"/>
                      </a:lnTo>
                      <a:lnTo>
                        <a:pt x="429" y="484"/>
                      </a:lnTo>
                      <a:lnTo>
                        <a:pt x="429" y="483"/>
                      </a:lnTo>
                      <a:lnTo>
                        <a:pt x="430" y="480"/>
                      </a:lnTo>
                      <a:lnTo>
                        <a:pt x="436" y="475"/>
                      </a:lnTo>
                      <a:lnTo>
                        <a:pt x="436" y="473"/>
                      </a:lnTo>
                      <a:lnTo>
                        <a:pt x="433" y="475"/>
                      </a:lnTo>
                      <a:lnTo>
                        <a:pt x="428" y="476"/>
                      </a:lnTo>
                      <a:lnTo>
                        <a:pt x="423" y="478"/>
                      </a:lnTo>
                      <a:lnTo>
                        <a:pt x="418" y="480"/>
                      </a:lnTo>
                      <a:lnTo>
                        <a:pt x="415" y="484"/>
                      </a:lnTo>
                      <a:lnTo>
                        <a:pt x="413" y="488"/>
                      </a:lnTo>
                      <a:lnTo>
                        <a:pt x="408" y="494"/>
                      </a:lnTo>
                      <a:lnTo>
                        <a:pt x="403" y="498"/>
                      </a:lnTo>
                      <a:lnTo>
                        <a:pt x="399" y="501"/>
                      </a:lnTo>
                      <a:lnTo>
                        <a:pt x="395" y="502"/>
                      </a:lnTo>
                      <a:lnTo>
                        <a:pt x="391" y="502"/>
                      </a:lnTo>
                      <a:lnTo>
                        <a:pt x="381" y="503"/>
                      </a:lnTo>
                      <a:lnTo>
                        <a:pt x="373" y="504"/>
                      </a:lnTo>
                      <a:lnTo>
                        <a:pt x="366" y="505"/>
                      </a:lnTo>
                      <a:lnTo>
                        <a:pt x="361" y="505"/>
                      </a:lnTo>
                      <a:lnTo>
                        <a:pt x="354" y="502"/>
                      </a:lnTo>
                      <a:lnTo>
                        <a:pt x="349" y="499"/>
                      </a:lnTo>
                      <a:lnTo>
                        <a:pt x="344" y="498"/>
                      </a:lnTo>
                      <a:lnTo>
                        <a:pt x="342" y="498"/>
                      </a:lnTo>
                      <a:lnTo>
                        <a:pt x="339" y="497"/>
                      </a:lnTo>
                      <a:lnTo>
                        <a:pt x="336" y="495"/>
                      </a:lnTo>
                      <a:lnTo>
                        <a:pt x="335" y="494"/>
                      </a:lnTo>
                      <a:lnTo>
                        <a:pt x="333" y="495"/>
                      </a:lnTo>
                      <a:lnTo>
                        <a:pt x="331" y="497"/>
                      </a:lnTo>
                      <a:lnTo>
                        <a:pt x="329" y="499"/>
                      </a:lnTo>
                      <a:lnTo>
                        <a:pt x="324" y="501"/>
                      </a:lnTo>
                      <a:lnTo>
                        <a:pt x="315" y="503"/>
                      </a:lnTo>
                      <a:lnTo>
                        <a:pt x="311" y="505"/>
                      </a:lnTo>
                      <a:lnTo>
                        <a:pt x="309" y="508"/>
                      </a:lnTo>
                      <a:lnTo>
                        <a:pt x="303" y="518"/>
                      </a:lnTo>
                      <a:lnTo>
                        <a:pt x="300" y="526"/>
                      </a:lnTo>
                      <a:lnTo>
                        <a:pt x="296" y="526"/>
                      </a:lnTo>
                      <a:lnTo>
                        <a:pt x="293" y="526"/>
                      </a:lnTo>
                      <a:lnTo>
                        <a:pt x="291" y="527"/>
                      </a:lnTo>
                      <a:lnTo>
                        <a:pt x="288" y="534"/>
                      </a:lnTo>
                      <a:lnTo>
                        <a:pt x="284" y="537"/>
                      </a:lnTo>
                      <a:lnTo>
                        <a:pt x="283" y="539"/>
                      </a:lnTo>
                      <a:lnTo>
                        <a:pt x="282" y="539"/>
                      </a:lnTo>
                      <a:lnTo>
                        <a:pt x="268" y="536"/>
                      </a:lnTo>
                      <a:lnTo>
                        <a:pt x="255" y="535"/>
                      </a:lnTo>
                      <a:lnTo>
                        <a:pt x="256" y="531"/>
                      </a:lnTo>
                      <a:lnTo>
                        <a:pt x="256" y="526"/>
                      </a:lnTo>
                      <a:lnTo>
                        <a:pt x="255" y="521"/>
                      </a:lnTo>
                      <a:lnTo>
                        <a:pt x="254" y="517"/>
                      </a:lnTo>
                      <a:lnTo>
                        <a:pt x="253" y="515"/>
                      </a:lnTo>
                      <a:lnTo>
                        <a:pt x="249" y="512"/>
                      </a:lnTo>
                      <a:lnTo>
                        <a:pt x="235" y="507"/>
                      </a:lnTo>
                      <a:lnTo>
                        <a:pt x="225" y="501"/>
                      </a:lnTo>
                      <a:lnTo>
                        <a:pt x="215" y="495"/>
                      </a:lnTo>
                      <a:lnTo>
                        <a:pt x="206" y="490"/>
                      </a:lnTo>
                      <a:lnTo>
                        <a:pt x="199" y="489"/>
                      </a:lnTo>
                      <a:lnTo>
                        <a:pt x="193" y="486"/>
                      </a:lnTo>
                      <a:lnTo>
                        <a:pt x="187" y="484"/>
                      </a:lnTo>
                      <a:lnTo>
                        <a:pt x="178" y="480"/>
                      </a:lnTo>
                      <a:lnTo>
                        <a:pt x="154" y="491"/>
                      </a:lnTo>
                      <a:lnTo>
                        <a:pt x="142" y="496"/>
                      </a:lnTo>
                      <a:lnTo>
                        <a:pt x="133" y="498"/>
                      </a:lnTo>
                      <a:lnTo>
                        <a:pt x="132" y="497"/>
                      </a:lnTo>
                      <a:lnTo>
                        <a:pt x="131" y="495"/>
                      </a:lnTo>
                      <a:lnTo>
                        <a:pt x="129" y="486"/>
                      </a:lnTo>
                      <a:lnTo>
                        <a:pt x="129" y="478"/>
                      </a:lnTo>
                      <a:lnTo>
                        <a:pt x="131" y="472"/>
                      </a:lnTo>
                      <a:lnTo>
                        <a:pt x="131" y="471"/>
                      </a:lnTo>
                      <a:lnTo>
                        <a:pt x="129" y="470"/>
                      </a:lnTo>
                      <a:lnTo>
                        <a:pt x="126" y="464"/>
                      </a:lnTo>
                      <a:lnTo>
                        <a:pt x="121" y="459"/>
                      </a:lnTo>
                      <a:lnTo>
                        <a:pt x="121" y="457"/>
                      </a:lnTo>
                      <a:lnTo>
                        <a:pt x="123" y="454"/>
                      </a:lnTo>
                      <a:lnTo>
                        <a:pt x="128" y="452"/>
                      </a:lnTo>
                      <a:lnTo>
                        <a:pt x="131" y="450"/>
                      </a:lnTo>
                      <a:lnTo>
                        <a:pt x="131" y="447"/>
                      </a:lnTo>
                      <a:lnTo>
                        <a:pt x="128" y="446"/>
                      </a:lnTo>
                      <a:lnTo>
                        <a:pt x="119" y="446"/>
                      </a:lnTo>
                      <a:lnTo>
                        <a:pt x="114" y="445"/>
                      </a:lnTo>
                      <a:lnTo>
                        <a:pt x="112" y="444"/>
                      </a:lnTo>
                      <a:lnTo>
                        <a:pt x="112" y="443"/>
                      </a:lnTo>
                      <a:lnTo>
                        <a:pt x="110" y="438"/>
                      </a:lnTo>
                      <a:lnTo>
                        <a:pt x="112" y="434"/>
                      </a:lnTo>
                      <a:lnTo>
                        <a:pt x="113" y="431"/>
                      </a:lnTo>
                      <a:lnTo>
                        <a:pt x="114" y="429"/>
                      </a:lnTo>
                      <a:lnTo>
                        <a:pt x="124" y="433"/>
                      </a:lnTo>
                      <a:lnTo>
                        <a:pt x="127" y="433"/>
                      </a:lnTo>
                      <a:lnTo>
                        <a:pt x="129" y="433"/>
                      </a:lnTo>
                      <a:lnTo>
                        <a:pt x="132" y="432"/>
                      </a:lnTo>
                      <a:lnTo>
                        <a:pt x="133" y="429"/>
                      </a:lnTo>
                      <a:lnTo>
                        <a:pt x="135" y="425"/>
                      </a:lnTo>
                      <a:lnTo>
                        <a:pt x="136" y="420"/>
                      </a:lnTo>
                      <a:lnTo>
                        <a:pt x="135" y="412"/>
                      </a:lnTo>
                      <a:lnTo>
                        <a:pt x="133" y="402"/>
                      </a:lnTo>
                      <a:lnTo>
                        <a:pt x="132" y="397"/>
                      </a:lnTo>
                      <a:lnTo>
                        <a:pt x="131" y="396"/>
                      </a:lnTo>
                      <a:lnTo>
                        <a:pt x="131" y="395"/>
                      </a:lnTo>
                      <a:lnTo>
                        <a:pt x="128" y="396"/>
                      </a:lnTo>
                      <a:lnTo>
                        <a:pt x="123" y="400"/>
                      </a:lnTo>
                      <a:lnTo>
                        <a:pt x="122" y="401"/>
                      </a:lnTo>
                      <a:lnTo>
                        <a:pt x="119" y="401"/>
                      </a:lnTo>
                      <a:lnTo>
                        <a:pt x="118" y="402"/>
                      </a:lnTo>
                      <a:lnTo>
                        <a:pt x="114" y="407"/>
                      </a:lnTo>
                      <a:lnTo>
                        <a:pt x="113" y="411"/>
                      </a:lnTo>
                      <a:lnTo>
                        <a:pt x="112" y="412"/>
                      </a:lnTo>
                      <a:lnTo>
                        <a:pt x="112" y="411"/>
                      </a:lnTo>
                      <a:lnTo>
                        <a:pt x="112" y="412"/>
                      </a:lnTo>
                      <a:lnTo>
                        <a:pt x="109" y="415"/>
                      </a:lnTo>
                      <a:lnTo>
                        <a:pt x="108" y="419"/>
                      </a:lnTo>
                      <a:lnTo>
                        <a:pt x="108" y="420"/>
                      </a:lnTo>
                      <a:lnTo>
                        <a:pt x="107" y="420"/>
                      </a:lnTo>
                      <a:lnTo>
                        <a:pt x="107" y="407"/>
                      </a:lnTo>
                      <a:lnTo>
                        <a:pt x="107" y="397"/>
                      </a:lnTo>
                      <a:lnTo>
                        <a:pt x="109" y="388"/>
                      </a:lnTo>
                      <a:lnTo>
                        <a:pt x="108" y="386"/>
                      </a:lnTo>
                      <a:lnTo>
                        <a:pt x="105" y="382"/>
                      </a:lnTo>
                      <a:lnTo>
                        <a:pt x="100" y="380"/>
                      </a:lnTo>
                      <a:lnTo>
                        <a:pt x="98" y="380"/>
                      </a:lnTo>
                      <a:lnTo>
                        <a:pt x="93" y="381"/>
                      </a:lnTo>
                      <a:lnTo>
                        <a:pt x="90" y="381"/>
                      </a:lnTo>
                      <a:lnTo>
                        <a:pt x="90" y="377"/>
                      </a:lnTo>
                      <a:lnTo>
                        <a:pt x="83" y="381"/>
                      </a:lnTo>
                      <a:lnTo>
                        <a:pt x="79" y="383"/>
                      </a:lnTo>
                      <a:lnTo>
                        <a:pt x="77" y="383"/>
                      </a:lnTo>
                      <a:lnTo>
                        <a:pt x="77" y="382"/>
                      </a:lnTo>
                      <a:lnTo>
                        <a:pt x="80" y="379"/>
                      </a:lnTo>
                      <a:lnTo>
                        <a:pt x="81" y="375"/>
                      </a:lnTo>
                      <a:lnTo>
                        <a:pt x="81" y="371"/>
                      </a:lnTo>
                      <a:lnTo>
                        <a:pt x="75" y="357"/>
                      </a:lnTo>
                      <a:lnTo>
                        <a:pt x="72" y="356"/>
                      </a:lnTo>
                      <a:lnTo>
                        <a:pt x="70" y="354"/>
                      </a:lnTo>
                      <a:lnTo>
                        <a:pt x="67" y="350"/>
                      </a:lnTo>
                      <a:lnTo>
                        <a:pt x="67" y="348"/>
                      </a:lnTo>
                      <a:lnTo>
                        <a:pt x="67" y="347"/>
                      </a:lnTo>
                      <a:lnTo>
                        <a:pt x="69" y="348"/>
                      </a:lnTo>
                      <a:lnTo>
                        <a:pt x="79" y="351"/>
                      </a:lnTo>
                      <a:lnTo>
                        <a:pt x="84" y="351"/>
                      </a:lnTo>
                      <a:lnTo>
                        <a:pt x="85" y="351"/>
                      </a:lnTo>
                      <a:lnTo>
                        <a:pt x="86" y="350"/>
                      </a:lnTo>
                      <a:lnTo>
                        <a:pt x="85" y="345"/>
                      </a:lnTo>
                      <a:lnTo>
                        <a:pt x="84" y="339"/>
                      </a:lnTo>
                      <a:lnTo>
                        <a:pt x="83" y="332"/>
                      </a:lnTo>
                      <a:lnTo>
                        <a:pt x="83" y="329"/>
                      </a:lnTo>
                      <a:lnTo>
                        <a:pt x="86" y="322"/>
                      </a:lnTo>
                      <a:lnTo>
                        <a:pt x="90" y="318"/>
                      </a:lnTo>
                      <a:lnTo>
                        <a:pt x="93" y="317"/>
                      </a:lnTo>
                      <a:lnTo>
                        <a:pt x="96" y="317"/>
                      </a:lnTo>
                      <a:lnTo>
                        <a:pt x="99" y="318"/>
                      </a:lnTo>
                      <a:lnTo>
                        <a:pt x="103" y="319"/>
                      </a:lnTo>
                      <a:lnTo>
                        <a:pt x="114" y="325"/>
                      </a:lnTo>
                      <a:lnTo>
                        <a:pt x="118" y="326"/>
                      </a:lnTo>
                      <a:lnTo>
                        <a:pt x="121" y="326"/>
                      </a:lnTo>
                      <a:lnTo>
                        <a:pt x="123" y="326"/>
                      </a:lnTo>
                      <a:lnTo>
                        <a:pt x="126" y="325"/>
                      </a:lnTo>
                      <a:lnTo>
                        <a:pt x="127" y="323"/>
                      </a:lnTo>
                      <a:lnTo>
                        <a:pt x="128" y="322"/>
                      </a:lnTo>
                      <a:lnTo>
                        <a:pt x="126" y="317"/>
                      </a:lnTo>
                      <a:lnTo>
                        <a:pt x="124" y="313"/>
                      </a:lnTo>
                      <a:lnTo>
                        <a:pt x="126" y="311"/>
                      </a:lnTo>
                      <a:lnTo>
                        <a:pt x="128" y="310"/>
                      </a:lnTo>
                      <a:lnTo>
                        <a:pt x="128" y="309"/>
                      </a:lnTo>
                      <a:lnTo>
                        <a:pt x="128" y="306"/>
                      </a:lnTo>
                      <a:lnTo>
                        <a:pt x="126" y="303"/>
                      </a:lnTo>
                      <a:lnTo>
                        <a:pt x="123" y="299"/>
                      </a:lnTo>
                      <a:lnTo>
                        <a:pt x="118" y="287"/>
                      </a:lnTo>
                      <a:lnTo>
                        <a:pt x="114" y="282"/>
                      </a:lnTo>
                      <a:lnTo>
                        <a:pt x="113" y="280"/>
                      </a:lnTo>
                      <a:lnTo>
                        <a:pt x="110" y="280"/>
                      </a:lnTo>
                      <a:lnTo>
                        <a:pt x="99" y="278"/>
                      </a:lnTo>
                      <a:lnTo>
                        <a:pt x="91" y="277"/>
                      </a:lnTo>
                      <a:lnTo>
                        <a:pt x="84" y="280"/>
                      </a:lnTo>
                      <a:lnTo>
                        <a:pt x="72" y="285"/>
                      </a:lnTo>
                      <a:lnTo>
                        <a:pt x="51" y="294"/>
                      </a:lnTo>
                      <a:lnTo>
                        <a:pt x="34" y="303"/>
                      </a:lnTo>
                      <a:close/>
                    </a:path>
                  </a:pathLst>
                </a:custGeom>
                <a:solidFill>
                  <a:srgbClr val="CECECE"/>
                </a:solidFill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3" name="Freeform 1302">
                  <a:extLst>
                    <a:ext uri="{FF2B5EF4-FFF2-40B4-BE49-F238E27FC236}">
                      <a16:creationId xmlns:a16="http://schemas.microsoft.com/office/drawing/2014/main" id="{3B80D357-E934-244F-A58A-8F524CA02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00403" y="3169566"/>
                  <a:ext cx="87313" cy="125790"/>
                </a:xfrm>
                <a:custGeom>
                  <a:avLst/>
                  <a:gdLst>
                    <a:gd name="T0" fmla="*/ 2147483647 w 64"/>
                    <a:gd name="T1" fmla="*/ 2147483647 h 85"/>
                    <a:gd name="T2" fmla="*/ 2147483647 w 64"/>
                    <a:gd name="T3" fmla="*/ 2147483647 h 85"/>
                    <a:gd name="T4" fmla="*/ 2147483647 w 64"/>
                    <a:gd name="T5" fmla="*/ 2147483647 h 85"/>
                    <a:gd name="T6" fmla="*/ 2147483647 w 64"/>
                    <a:gd name="T7" fmla="*/ 2147483647 h 85"/>
                    <a:gd name="T8" fmla="*/ 2147483647 w 64"/>
                    <a:gd name="T9" fmla="*/ 2147483647 h 85"/>
                    <a:gd name="T10" fmla="*/ 2147483647 w 64"/>
                    <a:gd name="T11" fmla="*/ 2147483647 h 85"/>
                    <a:gd name="T12" fmla="*/ 0 w 64"/>
                    <a:gd name="T13" fmla="*/ 2147483647 h 85"/>
                    <a:gd name="T14" fmla="*/ 0 w 64"/>
                    <a:gd name="T15" fmla="*/ 2147483647 h 85"/>
                    <a:gd name="T16" fmla="*/ 2147483647 w 64"/>
                    <a:gd name="T17" fmla="*/ 2147483647 h 85"/>
                    <a:gd name="T18" fmla="*/ 2147483647 w 64"/>
                    <a:gd name="T19" fmla="*/ 2147483647 h 85"/>
                    <a:gd name="T20" fmla="*/ 2147483647 w 64"/>
                    <a:gd name="T21" fmla="*/ 2147483647 h 85"/>
                    <a:gd name="T22" fmla="*/ 2147483647 w 64"/>
                    <a:gd name="T23" fmla="*/ 2147483647 h 85"/>
                    <a:gd name="T24" fmla="*/ 2147483647 w 64"/>
                    <a:gd name="T25" fmla="*/ 2147483647 h 85"/>
                    <a:gd name="T26" fmla="*/ 2147483647 w 64"/>
                    <a:gd name="T27" fmla="*/ 2147483647 h 85"/>
                    <a:gd name="T28" fmla="*/ 2147483647 w 64"/>
                    <a:gd name="T29" fmla="*/ 2147483647 h 85"/>
                    <a:gd name="T30" fmla="*/ 2147483647 w 64"/>
                    <a:gd name="T31" fmla="*/ 2147483647 h 85"/>
                    <a:gd name="T32" fmla="*/ 2147483647 w 64"/>
                    <a:gd name="T33" fmla="*/ 2147483647 h 85"/>
                    <a:gd name="T34" fmla="*/ 2147483647 w 64"/>
                    <a:gd name="T35" fmla="*/ 2147483647 h 85"/>
                    <a:gd name="T36" fmla="*/ 2147483647 w 64"/>
                    <a:gd name="T37" fmla="*/ 2147483647 h 85"/>
                    <a:gd name="T38" fmla="*/ 2147483647 w 64"/>
                    <a:gd name="T39" fmla="*/ 2147483647 h 85"/>
                    <a:gd name="T40" fmla="*/ 2147483647 w 64"/>
                    <a:gd name="T41" fmla="*/ 2147483647 h 85"/>
                    <a:gd name="T42" fmla="*/ 2147483647 w 64"/>
                    <a:gd name="T43" fmla="*/ 2147483647 h 85"/>
                    <a:gd name="T44" fmla="*/ 2147483647 w 64"/>
                    <a:gd name="T45" fmla="*/ 2147483647 h 85"/>
                    <a:gd name="T46" fmla="*/ 2147483647 w 64"/>
                    <a:gd name="T47" fmla="*/ 2147483647 h 85"/>
                    <a:gd name="T48" fmla="*/ 2147483647 w 64"/>
                    <a:gd name="T49" fmla="*/ 2147483647 h 85"/>
                    <a:gd name="T50" fmla="*/ 2147483647 w 64"/>
                    <a:gd name="T51" fmla="*/ 2147483647 h 85"/>
                    <a:gd name="T52" fmla="*/ 2147483647 w 64"/>
                    <a:gd name="T53" fmla="*/ 2147483647 h 85"/>
                    <a:gd name="T54" fmla="*/ 2147483647 w 64"/>
                    <a:gd name="T55" fmla="*/ 2147483647 h 85"/>
                    <a:gd name="T56" fmla="*/ 2147483647 w 64"/>
                    <a:gd name="T57" fmla="*/ 2147483647 h 85"/>
                    <a:gd name="T58" fmla="*/ 2147483647 w 64"/>
                    <a:gd name="T59" fmla="*/ 2147483647 h 85"/>
                    <a:gd name="T60" fmla="*/ 2147483647 w 64"/>
                    <a:gd name="T61" fmla="*/ 2147483647 h 85"/>
                    <a:gd name="T62" fmla="*/ 2147483647 w 64"/>
                    <a:gd name="T63" fmla="*/ 2147483647 h 85"/>
                    <a:gd name="T64" fmla="*/ 2147483647 w 64"/>
                    <a:gd name="T65" fmla="*/ 2147483647 h 85"/>
                    <a:gd name="T66" fmla="*/ 2147483647 w 64"/>
                    <a:gd name="T67" fmla="*/ 0 h 85"/>
                    <a:gd name="T68" fmla="*/ 2147483647 w 64"/>
                    <a:gd name="T69" fmla="*/ 0 h 85"/>
                    <a:gd name="T70" fmla="*/ 2147483647 w 64"/>
                    <a:gd name="T71" fmla="*/ 2147483647 h 85"/>
                    <a:gd name="T72" fmla="*/ 2147483647 w 64"/>
                    <a:gd name="T73" fmla="*/ 2147483647 h 85"/>
                    <a:gd name="T74" fmla="*/ 2147483647 w 64"/>
                    <a:gd name="T75" fmla="*/ 2147483647 h 85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64"/>
                    <a:gd name="T115" fmla="*/ 0 h 85"/>
                    <a:gd name="T116" fmla="*/ 64 w 64"/>
                    <a:gd name="T117" fmla="*/ 85 h 85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64" h="85">
                      <a:moveTo>
                        <a:pt x="19" y="16"/>
                      </a:moveTo>
                      <a:lnTo>
                        <a:pt x="21" y="19"/>
                      </a:lnTo>
                      <a:lnTo>
                        <a:pt x="21" y="22"/>
                      </a:lnTo>
                      <a:lnTo>
                        <a:pt x="18" y="24"/>
                      </a:lnTo>
                      <a:lnTo>
                        <a:pt x="17" y="27"/>
                      </a:lnTo>
                      <a:lnTo>
                        <a:pt x="12" y="27"/>
                      </a:lnTo>
                      <a:lnTo>
                        <a:pt x="8" y="27"/>
                      </a:lnTo>
                      <a:lnTo>
                        <a:pt x="7" y="28"/>
                      </a:lnTo>
                      <a:lnTo>
                        <a:pt x="5" y="30"/>
                      </a:lnTo>
                      <a:lnTo>
                        <a:pt x="4" y="34"/>
                      </a:lnTo>
                      <a:lnTo>
                        <a:pt x="4" y="37"/>
                      </a:lnTo>
                      <a:lnTo>
                        <a:pt x="3" y="42"/>
                      </a:lnTo>
                      <a:lnTo>
                        <a:pt x="2" y="43"/>
                      </a:lnTo>
                      <a:lnTo>
                        <a:pt x="0" y="44"/>
                      </a:lnTo>
                      <a:lnTo>
                        <a:pt x="0" y="46"/>
                      </a:lnTo>
                      <a:lnTo>
                        <a:pt x="0" y="63"/>
                      </a:lnTo>
                      <a:lnTo>
                        <a:pt x="0" y="72"/>
                      </a:lnTo>
                      <a:lnTo>
                        <a:pt x="3" y="80"/>
                      </a:lnTo>
                      <a:lnTo>
                        <a:pt x="4" y="81"/>
                      </a:lnTo>
                      <a:lnTo>
                        <a:pt x="8" y="82"/>
                      </a:lnTo>
                      <a:lnTo>
                        <a:pt x="13" y="81"/>
                      </a:lnTo>
                      <a:lnTo>
                        <a:pt x="17" y="79"/>
                      </a:lnTo>
                      <a:lnTo>
                        <a:pt x="18" y="79"/>
                      </a:lnTo>
                      <a:lnTo>
                        <a:pt x="19" y="79"/>
                      </a:lnTo>
                      <a:lnTo>
                        <a:pt x="23" y="82"/>
                      </a:lnTo>
                      <a:lnTo>
                        <a:pt x="27" y="85"/>
                      </a:lnTo>
                      <a:lnTo>
                        <a:pt x="31" y="85"/>
                      </a:lnTo>
                      <a:lnTo>
                        <a:pt x="35" y="82"/>
                      </a:lnTo>
                      <a:lnTo>
                        <a:pt x="41" y="78"/>
                      </a:lnTo>
                      <a:lnTo>
                        <a:pt x="44" y="75"/>
                      </a:lnTo>
                      <a:lnTo>
                        <a:pt x="46" y="73"/>
                      </a:lnTo>
                      <a:lnTo>
                        <a:pt x="46" y="72"/>
                      </a:lnTo>
                      <a:lnTo>
                        <a:pt x="45" y="69"/>
                      </a:lnTo>
                      <a:lnTo>
                        <a:pt x="45" y="68"/>
                      </a:lnTo>
                      <a:lnTo>
                        <a:pt x="46" y="67"/>
                      </a:lnTo>
                      <a:lnTo>
                        <a:pt x="50" y="66"/>
                      </a:lnTo>
                      <a:lnTo>
                        <a:pt x="54" y="66"/>
                      </a:lnTo>
                      <a:lnTo>
                        <a:pt x="55" y="65"/>
                      </a:lnTo>
                      <a:lnTo>
                        <a:pt x="58" y="63"/>
                      </a:lnTo>
                      <a:lnTo>
                        <a:pt x="58" y="59"/>
                      </a:lnTo>
                      <a:lnTo>
                        <a:pt x="58" y="54"/>
                      </a:lnTo>
                      <a:lnTo>
                        <a:pt x="59" y="50"/>
                      </a:lnTo>
                      <a:lnTo>
                        <a:pt x="64" y="43"/>
                      </a:lnTo>
                      <a:lnTo>
                        <a:pt x="60" y="46"/>
                      </a:lnTo>
                      <a:lnTo>
                        <a:pt x="58" y="46"/>
                      </a:lnTo>
                      <a:lnTo>
                        <a:pt x="54" y="44"/>
                      </a:lnTo>
                      <a:lnTo>
                        <a:pt x="51" y="43"/>
                      </a:lnTo>
                      <a:lnTo>
                        <a:pt x="49" y="41"/>
                      </a:lnTo>
                      <a:lnTo>
                        <a:pt x="47" y="38"/>
                      </a:lnTo>
                      <a:lnTo>
                        <a:pt x="46" y="35"/>
                      </a:lnTo>
                      <a:lnTo>
                        <a:pt x="46" y="31"/>
                      </a:lnTo>
                      <a:lnTo>
                        <a:pt x="49" y="28"/>
                      </a:lnTo>
                      <a:lnTo>
                        <a:pt x="51" y="24"/>
                      </a:lnTo>
                      <a:lnTo>
                        <a:pt x="52" y="21"/>
                      </a:lnTo>
                      <a:lnTo>
                        <a:pt x="52" y="18"/>
                      </a:lnTo>
                      <a:lnTo>
                        <a:pt x="51" y="17"/>
                      </a:lnTo>
                      <a:lnTo>
                        <a:pt x="51" y="15"/>
                      </a:lnTo>
                      <a:lnTo>
                        <a:pt x="51" y="12"/>
                      </a:lnTo>
                      <a:lnTo>
                        <a:pt x="55" y="9"/>
                      </a:lnTo>
                      <a:lnTo>
                        <a:pt x="56" y="8"/>
                      </a:lnTo>
                      <a:lnTo>
                        <a:pt x="56" y="5"/>
                      </a:lnTo>
                      <a:lnTo>
                        <a:pt x="55" y="3"/>
                      </a:lnTo>
                      <a:lnTo>
                        <a:pt x="54" y="3"/>
                      </a:lnTo>
                      <a:lnTo>
                        <a:pt x="50" y="4"/>
                      </a:lnTo>
                      <a:lnTo>
                        <a:pt x="49" y="5"/>
                      </a:lnTo>
                      <a:lnTo>
                        <a:pt x="47" y="4"/>
                      </a:lnTo>
                      <a:lnTo>
                        <a:pt x="45" y="2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7" y="0"/>
                      </a:lnTo>
                      <a:lnTo>
                        <a:pt x="33" y="4"/>
                      </a:lnTo>
                      <a:lnTo>
                        <a:pt x="31" y="9"/>
                      </a:lnTo>
                      <a:lnTo>
                        <a:pt x="30" y="14"/>
                      </a:lnTo>
                      <a:lnTo>
                        <a:pt x="27" y="11"/>
                      </a:lnTo>
                      <a:lnTo>
                        <a:pt x="25" y="12"/>
                      </a:lnTo>
                      <a:lnTo>
                        <a:pt x="19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4" name="Freeform 1303">
                  <a:extLst>
                    <a:ext uri="{FF2B5EF4-FFF2-40B4-BE49-F238E27FC236}">
                      <a16:creationId xmlns:a16="http://schemas.microsoft.com/office/drawing/2014/main" id="{3B9E9669-AC50-A14B-9EB9-32B684345E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2614" y="3174010"/>
                  <a:ext cx="134669" cy="73994"/>
                </a:xfrm>
                <a:custGeom>
                  <a:avLst/>
                  <a:gdLst>
                    <a:gd name="T0" fmla="*/ 2147483647 w 98"/>
                    <a:gd name="T1" fmla="*/ 2147483647 h 50"/>
                    <a:gd name="T2" fmla="*/ 2147483647 w 98"/>
                    <a:gd name="T3" fmla="*/ 0 h 50"/>
                    <a:gd name="T4" fmla="*/ 2147483647 w 98"/>
                    <a:gd name="T5" fmla="*/ 0 h 50"/>
                    <a:gd name="T6" fmla="*/ 2147483647 w 98"/>
                    <a:gd name="T7" fmla="*/ 2147483647 h 50"/>
                    <a:gd name="T8" fmla="*/ 2147483647 w 98"/>
                    <a:gd name="T9" fmla="*/ 2147483647 h 50"/>
                    <a:gd name="T10" fmla="*/ 2147483647 w 98"/>
                    <a:gd name="T11" fmla="*/ 2147483647 h 50"/>
                    <a:gd name="T12" fmla="*/ 2147483647 w 98"/>
                    <a:gd name="T13" fmla="*/ 2147483647 h 50"/>
                    <a:gd name="T14" fmla="*/ 2147483647 w 98"/>
                    <a:gd name="T15" fmla="*/ 2147483647 h 50"/>
                    <a:gd name="T16" fmla="*/ 2147483647 w 98"/>
                    <a:gd name="T17" fmla="*/ 2147483647 h 50"/>
                    <a:gd name="T18" fmla="*/ 2147483647 w 98"/>
                    <a:gd name="T19" fmla="*/ 2147483647 h 50"/>
                    <a:gd name="T20" fmla="*/ 2147483647 w 98"/>
                    <a:gd name="T21" fmla="*/ 2147483647 h 50"/>
                    <a:gd name="T22" fmla="*/ 2147483647 w 98"/>
                    <a:gd name="T23" fmla="*/ 2147483647 h 50"/>
                    <a:gd name="T24" fmla="*/ 2147483647 w 98"/>
                    <a:gd name="T25" fmla="*/ 2147483647 h 50"/>
                    <a:gd name="T26" fmla="*/ 2147483647 w 98"/>
                    <a:gd name="T27" fmla="*/ 2147483647 h 50"/>
                    <a:gd name="T28" fmla="*/ 0 w 98"/>
                    <a:gd name="T29" fmla="*/ 2147483647 h 50"/>
                    <a:gd name="T30" fmla="*/ 2147483647 w 98"/>
                    <a:gd name="T31" fmla="*/ 2147483647 h 50"/>
                    <a:gd name="T32" fmla="*/ 2147483647 w 98"/>
                    <a:gd name="T33" fmla="*/ 2147483647 h 50"/>
                    <a:gd name="T34" fmla="*/ 2147483647 w 98"/>
                    <a:gd name="T35" fmla="*/ 2147483647 h 50"/>
                    <a:gd name="T36" fmla="*/ 2147483647 w 98"/>
                    <a:gd name="T37" fmla="*/ 2147483647 h 50"/>
                    <a:gd name="T38" fmla="*/ 2147483647 w 98"/>
                    <a:gd name="T39" fmla="*/ 2147483647 h 50"/>
                    <a:gd name="T40" fmla="*/ 2147483647 w 98"/>
                    <a:gd name="T41" fmla="*/ 2147483647 h 50"/>
                    <a:gd name="T42" fmla="*/ 2147483647 w 98"/>
                    <a:gd name="T43" fmla="*/ 2147483647 h 50"/>
                    <a:gd name="T44" fmla="*/ 2147483647 w 98"/>
                    <a:gd name="T45" fmla="*/ 2147483647 h 50"/>
                    <a:gd name="T46" fmla="*/ 2147483647 w 98"/>
                    <a:gd name="T47" fmla="*/ 2147483647 h 50"/>
                    <a:gd name="T48" fmla="*/ 2147483647 w 98"/>
                    <a:gd name="T49" fmla="*/ 2147483647 h 50"/>
                    <a:gd name="T50" fmla="*/ 2147483647 w 98"/>
                    <a:gd name="T51" fmla="*/ 2147483647 h 50"/>
                    <a:gd name="T52" fmla="*/ 2147483647 w 98"/>
                    <a:gd name="T53" fmla="*/ 2147483647 h 50"/>
                    <a:gd name="T54" fmla="*/ 2147483647 w 98"/>
                    <a:gd name="T55" fmla="*/ 2147483647 h 50"/>
                    <a:gd name="T56" fmla="*/ 2147483647 w 98"/>
                    <a:gd name="T57" fmla="*/ 2147483647 h 50"/>
                    <a:gd name="T58" fmla="*/ 2147483647 w 98"/>
                    <a:gd name="T59" fmla="*/ 2147483647 h 50"/>
                    <a:gd name="T60" fmla="*/ 2147483647 w 98"/>
                    <a:gd name="T61" fmla="*/ 2147483647 h 50"/>
                    <a:gd name="T62" fmla="*/ 2147483647 w 98"/>
                    <a:gd name="T63" fmla="*/ 2147483647 h 50"/>
                    <a:gd name="T64" fmla="*/ 2147483647 w 98"/>
                    <a:gd name="T65" fmla="*/ 2147483647 h 5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8"/>
                    <a:gd name="T100" fmla="*/ 0 h 50"/>
                    <a:gd name="T101" fmla="*/ 98 w 98"/>
                    <a:gd name="T102" fmla="*/ 50 h 5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8" h="50">
                      <a:moveTo>
                        <a:pt x="98" y="7"/>
                      </a:moveTo>
                      <a:lnTo>
                        <a:pt x="98" y="3"/>
                      </a:lnTo>
                      <a:lnTo>
                        <a:pt x="97" y="1"/>
                      </a:lnTo>
                      <a:lnTo>
                        <a:pt x="94" y="0"/>
                      </a:lnTo>
                      <a:lnTo>
                        <a:pt x="93" y="0"/>
                      </a:lnTo>
                      <a:lnTo>
                        <a:pt x="92" y="0"/>
                      </a:lnTo>
                      <a:lnTo>
                        <a:pt x="89" y="3"/>
                      </a:lnTo>
                      <a:lnTo>
                        <a:pt x="87" y="5"/>
                      </a:lnTo>
                      <a:lnTo>
                        <a:pt x="83" y="5"/>
                      </a:lnTo>
                      <a:lnTo>
                        <a:pt x="80" y="5"/>
                      </a:lnTo>
                      <a:lnTo>
                        <a:pt x="78" y="3"/>
                      </a:lnTo>
                      <a:lnTo>
                        <a:pt x="74" y="5"/>
                      </a:lnTo>
                      <a:lnTo>
                        <a:pt x="65" y="6"/>
                      </a:lnTo>
                      <a:lnTo>
                        <a:pt x="60" y="6"/>
                      </a:lnTo>
                      <a:lnTo>
                        <a:pt x="56" y="5"/>
                      </a:lnTo>
                      <a:lnTo>
                        <a:pt x="55" y="3"/>
                      </a:lnTo>
                      <a:lnTo>
                        <a:pt x="48" y="3"/>
                      </a:lnTo>
                      <a:lnTo>
                        <a:pt x="42" y="3"/>
                      </a:lnTo>
                      <a:lnTo>
                        <a:pt x="36" y="5"/>
                      </a:lnTo>
                      <a:lnTo>
                        <a:pt x="28" y="5"/>
                      </a:lnTo>
                      <a:lnTo>
                        <a:pt x="19" y="3"/>
                      </a:lnTo>
                      <a:lnTo>
                        <a:pt x="15" y="5"/>
                      </a:lnTo>
                      <a:lnTo>
                        <a:pt x="12" y="8"/>
                      </a:lnTo>
                      <a:lnTo>
                        <a:pt x="10" y="12"/>
                      </a:lnTo>
                      <a:lnTo>
                        <a:pt x="9" y="15"/>
                      </a:lnTo>
                      <a:lnTo>
                        <a:pt x="8" y="19"/>
                      </a:lnTo>
                      <a:lnTo>
                        <a:pt x="5" y="21"/>
                      </a:lnTo>
                      <a:lnTo>
                        <a:pt x="3" y="25"/>
                      </a:lnTo>
                      <a:lnTo>
                        <a:pt x="1" y="27"/>
                      </a:lnTo>
                      <a:lnTo>
                        <a:pt x="0" y="31"/>
                      </a:lnTo>
                      <a:lnTo>
                        <a:pt x="3" y="35"/>
                      </a:lnTo>
                      <a:lnTo>
                        <a:pt x="5" y="40"/>
                      </a:lnTo>
                      <a:lnTo>
                        <a:pt x="8" y="45"/>
                      </a:lnTo>
                      <a:lnTo>
                        <a:pt x="12" y="48"/>
                      </a:lnTo>
                      <a:lnTo>
                        <a:pt x="14" y="50"/>
                      </a:lnTo>
                      <a:lnTo>
                        <a:pt x="17" y="50"/>
                      </a:lnTo>
                      <a:lnTo>
                        <a:pt x="19" y="48"/>
                      </a:lnTo>
                      <a:lnTo>
                        <a:pt x="22" y="46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18" y="37"/>
                      </a:lnTo>
                      <a:lnTo>
                        <a:pt x="17" y="32"/>
                      </a:lnTo>
                      <a:lnTo>
                        <a:pt x="18" y="28"/>
                      </a:lnTo>
                      <a:lnTo>
                        <a:pt x="21" y="24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4" y="25"/>
                      </a:lnTo>
                      <a:lnTo>
                        <a:pt x="26" y="22"/>
                      </a:lnTo>
                      <a:lnTo>
                        <a:pt x="26" y="21"/>
                      </a:lnTo>
                      <a:lnTo>
                        <a:pt x="26" y="19"/>
                      </a:lnTo>
                      <a:lnTo>
                        <a:pt x="26" y="16"/>
                      </a:lnTo>
                      <a:lnTo>
                        <a:pt x="28" y="15"/>
                      </a:lnTo>
                      <a:lnTo>
                        <a:pt x="29" y="16"/>
                      </a:lnTo>
                      <a:lnTo>
                        <a:pt x="31" y="16"/>
                      </a:lnTo>
                      <a:lnTo>
                        <a:pt x="33" y="16"/>
                      </a:lnTo>
                      <a:lnTo>
                        <a:pt x="37" y="16"/>
                      </a:lnTo>
                      <a:lnTo>
                        <a:pt x="41" y="15"/>
                      </a:lnTo>
                      <a:lnTo>
                        <a:pt x="48" y="16"/>
                      </a:lnTo>
                      <a:lnTo>
                        <a:pt x="52" y="16"/>
                      </a:lnTo>
                      <a:lnTo>
                        <a:pt x="56" y="15"/>
                      </a:lnTo>
                      <a:lnTo>
                        <a:pt x="62" y="15"/>
                      </a:lnTo>
                      <a:lnTo>
                        <a:pt x="67" y="15"/>
                      </a:lnTo>
                      <a:lnTo>
                        <a:pt x="80" y="15"/>
                      </a:lnTo>
                      <a:lnTo>
                        <a:pt x="85" y="15"/>
                      </a:lnTo>
                      <a:lnTo>
                        <a:pt x="90" y="14"/>
                      </a:lnTo>
                      <a:lnTo>
                        <a:pt x="94" y="11"/>
                      </a:lnTo>
                      <a:lnTo>
                        <a:pt x="98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5" name="Freeform 1304">
                  <a:extLst>
                    <a:ext uri="{FF2B5EF4-FFF2-40B4-BE49-F238E27FC236}">
                      <a16:creationId xmlns:a16="http://schemas.microsoft.com/office/drawing/2014/main" id="{E487A48E-1C81-8D4D-A402-878B7CD51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8921" y="3168091"/>
                  <a:ext cx="87312" cy="124309"/>
                </a:xfrm>
                <a:custGeom>
                  <a:avLst/>
                  <a:gdLst>
                    <a:gd name="T0" fmla="*/ 2147483647 w 64"/>
                    <a:gd name="T1" fmla="*/ 2147483647 h 84"/>
                    <a:gd name="T2" fmla="*/ 2147483647 w 64"/>
                    <a:gd name="T3" fmla="*/ 2147483647 h 84"/>
                    <a:gd name="T4" fmla="*/ 2147483647 w 64"/>
                    <a:gd name="T5" fmla="*/ 2147483647 h 84"/>
                    <a:gd name="T6" fmla="*/ 2147483647 w 64"/>
                    <a:gd name="T7" fmla="*/ 2147483647 h 84"/>
                    <a:gd name="T8" fmla="*/ 2147483647 w 64"/>
                    <a:gd name="T9" fmla="*/ 2147483647 h 84"/>
                    <a:gd name="T10" fmla="*/ 2147483647 w 64"/>
                    <a:gd name="T11" fmla="*/ 2147483647 h 84"/>
                    <a:gd name="T12" fmla="*/ 2147483647 w 64"/>
                    <a:gd name="T13" fmla="*/ 2147483647 h 84"/>
                    <a:gd name="T14" fmla="*/ 2147483647 w 64"/>
                    <a:gd name="T15" fmla="*/ 2147483647 h 84"/>
                    <a:gd name="T16" fmla="*/ 2147483647 w 64"/>
                    <a:gd name="T17" fmla="*/ 2147483647 h 84"/>
                    <a:gd name="T18" fmla="*/ 0 w 64"/>
                    <a:gd name="T19" fmla="*/ 2147483647 h 84"/>
                    <a:gd name="T20" fmla="*/ 0 w 64"/>
                    <a:gd name="T21" fmla="*/ 2147483647 h 84"/>
                    <a:gd name="T22" fmla="*/ 2147483647 w 64"/>
                    <a:gd name="T23" fmla="*/ 2147483647 h 84"/>
                    <a:gd name="T24" fmla="*/ 2147483647 w 64"/>
                    <a:gd name="T25" fmla="*/ 2147483647 h 84"/>
                    <a:gd name="T26" fmla="*/ 2147483647 w 64"/>
                    <a:gd name="T27" fmla="*/ 2147483647 h 84"/>
                    <a:gd name="T28" fmla="*/ 2147483647 w 64"/>
                    <a:gd name="T29" fmla="*/ 2147483647 h 84"/>
                    <a:gd name="T30" fmla="*/ 2147483647 w 64"/>
                    <a:gd name="T31" fmla="*/ 2147483647 h 84"/>
                    <a:gd name="T32" fmla="*/ 2147483647 w 64"/>
                    <a:gd name="T33" fmla="*/ 2147483647 h 84"/>
                    <a:gd name="T34" fmla="*/ 2147483647 w 64"/>
                    <a:gd name="T35" fmla="*/ 2147483647 h 84"/>
                    <a:gd name="T36" fmla="*/ 2147483647 w 64"/>
                    <a:gd name="T37" fmla="*/ 2147483647 h 84"/>
                    <a:gd name="T38" fmla="*/ 2147483647 w 64"/>
                    <a:gd name="T39" fmla="*/ 2147483647 h 84"/>
                    <a:gd name="T40" fmla="*/ 2147483647 w 64"/>
                    <a:gd name="T41" fmla="*/ 2147483647 h 84"/>
                    <a:gd name="T42" fmla="*/ 2147483647 w 64"/>
                    <a:gd name="T43" fmla="*/ 2147483647 h 84"/>
                    <a:gd name="T44" fmla="*/ 2147483647 w 64"/>
                    <a:gd name="T45" fmla="*/ 2147483647 h 84"/>
                    <a:gd name="T46" fmla="*/ 2147483647 w 64"/>
                    <a:gd name="T47" fmla="*/ 2147483647 h 84"/>
                    <a:gd name="T48" fmla="*/ 2147483647 w 64"/>
                    <a:gd name="T49" fmla="*/ 2147483647 h 84"/>
                    <a:gd name="T50" fmla="*/ 2147483647 w 64"/>
                    <a:gd name="T51" fmla="*/ 2147483647 h 84"/>
                    <a:gd name="T52" fmla="*/ 2147483647 w 64"/>
                    <a:gd name="T53" fmla="*/ 2147483647 h 84"/>
                    <a:gd name="T54" fmla="*/ 2147483647 w 64"/>
                    <a:gd name="T55" fmla="*/ 2147483647 h 84"/>
                    <a:gd name="T56" fmla="*/ 2147483647 w 64"/>
                    <a:gd name="T57" fmla="*/ 2147483647 h 84"/>
                    <a:gd name="T58" fmla="*/ 2147483647 w 64"/>
                    <a:gd name="T59" fmla="*/ 2147483647 h 84"/>
                    <a:gd name="T60" fmla="*/ 2147483647 w 64"/>
                    <a:gd name="T61" fmla="*/ 2147483647 h 84"/>
                    <a:gd name="T62" fmla="*/ 2147483647 w 64"/>
                    <a:gd name="T63" fmla="*/ 2147483647 h 84"/>
                    <a:gd name="T64" fmla="*/ 2147483647 w 64"/>
                    <a:gd name="T65" fmla="*/ 2147483647 h 84"/>
                    <a:gd name="T66" fmla="*/ 2147483647 w 64"/>
                    <a:gd name="T67" fmla="*/ 2147483647 h 84"/>
                    <a:gd name="T68" fmla="*/ 2147483647 w 64"/>
                    <a:gd name="T69" fmla="*/ 2147483647 h 84"/>
                    <a:gd name="T70" fmla="*/ 2147483647 w 64"/>
                    <a:gd name="T71" fmla="*/ 2147483647 h 84"/>
                    <a:gd name="T72" fmla="*/ 2147483647 w 64"/>
                    <a:gd name="T73" fmla="*/ 2147483647 h 84"/>
                    <a:gd name="T74" fmla="*/ 2147483647 w 64"/>
                    <a:gd name="T75" fmla="*/ 2147483647 h 84"/>
                    <a:gd name="T76" fmla="*/ 2147483647 w 64"/>
                    <a:gd name="T77" fmla="*/ 2147483647 h 84"/>
                    <a:gd name="T78" fmla="*/ 2147483647 w 64"/>
                    <a:gd name="T79" fmla="*/ 2147483647 h 84"/>
                    <a:gd name="T80" fmla="*/ 2147483647 w 64"/>
                    <a:gd name="T81" fmla="*/ 2147483647 h 84"/>
                    <a:gd name="T82" fmla="*/ 2147483647 w 64"/>
                    <a:gd name="T83" fmla="*/ 2147483647 h 84"/>
                    <a:gd name="T84" fmla="*/ 2147483647 w 64"/>
                    <a:gd name="T85" fmla="*/ 2147483647 h 84"/>
                    <a:gd name="T86" fmla="*/ 2147483647 w 64"/>
                    <a:gd name="T87" fmla="*/ 0 h 84"/>
                    <a:gd name="T88" fmla="*/ 2147483647 w 64"/>
                    <a:gd name="T89" fmla="*/ 0 h 84"/>
                    <a:gd name="T90" fmla="*/ 2147483647 w 64"/>
                    <a:gd name="T91" fmla="*/ 2147483647 h 84"/>
                    <a:gd name="T92" fmla="*/ 2147483647 w 64"/>
                    <a:gd name="T93" fmla="*/ 2147483647 h 84"/>
                    <a:gd name="T94" fmla="*/ 2147483647 w 64"/>
                    <a:gd name="T95" fmla="*/ 2147483647 h 84"/>
                    <a:gd name="T96" fmla="*/ 2147483647 w 64"/>
                    <a:gd name="T97" fmla="*/ 2147483647 h 8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4"/>
                    <a:gd name="T148" fmla="*/ 0 h 84"/>
                    <a:gd name="T149" fmla="*/ 64 w 64"/>
                    <a:gd name="T150" fmla="*/ 84 h 8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4" h="84">
                      <a:moveTo>
                        <a:pt x="19" y="16"/>
                      </a:moveTo>
                      <a:lnTo>
                        <a:pt x="19" y="16"/>
                      </a:lnTo>
                      <a:lnTo>
                        <a:pt x="20" y="19"/>
                      </a:lnTo>
                      <a:lnTo>
                        <a:pt x="20" y="22"/>
                      </a:lnTo>
                      <a:lnTo>
                        <a:pt x="18" y="24"/>
                      </a:lnTo>
                      <a:lnTo>
                        <a:pt x="17" y="26"/>
                      </a:lnTo>
                      <a:lnTo>
                        <a:pt x="12" y="26"/>
                      </a:lnTo>
                      <a:lnTo>
                        <a:pt x="8" y="26"/>
                      </a:lnTo>
                      <a:lnTo>
                        <a:pt x="6" y="28"/>
                      </a:lnTo>
                      <a:lnTo>
                        <a:pt x="5" y="30"/>
                      </a:lnTo>
                      <a:lnTo>
                        <a:pt x="4" y="33"/>
                      </a:lnTo>
                      <a:lnTo>
                        <a:pt x="4" y="37"/>
                      </a:lnTo>
                      <a:lnTo>
                        <a:pt x="3" y="42"/>
                      </a:lnTo>
                      <a:lnTo>
                        <a:pt x="1" y="43"/>
                      </a:lnTo>
                      <a:lnTo>
                        <a:pt x="0" y="44"/>
                      </a:lnTo>
                      <a:lnTo>
                        <a:pt x="0" y="45"/>
                      </a:lnTo>
                      <a:lnTo>
                        <a:pt x="0" y="63"/>
                      </a:lnTo>
                      <a:lnTo>
                        <a:pt x="0" y="71"/>
                      </a:lnTo>
                      <a:lnTo>
                        <a:pt x="3" y="80"/>
                      </a:lnTo>
                      <a:lnTo>
                        <a:pt x="4" y="81"/>
                      </a:lnTo>
                      <a:lnTo>
                        <a:pt x="8" y="82"/>
                      </a:lnTo>
                      <a:lnTo>
                        <a:pt x="13" y="81"/>
                      </a:lnTo>
                      <a:lnTo>
                        <a:pt x="17" y="79"/>
                      </a:lnTo>
                      <a:lnTo>
                        <a:pt x="18" y="79"/>
                      </a:lnTo>
                      <a:lnTo>
                        <a:pt x="19" y="79"/>
                      </a:lnTo>
                      <a:lnTo>
                        <a:pt x="23" y="82"/>
                      </a:lnTo>
                      <a:lnTo>
                        <a:pt x="27" y="84"/>
                      </a:lnTo>
                      <a:lnTo>
                        <a:pt x="31" y="84"/>
                      </a:lnTo>
                      <a:lnTo>
                        <a:pt x="34" y="82"/>
                      </a:lnTo>
                      <a:lnTo>
                        <a:pt x="41" y="77"/>
                      </a:lnTo>
                      <a:lnTo>
                        <a:pt x="43" y="75"/>
                      </a:lnTo>
                      <a:lnTo>
                        <a:pt x="46" y="73"/>
                      </a:lnTo>
                      <a:lnTo>
                        <a:pt x="46" y="71"/>
                      </a:lnTo>
                      <a:lnTo>
                        <a:pt x="45" y="69"/>
                      </a:lnTo>
                      <a:lnTo>
                        <a:pt x="45" y="68"/>
                      </a:lnTo>
                      <a:lnTo>
                        <a:pt x="46" y="67"/>
                      </a:lnTo>
                      <a:lnTo>
                        <a:pt x="50" y="66"/>
                      </a:lnTo>
                      <a:lnTo>
                        <a:pt x="53" y="66"/>
                      </a:lnTo>
                      <a:lnTo>
                        <a:pt x="55" y="64"/>
                      </a:lnTo>
                      <a:lnTo>
                        <a:pt x="57" y="63"/>
                      </a:lnTo>
                      <a:lnTo>
                        <a:pt x="57" y="58"/>
                      </a:lnTo>
                      <a:lnTo>
                        <a:pt x="57" y="54"/>
                      </a:lnTo>
                      <a:lnTo>
                        <a:pt x="59" y="50"/>
                      </a:lnTo>
                      <a:lnTo>
                        <a:pt x="64" y="43"/>
                      </a:lnTo>
                      <a:lnTo>
                        <a:pt x="60" y="45"/>
                      </a:lnTo>
                      <a:lnTo>
                        <a:pt x="57" y="45"/>
                      </a:lnTo>
                      <a:lnTo>
                        <a:pt x="53" y="44"/>
                      </a:lnTo>
                      <a:lnTo>
                        <a:pt x="51" y="43"/>
                      </a:lnTo>
                      <a:lnTo>
                        <a:pt x="48" y="41"/>
                      </a:lnTo>
                      <a:lnTo>
                        <a:pt x="47" y="38"/>
                      </a:lnTo>
                      <a:lnTo>
                        <a:pt x="46" y="35"/>
                      </a:lnTo>
                      <a:lnTo>
                        <a:pt x="46" y="31"/>
                      </a:lnTo>
                      <a:lnTo>
                        <a:pt x="48" y="28"/>
                      </a:lnTo>
                      <a:lnTo>
                        <a:pt x="51" y="24"/>
                      </a:lnTo>
                      <a:lnTo>
                        <a:pt x="52" y="20"/>
                      </a:lnTo>
                      <a:lnTo>
                        <a:pt x="52" y="18"/>
                      </a:lnTo>
                      <a:lnTo>
                        <a:pt x="51" y="17"/>
                      </a:lnTo>
                      <a:lnTo>
                        <a:pt x="51" y="15"/>
                      </a:lnTo>
                      <a:lnTo>
                        <a:pt x="51" y="12"/>
                      </a:lnTo>
                      <a:lnTo>
                        <a:pt x="55" y="9"/>
                      </a:lnTo>
                      <a:lnTo>
                        <a:pt x="56" y="7"/>
                      </a:lnTo>
                      <a:lnTo>
                        <a:pt x="56" y="5"/>
                      </a:lnTo>
                      <a:lnTo>
                        <a:pt x="55" y="3"/>
                      </a:lnTo>
                      <a:lnTo>
                        <a:pt x="53" y="3"/>
                      </a:lnTo>
                      <a:lnTo>
                        <a:pt x="50" y="4"/>
                      </a:lnTo>
                      <a:lnTo>
                        <a:pt x="48" y="5"/>
                      </a:lnTo>
                      <a:lnTo>
                        <a:pt x="47" y="4"/>
                      </a:lnTo>
                      <a:lnTo>
                        <a:pt x="45" y="1"/>
                      </a:lnTo>
                      <a:lnTo>
                        <a:pt x="43" y="0"/>
                      </a:lnTo>
                      <a:lnTo>
                        <a:pt x="42" y="0"/>
                      </a:lnTo>
                      <a:lnTo>
                        <a:pt x="37" y="0"/>
                      </a:lnTo>
                      <a:lnTo>
                        <a:pt x="33" y="4"/>
                      </a:lnTo>
                      <a:lnTo>
                        <a:pt x="31" y="9"/>
                      </a:lnTo>
                      <a:lnTo>
                        <a:pt x="29" y="13"/>
                      </a:lnTo>
                      <a:lnTo>
                        <a:pt x="27" y="11"/>
                      </a:lnTo>
                      <a:lnTo>
                        <a:pt x="24" y="12"/>
                      </a:lnTo>
                      <a:lnTo>
                        <a:pt x="19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6" name="Freeform 1305">
                  <a:extLst>
                    <a:ext uri="{FF2B5EF4-FFF2-40B4-BE49-F238E27FC236}">
                      <a16:creationId xmlns:a16="http://schemas.microsoft.com/office/drawing/2014/main" id="{2F65CF36-B3E7-BA47-A3DE-176AD8BA88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51131" y="3172527"/>
                  <a:ext cx="134668" cy="72514"/>
                </a:xfrm>
                <a:custGeom>
                  <a:avLst/>
                  <a:gdLst>
                    <a:gd name="T0" fmla="*/ 2147483647 w 98"/>
                    <a:gd name="T1" fmla="*/ 2147483647 h 49"/>
                    <a:gd name="T2" fmla="*/ 2147483647 w 98"/>
                    <a:gd name="T3" fmla="*/ 2147483647 h 49"/>
                    <a:gd name="T4" fmla="*/ 2147483647 w 98"/>
                    <a:gd name="T5" fmla="*/ 0 h 49"/>
                    <a:gd name="T6" fmla="*/ 2147483647 w 98"/>
                    <a:gd name="T7" fmla="*/ 0 h 49"/>
                    <a:gd name="T8" fmla="*/ 2147483647 w 98"/>
                    <a:gd name="T9" fmla="*/ 2147483647 h 49"/>
                    <a:gd name="T10" fmla="*/ 2147483647 w 98"/>
                    <a:gd name="T11" fmla="*/ 2147483647 h 49"/>
                    <a:gd name="T12" fmla="*/ 2147483647 w 98"/>
                    <a:gd name="T13" fmla="*/ 2147483647 h 49"/>
                    <a:gd name="T14" fmla="*/ 2147483647 w 98"/>
                    <a:gd name="T15" fmla="*/ 2147483647 h 49"/>
                    <a:gd name="T16" fmla="*/ 2147483647 w 98"/>
                    <a:gd name="T17" fmla="*/ 2147483647 h 49"/>
                    <a:gd name="T18" fmla="*/ 2147483647 w 98"/>
                    <a:gd name="T19" fmla="*/ 2147483647 h 49"/>
                    <a:gd name="T20" fmla="*/ 2147483647 w 98"/>
                    <a:gd name="T21" fmla="*/ 2147483647 h 49"/>
                    <a:gd name="T22" fmla="*/ 2147483647 w 98"/>
                    <a:gd name="T23" fmla="*/ 2147483647 h 49"/>
                    <a:gd name="T24" fmla="*/ 2147483647 w 98"/>
                    <a:gd name="T25" fmla="*/ 2147483647 h 49"/>
                    <a:gd name="T26" fmla="*/ 2147483647 w 98"/>
                    <a:gd name="T27" fmla="*/ 2147483647 h 49"/>
                    <a:gd name="T28" fmla="*/ 2147483647 w 98"/>
                    <a:gd name="T29" fmla="*/ 2147483647 h 49"/>
                    <a:gd name="T30" fmla="*/ 2147483647 w 98"/>
                    <a:gd name="T31" fmla="*/ 2147483647 h 49"/>
                    <a:gd name="T32" fmla="*/ 2147483647 w 98"/>
                    <a:gd name="T33" fmla="*/ 2147483647 h 49"/>
                    <a:gd name="T34" fmla="*/ 2147483647 w 98"/>
                    <a:gd name="T35" fmla="*/ 2147483647 h 49"/>
                    <a:gd name="T36" fmla="*/ 2147483647 w 98"/>
                    <a:gd name="T37" fmla="*/ 2147483647 h 49"/>
                    <a:gd name="T38" fmla="*/ 2147483647 w 98"/>
                    <a:gd name="T39" fmla="*/ 2147483647 h 49"/>
                    <a:gd name="T40" fmla="*/ 0 w 98"/>
                    <a:gd name="T41" fmla="*/ 2147483647 h 49"/>
                    <a:gd name="T42" fmla="*/ 2147483647 w 98"/>
                    <a:gd name="T43" fmla="*/ 2147483647 h 49"/>
                    <a:gd name="T44" fmla="*/ 2147483647 w 98"/>
                    <a:gd name="T45" fmla="*/ 2147483647 h 49"/>
                    <a:gd name="T46" fmla="*/ 2147483647 w 98"/>
                    <a:gd name="T47" fmla="*/ 2147483647 h 49"/>
                    <a:gd name="T48" fmla="*/ 2147483647 w 98"/>
                    <a:gd name="T49" fmla="*/ 2147483647 h 49"/>
                    <a:gd name="T50" fmla="*/ 2147483647 w 98"/>
                    <a:gd name="T51" fmla="*/ 2147483647 h 49"/>
                    <a:gd name="T52" fmla="*/ 2147483647 w 98"/>
                    <a:gd name="T53" fmla="*/ 2147483647 h 49"/>
                    <a:gd name="T54" fmla="*/ 2147483647 w 98"/>
                    <a:gd name="T55" fmla="*/ 2147483647 h 49"/>
                    <a:gd name="T56" fmla="*/ 2147483647 w 98"/>
                    <a:gd name="T57" fmla="*/ 2147483647 h 49"/>
                    <a:gd name="T58" fmla="*/ 2147483647 w 98"/>
                    <a:gd name="T59" fmla="*/ 2147483647 h 49"/>
                    <a:gd name="T60" fmla="*/ 2147483647 w 98"/>
                    <a:gd name="T61" fmla="*/ 2147483647 h 49"/>
                    <a:gd name="T62" fmla="*/ 2147483647 w 98"/>
                    <a:gd name="T63" fmla="*/ 2147483647 h 49"/>
                    <a:gd name="T64" fmla="*/ 2147483647 w 98"/>
                    <a:gd name="T65" fmla="*/ 2147483647 h 49"/>
                    <a:gd name="T66" fmla="*/ 2147483647 w 98"/>
                    <a:gd name="T67" fmla="*/ 2147483647 h 49"/>
                    <a:gd name="T68" fmla="*/ 2147483647 w 98"/>
                    <a:gd name="T69" fmla="*/ 2147483647 h 49"/>
                    <a:gd name="T70" fmla="*/ 2147483647 w 98"/>
                    <a:gd name="T71" fmla="*/ 2147483647 h 49"/>
                    <a:gd name="T72" fmla="*/ 2147483647 w 98"/>
                    <a:gd name="T73" fmla="*/ 2147483647 h 49"/>
                    <a:gd name="T74" fmla="*/ 2147483647 w 98"/>
                    <a:gd name="T75" fmla="*/ 2147483647 h 49"/>
                    <a:gd name="T76" fmla="*/ 2147483647 w 98"/>
                    <a:gd name="T77" fmla="*/ 2147483647 h 49"/>
                    <a:gd name="T78" fmla="*/ 2147483647 w 98"/>
                    <a:gd name="T79" fmla="*/ 2147483647 h 49"/>
                    <a:gd name="T80" fmla="*/ 2147483647 w 98"/>
                    <a:gd name="T81" fmla="*/ 2147483647 h 49"/>
                    <a:gd name="T82" fmla="*/ 2147483647 w 98"/>
                    <a:gd name="T83" fmla="*/ 2147483647 h 49"/>
                    <a:gd name="T84" fmla="*/ 2147483647 w 98"/>
                    <a:gd name="T85" fmla="*/ 2147483647 h 49"/>
                    <a:gd name="T86" fmla="*/ 2147483647 w 98"/>
                    <a:gd name="T87" fmla="*/ 2147483647 h 49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98"/>
                    <a:gd name="T133" fmla="*/ 0 h 49"/>
                    <a:gd name="T134" fmla="*/ 98 w 98"/>
                    <a:gd name="T135" fmla="*/ 49 h 49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98" h="49">
                      <a:moveTo>
                        <a:pt x="98" y="7"/>
                      </a:moveTo>
                      <a:lnTo>
                        <a:pt x="98" y="7"/>
                      </a:lnTo>
                      <a:lnTo>
                        <a:pt x="98" y="3"/>
                      </a:lnTo>
                      <a:lnTo>
                        <a:pt x="96" y="1"/>
                      </a:lnTo>
                      <a:lnTo>
                        <a:pt x="94" y="0"/>
                      </a:lnTo>
                      <a:lnTo>
                        <a:pt x="93" y="0"/>
                      </a:lnTo>
                      <a:lnTo>
                        <a:pt x="91" y="0"/>
                      </a:lnTo>
                      <a:lnTo>
                        <a:pt x="89" y="3"/>
                      </a:lnTo>
                      <a:lnTo>
                        <a:pt x="86" y="4"/>
                      </a:lnTo>
                      <a:lnTo>
                        <a:pt x="82" y="4"/>
                      </a:lnTo>
                      <a:lnTo>
                        <a:pt x="80" y="4"/>
                      </a:lnTo>
                      <a:lnTo>
                        <a:pt x="77" y="3"/>
                      </a:lnTo>
                      <a:lnTo>
                        <a:pt x="74" y="4"/>
                      </a:lnTo>
                      <a:lnTo>
                        <a:pt x="65" y="6"/>
                      </a:lnTo>
                      <a:lnTo>
                        <a:pt x="60" y="6"/>
                      </a:lnTo>
                      <a:lnTo>
                        <a:pt x="56" y="4"/>
                      </a:lnTo>
                      <a:lnTo>
                        <a:pt x="55" y="3"/>
                      </a:lnTo>
                      <a:lnTo>
                        <a:pt x="48" y="3"/>
                      </a:lnTo>
                      <a:lnTo>
                        <a:pt x="42" y="3"/>
                      </a:lnTo>
                      <a:lnTo>
                        <a:pt x="35" y="4"/>
                      </a:lnTo>
                      <a:lnTo>
                        <a:pt x="28" y="4"/>
                      </a:lnTo>
                      <a:lnTo>
                        <a:pt x="19" y="3"/>
                      </a:lnTo>
                      <a:lnTo>
                        <a:pt x="15" y="4"/>
                      </a:lnTo>
                      <a:lnTo>
                        <a:pt x="11" y="8"/>
                      </a:lnTo>
                      <a:lnTo>
                        <a:pt x="10" y="12"/>
                      </a:lnTo>
                      <a:lnTo>
                        <a:pt x="9" y="15"/>
                      </a:lnTo>
                      <a:lnTo>
                        <a:pt x="8" y="19"/>
                      </a:lnTo>
                      <a:lnTo>
                        <a:pt x="5" y="21"/>
                      </a:lnTo>
                      <a:lnTo>
                        <a:pt x="2" y="25"/>
                      </a:lnTo>
                      <a:lnTo>
                        <a:pt x="1" y="27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5" y="40"/>
                      </a:lnTo>
                      <a:lnTo>
                        <a:pt x="8" y="45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6" y="49"/>
                      </a:lnTo>
                      <a:lnTo>
                        <a:pt x="19" y="48"/>
                      </a:lnTo>
                      <a:lnTo>
                        <a:pt x="22" y="46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18" y="36"/>
                      </a:lnTo>
                      <a:lnTo>
                        <a:pt x="16" y="32"/>
                      </a:lnTo>
                      <a:lnTo>
                        <a:pt x="18" y="28"/>
                      </a:lnTo>
                      <a:lnTo>
                        <a:pt x="20" y="23"/>
                      </a:lnTo>
                      <a:lnTo>
                        <a:pt x="22" y="23"/>
                      </a:lnTo>
                      <a:lnTo>
                        <a:pt x="23" y="23"/>
                      </a:lnTo>
                      <a:lnTo>
                        <a:pt x="24" y="25"/>
                      </a:lnTo>
                      <a:lnTo>
                        <a:pt x="25" y="22"/>
                      </a:lnTo>
                      <a:lnTo>
                        <a:pt x="25" y="21"/>
                      </a:lnTo>
                      <a:lnTo>
                        <a:pt x="25" y="19"/>
                      </a:lnTo>
                      <a:lnTo>
                        <a:pt x="25" y="16"/>
                      </a:lnTo>
                      <a:lnTo>
                        <a:pt x="28" y="15"/>
                      </a:lnTo>
                      <a:lnTo>
                        <a:pt x="29" y="16"/>
                      </a:lnTo>
                      <a:lnTo>
                        <a:pt x="30" y="16"/>
                      </a:lnTo>
                      <a:lnTo>
                        <a:pt x="33" y="16"/>
                      </a:lnTo>
                      <a:lnTo>
                        <a:pt x="37" y="16"/>
                      </a:lnTo>
                      <a:lnTo>
                        <a:pt x="41" y="15"/>
                      </a:lnTo>
                      <a:lnTo>
                        <a:pt x="48" y="16"/>
                      </a:lnTo>
                      <a:lnTo>
                        <a:pt x="52" y="16"/>
                      </a:lnTo>
                      <a:lnTo>
                        <a:pt x="56" y="15"/>
                      </a:lnTo>
                      <a:lnTo>
                        <a:pt x="62" y="15"/>
                      </a:lnTo>
                      <a:lnTo>
                        <a:pt x="67" y="15"/>
                      </a:lnTo>
                      <a:lnTo>
                        <a:pt x="80" y="15"/>
                      </a:lnTo>
                      <a:lnTo>
                        <a:pt x="85" y="15"/>
                      </a:lnTo>
                      <a:lnTo>
                        <a:pt x="90" y="14"/>
                      </a:lnTo>
                      <a:lnTo>
                        <a:pt x="94" y="10"/>
                      </a:lnTo>
                      <a:lnTo>
                        <a:pt x="9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7" name="Freeform 1306">
                  <a:extLst>
                    <a:ext uri="{FF2B5EF4-FFF2-40B4-BE49-F238E27FC236}">
                      <a16:creationId xmlns:a16="http://schemas.microsoft.com/office/drawing/2014/main" id="{B5B5F6B5-4E3B-E048-AD54-F41C62069F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80100" y="3276121"/>
                  <a:ext cx="227900" cy="143547"/>
                </a:xfrm>
                <a:custGeom>
                  <a:avLst/>
                  <a:gdLst>
                    <a:gd name="T0" fmla="*/ 2147483647 w 167"/>
                    <a:gd name="T1" fmla="*/ 2147483647 h 97"/>
                    <a:gd name="T2" fmla="*/ 2147483647 w 167"/>
                    <a:gd name="T3" fmla="*/ 2147483647 h 97"/>
                    <a:gd name="T4" fmla="*/ 2147483647 w 167"/>
                    <a:gd name="T5" fmla="*/ 2147483647 h 97"/>
                    <a:gd name="T6" fmla="*/ 2147483647 w 167"/>
                    <a:gd name="T7" fmla="*/ 2147483647 h 97"/>
                    <a:gd name="T8" fmla="*/ 2147483647 w 167"/>
                    <a:gd name="T9" fmla="*/ 2147483647 h 97"/>
                    <a:gd name="T10" fmla="*/ 2147483647 w 167"/>
                    <a:gd name="T11" fmla="*/ 2147483647 h 97"/>
                    <a:gd name="T12" fmla="*/ 2147483647 w 167"/>
                    <a:gd name="T13" fmla="*/ 2147483647 h 97"/>
                    <a:gd name="T14" fmla="*/ 2147483647 w 167"/>
                    <a:gd name="T15" fmla="*/ 2147483647 h 97"/>
                    <a:gd name="T16" fmla="*/ 2147483647 w 167"/>
                    <a:gd name="T17" fmla="*/ 2147483647 h 97"/>
                    <a:gd name="T18" fmla="*/ 2147483647 w 167"/>
                    <a:gd name="T19" fmla="*/ 2147483647 h 97"/>
                    <a:gd name="T20" fmla="*/ 2147483647 w 167"/>
                    <a:gd name="T21" fmla="*/ 2147483647 h 97"/>
                    <a:gd name="T22" fmla="*/ 2147483647 w 167"/>
                    <a:gd name="T23" fmla="*/ 2147483647 h 97"/>
                    <a:gd name="T24" fmla="*/ 2147483647 w 167"/>
                    <a:gd name="T25" fmla="*/ 2147483647 h 97"/>
                    <a:gd name="T26" fmla="*/ 0 w 167"/>
                    <a:gd name="T27" fmla="*/ 2147483647 h 97"/>
                    <a:gd name="T28" fmla="*/ 2147483647 w 167"/>
                    <a:gd name="T29" fmla="*/ 2147483647 h 97"/>
                    <a:gd name="T30" fmla="*/ 2147483647 w 167"/>
                    <a:gd name="T31" fmla="*/ 2147483647 h 97"/>
                    <a:gd name="T32" fmla="*/ 2147483647 w 167"/>
                    <a:gd name="T33" fmla="*/ 2147483647 h 97"/>
                    <a:gd name="T34" fmla="*/ 2147483647 w 167"/>
                    <a:gd name="T35" fmla="*/ 2147483647 h 97"/>
                    <a:gd name="T36" fmla="*/ 2147483647 w 167"/>
                    <a:gd name="T37" fmla="*/ 2147483647 h 97"/>
                    <a:gd name="T38" fmla="*/ 2147483647 w 167"/>
                    <a:gd name="T39" fmla="*/ 2147483647 h 97"/>
                    <a:gd name="T40" fmla="*/ 2147483647 w 167"/>
                    <a:gd name="T41" fmla="*/ 2147483647 h 97"/>
                    <a:gd name="T42" fmla="*/ 2147483647 w 167"/>
                    <a:gd name="T43" fmla="*/ 2147483647 h 97"/>
                    <a:gd name="T44" fmla="*/ 2147483647 w 167"/>
                    <a:gd name="T45" fmla="*/ 2147483647 h 97"/>
                    <a:gd name="T46" fmla="*/ 2147483647 w 167"/>
                    <a:gd name="T47" fmla="*/ 2147483647 h 97"/>
                    <a:gd name="T48" fmla="*/ 2147483647 w 167"/>
                    <a:gd name="T49" fmla="*/ 2147483647 h 97"/>
                    <a:gd name="T50" fmla="*/ 2147483647 w 167"/>
                    <a:gd name="T51" fmla="*/ 2147483647 h 97"/>
                    <a:gd name="T52" fmla="*/ 2147483647 w 167"/>
                    <a:gd name="T53" fmla="*/ 2147483647 h 97"/>
                    <a:gd name="T54" fmla="*/ 2147483647 w 167"/>
                    <a:gd name="T55" fmla="*/ 2147483647 h 97"/>
                    <a:gd name="T56" fmla="*/ 2147483647 w 167"/>
                    <a:gd name="T57" fmla="*/ 2147483647 h 97"/>
                    <a:gd name="T58" fmla="*/ 2147483647 w 167"/>
                    <a:gd name="T59" fmla="*/ 2147483647 h 97"/>
                    <a:gd name="T60" fmla="*/ 2147483647 w 167"/>
                    <a:gd name="T61" fmla="*/ 2147483647 h 97"/>
                    <a:gd name="T62" fmla="*/ 2147483647 w 167"/>
                    <a:gd name="T63" fmla="*/ 2147483647 h 97"/>
                    <a:gd name="T64" fmla="*/ 2147483647 w 167"/>
                    <a:gd name="T65" fmla="*/ 2147483647 h 97"/>
                    <a:gd name="T66" fmla="*/ 2147483647 w 167"/>
                    <a:gd name="T67" fmla="*/ 2147483647 h 97"/>
                    <a:gd name="T68" fmla="*/ 2147483647 w 167"/>
                    <a:gd name="T69" fmla="*/ 2147483647 h 97"/>
                    <a:gd name="T70" fmla="*/ 2147483647 w 167"/>
                    <a:gd name="T71" fmla="*/ 2147483647 h 97"/>
                    <a:gd name="T72" fmla="*/ 2147483647 w 167"/>
                    <a:gd name="T73" fmla="*/ 2147483647 h 97"/>
                    <a:gd name="T74" fmla="*/ 2147483647 w 167"/>
                    <a:gd name="T75" fmla="*/ 2147483647 h 97"/>
                    <a:gd name="T76" fmla="*/ 2147483647 w 167"/>
                    <a:gd name="T77" fmla="*/ 2147483647 h 97"/>
                    <a:gd name="T78" fmla="*/ 2147483647 w 167"/>
                    <a:gd name="T79" fmla="*/ 2147483647 h 97"/>
                    <a:gd name="T80" fmla="*/ 2147483647 w 167"/>
                    <a:gd name="T81" fmla="*/ 2147483647 h 97"/>
                    <a:gd name="T82" fmla="*/ 2147483647 w 167"/>
                    <a:gd name="T83" fmla="*/ 2147483647 h 97"/>
                    <a:gd name="T84" fmla="*/ 2147483647 w 167"/>
                    <a:gd name="T85" fmla="*/ 2147483647 h 97"/>
                    <a:gd name="T86" fmla="*/ 2147483647 w 167"/>
                    <a:gd name="T87" fmla="*/ 2147483647 h 97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67"/>
                    <a:gd name="T133" fmla="*/ 0 h 97"/>
                    <a:gd name="T134" fmla="*/ 167 w 167"/>
                    <a:gd name="T135" fmla="*/ 97 h 97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67" h="97">
                      <a:moveTo>
                        <a:pt x="161" y="20"/>
                      </a:moveTo>
                      <a:lnTo>
                        <a:pt x="145" y="15"/>
                      </a:lnTo>
                      <a:lnTo>
                        <a:pt x="128" y="13"/>
                      </a:lnTo>
                      <a:lnTo>
                        <a:pt x="110" y="11"/>
                      </a:lnTo>
                      <a:lnTo>
                        <a:pt x="103" y="11"/>
                      </a:lnTo>
                      <a:lnTo>
                        <a:pt x="95" y="9"/>
                      </a:lnTo>
                      <a:lnTo>
                        <a:pt x="84" y="4"/>
                      </a:lnTo>
                      <a:lnTo>
                        <a:pt x="75" y="1"/>
                      </a:lnTo>
                      <a:lnTo>
                        <a:pt x="71" y="0"/>
                      </a:lnTo>
                      <a:lnTo>
                        <a:pt x="68" y="1"/>
                      </a:lnTo>
                      <a:lnTo>
                        <a:pt x="66" y="3"/>
                      </a:lnTo>
                      <a:lnTo>
                        <a:pt x="66" y="6"/>
                      </a:lnTo>
                      <a:lnTo>
                        <a:pt x="65" y="11"/>
                      </a:lnTo>
                      <a:lnTo>
                        <a:pt x="63" y="16"/>
                      </a:lnTo>
                      <a:lnTo>
                        <a:pt x="61" y="19"/>
                      </a:lnTo>
                      <a:lnTo>
                        <a:pt x="58" y="20"/>
                      </a:lnTo>
                      <a:lnTo>
                        <a:pt x="54" y="20"/>
                      </a:lnTo>
                      <a:lnTo>
                        <a:pt x="49" y="17"/>
                      </a:lnTo>
                      <a:lnTo>
                        <a:pt x="40" y="13"/>
                      </a:lnTo>
                      <a:lnTo>
                        <a:pt x="35" y="9"/>
                      </a:lnTo>
                      <a:lnTo>
                        <a:pt x="30" y="8"/>
                      </a:lnTo>
                      <a:lnTo>
                        <a:pt x="27" y="7"/>
                      </a:lnTo>
                      <a:lnTo>
                        <a:pt x="23" y="8"/>
                      </a:lnTo>
                      <a:lnTo>
                        <a:pt x="14" y="16"/>
                      </a:lnTo>
                      <a:lnTo>
                        <a:pt x="9" y="21"/>
                      </a:lnTo>
                      <a:lnTo>
                        <a:pt x="5" y="27"/>
                      </a:lnTo>
                      <a:lnTo>
                        <a:pt x="1" y="33"/>
                      </a:lnTo>
                      <a:lnTo>
                        <a:pt x="0" y="38"/>
                      </a:lnTo>
                      <a:lnTo>
                        <a:pt x="1" y="42"/>
                      </a:lnTo>
                      <a:lnTo>
                        <a:pt x="4" y="45"/>
                      </a:lnTo>
                      <a:lnTo>
                        <a:pt x="6" y="46"/>
                      </a:lnTo>
                      <a:lnTo>
                        <a:pt x="11" y="48"/>
                      </a:lnTo>
                      <a:lnTo>
                        <a:pt x="15" y="49"/>
                      </a:lnTo>
                      <a:lnTo>
                        <a:pt x="19" y="48"/>
                      </a:lnTo>
                      <a:lnTo>
                        <a:pt x="21" y="48"/>
                      </a:lnTo>
                      <a:lnTo>
                        <a:pt x="28" y="47"/>
                      </a:lnTo>
                      <a:lnTo>
                        <a:pt x="30" y="47"/>
                      </a:lnTo>
                      <a:lnTo>
                        <a:pt x="34" y="49"/>
                      </a:lnTo>
                      <a:lnTo>
                        <a:pt x="42" y="55"/>
                      </a:lnTo>
                      <a:lnTo>
                        <a:pt x="48" y="61"/>
                      </a:lnTo>
                      <a:lnTo>
                        <a:pt x="49" y="64"/>
                      </a:lnTo>
                      <a:lnTo>
                        <a:pt x="49" y="65"/>
                      </a:lnTo>
                      <a:lnTo>
                        <a:pt x="48" y="67"/>
                      </a:lnTo>
                      <a:lnTo>
                        <a:pt x="44" y="68"/>
                      </a:lnTo>
                      <a:lnTo>
                        <a:pt x="40" y="70"/>
                      </a:lnTo>
                      <a:lnTo>
                        <a:pt x="38" y="72"/>
                      </a:lnTo>
                      <a:lnTo>
                        <a:pt x="35" y="75"/>
                      </a:lnTo>
                      <a:lnTo>
                        <a:pt x="34" y="79"/>
                      </a:lnTo>
                      <a:lnTo>
                        <a:pt x="33" y="85"/>
                      </a:lnTo>
                      <a:lnTo>
                        <a:pt x="30" y="91"/>
                      </a:lnTo>
                      <a:lnTo>
                        <a:pt x="29" y="93"/>
                      </a:lnTo>
                      <a:lnTo>
                        <a:pt x="27" y="94"/>
                      </a:lnTo>
                      <a:lnTo>
                        <a:pt x="20" y="94"/>
                      </a:lnTo>
                      <a:lnTo>
                        <a:pt x="16" y="93"/>
                      </a:lnTo>
                      <a:lnTo>
                        <a:pt x="24" y="96"/>
                      </a:lnTo>
                      <a:lnTo>
                        <a:pt x="34" y="97"/>
                      </a:lnTo>
                      <a:lnTo>
                        <a:pt x="43" y="97"/>
                      </a:lnTo>
                      <a:lnTo>
                        <a:pt x="49" y="96"/>
                      </a:lnTo>
                      <a:lnTo>
                        <a:pt x="66" y="85"/>
                      </a:lnTo>
                      <a:lnTo>
                        <a:pt x="76" y="79"/>
                      </a:lnTo>
                      <a:lnTo>
                        <a:pt x="82" y="77"/>
                      </a:lnTo>
                      <a:lnTo>
                        <a:pt x="84" y="78"/>
                      </a:lnTo>
                      <a:lnTo>
                        <a:pt x="84" y="81"/>
                      </a:lnTo>
                      <a:lnTo>
                        <a:pt x="85" y="84"/>
                      </a:lnTo>
                      <a:lnTo>
                        <a:pt x="86" y="85"/>
                      </a:lnTo>
                      <a:lnTo>
                        <a:pt x="89" y="85"/>
                      </a:lnTo>
                      <a:lnTo>
                        <a:pt x="96" y="84"/>
                      </a:lnTo>
                      <a:lnTo>
                        <a:pt x="103" y="81"/>
                      </a:lnTo>
                      <a:lnTo>
                        <a:pt x="105" y="80"/>
                      </a:lnTo>
                      <a:lnTo>
                        <a:pt x="107" y="78"/>
                      </a:lnTo>
                      <a:lnTo>
                        <a:pt x="108" y="73"/>
                      </a:lnTo>
                      <a:lnTo>
                        <a:pt x="108" y="72"/>
                      </a:lnTo>
                      <a:lnTo>
                        <a:pt x="109" y="71"/>
                      </a:lnTo>
                      <a:lnTo>
                        <a:pt x="114" y="68"/>
                      </a:lnTo>
                      <a:lnTo>
                        <a:pt x="118" y="68"/>
                      </a:lnTo>
                      <a:lnTo>
                        <a:pt x="123" y="67"/>
                      </a:lnTo>
                      <a:lnTo>
                        <a:pt x="129" y="66"/>
                      </a:lnTo>
                      <a:lnTo>
                        <a:pt x="137" y="64"/>
                      </a:lnTo>
                      <a:lnTo>
                        <a:pt x="145" y="58"/>
                      </a:lnTo>
                      <a:lnTo>
                        <a:pt x="161" y="48"/>
                      </a:lnTo>
                      <a:lnTo>
                        <a:pt x="165" y="45"/>
                      </a:lnTo>
                      <a:lnTo>
                        <a:pt x="167" y="41"/>
                      </a:lnTo>
                      <a:lnTo>
                        <a:pt x="167" y="39"/>
                      </a:lnTo>
                      <a:lnTo>
                        <a:pt x="167" y="36"/>
                      </a:lnTo>
                      <a:lnTo>
                        <a:pt x="165" y="32"/>
                      </a:lnTo>
                      <a:lnTo>
                        <a:pt x="162" y="29"/>
                      </a:lnTo>
                      <a:lnTo>
                        <a:pt x="164" y="26"/>
                      </a:lnTo>
                      <a:lnTo>
                        <a:pt x="162" y="22"/>
                      </a:lnTo>
                      <a:lnTo>
                        <a:pt x="161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8" name="Freeform 1307">
                  <a:extLst>
                    <a:ext uri="{FF2B5EF4-FFF2-40B4-BE49-F238E27FC236}">
                      <a16:creationId xmlns:a16="http://schemas.microsoft.com/office/drawing/2014/main" id="{8CA85679-9D59-F64E-9F3C-A0DE9BD692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9424" y="3407830"/>
                  <a:ext cx="168705" cy="97672"/>
                </a:xfrm>
                <a:custGeom>
                  <a:avLst/>
                  <a:gdLst>
                    <a:gd name="T0" fmla="*/ 0 w 124"/>
                    <a:gd name="T1" fmla="*/ 2147483647 h 66"/>
                    <a:gd name="T2" fmla="*/ 0 w 124"/>
                    <a:gd name="T3" fmla="*/ 2147483647 h 66"/>
                    <a:gd name="T4" fmla="*/ 2147483647 w 124"/>
                    <a:gd name="T5" fmla="*/ 2147483647 h 66"/>
                    <a:gd name="T6" fmla="*/ 2147483647 w 124"/>
                    <a:gd name="T7" fmla="*/ 2147483647 h 66"/>
                    <a:gd name="T8" fmla="*/ 2147483647 w 124"/>
                    <a:gd name="T9" fmla="*/ 2147483647 h 66"/>
                    <a:gd name="T10" fmla="*/ 2147483647 w 124"/>
                    <a:gd name="T11" fmla="*/ 2147483647 h 66"/>
                    <a:gd name="T12" fmla="*/ 2147483647 w 124"/>
                    <a:gd name="T13" fmla="*/ 2147483647 h 66"/>
                    <a:gd name="T14" fmla="*/ 2147483647 w 124"/>
                    <a:gd name="T15" fmla="*/ 2147483647 h 66"/>
                    <a:gd name="T16" fmla="*/ 2147483647 w 124"/>
                    <a:gd name="T17" fmla="*/ 2147483647 h 66"/>
                    <a:gd name="T18" fmla="*/ 2147483647 w 124"/>
                    <a:gd name="T19" fmla="*/ 2147483647 h 66"/>
                    <a:gd name="T20" fmla="*/ 2147483647 w 124"/>
                    <a:gd name="T21" fmla="*/ 2147483647 h 66"/>
                    <a:gd name="T22" fmla="*/ 2147483647 w 124"/>
                    <a:gd name="T23" fmla="*/ 2147483647 h 66"/>
                    <a:gd name="T24" fmla="*/ 2147483647 w 124"/>
                    <a:gd name="T25" fmla="*/ 0 h 66"/>
                    <a:gd name="T26" fmla="*/ 2147483647 w 124"/>
                    <a:gd name="T27" fmla="*/ 2147483647 h 66"/>
                    <a:gd name="T28" fmla="*/ 2147483647 w 124"/>
                    <a:gd name="T29" fmla="*/ 2147483647 h 66"/>
                    <a:gd name="T30" fmla="*/ 2147483647 w 124"/>
                    <a:gd name="T31" fmla="*/ 2147483647 h 66"/>
                    <a:gd name="T32" fmla="*/ 2147483647 w 124"/>
                    <a:gd name="T33" fmla="*/ 2147483647 h 66"/>
                    <a:gd name="T34" fmla="*/ 2147483647 w 124"/>
                    <a:gd name="T35" fmla="*/ 2147483647 h 66"/>
                    <a:gd name="T36" fmla="*/ 2147483647 w 124"/>
                    <a:gd name="T37" fmla="*/ 2147483647 h 66"/>
                    <a:gd name="T38" fmla="*/ 2147483647 w 124"/>
                    <a:gd name="T39" fmla="*/ 2147483647 h 66"/>
                    <a:gd name="T40" fmla="*/ 2147483647 w 124"/>
                    <a:gd name="T41" fmla="*/ 2147483647 h 66"/>
                    <a:gd name="T42" fmla="*/ 2147483647 w 124"/>
                    <a:gd name="T43" fmla="*/ 2147483647 h 66"/>
                    <a:gd name="T44" fmla="*/ 2147483647 w 124"/>
                    <a:gd name="T45" fmla="*/ 2147483647 h 66"/>
                    <a:gd name="T46" fmla="*/ 2147483647 w 124"/>
                    <a:gd name="T47" fmla="*/ 2147483647 h 66"/>
                    <a:gd name="T48" fmla="*/ 2147483647 w 124"/>
                    <a:gd name="T49" fmla="*/ 2147483647 h 66"/>
                    <a:gd name="T50" fmla="*/ 2147483647 w 124"/>
                    <a:gd name="T51" fmla="*/ 2147483647 h 66"/>
                    <a:gd name="T52" fmla="*/ 2147483647 w 124"/>
                    <a:gd name="T53" fmla="*/ 2147483647 h 66"/>
                    <a:gd name="T54" fmla="*/ 2147483647 w 124"/>
                    <a:gd name="T55" fmla="*/ 2147483647 h 66"/>
                    <a:gd name="T56" fmla="*/ 2147483647 w 124"/>
                    <a:gd name="T57" fmla="*/ 2147483647 h 66"/>
                    <a:gd name="T58" fmla="*/ 2147483647 w 124"/>
                    <a:gd name="T59" fmla="*/ 2147483647 h 66"/>
                    <a:gd name="T60" fmla="*/ 2147483647 w 124"/>
                    <a:gd name="T61" fmla="*/ 2147483647 h 66"/>
                    <a:gd name="T62" fmla="*/ 2147483647 w 124"/>
                    <a:gd name="T63" fmla="*/ 2147483647 h 66"/>
                    <a:gd name="T64" fmla="*/ 2147483647 w 124"/>
                    <a:gd name="T65" fmla="*/ 2147483647 h 66"/>
                    <a:gd name="T66" fmla="*/ 2147483647 w 124"/>
                    <a:gd name="T67" fmla="*/ 2147483647 h 66"/>
                    <a:gd name="T68" fmla="*/ 2147483647 w 124"/>
                    <a:gd name="T69" fmla="*/ 2147483647 h 66"/>
                    <a:gd name="T70" fmla="*/ 2147483647 w 124"/>
                    <a:gd name="T71" fmla="*/ 2147483647 h 66"/>
                    <a:gd name="T72" fmla="*/ 2147483647 w 124"/>
                    <a:gd name="T73" fmla="*/ 2147483647 h 66"/>
                    <a:gd name="T74" fmla="*/ 2147483647 w 124"/>
                    <a:gd name="T75" fmla="*/ 2147483647 h 66"/>
                    <a:gd name="T76" fmla="*/ 2147483647 w 124"/>
                    <a:gd name="T77" fmla="*/ 2147483647 h 66"/>
                    <a:gd name="T78" fmla="*/ 2147483647 w 124"/>
                    <a:gd name="T79" fmla="*/ 2147483647 h 66"/>
                    <a:gd name="T80" fmla="*/ 2147483647 w 124"/>
                    <a:gd name="T81" fmla="*/ 2147483647 h 66"/>
                    <a:gd name="T82" fmla="*/ 2147483647 w 124"/>
                    <a:gd name="T83" fmla="*/ 2147483647 h 66"/>
                    <a:gd name="T84" fmla="*/ 2147483647 w 124"/>
                    <a:gd name="T85" fmla="*/ 2147483647 h 66"/>
                    <a:gd name="T86" fmla="*/ 2147483647 w 124"/>
                    <a:gd name="T87" fmla="*/ 2147483647 h 66"/>
                    <a:gd name="T88" fmla="*/ 2147483647 w 124"/>
                    <a:gd name="T89" fmla="*/ 2147483647 h 66"/>
                    <a:gd name="T90" fmla="*/ 2147483647 w 124"/>
                    <a:gd name="T91" fmla="*/ 2147483647 h 66"/>
                    <a:gd name="T92" fmla="*/ 2147483647 w 124"/>
                    <a:gd name="T93" fmla="*/ 2147483647 h 66"/>
                    <a:gd name="T94" fmla="*/ 2147483647 w 124"/>
                    <a:gd name="T95" fmla="*/ 2147483647 h 66"/>
                    <a:gd name="T96" fmla="*/ 2147483647 w 124"/>
                    <a:gd name="T97" fmla="*/ 2147483647 h 66"/>
                    <a:gd name="T98" fmla="*/ 2147483647 w 124"/>
                    <a:gd name="T99" fmla="*/ 2147483647 h 66"/>
                    <a:gd name="T100" fmla="*/ 2147483647 w 124"/>
                    <a:gd name="T101" fmla="*/ 2147483647 h 66"/>
                    <a:gd name="T102" fmla="*/ 2147483647 w 124"/>
                    <a:gd name="T103" fmla="*/ 2147483647 h 66"/>
                    <a:gd name="T104" fmla="*/ 2147483647 w 124"/>
                    <a:gd name="T105" fmla="*/ 2147483647 h 66"/>
                    <a:gd name="T106" fmla="*/ 2147483647 w 124"/>
                    <a:gd name="T107" fmla="*/ 2147483647 h 66"/>
                    <a:gd name="T108" fmla="*/ 2147483647 w 124"/>
                    <a:gd name="T109" fmla="*/ 2147483647 h 66"/>
                    <a:gd name="T110" fmla="*/ 2147483647 w 124"/>
                    <a:gd name="T111" fmla="*/ 2147483647 h 66"/>
                    <a:gd name="T112" fmla="*/ 2147483647 w 124"/>
                    <a:gd name="T113" fmla="*/ 2147483647 h 66"/>
                    <a:gd name="T114" fmla="*/ 2147483647 w 124"/>
                    <a:gd name="T115" fmla="*/ 2147483647 h 66"/>
                    <a:gd name="T116" fmla="*/ 2147483647 w 124"/>
                    <a:gd name="T117" fmla="*/ 2147483647 h 66"/>
                    <a:gd name="T118" fmla="*/ 2147483647 w 124"/>
                    <a:gd name="T119" fmla="*/ 2147483647 h 66"/>
                    <a:gd name="T120" fmla="*/ 2147483647 w 124"/>
                    <a:gd name="T121" fmla="*/ 2147483647 h 66"/>
                    <a:gd name="T122" fmla="*/ 0 w 124"/>
                    <a:gd name="T123" fmla="*/ 2147483647 h 6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24"/>
                    <a:gd name="T187" fmla="*/ 0 h 66"/>
                    <a:gd name="T188" fmla="*/ 124 w 124"/>
                    <a:gd name="T189" fmla="*/ 66 h 6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24" h="66">
                      <a:moveTo>
                        <a:pt x="0" y="13"/>
                      </a:moveTo>
                      <a:lnTo>
                        <a:pt x="0" y="11"/>
                      </a:lnTo>
                      <a:lnTo>
                        <a:pt x="2" y="9"/>
                      </a:lnTo>
                      <a:lnTo>
                        <a:pt x="5" y="7"/>
                      </a:lnTo>
                      <a:lnTo>
                        <a:pt x="13" y="4"/>
                      </a:lnTo>
                      <a:lnTo>
                        <a:pt x="25" y="4"/>
                      </a:lnTo>
                      <a:lnTo>
                        <a:pt x="36" y="4"/>
                      </a:lnTo>
                      <a:lnTo>
                        <a:pt x="54" y="4"/>
                      </a:lnTo>
                      <a:lnTo>
                        <a:pt x="80" y="5"/>
                      </a:lnTo>
                      <a:lnTo>
                        <a:pt x="96" y="4"/>
                      </a:lnTo>
                      <a:lnTo>
                        <a:pt x="102" y="3"/>
                      </a:lnTo>
                      <a:lnTo>
                        <a:pt x="105" y="1"/>
                      </a:lnTo>
                      <a:lnTo>
                        <a:pt x="106" y="0"/>
                      </a:lnTo>
                      <a:lnTo>
                        <a:pt x="106" y="1"/>
                      </a:lnTo>
                      <a:lnTo>
                        <a:pt x="105" y="8"/>
                      </a:lnTo>
                      <a:lnTo>
                        <a:pt x="103" y="13"/>
                      </a:lnTo>
                      <a:lnTo>
                        <a:pt x="103" y="17"/>
                      </a:lnTo>
                      <a:lnTo>
                        <a:pt x="105" y="21"/>
                      </a:lnTo>
                      <a:lnTo>
                        <a:pt x="108" y="23"/>
                      </a:lnTo>
                      <a:lnTo>
                        <a:pt x="116" y="27"/>
                      </a:lnTo>
                      <a:lnTo>
                        <a:pt x="120" y="30"/>
                      </a:lnTo>
                      <a:lnTo>
                        <a:pt x="122" y="34"/>
                      </a:lnTo>
                      <a:lnTo>
                        <a:pt x="120" y="39"/>
                      </a:lnTo>
                      <a:lnTo>
                        <a:pt x="120" y="40"/>
                      </a:lnTo>
                      <a:lnTo>
                        <a:pt x="120" y="43"/>
                      </a:lnTo>
                      <a:lnTo>
                        <a:pt x="122" y="49"/>
                      </a:lnTo>
                      <a:lnTo>
                        <a:pt x="124" y="53"/>
                      </a:lnTo>
                      <a:lnTo>
                        <a:pt x="124" y="55"/>
                      </a:lnTo>
                      <a:lnTo>
                        <a:pt x="124" y="56"/>
                      </a:lnTo>
                      <a:lnTo>
                        <a:pt x="120" y="58"/>
                      </a:lnTo>
                      <a:lnTo>
                        <a:pt x="110" y="58"/>
                      </a:lnTo>
                      <a:lnTo>
                        <a:pt x="97" y="60"/>
                      </a:lnTo>
                      <a:lnTo>
                        <a:pt x="77" y="66"/>
                      </a:lnTo>
                      <a:lnTo>
                        <a:pt x="74" y="66"/>
                      </a:lnTo>
                      <a:lnTo>
                        <a:pt x="73" y="64"/>
                      </a:lnTo>
                      <a:lnTo>
                        <a:pt x="72" y="56"/>
                      </a:lnTo>
                      <a:lnTo>
                        <a:pt x="72" y="52"/>
                      </a:lnTo>
                      <a:lnTo>
                        <a:pt x="69" y="48"/>
                      </a:lnTo>
                      <a:lnTo>
                        <a:pt x="66" y="45"/>
                      </a:lnTo>
                      <a:lnTo>
                        <a:pt x="63" y="42"/>
                      </a:lnTo>
                      <a:lnTo>
                        <a:pt x="63" y="41"/>
                      </a:lnTo>
                      <a:lnTo>
                        <a:pt x="63" y="40"/>
                      </a:lnTo>
                      <a:lnTo>
                        <a:pt x="65" y="37"/>
                      </a:lnTo>
                      <a:lnTo>
                        <a:pt x="66" y="34"/>
                      </a:lnTo>
                      <a:lnTo>
                        <a:pt x="66" y="33"/>
                      </a:lnTo>
                      <a:lnTo>
                        <a:pt x="65" y="34"/>
                      </a:lnTo>
                      <a:lnTo>
                        <a:pt x="60" y="35"/>
                      </a:lnTo>
                      <a:lnTo>
                        <a:pt x="56" y="39"/>
                      </a:lnTo>
                      <a:lnTo>
                        <a:pt x="49" y="47"/>
                      </a:lnTo>
                      <a:lnTo>
                        <a:pt x="42" y="55"/>
                      </a:lnTo>
                      <a:lnTo>
                        <a:pt x="39" y="58"/>
                      </a:lnTo>
                      <a:lnTo>
                        <a:pt x="35" y="60"/>
                      </a:lnTo>
                      <a:lnTo>
                        <a:pt x="26" y="61"/>
                      </a:lnTo>
                      <a:lnTo>
                        <a:pt x="14" y="62"/>
                      </a:lnTo>
                      <a:lnTo>
                        <a:pt x="2" y="62"/>
                      </a:lnTo>
                      <a:lnTo>
                        <a:pt x="5" y="46"/>
                      </a:lnTo>
                      <a:lnTo>
                        <a:pt x="7" y="34"/>
                      </a:lnTo>
                      <a:lnTo>
                        <a:pt x="7" y="22"/>
                      </a:lnTo>
                      <a:lnTo>
                        <a:pt x="5" y="17"/>
                      </a:lnTo>
                      <a:lnTo>
                        <a:pt x="4" y="14"/>
                      </a:lnTo>
                      <a:lnTo>
                        <a:pt x="3" y="13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9" name="Freeform 1308">
                  <a:extLst>
                    <a:ext uri="{FF2B5EF4-FFF2-40B4-BE49-F238E27FC236}">
                      <a16:creationId xmlns:a16="http://schemas.microsoft.com/office/drawing/2014/main" id="{4642CA52-5CAB-7240-974C-591A27804B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8620" y="3273158"/>
                  <a:ext cx="227900" cy="145027"/>
                </a:xfrm>
                <a:custGeom>
                  <a:avLst/>
                  <a:gdLst>
                    <a:gd name="T0" fmla="*/ 2147483647 w 167"/>
                    <a:gd name="T1" fmla="*/ 2147483647 h 98"/>
                    <a:gd name="T2" fmla="*/ 2147483647 w 167"/>
                    <a:gd name="T3" fmla="*/ 2147483647 h 98"/>
                    <a:gd name="T4" fmla="*/ 2147483647 w 167"/>
                    <a:gd name="T5" fmla="*/ 2147483647 h 98"/>
                    <a:gd name="T6" fmla="*/ 2147483647 w 167"/>
                    <a:gd name="T7" fmla="*/ 2147483647 h 98"/>
                    <a:gd name="T8" fmla="*/ 2147483647 w 167"/>
                    <a:gd name="T9" fmla="*/ 2147483647 h 98"/>
                    <a:gd name="T10" fmla="*/ 2147483647 w 167"/>
                    <a:gd name="T11" fmla="*/ 2147483647 h 98"/>
                    <a:gd name="T12" fmla="*/ 2147483647 w 167"/>
                    <a:gd name="T13" fmla="*/ 2147483647 h 98"/>
                    <a:gd name="T14" fmla="*/ 2147483647 w 167"/>
                    <a:gd name="T15" fmla="*/ 2147483647 h 98"/>
                    <a:gd name="T16" fmla="*/ 2147483647 w 167"/>
                    <a:gd name="T17" fmla="*/ 2147483647 h 98"/>
                    <a:gd name="T18" fmla="*/ 2147483647 w 167"/>
                    <a:gd name="T19" fmla="*/ 2147483647 h 98"/>
                    <a:gd name="T20" fmla="*/ 2147483647 w 167"/>
                    <a:gd name="T21" fmla="*/ 2147483647 h 98"/>
                    <a:gd name="T22" fmla="*/ 2147483647 w 167"/>
                    <a:gd name="T23" fmla="*/ 2147483647 h 98"/>
                    <a:gd name="T24" fmla="*/ 2147483647 w 167"/>
                    <a:gd name="T25" fmla="*/ 2147483647 h 98"/>
                    <a:gd name="T26" fmla="*/ 2147483647 w 167"/>
                    <a:gd name="T27" fmla="*/ 2147483647 h 98"/>
                    <a:gd name="T28" fmla="*/ 2147483647 w 167"/>
                    <a:gd name="T29" fmla="*/ 2147483647 h 98"/>
                    <a:gd name="T30" fmla="*/ 2147483647 w 167"/>
                    <a:gd name="T31" fmla="*/ 2147483647 h 98"/>
                    <a:gd name="T32" fmla="*/ 2147483647 w 167"/>
                    <a:gd name="T33" fmla="*/ 2147483647 h 98"/>
                    <a:gd name="T34" fmla="*/ 2147483647 w 167"/>
                    <a:gd name="T35" fmla="*/ 2147483647 h 98"/>
                    <a:gd name="T36" fmla="*/ 2147483647 w 167"/>
                    <a:gd name="T37" fmla="*/ 2147483647 h 98"/>
                    <a:gd name="T38" fmla="*/ 2147483647 w 167"/>
                    <a:gd name="T39" fmla="*/ 2147483647 h 98"/>
                    <a:gd name="T40" fmla="*/ 2147483647 w 167"/>
                    <a:gd name="T41" fmla="*/ 2147483647 h 98"/>
                    <a:gd name="T42" fmla="*/ 2147483647 w 167"/>
                    <a:gd name="T43" fmla="*/ 2147483647 h 98"/>
                    <a:gd name="T44" fmla="*/ 2147483647 w 167"/>
                    <a:gd name="T45" fmla="*/ 2147483647 h 98"/>
                    <a:gd name="T46" fmla="*/ 2147483647 w 167"/>
                    <a:gd name="T47" fmla="*/ 2147483647 h 98"/>
                    <a:gd name="T48" fmla="*/ 2147483647 w 167"/>
                    <a:gd name="T49" fmla="*/ 2147483647 h 98"/>
                    <a:gd name="T50" fmla="*/ 2147483647 w 167"/>
                    <a:gd name="T51" fmla="*/ 2147483647 h 98"/>
                    <a:gd name="T52" fmla="*/ 2147483647 w 167"/>
                    <a:gd name="T53" fmla="*/ 2147483647 h 98"/>
                    <a:gd name="T54" fmla="*/ 2147483647 w 167"/>
                    <a:gd name="T55" fmla="*/ 2147483647 h 98"/>
                    <a:gd name="T56" fmla="*/ 2147483647 w 167"/>
                    <a:gd name="T57" fmla="*/ 2147483647 h 98"/>
                    <a:gd name="T58" fmla="*/ 2147483647 w 167"/>
                    <a:gd name="T59" fmla="*/ 2147483647 h 98"/>
                    <a:gd name="T60" fmla="*/ 2147483647 w 167"/>
                    <a:gd name="T61" fmla="*/ 2147483647 h 98"/>
                    <a:gd name="T62" fmla="*/ 2147483647 w 167"/>
                    <a:gd name="T63" fmla="*/ 2147483647 h 98"/>
                    <a:gd name="T64" fmla="*/ 2147483647 w 167"/>
                    <a:gd name="T65" fmla="*/ 2147483647 h 98"/>
                    <a:gd name="T66" fmla="*/ 2147483647 w 167"/>
                    <a:gd name="T67" fmla="*/ 2147483647 h 98"/>
                    <a:gd name="T68" fmla="*/ 2147483647 w 167"/>
                    <a:gd name="T69" fmla="*/ 2147483647 h 98"/>
                    <a:gd name="T70" fmla="*/ 2147483647 w 167"/>
                    <a:gd name="T71" fmla="*/ 2147483647 h 98"/>
                    <a:gd name="T72" fmla="*/ 2147483647 w 167"/>
                    <a:gd name="T73" fmla="*/ 2147483647 h 98"/>
                    <a:gd name="T74" fmla="*/ 2147483647 w 167"/>
                    <a:gd name="T75" fmla="*/ 2147483647 h 98"/>
                    <a:gd name="T76" fmla="*/ 2147483647 w 167"/>
                    <a:gd name="T77" fmla="*/ 2147483647 h 98"/>
                    <a:gd name="T78" fmla="*/ 2147483647 w 167"/>
                    <a:gd name="T79" fmla="*/ 2147483647 h 98"/>
                    <a:gd name="T80" fmla="*/ 2147483647 w 167"/>
                    <a:gd name="T81" fmla="*/ 2147483647 h 98"/>
                    <a:gd name="T82" fmla="*/ 2147483647 w 167"/>
                    <a:gd name="T83" fmla="*/ 2147483647 h 98"/>
                    <a:gd name="T84" fmla="*/ 2147483647 w 167"/>
                    <a:gd name="T85" fmla="*/ 2147483647 h 98"/>
                    <a:gd name="T86" fmla="*/ 2147483647 w 167"/>
                    <a:gd name="T87" fmla="*/ 2147483647 h 98"/>
                    <a:gd name="T88" fmla="*/ 2147483647 w 167"/>
                    <a:gd name="T89" fmla="*/ 2147483647 h 98"/>
                    <a:gd name="T90" fmla="*/ 2147483647 w 167"/>
                    <a:gd name="T91" fmla="*/ 2147483647 h 98"/>
                    <a:gd name="T92" fmla="*/ 2147483647 w 167"/>
                    <a:gd name="T93" fmla="*/ 2147483647 h 98"/>
                    <a:gd name="T94" fmla="*/ 2147483647 w 167"/>
                    <a:gd name="T95" fmla="*/ 2147483647 h 98"/>
                    <a:gd name="T96" fmla="*/ 2147483647 w 167"/>
                    <a:gd name="T97" fmla="*/ 2147483647 h 98"/>
                    <a:gd name="T98" fmla="*/ 2147483647 w 167"/>
                    <a:gd name="T99" fmla="*/ 2147483647 h 98"/>
                    <a:gd name="T100" fmla="*/ 2147483647 w 167"/>
                    <a:gd name="T101" fmla="*/ 2147483647 h 98"/>
                    <a:gd name="T102" fmla="*/ 2147483647 w 167"/>
                    <a:gd name="T103" fmla="*/ 2147483647 h 98"/>
                    <a:gd name="T104" fmla="*/ 2147483647 w 167"/>
                    <a:gd name="T105" fmla="*/ 2147483647 h 9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67"/>
                    <a:gd name="T160" fmla="*/ 0 h 98"/>
                    <a:gd name="T161" fmla="*/ 167 w 167"/>
                    <a:gd name="T162" fmla="*/ 98 h 9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67" h="98">
                      <a:moveTo>
                        <a:pt x="161" y="21"/>
                      </a:moveTo>
                      <a:lnTo>
                        <a:pt x="161" y="21"/>
                      </a:lnTo>
                      <a:lnTo>
                        <a:pt x="144" y="16"/>
                      </a:lnTo>
                      <a:lnTo>
                        <a:pt x="128" y="13"/>
                      </a:lnTo>
                      <a:lnTo>
                        <a:pt x="110" y="12"/>
                      </a:lnTo>
                      <a:lnTo>
                        <a:pt x="102" y="12"/>
                      </a:lnTo>
                      <a:lnTo>
                        <a:pt x="95" y="10"/>
                      </a:lnTo>
                      <a:lnTo>
                        <a:pt x="83" y="5"/>
                      </a:lnTo>
                      <a:lnTo>
                        <a:pt x="75" y="2"/>
                      </a:lnTo>
                      <a:lnTo>
                        <a:pt x="71" y="0"/>
                      </a:lnTo>
                      <a:lnTo>
                        <a:pt x="68" y="2"/>
                      </a:lnTo>
                      <a:lnTo>
                        <a:pt x="66" y="4"/>
                      </a:lnTo>
                      <a:lnTo>
                        <a:pt x="66" y="6"/>
                      </a:lnTo>
                      <a:lnTo>
                        <a:pt x="64" y="12"/>
                      </a:lnTo>
                      <a:lnTo>
                        <a:pt x="63" y="17"/>
                      </a:lnTo>
                      <a:lnTo>
                        <a:pt x="61" y="19"/>
                      </a:lnTo>
                      <a:lnTo>
                        <a:pt x="58" y="21"/>
                      </a:lnTo>
                      <a:lnTo>
                        <a:pt x="54" y="21"/>
                      </a:lnTo>
                      <a:lnTo>
                        <a:pt x="49" y="18"/>
                      </a:lnTo>
                      <a:lnTo>
                        <a:pt x="40" y="13"/>
                      </a:lnTo>
                      <a:lnTo>
                        <a:pt x="35" y="10"/>
                      </a:lnTo>
                      <a:lnTo>
                        <a:pt x="30" y="9"/>
                      </a:lnTo>
                      <a:lnTo>
                        <a:pt x="26" y="8"/>
                      </a:lnTo>
                      <a:lnTo>
                        <a:pt x="22" y="9"/>
                      </a:lnTo>
                      <a:lnTo>
                        <a:pt x="14" y="17"/>
                      </a:lnTo>
                      <a:lnTo>
                        <a:pt x="8" y="22"/>
                      </a:lnTo>
                      <a:lnTo>
                        <a:pt x="5" y="28"/>
                      </a:lnTo>
                      <a:lnTo>
                        <a:pt x="1" y="34"/>
                      </a:lnTo>
                      <a:lnTo>
                        <a:pt x="0" y="38"/>
                      </a:lnTo>
                      <a:lnTo>
                        <a:pt x="1" y="43"/>
                      </a:lnTo>
                      <a:lnTo>
                        <a:pt x="3" y="45"/>
                      </a:lnTo>
                      <a:lnTo>
                        <a:pt x="6" y="47"/>
                      </a:lnTo>
                      <a:lnTo>
                        <a:pt x="11" y="49"/>
                      </a:lnTo>
                      <a:lnTo>
                        <a:pt x="15" y="50"/>
                      </a:lnTo>
                      <a:lnTo>
                        <a:pt x="19" y="49"/>
                      </a:lnTo>
                      <a:lnTo>
                        <a:pt x="21" y="49"/>
                      </a:lnTo>
                      <a:lnTo>
                        <a:pt x="28" y="48"/>
                      </a:lnTo>
                      <a:lnTo>
                        <a:pt x="30" y="48"/>
                      </a:lnTo>
                      <a:lnTo>
                        <a:pt x="34" y="50"/>
                      </a:lnTo>
                      <a:lnTo>
                        <a:pt x="41" y="56"/>
                      </a:lnTo>
                      <a:lnTo>
                        <a:pt x="48" y="62"/>
                      </a:lnTo>
                      <a:lnTo>
                        <a:pt x="49" y="64"/>
                      </a:lnTo>
                      <a:lnTo>
                        <a:pt x="49" y="66"/>
                      </a:lnTo>
                      <a:lnTo>
                        <a:pt x="48" y="68"/>
                      </a:lnTo>
                      <a:lnTo>
                        <a:pt x="44" y="69"/>
                      </a:lnTo>
                      <a:lnTo>
                        <a:pt x="40" y="70"/>
                      </a:lnTo>
                      <a:lnTo>
                        <a:pt x="38" y="73"/>
                      </a:lnTo>
                      <a:lnTo>
                        <a:pt x="35" y="76"/>
                      </a:lnTo>
                      <a:lnTo>
                        <a:pt x="34" y="80"/>
                      </a:lnTo>
                      <a:lnTo>
                        <a:pt x="33" y="86"/>
                      </a:lnTo>
                      <a:lnTo>
                        <a:pt x="30" y="92"/>
                      </a:lnTo>
                      <a:lnTo>
                        <a:pt x="29" y="94"/>
                      </a:lnTo>
                      <a:lnTo>
                        <a:pt x="26" y="95"/>
                      </a:lnTo>
                      <a:lnTo>
                        <a:pt x="20" y="95"/>
                      </a:lnTo>
                      <a:lnTo>
                        <a:pt x="16" y="94"/>
                      </a:lnTo>
                      <a:lnTo>
                        <a:pt x="24" y="96"/>
                      </a:lnTo>
                      <a:lnTo>
                        <a:pt x="34" y="98"/>
                      </a:lnTo>
                      <a:lnTo>
                        <a:pt x="43" y="98"/>
                      </a:lnTo>
                      <a:lnTo>
                        <a:pt x="49" y="96"/>
                      </a:lnTo>
                      <a:lnTo>
                        <a:pt x="66" y="86"/>
                      </a:lnTo>
                      <a:lnTo>
                        <a:pt x="76" y="80"/>
                      </a:lnTo>
                      <a:lnTo>
                        <a:pt x="82" y="77"/>
                      </a:lnTo>
                      <a:lnTo>
                        <a:pt x="83" y="79"/>
                      </a:lnTo>
                      <a:lnTo>
                        <a:pt x="83" y="82"/>
                      </a:lnTo>
                      <a:lnTo>
                        <a:pt x="85" y="85"/>
                      </a:lnTo>
                      <a:lnTo>
                        <a:pt x="86" y="86"/>
                      </a:lnTo>
                      <a:lnTo>
                        <a:pt x="88" y="86"/>
                      </a:lnTo>
                      <a:lnTo>
                        <a:pt x="96" y="85"/>
                      </a:lnTo>
                      <a:lnTo>
                        <a:pt x="102" y="82"/>
                      </a:lnTo>
                      <a:lnTo>
                        <a:pt x="105" y="81"/>
                      </a:lnTo>
                      <a:lnTo>
                        <a:pt x="106" y="79"/>
                      </a:lnTo>
                      <a:lnTo>
                        <a:pt x="108" y="74"/>
                      </a:lnTo>
                      <a:lnTo>
                        <a:pt x="108" y="73"/>
                      </a:lnTo>
                      <a:lnTo>
                        <a:pt x="109" y="72"/>
                      </a:lnTo>
                      <a:lnTo>
                        <a:pt x="114" y="69"/>
                      </a:lnTo>
                      <a:lnTo>
                        <a:pt x="118" y="69"/>
                      </a:lnTo>
                      <a:lnTo>
                        <a:pt x="123" y="68"/>
                      </a:lnTo>
                      <a:lnTo>
                        <a:pt x="129" y="67"/>
                      </a:lnTo>
                      <a:lnTo>
                        <a:pt x="137" y="64"/>
                      </a:lnTo>
                      <a:lnTo>
                        <a:pt x="144" y="59"/>
                      </a:lnTo>
                      <a:lnTo>
                        <a:pt x="161" y="49"/>
                      </a:lnTo>
                      <a:lnTo>
                        <a:pt x="165" y="45"/>
                      </a:lnTo>
                      <a:lnTo>
                        <a:pt x="167" y="42"/>
                      </a:lnTo>
                      <a:lnTo>
                        <a:pt x="167" y="40"/>
                      </a:lnTo>
                      <a:lnTo>
                        <a:pt x="167" y="37"/>
                      </a:lnTo>
                      <a:lnTo>
                        <a:pt x="165" y="32"/>
                      </a:lnTo>
                      <a:lnTo>
                        <a:pt x="162" y="30"/>
                      </a:lnTo>
                      <a:lnTo>
                        <a:pt x="163" y="27"/>
                      </a:lnTo>
                      <a:lnTo>
                        <a:pt x="162" y="23"/>
                      </a:lnTo>
                      <a:lnTo>
                        <a:pt x="161" y="2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0" name="Freeform 1309">
                  <a:extLst>
                    <a:ext uri="{FF2B5EF4-FFF2-40B4-BE49-F238E27FC236}">
                      <a16:creationId xmlns:a16="http://schemas.microsoft.com/office/drawing/2014/main" id="{E9B5D535-8A3E-6E4C-BF76-109702FF80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7945" y="3404870"/>
                  <a:ext cx="167224" cy="99150"/>
                </a:xfrm>
                <a:custGeom>
                  <a:avLst/>
                  <a:gdLst>
                    <a:gd name="T0" fmla="*/ 0 w 123"/>
                    <a:gd name="T1" fmla="*/ 2147483647 h 67"/>
                    <a:gd name="T2" fmla="*/ 2147483647 w 123"/>
                    <a:gd name="T3" fmla="*/ 2147483647 h 67"/>
                    <a:gd name="T4" fmla="*/ 2147483647 w 123"/>
                    <a:gd name="T5" fmla="*/ 2147483647 h 67"/>
                    <a:gd name="T6" fmla="*/ 2147483647 w 123"/>
                    <a:gd name="T7" fmla="*/ 2147483647 h 67"/>
                    <a:gd name="T8" fmla="*/ 2147483647 w 123"/>
                    <a:gd name="T9" fmla="*/ 2147483647 h 67"/>
                    <a:gd name="T10" fmla="*/ 2147483647 w 123"/>
                    <a:gd name="T11" fmla="*/ 2147483647 h 67"/>
                    <a:gd name="T12" fmla="*/ 2147483647 w 123"/>
                    <a:gd name="T13" fmla="*/ 2147483647 h 67"/>
                    <a:gd name="T14" fmla="*/ 2147483647 w 123"/>
                    <a:gd name="T15" fmla="*/ 2147483647 h 67"/>
                    <a:gd name="T16" fmla="*/ 2147483647 w 123"/>
                    <a:gd name="T17" fmla="*/ 2147483647 h 67"/>
                    <a:gd name="T18" fmla="*/ 2147483647 w 123"/>
                    <a:gd name="T19" fmla="*/ 2147483647 h 67"/>
                    <a:gd name="T20" fmla="*/ 2147483647 w 123"/>
                    <a:gd name="T21" fmla="*/ 2147483647 h 67"/>
                    <a:gd name="T22" fmla="*/ 2147483647 w 123"/>
                    <a:gd name="T23" fmla="*/ 2147483647 h 67"/>
                    <a:gd name="T24" fmla="*/ 2147483647 w 123"/>
                    <a:gd name="T25" fmla="*/ 2147483647 h 67"/>
                    <a:gd name="T26" fmla="*/ 2147483647 w 123"/>
                    <a:gd name="T27" fmla="*/ 2147483647 h 67"/>
                    <a:gd name="T28" fmla="*/ 2147483647 w 123"/>
                    <a:gd name="T29" fmla="*/ 2147483647 h 67"/>
                    <a:gd name="T30" fmla="*/ 2147483647 w 123"/>
                    <a:gd name="T31" fmla="*/ 2147483647 h 67"/>
                    <a:gd name="T32" fmla="*/ 2147483647 w 123"/>
                    <a:gd name="T33" fmla="*/ 2147483647 h 67"/>
                    <a:gd name="T34" fmla="*/ 2147483647 w 123"/>
                    <a:gd name="T35" fmla="*/ 2147483647 h 67"/>
                    <a:gd name="T36" fmla="*/ 2147483647 w 123"/>
                    <a:gd name="T37" fmla="*/ 2147483647 h 67"/>
                    <a:gd name="T38" fmla="*/ 2147483647 w 123"/>
                    <a:gd name="T39" fmla="*/ 2147483647 h 67"/>
                    <a:gd name="T40" fmla="*/ 2147483647 w 123"/>
                    <a:gd name="T41" fmla="*/ 2147483647 h 67"/>
                    <a:gd name="T42" fmla="*/ 2147483647 w 123"/>
                    <a:gd name="T43" fmla="*/ 2147483647 h 67"/>
                    <a:gd name="T44" fmla="*/ 2147483647 w 123"/>
                    <a:gd name="T45" fmla="*/ 2147483647 h 67"/>
                    <a:gd name="T46" fmla="*/ 2147483647 w 123"/>
                    <a:gd name="T47" fmla="*/ 2147483647 h 67"/>
                    <a:gd name="T48" fmla="*/ 2147483647 w 123"/>
                    <a:gd name="T49" fmla="*/ 2147483647 h 67"/>
                    <a:gd name="T50" fmla="*/ 2147483647 w 123"/>
                    <a:gd name="T51" fmla="*/ 2147483647 h 67"/>
                    <a:gd name="T52" fmla="*/ 2147483647 w 123"/>
                    <a:gd name="T53" fmla="*/ 2147483647 h 67"/>
                    <a:gd name="T54" fmla="*/ 2147483647 w 123"/>
                    <a:gd name="T55" fmla="*/ 2147483647 h 67"/>
                    <a:gd name="T56" fmla="*/ 2147483647 w 123"/>
                    <a:gd name="T57" fmla="*/ 2147483647 h 67"/>
                    <a:gd name="T58" fmla="*/ 2147483647 w 123"/>
                    <a:gd name="T59" fmla="*/ 2147483647 h 67"/>
                    <a:gd name="T60" fmla="*/ 2147483647 w 123"/>
                    <a:gd name="T61" fmla="*/ 2147483647 h 67"/>
                    <a:gd name="T62" fmla="*/ 2147483647 w 123"/>
                    <a:gd name="T63" fmla="*/ 2147483647 h 67"/>
                    <a:gd name="T64" fmla="*/ 2147483647 w 123"/>
                    <a:gd name="T65" fmla="*/ 2147483647 h 67"/>
                    <a:gd name="T66" fmla="*/ 2147483647 w 123"/>
                    <a:gd name="T67" fmla="*/ 2147483647 h 67"/>
                    <a:gd name="T68" fmla="*/ 2147483647 w 123"/>
                    <a:gd name="T69" fmla="*/ 2147483647 h 67"/>
                    <a:gd name="T70" fmla="*/ 2147483647 w 123"/>
                    <a:gd name="T71" fmla="*/ 2147483647 h 67"/>
                    <a:gd name="T72" fmla="*/ 2147483647 w 123"/>
                    <a:gd name="T73" fmla="*/ 2147483647 h 67"/>
                    <a:gd name="T74" fmla="*/ 0 w 123"/>
                    <a:gd name="T75" fmla="*/ 2147483647 h 67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23"/>
                    <a:gd name="T115" fmla="*/ 0 h 67"/>
                    <a:gd name="T116" fmla="*/ 123 w 123"/>
                    <a:gd name="T117" fmla="*/ 67 h 67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23" h="67">
                      <a:moveTo>
                        <a:pt x="0" y="13"/>
                      </a:moveTo>
                      <a:lnTo>
                        <a:pt x="0" y="13"/>
                      </a:lnTo>
                      <a:lnTo>
                        <a:pt x="0" y="12"/>
                      </a:lnTo>
                      <a:lnTo>
                        <a:pt x="1" y="10"/>
                      </a:lnTo>
                      <a:lnTo>
                        <a:pt x="5" y="7"/>
                      </a:lnTo>
                      <a:lnTo>
                        <a:pt x="13" y="5"/>
                      </a:lnTo>
                      <a:lnTo>
                        <a:pt x="24" y="5"/>
                      </a:lnTo>
                      <a:lnTo>
                        <a:pt x="36" y="5"/>
                      </a:lnTo>
                      <a:lnTo>
                        <a:pt x="53" y="5"/>
                      </a:lnTo>
                      <a:lnTo>
                        <a:pt x="80" y="6"/>
                      </a:lnTo>
                      <a:lnTo>
                        <a:pt x="95" y="5"/>
                      </a:lnTo>
                      <a:lnTo>
                        <a:pt x="102" y="4"/>
                      </a:lnTo>
                      <a:lnTo>
                        <a:pt x="104" y="2"/>
                      </a:lnTo>
                      <a:lnTo>
                        <a:pt x="106" y="0"/>
                      </a:lnTo>
                      <a:lnTo>
                        <a:pt x="106" y="2"/>
                      </a:lnTo>
                      <a:lnTo>
                        <a:pt x="104" y="9"/>
                      </a:lnTo>
                      <a:lnTo>
                        <a:pt x="103" y="13"/>
                      </a:lnTo>
                      <a:lnTo>
                        <a:pt x="103" y="18"/>
                      </a:lnTo>
                      <a:lnTo>
                        <a:pt x="104" y="22"/>
                      </a:lnTo>
                      <a:lnTo>
                        <a:pt x="108" y="24"/>
                      </a:lnTo>
                      <a:lnTo>
                        <a:pt x="116" y="28"/>
                      </a:lnTo>
                      <a:lnTo>
                        <a:pt x="120" y="31"/>
                      </a:lnTo>
                      <a:lnTo>
                        <a:pt x="122" y="35"/>
                      </a:lnTo>
                      <a:lnTo>
                        <a:pt x="120" y="39"/>
                      </a:lnTo>
                      <a:lnTo>
                        <a:pt x="120" y="41"/>
                      </a:lnTo>
                      <a:lnTo>
                        <a:pt x="120" y="44"/>
                      </a:lnTo>
                      <a:lnTo>
                        <a:pt x="122" y="50"/>
                      </a:lnTo>
                      <a:lnTo>
                        <a:pt x="123" y="54"/>
                      </a:lnTo>
                      <a:lnTo>
                        <a:pt x="123" y="56"/>
                      </a:lnTo>
                      <a:lnTo>
                        <a:pt x="123" y="57"/>
                      </a:lnTo>
                      <a:lnTo>
                        <a:pt x="120" y="58"/>
                      </a:lnTo>
                      <a:lnTo>
                        <a:pt x="109" y="58"/>
                      </a:lnTo>
                      <a:lnTo>
                        <a:pt x="97" y="61"/>
                      </a:lnTo>
                      <a:lnTo>
                        <a:pt x="76" y="67"/>
                      </a:lnTo>
                      <a:lnTo>
                        <a:pt x="74" y="67"/>
                      </a:lnTo>
                      <a:lnTo>
                        <a:pt x="73" y="64"/>
                      </a:lnTo>
                      <a:lnTo>
                        <a:pt x="71" y="57"/>
                      </a:lnTo>
                      <a:lnTo>
                        <a:pt x="71" y="53"/>
                      </a:lnTo>
                      <a:lnTo>
                        <a:pt x="69" y="49"/>
                      </a:lnTo>
                      <a:lnTo>
                        <a:pt x="66" y="45"/>
                      </a:lnTo>
                      <a:lnTo>
                        <a:pt x="62" y="43"/>
                      </a:lnTo>
                      <a:lnTo>
                        <a:pt x="62" y="42"/>
                      </a:lnTo>
                      <a:lnTo>
                        <a:pt x="62" y="41"/>
                      </a:lnTo>
                      <a:lnTo>
                        <a:pt x="65" y="38"/>
                      </a:lnTo>
                      <a:lnTo>
                        <a:pt x="66" y="35"/>
                      </a:lnTo>
                      <a:lnTo>
                        <a:pt x="66" y="34"/>
                      </a:lnTo>
                      <a:lnTo>
                        <a:pt x="65" y="35"/>
                      </a:lnTo>
                      <a:lnTo>
                        <a:pt x="60" y="36"/>
                      </a:lnTo>
                      <a:lnTo>
                        <a:pt x="56" y="39"/>
                      </a:lnTo>
                      <a:lnTo>
                        <a:pt x="48" y="48"/>
                      </a:lnTo>
                      <a:lnTo>
                        <a:pt x="42" y="56"/>
                      </a:lnTo>
                      <a:lnTo>
                        <a:pt x="38" y="58"/>
                      </a:lnTo>
                      <a:lnTo>
                        <a:pt x="34" y="61"/>
                      </a:lnTo>
                      <a:lnTo>
                        <a:pt x="26" y="62"/>
                      </a:lnTo>
                      <a:lnTo>
                        <a:pt x="14" y="63"/>
                      </a:lnTo>
                      <a:lnTo>
                        <a:pt x="1" y="63"/>
                      </a:lnTo>
                      <a:lnTo>
                        <a:pt x="5" y="47"/>
                      </a:lnTo>
                      <a:lnTo>
                        <a:pt x="6" y="35"/>
                      </a:lnTo>
                      <a:lnTo>
                        <a:pt x="6" y="23"/>
                      </a:lnTo>
                      <a:lnTo>
                        <a:pt x="5" y="18"/>
                      </a:lnTo>
                      <a:lnTo>
                        <a:pt x="4" y="15"/>
                      </a:lnTo>
                      <a:lnTo>
                        <a:pt x="3" y="13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1" name="Freeform 1310">
                  <a:extLst>
                    <a:ext uri="{FF2B5EF4-FFF2-40B4-BE49-F238E27FC236}">
                      <a16:creationId xmlns:a16="http://schemas.microsoft.com/office/drawing/2014/main" id="{50079F46-337C-D34F-B705-27A314DE1C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67214" y="3307198"/>
                  <a:ext cx="325572" cy="247138"/>
                </a:xfrm>
                <a:custGeom>
                  <a:avLst/>
                  <a:gdLst>
                    <a:gd name="T0" fmla="*/ 2147483647 w 238"/>
                    <a:gd name="T1" fmla="*/ 2147483647 h 167"/>
                    <a:gd name="T2" fmla="*/ 2147483647 w 238"/>
                    <a:gd name="T3" fmla="*/ 2147483647 h 167"/>
                    <a:gd name="T4" fmla="*/ 2147483647 w 238"/>
                    <a:gd name="T5" fmla="*/ 2147483647 h 167"/>
                    <a:gd name="T6" fmla="*/ 2147483647 w 238"/>
                    <a:gd name="T7" fmla="*/ 2147483647 h 167"/>
                    <a:gd name="T8" fmla="*/ 0 w 238"/>
                    <a:gd name="T9" fmla="*/ 2147483647 h 167"/>
                    <a:gd name="T10" fmla="*/ 2147483647 w 238"/>
                    <a:gd name="T11" fmla="*/ 2147483647 h 167"/>
                    <a:gd name="T12" fmla="*/ 2147483647 w 238"/>
                    <a:gd name="T13" fmla="*/ 2147483647 h 167"/>
                    <a:gd name="T14" fmla="*/ 2147483647 w 238"/>
                    <a:gd name="T15" fmla="*/ 2147483647 h 167"/>
                    <a:gd name="T16" fmla="*/ 2147483647 w 238"/>
                    <a:gd name="T17" fmla="*/ 2147483647 h 167"/>
                    <a:gd name="T18" fmla="*/ 2147483647 w 238"/>
                    <a:gd name="T19" fmla="*/ 2147483647 h 167"/>
                    <a:gd name="T20" fmla="*/ 2147483647 w 238"/>
                    <a:gd name="T21" fmla="*/ 2147483647 h 167"/>
                    <a:gd name="T22" fmla="*/ 2147483647 w 238"/>
                    <a:gd name="T23" fmla="*/ 2147483647 h 167"/>
                    <a:gd name="T24" fmla="*/ 2147483647 w 238"/>
                    <a:gd name="T25" fmla="*/ 2147483647 h 167"/>
                    <a:gd name="T26" fmla="*/ 2147483647 w 238"/>
                    <a:gd name="T27" fmla="*/ 2147483647 h 167"/>
                    <a:gd name="T28" fmla="*/ 2147483647 w 238"/>
                    <a:gd name="T29" fmla="*/ 2147483647 h 167"/>
                    <a:gd name="T30" fmla="*/ 2147483647 w 238"/>
                    <a:gd name="T31" fmla="*/ 2147483647 h 167"/>
                    <a:gd name="T32" fmla="*/ 2147483647 w 238"/>
                    <a:gd name="T33" fmla="*/ 2147483647 h 167"/>
                    <a:gd name="T34" fmla="*/ 2147483647 w 238"/>
                    <a:gd name="T35" fmla="*/ 2147483647 h 167"/>
                    <a:gd name="T36" fmla="*/ 2147483647 w 238"/>
                    <a:gd name="T37" fmla="*/ 2147483647 h 167"/>
                    <a:gd name="T38" fmla="*/ 2147483647 w 238"/>
                    <a:gd name="T39" fmla="*/ 2147483647 h 167"/>
                    <a:gd name="T40" fmla="*/ 2147483647 w 238"/>
                    <a:gd name="T41" fmla="*/ 2147483647 h 167"/>
                    <a:gd name="T42" fmla="*/ 2147483647 w 238"/>
                    <a:gd name="T43" fmla="*/ 2147483647 h 167"/>
                    <a:gd name="T44" fmla="*/ 2147483647 w 238"/>
                    <a:gd name="T45" fmla="*/ 2147483647 h 167"/>
                    <a:gd name="T46" fmla="*/ 2147483647 w 238"/>
                    <a:gd name="T47" fmla="*/ 2147483647 h 167"/>
                    <a:gd name="T48" fmla="*/ 2147483647 w 238"/>
                    <a:gd name="T49" fmla="*/ 2147483647 h 167"/>
                    <a:gd name="T50" fmla="*/ 2147483647 w 238"/>
                    <a:gd name="T51" fmla="*/ 2147483647 h 167"/>
                    <a:gd name="T52" fmla="*/ 2147483647 w 238"/>
                    <a:gd name="T53" fmla="*/ 2147483647 h 167"/>
                    <a:gd name="T54" fmla="*/ 2147483647 w 238"/>
                    <a:gd name="T55" fmla="*/ 2147483647 h 167"/>
                    <a:gd name="T56" fmla="*/ 2147483647 w 238"/>
                    <a:gd name="T57" fmla="*/ 2147483647 h 167"/>
                    <a:gd name="T58" fmla="*/ 2147483647 w 238"/>
                    <a:gd name="T59" fmla="*/ 2147483647 h 167"/>
                    <a:gd name="T60" fmla="*/ 2147483647 w 238"/>
                    <a:gd name="T61" fmla="*/ 2147483647 h 167"/>
                    <a:gd name="T62" fmla="*/ 2147483647 w 238"/>
                    <a:gd name="T63" fmla="*/ 2147483647 h 167"/>
                    <a:gd name="T64" fmla="*/ 2147483647 w 238"/>
                    <a:gd name="T65" fmla="*/ 2147483647 h 167"/>
                    <a:gd name="T66" fmla="*/ 2147483647 w 238"/>
                    <a:gd name="T67" fmla="*/ 2147483647 h 167"/>
                    <a:gd name="T68" fmla="*/ 2147483647 w 238"/>
                    <a:gd name="T69" fmla="*/ 2147483647 h 167"/>
                    <a:gd name="T70" fmla="*/ 2147483647 w 238"/>
                    <a:gd name="T71" fmla="*/ 2147483647 h 167"/>
                    <a:gd name="T72" fmla="*/ 2147483647 w 238"/>
                    <a:gd name="T73" fmla="*/ 2147483647 h 167"/>
                    <a:gd name="T74" fmla="*/ 2147483647 w 238"/>
                    <a:gd name="T75" fmla="*/ 2147483647 h 167"/>
                    <a:gd name="T76" fmla="*/ 2147483647 w 238"/>
                    <a:gd name="T77" fmla="*/ 2147483647 h 167"/>
                    <a:gd name="T78" fmla="*/ 2147483647 w 238"/>
                    <a:gd name="T79" fmla="*/ 2147483647 h 167"/>
                    <a:gd name="T80" fmla="*/ 2147483647 w 238"/>
                    <a:gd name="T81" fmla="*/ 2147483647 h 167"/>
                    <a:gd name="T82" fmla="*/ 2147483647 w 238"/>
                    <a:gd name="T83" fmla="*/ 2147483647 h 167"/>
                    <a:gd name="T84" fmla="*/ 2147483647 w 238"/>
                    <a:gd name="T85" fmla="*/ 0 h 167"/>
                    <a:gd name="T86" fmla="*/ 2147483647 w 238"/>
                    <a:gd name="T87" fmla="*/ 2147483647 h 167"/>
                    <a:gd name="T88" fmla="*/ 2147483647 w 238"/>
                    <a:gd name="T89" fmla="*/ 2147483647 h 167"/>
                    <a:gd name="T90" fmla="*/ 2147483647 w 238"/>
                    <a:gd name="T91" fmla="*/ 2147483647 h 167"/>
                    <a:gd name="T92" fmla="*/ 2147483647 w 238"/>
                    <a:gd name="T93" fmla="*/ 2147483647 h 167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38"/>
                    <a:gd name="T142" fmla="*/ 0 h 167"/>
                    <a:gd name="T143" fmla="*/ 238 w 238"/>
                    <a:gd name="T144" fmla="*/ 167 h 167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38" h="167">
                      <a:moveTo>
                        <a:pt x="44" y="32"/>
                      </a:moveTo>
                      <a:lnTo>
                        <a:pt x="42" y="30"/>
                      </a:lnTo>
                      <a:lnTo>
                        <a:pt x="39" y="26"/>
                      </a:lnTo>
                      <a:lnTo>
                        <a:pt x="33" y="15"/>
                      </a:lnTo>
                      <a:lnTo>
                        <a:pt x="25" y="6"/>
                      </a:lnTo>
                      <a:lnTo>
                        <a:pt x="22" y="2"/>
                      </a:lnTo>
                      <a:lnTo>
                        <a:pt x="19" y="1"/>
                      </a:lnTo>
                      <a:lnTo>
                        <a:pt x="14" y="2"/>
                      </a:lnTo>
                      <a:lnTo>
                        <a:pt x="9" y="6"/>
                      </a:lnTo>
                      <a:lnTo>
                        <a:pt x="6" y="11"/>
                      </a:lnTo>
                      <a:lnTo>
                        <a:pt x="2" y="15"/>
                      </a:lnTo>
                      <a:lnTo>
                        <a:pt x="1" y="19"/>
                      </a:lnTo>
                      <a:lnTo>
                        <a:pt x="1" y="24"/>
                      </a:lnTo>
                      <a:lnTo>
                        <a:pt x="0" y="34"/>
                      </a:lnTo>
                      <a:lnTo>
                        <a:pt x="0" y="47"/>
                      </a:lnTo>
                      <a:lnTo>
                        <a:pt x="12" y="28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20" y="25"/>
                      </a:lnTo>
                      <a:lnTo>
                        <a:pt x="21" y="24"/>
                      </a:lnTo>
                      <a:lnTo>
                        <a:pt x="22" y="24"/>
                      </a:lnTo>
                      <a:lnTo>
                        <a:pt x="25" y="27"/>
                      </a:lnTo>
                      <a:lnTo>
                        <a:pt x="29" y="46"/>
                      </a:lnTo>
                      <a:lnTo>
                        <a:pt x="30" y="50"/>
                      </a:lnTo>
                      <a:lnTo>
                        <a:pt x="29" y="52"/>
                      </a:lnTo>
                      <a:lnTo>
                        <a:pt x="25" y="56"/>
                      </a:lnTo>
                      <a:lnTo>
                        <a:pt x="20" y="58"/>
                      </a:lnTo>
                      <a:lnTo>
                        <a:pt x="16" y="58"/>
                      </a:lnTo>
                      <a:lnTo>
                        <a:pt x="14" y="57"/>
                      </a:lnTo>
                      <a:lnTo>
                        <a:pt x="11" y="56"/>
                      </a:lnTo>
                      <a:lnTo>
                        <a:pt x="9" y="56"/>
                      </a:lnTo>
                      <a:lnTo>
                        <a:pt x="6" y="57"/>
                      </a:lnTo>
                      <a:lnTo>
                        <a:pt x="5" y="58"/>
                      </a:lnTo>
                      <a:lnTo>
                        <a:pt x="3" y="63"/>
                      </a:lnTo>
                      <a:lnTo>
                        <a:pt x="3" y="69"/>
                      </a:lnTo>
                      <a:lnTo>
                        <a:pt x="3" y="71"/>
                      </a:lnTo>
                      <a:lnTo>
                        <a:pt x="6" y="72"/>
                      </a:lnTo>
                      <a:lnTo>
                        <a:pt x="12" y="73"/>
                      </a:lnTo>
                      <a:lnTo>
                        <a:pt x="19" y="75"/>
                      </a:lnTo>
                      <a:lnTo>
                        <a:pt x="21" y="76"/>
                      </a:lnTo>
                      <a:lnTo>
                        <a:pt x="22" y="78"/>
                      </a:lnTo>
                      <a:lnTo>
                        <a:pt x="24" y="79"/>
                      </a:lnTo>
                      <a:lnTo>
                        <a:pt x="22" y="79"/>
                      </a:lnTo>
                      <a:lnTo>
                        <a:pt x="19" y="78"/>
                      </a:lnTo>
                      <a:lnTo>
                        <a:pt x="17" y="79"/>
                      </a:lnTo>
                      <a:lnTo>
                        <a:pt x="15" y="81"/>
                      </a:lnTo>
                      <a:lnTo>
                        <a:pt x="14" y="83"/>
                      </a:lnTo>
                      <a:lnTo>
                        <a:pt x="14" y="87"/>
                      </a:lnTo>
                      <a:lnTo>
                        <a:pt x="16" y="94"/>
                      </a:lnTo>
                      <a:lnTo>
                        <a:pt x="19" y="101"/>
                      </a:lnTo>
                      <a:lnTo>
                        <a:pt x="19" y="103"/>
                      </a:lnTo>
                      <a:lnTo>
                        <a:pt x="19" y="107"/>
                      </a:lnTo>
                      <a:lnTo>
                        <a:pt x="17" y="116"/>
                      </a:lnTo>
                      <a:lnTo>
                        <a:pt x="17" y="120"/>
                      </a:lnTo>
                      <a:lnTo>
                        <a:pt x="19" y="123"/>
                      </a:lnTo>
                      <a:lnTo>
                        <a:pt x="21" y="126"/>
                      </a:lnTo>
                      <a:lnTo>
                        <a:pt x="24" y="128"/>
                      </a:lnTo>
                      <a:lnTo>
                        <a:pt x="28" y="128"/>
                      </a:lnTo>
                      <a:lnTo>
                        <a:pt x="31" y="128"/>
                      </a:lnTo>
                      <a:lnTo>
                        <a:pt x="35" y="127"/>
                      </a:lnTo>
                      <a:lnTo>
                        <a:pt x="40" y="124"/>
                      </a:lnTo>
                      <a:lnTo>
                        <a:pt x="52" y="119"/>
                      </a:lnTo>
                      <a:lnTo>
                        <a:pt x="63" y="110"/>
                      </a:lnTo>
                      <a:lnTo>
                        <a:pt x="73" y="115"/>
                      </a:lnTo>
                      <a:lnTo>
                        <a:pt x="83" y="119"/>
                      </a:lnTo>
                      <a:lnTo>
                        <a:pt x="92" y="121"/>
                      </a:lnTo>
                      <a:lnTo>
                        <a:pt x="116" y="127"/>
                      </a:lnTo>
                      <a:lnTo>
                        <a:pt x="116" y="128"/>
                      </a:lnTo>
                      <a:lnTo>
                        <a:pt x="119" y="130"/>
                      </a:lnTo>
                      <a:lnTo>
                        <a:pt x="127" y="135"/>
                      </a:lnTo>
                      <a:lnTo>
                        <a:pt x="143" y="142"/>
                      </a:lnTo>
                      <a:lnTo>
                        <a:pt x="146" y="145"/>
                      </a:lnTo>
                      <a:lnTo>
                        <a:pt x="147" y="146"/>
                      </a:lnTo>
                      <a:lnTo>
                        <a:pt x="148" y="151"/>
                      </a:lnTo>
                      <a:lnTo>
                        <a:pt x="147" y="161"/>
                      </a:lnTo>
                      <a:lnTo>
                        <a:pt x="148" y="162"/>
                      </a:lnTo>
                      <a:lnTo>
                        <a:pt x="151" y="164"/>
                      </a:lnTo>
                      <a:lnTo>
                        <a:pt x="160" y="165"/>
                      </a:lnTo>
                      <a:lnTo>
                        <a:pt x="170" y="165"/>
                      </a:lnTo>
                      <a:lnTo>
                        <a:pt x="174" y="166"/>
                      </a:lnTo>
                      <a:lnTo>
                        <a:pt x="176" y="167"/>
                      </a:lnTo>
                      <a:lnTo>
                        <a:pt x="177" y="167"/>
                      </a:lnTo>
                      <a:lnTo>
                        <a:pt x="179" y="165"/>
                      </a:lnTo>
                      <a:lnTo>
                        <a:pt x="182" y="161"/>
                      </a:lnTo>
                      <a:lnTo>
                        <a:pt x="188" y="155"/>
                      </a:lnTo>
                      <a:lnTo>
                        <a:pt x="191" y="154"/>
                      </a:lnTo>
                      <a:lnTo>
                        <a:pt x="194" y="153"/>
                      </a:lnTo>
                      <a:lnTo>
                        <a:pt x="196" y="152"/>
                      </a:lnTo>
                      <a:lnTo>
                        <a:pt x="199" y="148"/>
                      </a:lnTo>
                      <a:lnTo>
                        <a:pt x="204" y="141"/>
                      </a:lnTo>
                      <a:lnTo>
                        <a:pt x="210" y="134"/>
                      </a:lnTo>
                      <a:lnTo>
                        <a:pt x="214" y="130"/>
                      </a:lnTo>
                      <a:lnTo>
                        <a:pt x="218" y="129"/>
                      </a:lnTo>
                      <a:lnTo>
                        <a:pt x="223" y="127"/>
                      </a:lnTo>
                      <a:lnTo>
                        <a:pt x="226" y="126"/>
                      </a:lnTo>
                      <a:lnTo>
                        <a:pt x="228" y="126"/>
                      </a:lnTo>
                      <a:lnTo>
                        <a:pt x="233" y="127"/>
                      </a:lnTo>
                      <a:lnTo>
                        <a:pt x="237" y="127"/>
                      </a:lnTo>
                      <a:lnTo>
                        <a:pt x="238" y="127"/>
                      </a:lnTo>
                      <a:lnTo>
                        <a:pt x="238" y="126"/>
                      </a:lnTo>
                      <a:lnTo>
                        <a:pt x="237" y="122"/>
                      </a:lnTo>
                      <a:lnTo>
                        <a:pt x="237" y="117"/>
                      </a:lnTo>
                      <a:lnTo>
                        <a:pt x="237" y="113"/>
                      </a:lnTo>
                      <a:lnTo>
                        <a:pt x="236" y="110"/>
                      </a:lnTo>
                      <a:lnTo>
                        <a:pt x="232" y="109"/>
                      </a:lnTo>
                      <a:lnTo>
                        <a:pt x="226" y="109"/>
                      </a:lnTo>
                      <a:lnTo>
                        <a:pt x="219" y="107"/>
                      </a:lnTo>
                      <a:lnTo>
                        <a:pt x="212" y="103"/>
                      </a:lnTo>
                      <a:lnTo>
                        <a:pt x="194" y="89"/>
                      </a:lnTo>
                      <a:lnTo>
                        <a:pt x="177" y="73"/>
                      </a:lnTo>
                      <a:lnTo>
                        <a:pt x="167" y="63"/>
                      </a:lnTo>
                      <a:lnTo>
                        <a:pt x="158" y="51"/>
                      </a:lnTo>
                      <a:lnTo>
                        <a:pt x="155" y="44"/>
                      </a:lnTo>
                      <a:lnTo>
                        <a:pt x="152" y="38"/>
                      </a:lnTo>
                      <a:lnTo>
                        <a:pt x="151" y="36"/>
                      </a:lnTo>
                      <a:lnTo>
                        <a:pt x="148" y="34"/>
                      </a:lnTo>
                      <a:lnTo>
                        <a:pt x="142" y="32"/>
                      </a:lnTo>
                      <a:lnTo>
                        <a:pt x="133" y="32"/>
                      </a:lnTo>
                      <a:lnTo>
                        <a:pt x="125" y="32"/>
                      </a:lnTo>
                      <a:lnTo>
                        <a:pt x="123" y="31"/>
                      </a:lnTo>
                      <a:lnTo>
                        <a:pt x="122" y="30"/>
                      </a:lnTo>
                      <a:lnTo>
                        <a:pt x="120" y="24"/>
                      </a:lnTo>
                      <a:lnTo>
                        <a:pt x="119" y="18"/>
                      </a:lnTo>
                      <a:lnTo>
                        <a:pt x="118" y="14"/>
                      </a:lnTo>
                      <a:lnTo>
                        <a:pt x="116" y="11"/>
                      </a:lnTo>
                      <a:lnTo>
                        <a:pt x="113" y="6"/>
                      </a:lnTo>
                      <a:lnTo>
                        <a:pt x="106" y="1"/>
                      </a:lnTo>
                      <a:lnTo>
                        <a:pt x="102" y="0"/>
                      </a:lnTo>
                      <a:lnTo>
                        <a:pt x="99" y="0"/>
                      </a:lnTo>
                      <a:lnTo>
                        <a:pt x="95" y="0"/>
                      </a:lnTo>
                      <a:lnTo>
                        <a:pt x="90" y="1"/>
                      </a:lnTo>
                      <a:lnTo>
                        <a:pt x="85" y="4"/>
                      </a:lnTo>
                      <a:lnTo>
                        <a:pt x="82" y="7"/>
                      </a:lnTo>
                      <a:lnTo>
                        <a:pt x="78" y="12"/>
                      </a:lnTo>
                      <a:lnTo>
                        <a:pt x="77" y="15"/>
                      </a:lnTo>
                      <a:lnTo>
                        <a:pt x="75" y="24"/>
                      </a:lnTo>
                      <a:lnTo>
                        <a:pt x="73" y="30"/>
                      </a:lnTo>
                      <a:lnTo>
                        <a:pt x="72" y="31"/>
                      </a:lnTo>
                      <a:lnTo>
                        <a:pt x="69" y="32"/>
                      </a:lnTo>
                      <a:lnTo>
                        <a:pt x="64" y="32"/>
                      </a:lnTo>
                      <a:lnTo>
                        <a:pt x="58" y="30"/>
                      </a:lnTo>
                      <a:lnTo>
                        <a:pt x="44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2" name="Freeform 1311">
                  <a:extLst>
                    <a:ext uri="{FF2B5EF4-FFF2-40B4-BE49-F238E27FC236}">
                      <a16:creationId xmlns:a16="http://schemas.microsoft.com/office/drawing/2014/main" id="{0BAE5D39-2844-244E-9E8D-539EA2E5C1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65733" y="3305716"/>
                  <a:ext cx="325572" cy="247139"/>
                </a:xfrm>
                <a:custGeom>
                  <a:avLst/>
                  <a:gdLst>
                    <a:gd name="T0" fmla="*/ 2147483647 w 239"/>
                    <a:gd name="T1" fmla="*/ 2147483647 h 167"/>
                    <a:gd name="T2" fmla="*/ 2147483647 w 239"/>
                    <a:gd name="T3" fmla="*/ 2147483647 h 167"/>
                    <a:gd name="T4" fmla="*/ 2147483647 w 239"/>
                    <a:gd name="T5" fmla="*/ 2147483647 h 167"/>
                    <a:gd name="T6" fmla="*/ 2147483647 w 239"/>
                    <a:gd name="T7" fmla="*/ 2147483647 h 167"/>
                    <a:gd name="T8" fmla="*/ 2147483647 w 239"/>
                    <a:gd name="T9" fmla="*/ 2147483647 h 167"/>
                    <a:gd name="T10" fmla="*/ 0 w 239"/>
                    <a:gd name="T11" fmla="*/ 2147483647 h 167"/>
                    <a:gd name="T12" fmla="*/ 2147483647 w 239"/>
                    <a:gd name="T13" fmla="*/ 2147483647 h 167"/>
                    <a:gd name="T14" fmla="*/ 2147483647 w 239"/>
                    <a:gd name="T15" fmla="*/ 2147483647 h 167"/>
                    <a:gd name="T16" fmla="*/ 2147483647 w 239"/>
                    <a:gd name="T17" fmla="*/ 2147483647 h 167"/>
                    <a:gd name="T18" fmla="*/ 2147483647 w 239"/>
                    <a:gd name="T19" fmla="*/ 2147483647 h 167"/>
                    <a:gd name="T20" fmla="*/ 2147483647 w 239"/>
                    <a:gd name="T21" fmla="*/ 2147483647 h 167"/>
                    <a:gd name="T22" fmla="*/ 2147483647 w 239"/>
                    <a:gd name="T23" fmla="*/ 2147483647 h 167"/>
                    <a:gd name="T24" fmla="*/ 2147483647 w 239"/>
                    <a:gd name="T25" fmla="*/ 2147483647 h 167"/>
                    <a:gd name="T26" fmla="*/ 2147483647 w 239"/>
                    <a:gd name="T27" fmla="*/ 2147483647 h 167"/>
                    <a:gd name="T28" fmla="*/ 2147483647 w 239"/>
                    <a:gd name="T29" fmla="*/ 2147483647 h 167"/>
                    <a:gd name="T30" fmla="*/ 2147483647 w 239"/>
                    <a:gd name="T31" fmla="*/ 2147483647 h 167"/>
                    <a:gd name="T32" fmla="*/ 2147483647 w 239"/>
                    <a:gd name="T33" fmla="*/ 2147483647 h 167"/>
                    <a:gd name="T34" fmla="*/ 2147483647 w 239"/>
                    <a:gd name="T35" fmla="*/ 2147483647 h 167"/>
                    <a:gd name="T36" fmla="*/ 2147483647 w 239"/>
                    <a:gd name="T37" fmla="*/ 2147483647 h 167"/>
                    <a:gd name="T38" fmla="*/ 2147483647 w 239"/>
                    <a:gd name="T39" fmla="*/ 2147483647 h 167"/>
                    <a:gd name="T40" fmla="*/ 2147483647 w 239"/>
                    <a:gd name="T41" fmla="*/ 2147483647 h 167"/>
                    <a:gd name="T42" fmla="*/ 2147483647 w 239"/>
                    <a:gd name="T43" fmla="*/ 2147483647 h 167"/>
                    <a:gd name="T44" fmla="*/ 2147483647 w 239"/>
                    <a:gd name="T45" fmla="*/ 2147483647 h 167"/>
                    <a:gd name="T46" fmla="*/ 2147483647 w 239"/>
                    <a:gd name="T47" fmla="*/ 2147483647 h 167"/>
                    <a:gd name="T48" fmla="*/ 2147483647 w 239"/>
                    <a:gd name="T49" fmla="*/ 2147483647 h 167"/>
                    <a:gd name="T50" fmla="*/ 2147483647 w 239"/>
                    <a:gd name="T51" fmla="*/ 2147483647 h 167"/>
                    <a:gd name="T52" fmla="*/ 2147483647 w 239"/>
                    <a:gd name="T53" fmla="*/ 2147483647 h 167"/>
                    <a:gd name="T54" fmla="*/ 2147483647 w 239"/>
                    <a:gd name="T55" fmla="*/ 2147483647 h 167"/>
                    <a:gd name="T56" fmla="*/ 2147483647 w 239"/>
                    <a:gd name="T57" fmla="*/ 2147483647 h 167"/>
                    <a:gd name="T58" fmla="*/ 2147483647 w 239"/>
                    <a:gd name="T59" fmla="*/ 2147483647 h 167"/>
                    <a:gd name="T60" fmla="*/ 2147483647 w 239"/>
                    <a:gd name="T61" fmla="*/ 2147483647 h 167"/>
                    <a:gd name="T62" fmla="*/ 2147483647 w 239"/>
                    <a:gd name="T63" fmla="*/ 2147483647 h 167"/>
                    <a:gd name="T64" fmla="*/ 2147483647 w 239"/>
                    <a:gd name="T65" fmla="*/ 2147483647 h 167"/>
                    <a:gd name="T66" fmla="*/ 2147483647 w 239"/>
                    <a:gd name="T67" fmla="*/ 2147483647 h 167"/>
                    <a:gd name="T68" fmla="*/ 2147483647 w 239"/>
                    <a:gd name="T69" fmla="*/ 2147483647 h 167"/>
                    <a:gd name="T70" fmla="*/ 2147483647 w 239"/>
                    <a:gd name="T71" fmla="*/ 2147483647 h 167"/>
                    <a:gd name="T72" fmla="*/ 2147483647 w 239"/>
                    <a:gd name="T73" fmla="*/ 2147483647 h 167"/>
                    <a:gd name="T74" fmla="*/ 2147483647 w 239"/>
                    <a:gd name="T75" fmla="*/ 2147483647 h 167"/>
                    <a:gd name="T76" fmla="*/ 2147483647 w 239"/>
                    <a:gd name="T77" fmla="*/ 2147483647 h 167"/>
                    <a:gd name="T78" fmla="*/ 2147483647 w 239"/>
                    <a:gd name="T79" fmla="*/ 2147483647 h 167"/>
                    <a:gd name="T80" fmla="*/ 2147483647 w 239"/>
                    <a:gd name="T81" fmla="*/ 2147483647 h 167"/>
                    <a:gd name="T82" fmla="*/ 2147483647 w 239"/>
                    <a:gd name="T83" fmla="*/ 2147483647 h 167"/>
                    <a:gd name="T84" fmla="*/ 2147483647 w 239"/>
                    <a:gd name="T85" fmla="*/ 2147483647 h 167"/>
                    <a:gd name="T86" fmla="*/ 2147483647 w 239"/>
                    <a:gd name="T87" fmla="*/ 2147483647 h 167"/>
                    <a:gd name="T88" fmla="*/ 2147483647 w 239"/>
                    <a:gd name="T89" fmla="*/ 2147483647 h 167"/>
                    <a:gd name="T90" fmla="*/ 2147483647 w 239"/>
                    <a:gd name="T91" fmla="*/ 2147483647 h 167"/>
                    <a:gd name="T92" fmla="*/ 2147483647 w 239"/>
                    <a:gd name="T93" fmla="*/ 2147483647 h 167"/>
                    <a:gd name="T94" fmla="*/ 2147483647 w 239"/>
                    <a:gd name="T95" fmla="*/ 2147483647 h 167"/>
                    <a:gd name="T96" fmla="*/ 2147483647 w 239"/>
                    <a:gd name="T97" fmla="*/ 2147483647 h 167"/>
                    <a:gd name="T98" fmla="*/ 2147483647 w 239"/>
                    <a:gd name="T99" fmla="*/ 2147483647 h 167"/>
                    <a:gd name="T100" fmla="*/ 2147483647 w 239"/>
                    <a:gd name="T101" fmla="*/ 2147483647 h 167"/>
                    <a:gd name="T102" fmla="*/ 2147483647 w 239"/>
                    <a:gd name="T103" fmla="*/ 0 h 167"/>
                    <a:gd name="T104" fmla="*/ 2147483647 w 239"/>
                    <a:gd name="T105" fmla="*/ 2147483647 h 167"/>
                    <a:gd name="T106" fmla="*/ 2147483647 w 239"/>
                    <a:gd name="T107" fmla="*/ 2147483647 h 167"/>
                    <a:gd name="T108" fmla="*/ 2147483647 w 239"/>
                    <a:gd name="T109" fmla="*/ 2147483647 h 167"/>
                    <a:gd name="T110" fmla="*/ 2147483647 w 239"/>
                    <a:gd name="T111" fmla="*/ 2147483647 h 167"/>
                    <a:gd name="T112" fmla="*/ 2147483647 w 239"/>
                    <a:gd name="T113" fmla="*/ 2147483647 h 16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39"/>
                    <a:gd name="T172" fmla="*/ 0 h 167"/>
                    <a:gd name="T173" fmla="*/ 239 w 239"/>
                    <a:gd name="T174" fmla="*/ 167 h 16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39" h="167">
                      <a:moveTo>
                        <a:pt x="45" y="32"/>
                      </a:moveTo>
                      <a:lnTo>
                        <a:pt x="45" y="32"/>
                      </a:lnTo>
                      <a:lnTo>
                        <a:pt x="42" y="29"/>
                      </a:lnTo>
                      <a:lnTo>
                        <a:pt x="40" y="26"/>
                      </a:lnTo>
                      <a:lnTo>
                        <a:pt x="33" y="15"/>
                      </a:lnTo>
                      <a:lnTo>
                        <a:pt x="26" y="6"/>
                      </a:lnTo>
                      <a:lnTo>
                        <a:pt x="23" y="2"/>
                      </a:lnTo>
                      <a:lnTo>
                        <a:pt x="19" y="1"/>
                      </a:lnTo>
                      <a:lnTo>
                        <a:pt x="14" y="2"/>
                      </a:lnTo>
                      <a:lnTo>
                        <a:pt x="9" y="6"/>
                      </a:lnTo>
                      <a:lnTo>
                        <a:pt x="7" y="10"/>
                      </a:lnTo>
                      <a:lnTo>
                        <a:pt x="3" y="15"/>
                      </a:lnTo>
                      <a:lnTo>
                        <a:pt x="2" y="19"/>
                      </a:lnTo>
                      <a:lnTo>
                        <a:pt x="2" y="23"/>
                      </a:lnTo>
                      <a:lnTo>
                        <a:pt x="0" y="34"/>
                      </a:lnTo>
                      <a:lnTo>
                        <a:pt x="0" y="47"/>
                      </a:lnTo>
                      <a:lnTo>
                        <a:pt x="13" y="28"/>
                      </a:lnTo>
                      <a:lnTo>
                        <a:pt x="14" y="29"/>
                      </a:lnTo>
                      <a:lnTo>
                        <a:pt x="17" y="28"/>
                      </a:lnTo>
                      <a:lnTo>
                        <a:pt x="21" y="25"/>
                      </a:lnTo>
                      <a:lnTo>
                        <a:pt x="22" y="23"/>
                      </a:lnTo>
                      <a:lnTo>
                        <a:pt x="23" y="23"/>
                      </a:lnTo>
                      <a:lnTo>
                        <a:pt x="26" y="27"/>
                      </a:lnTo>
                      <a:lnTo>
                        <a:pt x="30" y="46"/>
                      </a:lnTo>
                      <a:lnTo>
                        <a:pt x="31" y="50"/>
                      </a:lnTo>
                      <a:lnTo>
                        <a:pt x="30" y="52"/>
                      </a:lnTo>
                      <a:lnTo>
                        <a:pt x="26" y="55"/>
                      </a:lnTo>
                      <a:lnTo>
                        <a:pt x="21" y="58"/>
                      </a:lnTo>
                      <a:lnTo>
                        <a:pt x="17" y="58"/>
                      </a:lnTo>
                      <a:lnTo>
                        <a:pt x="14" y="57"/>
                      </a:lnTo>
                      <a:lnTo>
                        <a:pt x="12" y="55"/>
                      </a:lnTo>
                      <a:lnTo>
                        <a:pt x="9" y="55"/>
                      </a:lnTo>
                      <a:lnTo>
                        <a:pt x="7" y="57"/>
                      </a:lnTo>
                      <a:lnTo>
                        <a:pt x="5" y="58"/>
                      </a:lnTo>
                      <a:lnTo>
                        <a:pt x="4" y="63"/>
                      </a:lnTo>
                      <a:lnTo>
                        <a:pt x="4" y="69"/>
                      </a:lnTo>
                      <a:lnTo>
                        <a:pt x="4" y="71"/>
                      </a:lnTo>
                      <a:lnTo>
                        <a:pt x="7" y="72"/>
                      </a:lnTo>
                      <a:lnTo>
                        <a:pt x="13" y="73"/>
                      </a:lnTo>
                      <a:lnTo>
                        <a:pt x="19" y="74"/>
                      </a:lnTo>
                      <a:lnTo>
                        <a:pt x="22" y="76"/>
                      </a:lnTo>
                      <a:lnTo>
                        <a:pt x="23" y="78"/>
                      </a:lnTo>
                      <a:lnTo>
                        <a:pt x="24" y="79"/>
                      </a:lnTo>
                      <a:lnTo>
                        <a:pt x="23" y="79"/>
                      </a:lnTo>
                      <a:lnTo>
                        <a:pt x="19" y="78"/>
                      </a:lnTo>
                      <a:lnTo>
                        <a:pt x="18" y="79"/>
                      </a:lnTo>
                      <a:lnTo>
                        <a:pt x="16" y="80"/>
                      </a:lnTo>
                      <a:lnTo>
                        <a:pt x="14" y="83"/>
                      </a:lnTo>
                      <a:lnTo>
                        <a:pt x="14" y="86"/>
                      </a:lnTo>
                      <a:lnTo>
                        <a:pt x="17" y="93"/>
                      </a:lnTo>
                      <a:lnTo>
                        <a:pt x="19" y="101"/>
                      </a:lnTo>
                      <a:lnTo>
                        <a:pt x="19" y="103"/>
                      </a:lnTo>
                      <a:lnTo>
                        <a:pt x="19" y="106"/>
                      </a:lnTo>
                      <a:lnTo>
                        <a:pt x="18" y="116"/>
                      </a:lnTo>
                      <a:lnTo>
                        <a:pt x="18" y="120"/>
                      </a:lnTo>
                      <a:lnTo>
                        <a:pt x="19" y="123"/>
                      </a:lnTo>
                      <a:lnTo>
                        <a:pt x="22" y="125"/>
                      </a:lnTo>
                      <a:lnTo>
                        <a:pt x="24" y="128"/>
                      </a:lnTo>
                      <a:lnTo>
                        <a:pt x="28" y="128"/>
                      </a:lnTo>
                      <a:lnTo>
                        <a:pt x="32" y="128"/>
                      </a:lnTo>
                      <a:lnTo>
                        <a:pt x="36" y="127"/>
                      </a:lnTo>
                      <a:lnTo>
                        <a:pt x="41" y="124"/>
                      </a:lnTo>
                      <a:lnTo>
                        <a:pt x="52" y="118"/>
                      </a:lnTo>
                      <a:lnTo>
                        <a:pt x="64" y="110"/>
                      </a:lnTo>
                      <a:lnTo>
                        <a:pt x="74" y="115"/>
                      </a:lnTo>
                      <a:lnTo>
                        <a:pt x="84" y="118"/>
                      </a:lnTo>
                      <a:lnTo>
                        <a:pt x="93" y="121"/>
                      </a:lnTo>
                      <a:lnTo>
                        <a:pt x="117" y="127"/>
                      </a:lnTo>
                      <a:lnTo>
                        <a:pt x="117" y="128"/>
                      </a:lnTo>
                      <a:lnTo>
                        <a:pt x="120" y="130"/>
                      </a:lnTo>
                      <a:lnTo>
                        <a:pt x="127" y="135"/>
                      </a:lnTo>
                      <a:lnTo>
                        <a:pt x="144" y="142"/>
                      </a:lnTo>
                      <a:lnTo>
                        <a:pt x="146" y="144"/>
                      </a:lnTo>
                      <a:lnTo>
                        <a:pt x="148" y="146"/>
                      </a:lnTo>
                      <a:lnTo>
                        <a:pt x="149" y="150"/>
                      </a:lnTo>
                      <a:lnTo>
                        <a:pt x="148" y="161"/>
                      </a:lnTo>
                      <a:lnTo>
                        <a:pt x="149" y="162"/>
                      </a:lnTo>
                      <a:lnTo>
                        <a:pt x="151" y="163"/>
                      </a:lnTo>
                      <a:lnTo>
                        <a:pt x="160" y="165"/>
                      </a:lnTo>
                      <a:lnTo>
                        <a:pt x="171" y="165"/>
                      </a:lnTo>
                      <a:lnTo>
                        <a:pt x="174" y="166"/>
                      </a:lnTo>
                      <a:lnTo>
                        <a:pt x="177" y="167"/>
                      </a:lnTo>
                      <a:lnTo>
                        <a:pt x="178" y="167"/>
                      </a:lnTo>
                      <a:lnTo>
                        <a:pt x="179" y="165"/>
                      </a:lnTo>
                      <a:lnTo>
                        <a:pt x="183" y="161"/>
                      </a:lnTo>
                      <a:lnTo>
                        <a:pt x="188" y="155"/>
                      </a:lnTo>
                      <a:lnTo>
                        <a:pt x="192" y="154"/>
                      </a:lnTo>
                      <a:lnTo>
                        <a:pt x="195" y="153"/>
                      </a:lnTo>
                      <a:lnTo>
                        <a:pt x="197" y="152"/>
                      </a:lnTo>
                      <a:lnTo>
                        <a:pt x="200" y="148"/>
                      </a:lnTo>
                      <a:lnTo>
                        <a:pt x="205" y="141"/>
                      </a:lnTo>
                      <a:lnTo>
                        <a:pt x="211" y="134"/>
                      </a:lnTo>
                      <a:lnTo>
                        <a:pt x="215" y="130"/>
                      </a:lnTo>
                      <a:lnTo>
                        <a:pt x="219" y="129"/>
                      </a:lnTo>
                      <a:lnTo>
                        <a:pt x="224" y="127"/>
                      </a:lnTo>
                      <a:lnTo>
                        <a:pt x="226" y="125"/>
                      </a:lnTo>
                      <a:lnTo>
                        <a:pt x="229" y="125"/>
                      </a:lnTo>
                      <a:lnTo>
                        <a:pt x="234" y="127"/>
                      </a:lnTo>
                      <a:lnTo>
                        <a:pt x="238" y="127"/>
                      </a:lnTo>
                      <a:lnTo>
                        <a:pt x="239" y="127"/>
                      </a:lnTo>
                      <a:lnTo>
                        <a:pt x="239" y="125"/>
                      </a:lnTo>
                      <a:lnTo>
                        <a:pt x="238" y="122"/>
                      </a:lnTo>
                      <a:lnTo>
                        <a:pt x="238" y="117"/>
                      </a:lnTo>
                      <a:lnTo>
                        <a:pt x="238" y="112"/>
                      </a:lnTo>
                      <a:lnTo>
                        <a:pt x="237" y="110"/>
                      </a:lnTo>
                      <a:lnTo>
                        <a:pt x="233" y="109"/>
                      </a:lnTo>
                      <a:lnTo>
                        <a:pt x="226" y="109"/>
                      </a:lnTo>
                      <a:lnTo>
                        <a:pt x="220" y="106"/>
                      </a:lnTo>
                      <a:lnTo>
                        <a:pt x="212" y="103"/>
                      </a:lnTo>
                      <a:lnTo>
                        <a:pt x="195" y="89"/>
                      </a:lnTo>
                      <a:lnTo>
                        <a:pt x="178" y="73"/>
                      </a:lnTo>
                      <a:lnTo>
                        <a:pt x="168" y="63"/>
                      </a:lnTo>
                      <a:lnTo>
                        <a:pt x="159" y="51"/>
                      </a:lnTo>
                      <a:lnTo>
                        <a:pt x="155" y="44"/>
                      </a:lnTo>
                      <a:lnTo>
                        <a:pt x="153" y="38"/>
                      </a:lnTo>
                      <a:lnTo>
                        <a:pt x="151" y="35"/>
                      </a:lnTo>
                      <a:lnTo>
                        <a:pt x="149" y="34"/>
                      </a:lnTo>
                      <a:lnTo>
                        <a:pt x="143" y="32"/>
                      </a:lnTo>
                      <a:lnTo>
                        <a:pt x="134" y="32"/>
                      </a:lnTo>
                      <a:lnTo>
                        <a:pt x="126" y="32"/>
                      </a:lnTo>
                      <a:lnTo>
                        <a:pt x="124" y="31"/>
                      </a:lnTo>
                      <a:lnTo>
                        <a:pt x="122" y="29"/>
                      </a:lnTo>
                      <a:lnTo>
                        <a:pt x="121" y="23"/>
                      </a:lnTo>
                      <a:lnTo>
                        <a:pt x="120" y="18"/>
                      </a:lnTo>
                      <a:lnTo>
                        <a:pt x="118" y="14"/>
                      </a:lnTo>
                      <a:lnTo>
                        <a:pt x="117" y="10"/>
                      </a:lnTo>
                      <a:lnTo>
                        <a:pt x="113" y="6"/>
                      </a:lnTo>
                      <a:lnTo>
                        <a:pt x="107" y="1"/>
                      </a:lnTo>
                      <a:lnTo>
                        <a:pt x="103" y="0"/>
                      </a:lnTo>
                      <a:lnTo>
                        <a:pt x="99" y="0"/>
                      </a:lnTo>
                      <a:lnTo>
                        <a:pt x="96" y="0"/>
                      </a:lnTo>
                      <a:lnTo>
                        <a:pt x="91" y="1"/>
                      </a:lnTo>
                      <a:lnTo>
                        <a:pt x="85" y="3"/>
                      </a:lnTo>
                      <a:lnTo>
                        <a:pt x="83" y="7"/>
                      </a:lnTo>
                      <a:lnTo>
                        <a:pt x="79" y="12"/>
                      </a:lnTo>
                      <a:lnTo>
                        <a:pt x="78" y="15"/>
                      </a:lnTo>
                      <a:lnTo>
                        <a:pt x="75" y="23"/>
                      </a:lnTo>
                      <a:lnTo>
                        <a:pt x="74" y="29"/>
                      </a:lnTo>
                      <a:lnTo>
                        <a:pt x="73" y="31"/>
                      </a:lnTo>
                      <a:lnTo>
                        <a:pt x="70" y="32"/>
                      </a:lnTo>
                      <a:lnTo>
                        <a:pt x="65" y="32"/>
                      </a:lnTo>
                      <a:lnTo>
                        <a:pt x="59" y="29"/>
                      </a:lnTo>
                      <a:lnTo>
                        <a:pt x="45" y="3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3" name="Freeform 1312">
                  <a:extLst>
                    <a:ext uri="{FF2B5EF4-FFF2-40B4-BE49-F238E27FC236}">
                      <a16:creationId xmlns:a16="http://schemas.microsoft.com/office/drawing/2014/main" id="{DAEB6774-D2C9-7245-BE21-1FFE48BB98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1934" y="3202124"/>
                  <a:ext cx="71034" cy="23678"/>
                </a:xfrm>
                <a:custGeom>
                  <a:avLst/>
                  <a:gdLst>
                    <a:gd name="T0" fmla="*/ 0 w 52"/>
                    <a:gd name="T1" fmla="*/ 2147483647 h 16"/>
                    <a:gd name="T2" fmla="*/ 0 w 52"/>
                    <a:gd name="T3" fmla="*/ 2147483647 h 16"/>
                    <a:gd name="T4" fmla="*/ 2147483647 w 52"/>
                    <a:gd name="T5" fmla="*/ 2147483647 h 16"/>
                    <a:gd name="T6" fmla="*/ 2147483647 w 52"/>
                    <a:gd name="T7" fmla="*/ 2147483647 h 16"/>
                    <a:gd name="T8" fmla="*/ 2147483647 w 52"/>
                    <a:gd name="T9" fmla="*/ 2147483647 h 16"/>
                    <a:gd name="T10" fmla="*/ 2147483647 w 52"/>
                    <a:gd name="T11" fmla="*/ 2147483647 h 16"/>
                    <a:gd name="T12" fmla="*/ 2147483647 w 52"/>
                    <a:gd name="T13" fmla="*/ 2147483647 h 16"/>
                    <a:gd name="T14" fmla="*/ 2147483647 w 52"/>
                    <a:gd name="T15" fmla="*/ 2147483647 h 16"/>
                    <a:gd name="T16" fmla="*/ 2147483647 w 52"/>
                    <a:gd name="T17" fmla="*/ 2147483647 h 16"/>
                    <a:gd name="T18" fmla="*/ 2147483647 w 52"/>
                    <a:gd name="T19" fmla="*/ 2147483647 h 16"/>
                    <a:gd name="T20" fmla="*/ 2147483647 w 52"/>
                    <a:gd name="T21" fmla="*/ 2147483647 h 16"/>
                    <a:gd name="T22" fmla="*/ 2147483647 w 52"/>
                    <a:gd name="T23" fmla="*/ 2147483647 h 16"/>
                    <a:gd name="T24" fmla="*/ 2147483647 w 52"/>
                    <a:gd name="T25" fmla="*/ 2147483647 h 16"/>
                    <a:gd name="T26" fmla="*/ 2147483647 w 52"/>
                    <a:gd name="T27" fmla="*/ 2147483647 h 16"/>
                    <a:gd name="T28" fmla="*/ 2147483647 w 52"/>
                    <a:gd name="T29" fmla="*/ 2147483647 h 16"/>
                    <a:gd name="T30" fmla="*/ 2147483647 w 52"/>
                    <a:gd name="T31" fmla="*/ 2147483647 h 16"/>
                    <a:gd name="T32" fmla="*/ 2147483647 w 52"/>
                    <a:gd name="T33" fmla="*/ 2147483647 h 16"/>
                    <a:gd name="T34" fmla="*/ 2147483647 w 52"/>
                    <a:gd name="T35" fmla="*/ 0 h 16"/>
                    <a:gd name="T36" fmla="*/ 2147483647 w 52"/>
                    <a:gd name="T37" fmla="*/ 2147483647 h 1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2"/>
                    <a:gd name="T58" fmla="*/ 0 h 16"/>
                    <a:gd name="T59" fmla="*/ 52 w 52"/>
                    <a:gd name="T60" fmla="*/ 16 h 1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2" h="16">
                      <a:moveTo>
                        <a:pt x="0" y="15"/>
                      </a:moveTo>
                      <a:lnTo>
                        <a:pt x="0" y="15"/>
                      </a:lnTo>
                      <a:lnTo>
                        <a:pt x="7" y="16"/>
                      </a:lnTo>
                      <a:lnTo>
                        <a:pt x="14" y="16"/>
                      </a:lnTo>
                      <a:lnTo>
                        <a:pt x="21" y="16"/>
                      </a:lnTo>
                      <a:lnTo>
                        <a:pt x="27" y="14"/>
                      </a:lnTo>
                      <a:lnTo>
                        <a:pt x="32" y="12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1" y="9"/>
                      </a:lnTo>
                      <a:lnTo>
                        <a:pt x="43" y="8"/>
                      </a:lnTo>
                      <a:lnTo>
                        <a:pt x="46" y="6"/>
                      </a:lnTo>
                      <a:lnTo>
                        <a:pt x="48" y="2"/>
                      </a:lnTo>
                      <a:lnTo>
                        <a:pt x="50" y="1"/>
                      </a:lnTo>
                      <a:lnTo>
                        <a:pt x="51" y="0"/>
                      </a:lnTo>
                      <a:lnTo>
                        <a:pt x="52" y="1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4" name="Freeform 1313">
                  <a:extLst>
                    <a:ext uri="{FF2B5EF4-FFF2-40B4-BE49-F238E27FC236}">
                      <a16:creationId xmlns:a16="http://schemas.microsoft.com/office/drawing/2014/main" id="{69A42BEE-A246-7747-9586-509825507B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6689" y="3259840"/>
                  <a:ext cx="56235" cy="72514"/>
                </a:xfrm>
                <a:custGeom>
                  <a:avLst/>
                  <a:gdLst>
                    <a:gd name="T0" fmla="*/ 2147483647 w 41"/>
                    <a:gd name="T1" fmla="*/ 2147483647 h 49"/>
                    <a:gd name="T2" fmla="*/ 2147483647 w 41"/>
                    <a:gd name="T3" fmla="*/ 2147483647 h 49"/>
                    <a:gd name="T4" fmla="*/ 2147483647 w 41"/>
                    <a:gd name="T5" fmla="*/ 2147483647 h 49"/>
                    <a:gd name="T6" fmla="*/ 2147483647 w 41"/>
                    <a:gd name="T7" fmla="*/ 2147483647 h 49"/>
                    <a:gd name="T8" fmla="*/ 2147483647 w 41"/>
                    <a:gd name="T9" fmla="*/ 2147483647 h 49"/>
                    <a:gd name="T10" fmla="*/ 2147483647 w 41"/>
                    <a:gd name="T11" fmla="*/ 2147483647 h 49"/>
                    <a:gd name="T12" fmla="*/ 2147483647 w 41"/>
                    <a:gd name="T13" fmla="*/ 2147483647 h 49"/>
                    <a:gd name="T14" fmla="*/ 2147483647 w 41"/>
                    <a:gd name="T15" fmla="*/ 2147483647 h 49"/>
                    <a:gd name="T16" fmla="*/ 2147483647 w 41"/>
                    <a:gd name="T17" fmla="*/ 2147483647 h 49"/>
                    <a:gd name="T18" fmla="*/ 2147483647 w 41"/>
                    <a:gd name="T19" fmla="*/ 2147483647 h 49"/>
                    <a:gd name="T20" fmla="*/ 2147483647 w 41"/>
                    <a:gd name="T21" fmla="*/ 0 h 49"/>
                    <a:gd name="T22" fmla="*/ 2147483647 w 41"/>
                    <a:gd name="T23" fmla="*/ 0 h 49"/>
                    <a:gd name="T24" fmla="*/ 2147483647 w 41"/>
                    <a:gd name="T25" fmla="*/ 0 h 49"/>
                    <a:gd name="T26" fmla="*/ 2147483647 w 41"/>
                    <a:gd name="T27" fmla="*/ 0 h 49"/>
                    <a:gd name="T28" fmla="*/ 2147483647 w 41"/>
                    <a:gd name="T29" fmla="*/ 2147483647 h 49"/>
                    <a:gd name="T30" fmla="*/ 2147483647 w 41"/>
                    <a:gd name="T31" fmla="*/ 2147483647 h 49"/>
                    <a:gd name="T32" fmla="*/ 2147483647 w 41"/>
                    <a:gd name="T33" fmla="*/ 2147483647 h 49"/>
                    <a:gd name="T34" fmla="*/ 2147483647 w 41"/>
                    <a:gd name="T35" fmla="*/ 2147483647 h 49"/>
                    <a:gd name="T36" fmla="*/ 2147483647 w 41"/>
                    <a:gd name="T37" fmla="*/ 2147483647 h 49"/>
                    <a:gd name="T38" fmla="*/ 2147483647 w 41"/>
                    <a:gd name="T39" fmla="*/ 2147483647 h 49"/>
                    <a:gd name="T40" fmla="*/ 0 w 41"/>
                    <a:gd name="T41" fmla="*/ 2147483647 h 49"/>
                    <a:gd name="T42" fmla="*/ 2147483647 w 41"/>
                    <a:gd name="T43" fmla="*/ 2147483647 h 49"/>
                    <a:gd name="T44" fmla="*/ 2147483647 w 41"/>
                    <a:gd name="T45" fmla="*/ 2147483647 h 49"/>
                    <a:gd name="T46" fmla="*/ 2147483647 w 41"/>
                    <a:gd name="T47" fmla="*/ 2147483647 h 49"/>
                    <a:gd name="T48" fmla="*/ 2147483647 w 41"/>
                    <a:gd name="T49" fmla="*/ 2147483647 h 49"/>
                    <a:gd name="T50" fmla="*/ 2147483647 w 41"/>
                    <a:gd name="T51" fmla="*/ 2147483647 h 49"/>
                    <a:gd name="T52" fmla="*/ 2147483647 w 41"/>
                    <a:gd name="T53" fmla="*/ 2147483647 h 49"/>
                    <a:gd name="T54" fmla="*/ 2147483647 w 41"/>
                    <a:gd name="T55" fmla="*/ 2147483647 h 49"/>
                    <a:gd name="T56" fmla="*/ 2147483647 w 41"/>
                    <a:gd name="T57" fmla="*/ 2147483647 h 49"/>
                    <a:gd name="T58" fmla="*/ 2147483647 w 41"/>
                    <a:gd name="T59" fmla="*/ 2147483647 h 49"/>
                    <a:gd name="T60" fmla="*/ 2147483647 w 41"/>
                    <a:gd name="T61" fmla="*/ 2147483647 h 4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41"/>
                    <a:gd name="T94" fmla="*/ 0 h 49"/>
                    <a:gd name="T95" fmla="*/ 41 w 41"/>
                    <a:gd name="T96" fmla="*/ 49 h 4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41" h="49">
                      <a:moveTo>
                        <a:pt x="41" y="8"/>
                      </a:moveTo>
                      <a:lnTo>
                        <a:pt x="41" y="8"/>
                      </a:lnTo>
                      <a:lnTo>
                        <a:pt x="39" y="8"/>
                      </a:lnTo>
                      <a:lnTo>
                        <a:pt x="31" y="7"/>
                      </a:lnTo>
                      <a:lnTo>
                        <a:pt x="29" y="6"/>
                      </a:lnTo>
                      <a:lnTo>
                        <a:pt x="26" y="5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6" y="2"/>
                      </a:lnTo>
                      <a:lnTo>
                        <a:pt x="3" y="2"/>
                      </a:lnTo>
                      <a:lnTo>
                        <a:pt x="1" y="4"/>
                      </a:ln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7" y="13"/>
                      </a:lnTo>
                      <a:lnTo>
                        <a:pt x="14" y="18"/>
                      </a:lnTo>
                      <a:lnTo>
                        <a:pt x="17" y="21"/>
                      </a:lnTo>
                      <a:lnTo>
                        <a:pt x="24" y="27"/>
                      </a:lnTo>
                      <a:lnTo>
                        <a:pt x="31" y="36"/>
                      </a:lnTo>
                      <a:lnTo>
                        <a:pt x="41" y="49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5" name="Freeform 1315">
                  <a:extLst>
                    <a:ext uri="{FF2B5EF4-FFF2-40B4-BE49-F238E27FC236}">
                      <a16:creationId xmlns:a16="http://schemas.microsoft.com/office/drawing/2014/main" id="{46D306A4-3478-6E47-8CEE-A7F7D561B9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7363" y="3314593"/>
                  <a:ext cx="23678" cy="29598"/>
                </a:xfrm>
                <a:custGeom>
                  <a:avLst/>
                  <a:gdLst>
                    <a:gd name="T0" fmla="*/ 2147483647 w 18"/>
                    <a:gd name="T1" fmla="*/ 0 h 20"/>
                    <a:gd name="T2" fmla="*/ 2147483647 w 18"/>
                    <a:gd name="T3" fmla="*/ 2147483647 h 20"/>
                    <a:gd name="T4" fmla="*/ 2147483647 w 18"/>
                    <a:gd name="T5" fmla="*/ 2147483647 h 20"/>
                    <a:gd name="T6" fmla="*/ 2147483647 w 18"/>
                    <a:gd name="T7" fmla="*/ 2147483647 h 20"/>
                    <a:gd name="T8" fmla="*/ 2147483647 w 18"/>
                    <a:gd name="T9" fmla="*/ 2147483647 h 20"/>
                    <a:gd name="T10" fmla="*/ 2147483647 w 18"/>
                    <a:gd name="T11" fmla="*/ 2147483647 h 20"/>
                    <a:gd name="T12" fmla="*/ 0 w 18"/>
                    <a:gd name="T13" fmla="*/ 2147483647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"/>
                    <a:gd name="T22" fmla="*/ 0 h 20"/>
                    <a:gd name="T23" fmla="*/ 18 w 18"/>
                    <a:gd name="T24" fmla="*/ 20 h 2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" h="20">
                      <a:moveTo>
                        <a:pt x="18" y="0"/>
                      </a:moveTo>
                      <a:lnTo>
                        <a:pt x="18" y="4"/>
                      </a:lnTo>
                      <a:lnTo>
                        <a:pt x="10" y="7"/>
                      </a:lnTo>
                      <a:lnTo>
                        <a:pt x="5" y="12"/>
                      </a:lnTo>
                      <a:lnTo>
                        <a:pt x="3" y="15"/>
                      </a:lnTo>
                      <a:lnTo>
                        <a:pt x="0" y="2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6" name="Freeform 1316">
                  <a:extLst>
                    <a:ext uri="{FF2B5EF4-FFF2-40B4-BE49-F238E27FC236}">
                      <a16:creationId xmlns:a16="http://schemas.microsoft.com/office/drawing/2014/main" id="{5206A633-DDD7-AD41-B6FF-E3455EB2EF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0638" y="3319034"/>
                  <a:ext cx="54756" cy="23678"/>
                </a:xfrm>
                <a:custGeom>
                  <a:avLst/>
                  <a:gdLst>
                    <a:gd name="T0" fmla="*/ 0 w 40"/>
                    <a:gd name="T1" fmla="*/ 2147483647 h 16"/>
                    <a:gd name="T2" fmla="*/ 0 w 40"/>
                    <a:gd name="T3" fmla="*/ 2147483647 h 16"/>
                    <a:gd name="T4" fmla="*/ 2147483647 w 40"/>
                    <a:gd name="T5" fmla="*/ 2147483647 h 16"/>
                    <a:gd name="T6" fmla="*/ 2147483647 w 40"/>
                    <a:gd name="T7" fmla="*/ 2147483647 h 16"/>
                    <a:gd name="T8" fmla="*/ 2147483647 w 40"/>
                    <a:gd name="T9" fmla="*/ 2147483647 h 16"/>
                    <a:gd name="T10" fmla="*/ 2147483647 w 40"/>
                    <a:gd name="T11" fmla="*/ 2147483647 h 16"/>
                    <a:gd name="T12" fmla="*/ 2147483647 w 40"/>
                    <a:gd name="T13" fmla="*/ 0 h 16"/>
                    <a:gd name="T14" fmla="*/ 2147483647 w 40"/>
                    <a:gd name="T15" fmla="*/ 2147483647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0"/>
                    <a:gd name="T25" fmla="*/ 0 h 16"/>
                    <a:gd name="T26" fmla="*/ 40 w 40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0" h="16">
                      <a:moveTo>
                        <a:pt x="0" y="16"/>
                      </a:moveTo>
                      <a:lnTo>
                        <a:pt x="0" y="16"/>
                      </a:lnTo>
                      <a:lnTo>
                        <a:pt x="3" y="13"/>
                      </a:lnTo>
                      <a:lnTo>
                        <a:pt x="11" y="6"/>
                      </a:lnTo>
                      <a:lnTo>
                        <a:pt x="16" y="4"/>
                      </a:lnTo>
                      <a:lnTo>
                        <a:pt x="23" y="1"/>
                      </a:lnTo>
                      <a:lnTo>
                        <a:pt x="31" y="0"/>
                      </a:lnTo>
                      <a:lnTo>
                        <a:pt x="40" y="1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7" name="Freeform 1317">
                  <a:extLst>
                    <a:ext uri="{FF2B5EF4-FFF2-40B4-BE49-F238E27FC236}">
                      <a16:creationId xmlns:a16="http://schemas.microsoft.com/office/drawing/2014/main" id="{0B161077-D780-6641-A31A-68DAD5DF5A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4044" y="3219882"/>
                  <a:ext cx="53275" cy="118390"/>
                </a:xfrm>
                <a:custGeom>
                  <a:avLst/>
                  <a:gdLst>
                    <a:gd name="T0" fmla="*/ 2147483647 w 39"/>
                    <a:gd name="T1" fmla="*/ 2147483647 h 80"/>
                    <a:gd name="T2" fmla="*/ 2147483647 w 39"/>
                    <a:gd name="T3" fmla="*/ 2147483647 h 80"/>
                    <a:gd name="T4" fmla="*/ 2147483647 w 39"/>
                    <a:gd name="T5" fmla="*/ 2147483647 h 80"/>
                    <a:gd name="T6" fmla="*/ 2147483647 w 39"/>
                    <a:gd name="T7" fmla="*/ 2147483647 h 80"/>
                    <a:gd name="T8" fmla="*/ 2147483647 w 39"/>
                    <a:gd name="T9" fmla="*/ 2147483647 h 80"/>
                    <a:gd name="T10" fmla="*/ 2147483647 w 39"/>
                    <a:gd name="T11" fmla="*/ 2147483647 h 80"/>
                    <a:gd name="T12" fmla="*/ 2147483647 w 39"/>
                    <a:gd name="T13" fmla="*/ 2147483647 h 80"/>
                    <a:gd name="T14" fmla="*/ 2147483647 w 39"/>
                    <a:gd name="T15" fmla="*/ 2147483647 h 80"/>
                    <a:gd name="T16" fmla="*/ 2147483647 w 39"/>
                    <a:gd name="T17" fmla="*/ 2147483647 h 80"/>
                    <a:gd name="T18" fmla="*/ 2147483647 w 39"/>
                    <a:gd name="T19" fmla="*/ 2147483647 h 80"/>
                    <a:gd name="T20" fmla="*/ 2147483647 w 39"/>
                    <a:gd name="T21" fmla="*/ 2147483647 h 80"/>
                    <a:gd name="T22" fmla="*/ 2147483647 w 39"/>
                    <a:gd name="T23" fmla="*/ 2147483647 h 80"/>
                    <a:gd name="T24" fmla="*/ 2147483647 w 39"/>
                    <a:gd name="T25" fmla="*/ 2147483647 h 80"/>
                    <a:gd name="T26" fmla="*/ 2147483647 w 39"/>
                    <a:gd name="T27" fmla="*/ 2147483647 h 80"/>
                    <a:gd name="T28" fmla="*/ 2147483647 w 39"/>
                    <a:gd name="T29" fmla="*/ 2147483647 h 80"/>
                    <a:gd name="T30" fmla="*/ 2147483647 w 39"/>
                    <a:gd name="T31" fmla="*/ 2147483647 h 80"/>
                    <a:gd name="T32" fmla="*/ 2147483647 w 39"/>
                    <a:gd name="T33" fmla="*/ 2147483647 h 80"/>
                    <a:gd name="T34" fmla="*/ 2147483647 w 39"/>
                    <a:gd name="T35" fmla="*/ 2147483647 h 80"/>
                    <a:gd name="T36" fmla="*/ 2147483647 w 39"/>
                    <a:gd name="T37" fmla="*/ 2147483647 h 80"/>
                    <a:gd name="T38" fmla="*/ 2147483647 w 39"/>
                    <a:gd name="T39" fmla="*/ 2147483647 h 80"/>
                    <a:gd name="T40" fmla="*/ 2147483647 w 39"/>
                    <a:gd name="T41" fmla="*/ 2147483647 h 80"/>
                    <a:gd name="T42" fmla="*/ 2147483647 w 39"/>
                    <a:gd name="T43" fmla="*/ 2147483647 h 80"/>
                    <a:gd name="T44" fmla="*/ 2147483647 w 39"/>
                    <a:gd name="T45" fmla="*/ 2147483647 h 80"/>
                    <a:gd name="T46" fmla="*/ 2147483647 w 39"/>
                    <a:gd name="T47" fmla="*/ 2147483647 h 80"/>
                    <a:gd name="T48" fmla="*/ 2147483647 w 39"/>
                    <a:gd name="T49" fmla="*/ 2147483647 h 80"/>
                    <a:gd name="T50" fmla="*/ 2147483647 w 39"/>
                    <a:gd name="T51" fmla="*/ 2147483647 h 80"/>
                    <a:gd name="T52" fmla="*/ 2147483647 w 39"/>
                    <a:gd name="T53" fmla="*/ 2147483647 h 80"/>
                    <a:gd name="T54" fmla="*/ 2147483647 w 39"/>
                    <a:gd name="T55" fmla="*/ 2147483647 h 80"/>
                    <a:gd name="T56" fmla="*/ 2147483647 w 39"/>
                    <a:gd name="T57" fmla="*/ 2147483647 h 80"/>
                    <a:gd name="T58" fmla="*/ 2147483647 w 39"/>
                    <a:gd name="T59" fmla="*/ 2147483647 h 80"/>
                    <a:gd name="T60" fmla="*/ 2147483647 w 39"/>
                    <a:gd name="T61" fmla="*/ 2147483647 h 80"/>
                    <a:gd name="T62" fmla="*/ 2147483647 w 39"/>
                    <a:gd name="T63" fmla="*/ 2147483647 h 80"/>
                    <a:gd name="T64" fmla="*/ 2147483647 w 39"/>
                    <a:gd name="T65" fmla="*/ 2147483647 h 80"/>
                    <a:gd name="T66" fmla="*/ 2147483647 w 39"/>
                    <a:gd name="T67" fmla="*/ 2147483647 h 80"/>
                    <a:gd name="T68" fmla="*/ 2147483647 w 39"/>
                    <a:gd name="T69" fmla="*/ 2147483647 h 80"/>
                    <a:gd name="T70" fmla="*/ 2147483647 w 39"/>
                    <a:gd name="T71" fmla="*/ 2147483647 h 80"/>
                    <a:gd name="T72" fmla="*/ 2147483647 w 39"/>
                    <a:gd name="T73" fmla="*/ 2147483647 h 80"/>
                    <a:gd name="T74" fmla="*/ 0 w 39"/>
                    <a:gd name="T75" fmla="*/ 0 h 8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9"/>
                    <a:gd name="T115" fmla="*/ 0 h 80"/>
                    <a:gd name="T116" fmla="*/ 39 w 39"/>
                    <a:gd name="T117" fmla="*/ 80 h 8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9" h="80">
                      <a:moveTo>
                        <a:pt x="39" y="80"/>
                      </a:moveTo>
                      <a:lnTo>
                        <a:pt x="39" y="80"/>
                      </a:lnTo>
                      <a:lnTo>
                        <a:pt x="39" y="78"/>
                      </a:lnTo>
                      <a:lnTo>
                        <a:pt x="39" y="74"/>
                      </a:lnTo>
                      <a:lnTo>
                        <a:pt x="37" y="72"/>
                      </a:lnTo>
                      <a:lnTo>
                        <a:pt x="34" y="68"/>
                      </a:lnTo>
                      <a:lnTo>
                        <a:pt x="28" y="65"/>
                      </a:lnTo>
                      <a:lnTo>
                        <a:pt x="27" y="63"/>
                      </a:lnTo>
                      <a:lnTo>
                        <a:pt x="27" y="61"/>
                      </a:lnTo>
                      <a:lnTo>
                        <a:pt x="29" y="60"/>
                      </a:lnTo>
                      <a:lnTo>
                        <a:pt x="29" y="58"/>
                      </a:lnTo>
                      <a:lnTo>
                        <a:pt x="29" y="57"/>
                      </a:lnTo>
                      <a:lnTo>
                        <a:pt x="26" y="57"/>
                      </a:lnTo>
                      <a:lnTo>
                        <a:pt x="22" y="55"/>
                      </a:lnTo>
                      <a:lnTo>
                        <a:pt x="19" y="54"/>
                      </a:lnTo>
                      <a:lnTo>
                        <a:pt x="17" y="51"/>
                      </a:lnTo>
                      <a:lnTo>
                        <a:pt x="15" y="46"/>
                      </a:lnTo>
                      <a:lnTo>
                        <a:pt x="13" y="42"/>
                      </a:lnTo>
                      <a:lnTo>
                        <a:pt x="10" y="40"/>
                      </a:lnTo>
                      <a:lnTo>
                        <a:pt x="8" y="39"/>
                      </a:lnTo>
                      <a:lnTo>
                        <a:pt x="6" y="36"/>
                      </a:lnTo>
                      <a:lnTo>
                        <a:pt x="8" y="33"/>
                      </a:lnTo>
                      <a:lnTo>
                        <a:pt x="10" y="32"/>
                      </a:lnTo>
                      <a:lnTo>
                        <a:pt x="14" y="31"/>
                      </a:lnTo>
                      <a:lnTo>
                        <a:pt x="15" y="28"/>
                      </a:lnTo>
                      <a:lnTo>
                        <a:pt x="15" y="27"/>
                      </a:lnTo>
                      <a:lnTo>
                        <a:pt x="14" y="26"/>
                      </a:lnTo>
                      <a:lnTo>
                        <a:pt x="10" y="23"/>
                      </a:lnTo>
                      <a:lnTo>
                        <a:pt x="8" y="22"/>
                      </a:lnTo>
                      <a:lnTo>
                        <a:pt x="5" y="19"/>
                      </a:lnTo>
                      <a:lnTo>
                        <a:pt x="1" y="1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8" name="Freeform 1318">
                  <a:extLst>
                    <a:ext uri="{FF2B5EF4-FFF2-40B4-BE49-F238E27FC236}">
                      <a16:creationId xmlns:a16="http://schemas.microsoft.com/office/drawing/2014/main" id="{EED450F1-CE9E-574A-844C-5CFCA471FC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3599" y="3145891"/>
                  <a:ext cx="220501" cy="146508"/>
                </a:xfrm>
                <a:custGeom>
                  <a:avLst/>
                  <a:gdLst>
                    <a:gd name="T0" fmla="*/ 2147483647 w 162"/>
                    <a:gd name="T1" fmla="*/ 2147483647 h 99"/>
                    <a:gd name="T2" fmla="*/ 2147483647 w 162"/>
                    <a:gd name="T3" fmla="*/ 2147483647 h 99"/>
                    <a:gd name="T4" fmla="*/ 2147483647 w 162"/>
                    <a:gd name="T5" fmla="*/ 2147483647 h 99"/>
                    <a:gd name="T6" fmla="*/ 2147483647 w 162"/>
                    <a:gd name="T7" fmla="*/ 2147483647 h 99"/>
                    <a:gd name="T8" fmla="*/ 2147483647 w 162"/>
                    <a:gd name="T9" fmla="*/ 2147483647 h 99"/>
                    <a:gd name="T10" fmla="*/ 2147483647 w 162"/>
                    <a:gd name="T11" fmla="*/ 2147483647 h 99"/>
                    <a:gd name="T12" fmla="*/ 2147483647 w 162"/>
                    <a:gd name="T13" fmla="*/ 2147483647 h 99"/>
                    <a:gd name="T14" fmla="*/ 2147483647 w 162"/>
                    <a:gd name="T15" fmla="*/ 2147483647 h 99"/>
                    <a:gd name="T16" fmla="*/ 2147483647 w 162"/>
                    <a:gd name="T17" fmla="*/ 2147483647 h 99"/>
                    <a:gd name="T18" fmla="*/ 2147483647 w 162"/>
                    <a:gd name="T19" fmla="*/ 2147483647 h 99"/>
                    <a:gd name="T20" fmla="*/ 2147483647 w 162"/>
                    <a:gd name="T21" fmla="*/ 2147483647 h 99"/>
                    <a:gd name="T22" fmla="*/ 2147483647 w 162"/>
                    <a:gd name="T23" fmla="*/ 2147483647 h 99"/>
                    <a:gd name="T24" fmla="*/ 2147483647 w 162"/>
                    <a:gd name="T25" fmla="*/ 2147483647 h 99"/>
                    <a:gd name="T26" fmla="*/ 2147483647 w 162"/>
                    <a:gd name="T27" fmla="*/ 2147483647 h 99"/>
                    <a:gd name="T28" fmla="*/ 2147483647 w 162"/>
                    <a:gd name="T29" fmla="*/ 2147483647 h 99"/>
                    <a:gd name="T30" fmla="*/ 2147483647 w 162"/>
                    <a:gd name="T31" fmla="*/ 2147483647 h 99"/>
                    <a:gd name="T32" fmla="*/ 2147483647 w 162"/>
                    <a:gd name="T33" fmla="*/ 2147483647 h 99"/>
                    <a:gd name="T34" fmla="*/ 0 w 162"/>
                    <a:gd name="T35" fmla="*/ 2147483647 h 99"/>
                    <a:gd name="T36" fmla="*/ 2147483647 w 162"/>
                    <a:gd name="T37" fmla="*/ 2147483647 h 99"/>
                    <a:gd name="T38" fmla="*/ 2147483647 w 162"/>
                    <a:gd name="T39" fmla="*/ 2147483647 h 99"/>
                    <a:gd name="T40" fmla="*/ 2147483647 w 162"/>
                    <a:gd name="T41" fmla="*/ 2147483647 h 99"/>
                    <a:gd name="T42" fmla="*/ 2147483647 w 162"/>
                    <a:gd name="T43" fmla="*/ 2147483647 h 99"/>
                    <a:gd name="T44" fmla="*/ 2147483647 w 162"/>
                    <a:gd name="T45" fmla="*/ 2147483647 h 99"/>
                    <a:gd name="T46" fmla="*/ 2147483647 w 162"/>
                    <a:gd name="T47" fmla="*/ 2147483647 h 99"/>
                    <a:gd name="T48" fmla="*/ 2147483647 w 162"/>
                    <a:gd name="T49" fmla="*/ 2147483647 h 99"/>
                    <a:gd name="T50" fmla="*/ 2147483647 w 162"/>
                    <a:gd name="T51" fmla="*/ 2147483647 h 99"/>
                    <a:gd name="T52" fmla="*/ 2147483647 w 162"/>
                    <a:gd name="T53" fmla="*/ 2147483647 h 99"/>
                    <a:gd name="T54" fmla="*/ 2147483647 w 162"/>
                    <a:gd name="T55" fmla="*/ 2147483647 h 99"/>
                    <a:gd name="T56" fmla="*/ 2147483647 w 162"/>
                    <a:gd name="T57" fmla="*/ 2147483647 h 99"/>
                    <a:gd name="T58" fmla="*/ 2147483647 w 162"/>
                    <a:gd name="T59" fmla="*/ 2147483647 h 99"/>
                    <a:gd name="T60" fmla="*/ 2147483647 w 162"/>
                    <a:gd name="T61" fmla="*/ 2147483647 h 99"/>
                    <a:gd name="T62" fmla="*/ 2147483647 w 162"/>
                    <a:gd name="T63" fmla="*/ 2147483647 h 99"/>
                    <a:gd name="T64" fmla="*/ 2147483647 w 162"/>
                    <a:gd name="T65" fmla="*/ 0 h 99"/>
                    <a:gd name="T66" fmla="*/ 2147483647 w 162"/>
                    <a:gd name="T67" fmla="*/ 2147483647 h 99"/>
                    <a:gd name="T68" fmla="*/ 2147483647 w 162"/>
                    <a:gd name="T69" fmla="*/ 2147483647 h 99"/>
                    <a:gd name="T70" fmla="*/ 2147483647 w 162"/>
                    <a:gd name="T71" fmla="*/ 2147483647 h 99"/>
                    <a:gd name="T72" fmla="*/ 2147483647 w 162"/>
                    <a:gd name="T73" fmla="*/ 2147483647 h 99"/>
                    <a:gd name="T74" fmla="*/ 2147483647 w 162"/>
                    <a:gd name="T75" fmla="*/ 2147483647 h 99"/>
                    <a:gd name="T76" fmla="*/ 2147483647 w 162"/>
                    <a:gd name="T77" fmla="*/ 2147483647 h 99"/>
                    <a:gd name="T78" fmla="*/ 2147483647 w 162"/>
                    <a:gd name="T79" fmla="*/ 2147483647 h 99"/>
                    <a:gd name="T80" fmla="*/ 2147483647 w 162"/>
                    <a:gd name="T81" fmla="*/ 2147483647 h 99"/>
                    <a:gd name="T82" fmla="*/ 2147483647 w 162"/>
                    <a:gd name="T83" fmla="*/ 2147483647 h 99"/>
                    <a:gd name="T84" fmla="*/ 2147483647 w 162"/>
                    <a:gd name="T85" fmla="*/ 2147483647 h 99"/>
                    <a:gd name="T86" fmla="*/ 2147483647 w 162"/>
                    <a:gd name="T87" fmla="*/ 2147483647 h 99"/>
                    <a:gd name="T88" fmla="*/ 2147483647 w 162"/>
                    <a:gd name="T89" fmla="*/ 2147483647 h 99"/>
                    <a:gd name="T90" fmla="*/ 2147483647 w 162"/>
                    <a:gd name="T91" fmla="*/ 2147483647 h 99"/>
                    <a:gd name="T92" fmla="*/ 2147483647 w 162"/>
                    <a:gd name="T93" fmla="*/ 2147483647 h 99"/>
                    <a:gd name="T94" fmla="*/ 2147483647 w 162"/>
                    <a:gd name="T95" fmla="*/ 2147483647 h 99"/>
                    <a:gd name="T96" fmla="*/ 2147483647 w 162"/>
                    <a:gd name="T97" fmla="*/ 2147483647 h 99"/>
                    <a:gd name="T98" fmla="*/ 2147483647 w 162"/>
                    <a:gd name="T99" fmla="*/ 2147483647 h 99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62"/>
                    <a:gd name="T151" fmla="*/ 0 h 99"/>
                    <a:gd name="T152" fmla="*/ 162 w 162"/>
                    <a:gd name="T153" fmla="*/ 99 h 99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62" h="99">
                      <a:moveTo>
                        <a:pt x="143" y="97"/>
                      </a:moveTo>
                      <a:lnTo>
                        <a:pt x="137" y="98"/>
                      </a:lnTo>
                      <a:lnTo>
                        <a:pt x="132" y="99"/>
                      </a:lnTo>
                      <a:lnTo>
                        <a:pt x="127" y="98"/>
                      </a:lnTo>
                      <a:lnTo>
                        <a:pt x="122" y="97"/>
                      </a:lnTo>
                      <a:lnTo>
                        <a:pt x="110" y="92"/>
                      </a:lnTo>
                      <a:lnTo>
                        <a:pt x="105" y="91"/>
                      </a:lnTo>
                      <a:lnTo>
                        <a:pt x="100" y="90"/>
                      </a:lnTo>
                      <a:lnTo>
                        <a:pt x="97" y="90"/>
                      </a:lnTo>
                      <a:lnTo>
                        <a:pt x="95" y="91"/>
                      </a:lnTo>
                      <a:lnTo>
                        <a:pt x="91" y="94"/>
                      </a:lnTo>
                      <a:lnTo>
                        <a:pt x="87" y="97"/>
                      </a:lnTo>
                      <a:lnTo>
                        <a:pt x="83" y="99"/>
                      </a:lnTo>
                      <a:lnTo>
                        <a:pt x="80" y="98"/>
                      </a:lnTo>
                      <a:lnTo>
                        <a:pt x="76" y="98"/>
                      </a:lnTo>
                      <a:lnTo>
                        <a:pt x="66" y="99"/>
                      </a:lnTo>
                      <a:lnTo>
                        <a:pt x="56" y="98"/>
                      </a:lnTo>
                      <a:lnTo>
                        <a:pt x="52" y="97"/>
                      </a:lnTo>
                      <a:lnTo>
                        <a:pt x="47" y="95"/>
                      </a:lnTo>
                      <a:lnTo>
                        <a:pt x="43" y="91"/>
                      </a:lnTo>
                      <a:lnTo>
                        <a:pt x="40" y="86"/>
                      </a:lnTo>
                      <a:lnTo>
                        <a:pt x="40" y="83"/>
                      </a:lnTo>
                      <a:lnTo>
                        <a:pt x="39" y="79"/>
                      </a:lnTo>
                      <a:lnTo>
                        <a:pt x="36" y="78"/>
                      </a:lnTo>
                      <a:lnTo>
                        <a:pt x="34" y="77"/>
                      </a:lnTo>
                      <a:lnTo>
                        <a:pt x="26" y="75"/>
                      </a:lnTo>
                      <a:lnTo>
                        <a:pt x="24" y="73"/>
                      </a:lnTo>
                      <a:lnTo>
                        <a:pt x="21" y="72"/>
                      </a:lnTo>
                      <a:lnTo>
                        <a:pt x="20" y="70"/>
                      </a:lnTo>
                      <a:lnTo>
                        <a:pt x="20" y="66"/>
                      </a:lnTo>
                      <a:lnTo>
                        <a:pt x="16" y="64"/>
                      </a:lnTo>
                      <a:lnTo>
                        <a:pt x="15" y="63"/>
                      </a:lnTo>
                      <a:lnTo>
                        <a:pt x="14" y="62"/>
                      </a:lnTo>
                      <a:lnTo>
                        <a:pt x="11" y="57"/>
                      </a:lnTo>
                      <a:lnTo>
                        <a:pt x="7" y="52"/>
                      </a:lnTo>
                      <a:lnTo>
                        <a:pt x="0" y="44"/>
                      </a:lnTo>
                      <a:lnTo>
                        <a:pt x="9" y="43"/>
                      </a:lnTo>
                      <a:lnTo>
                        <a:pt x="12" y="43"/>
                      </a:lnTo>
                      <a:lnTo>
                        <a:pt x="17" y="45"/>
                      </a:lnTo>
                      <a:lnTo>
                        <a:pt x="20" y="45"/>
                      </a:lnTo>
                      <a:lnTo>
                        <a:pt x="21" y="44"/>
                      </a:lnTo>
                      <a:lnTo>
                        <a:pt x="22" y="43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4" y="38"/>
                      </a:lnTo>
                      <a:lnTo>
                        <a:pt x="25" y="35"/>
                      </a:lnTo>
                      <a:lnTo>
                        <a:pt x="25" y="32"/>
                      </a:lnTo>
                      <a:lnTo>
                        <a:pt x="36" y="20"/>
                      </a:lnTo>
                      <a:lnTo>
                        <a:pt x="42" y="13"/>
                      </a:lnTo>
                      <a:lnTo>
                        <a:pt x="45" y="6"/>
                      </a:lnTo>
                      <a:lnTo>
                        <a:pt x="47" y="5"/>
                      </a:lnTo>
                      <a:lnTo>
                        <a:pt x="48" y="5"/>
                      </a:lnTo>
                      <a:lnTo>
                        <a:pt x="50" y="5"/>
                      </a:lnTo>
                      <a:lnTo>
                        <a:pt x="53" y="5"/>
                      </a:lnTo>
                      <a:lnTo>
                        <a:pt x="57" y="5"/>
                      </a:lnTo>
                      <a:lnTo>
                        <a:pt x="61" y="5"/>
                      </a:lnTo>
                      <a:lnTo>
                        <a:pt x="64" y="3"/>
                      </a:lnTo>
                      <a:lnTo>
                        <a:pt x="68" y="3"/>
                      </a:lnTo>
                      <a:lnTo>
                        <a:pt x="72" y="6"/>
                      </a:lnTo>
                      <a:lnTo>
                        <a:pt x="76" y="8"/>
                      </a:lnTo>
                      <a:lnTo>
                        <a:pt x="80" y="9"/>
                      </a:lnTo>
                      <a:lnTo>
                        <a:pt x="81" y="9"/>
                      </a:lnTo>
                      <a:lnTo>
                        <a:pt x="83" y="8"/>
                      </a:lnTo>
                      <a:lnTo>
                        <a:pt x="87" y="5"/>
                      </a:lnTo>
                      <a:lnTo>
                        <a:pt x="92" y="1"/>
                      </a:lnTo>
                      <a:lnTo>
                        <a:pt x="96" y="0"/>
                      </a:lnTo>
                      <a:lnTo>
                        <a:pt x="99" y="1"/>
                      </a:lnTo>
                      <a:lnTo>
                        <a:pt x="100" y="1"/>
                      </a:lnTo>
                      <a:lnTo>
                        <a:pt x="104" y="7"/>
                      </a:lnTo>
                      <a:lnTo>
                        <a:pt x="105" y="11"/>
                      </a:lnTo>
                      <a:lnTo>
                        <a:pt x="105" y="16"/>
                      </a:lnTo>
                      <a:lnTo>
                        <a:pt x="104" y="22"/>
                      </a:lnTo>
                      <a:lnTo>
                        <a:pt x="105" y="24"/>
                      </a:lnTo>
                      <a:lnTo>
                        <a:pt x="105" y="25"/>
                      </a:lnTo>
                      <a:lnTo>
                        <a:pt x="105" y="28"/>
                      </a:lnTo>
                      <a:lnTo>
                        <a:pt x="105" y="32"/>
                      </a:lnTo>
                      <a:lnTo>
                        <a:pt x="106" y="34"/>
                      </a:lnTo>
                      <a:lnTo>
                        <a:pt x="120" y="46"/>
                      </a:lnTo>
                      <a:lnTo>
                        <a:pt x="127" y="52"/>
                      </a:lnTo>
                      <a:lnTo>
                        <a:pt x="130" y="60"/>
                      </a:lnTo>
                      <a:lnTo>
                        <a:pt x="133" y="63"/>
                      </a:lnTo>
                      <a:lnTo>
                        <a:pt x="136" y="64"/>
                      </a:lnTo>
                      <a:lnTo>
                        <a:pt x="139" y="64"/>
                      </a:lnTo>
                      <a:lnTo>
                        <a:pt x="142" y="64"/>
                      </a:lnTo>
                      <a:lnTo>
                        <a:pt x="149" y="62"/>
                      </a:lnTo>
                      <a:lnTo>
                        <a:pt x="156" y="60"/>
                      </a:lnTo>
                      <a:lnTo>
                        <a:pt x="158" y="60"/>
                      </a:lnTo>
                      <a:lnTo>
                        <a:pt x="162" y="62"/>
                      </a:lnTo>
                      <a:lnTo>
                        <a:pt x="161" y="70"/>
                      </a:lnTo>
                      <a:lnTo>
                        <a:pt x="160" y="72"/>
                      </a:lnTo>
                      <a:lnTo>
                        <a:pt x="157" y="73"/>
                      </a:lnTo>
                      <a:lnTo>
                        <a:pt x="152" y="73"/>
                      </a:lnTo>
                      <a:lnTo>
                        <a:pt x="149" y="73"/>
                      </a:lnTo>
                      <a:lnTo>
                        <a:pt x="148" y="75"/>
                      </a:lnTo>
                      <a:lnTo>
                        <a:pt x="146" y="77"/>
                      </a:lnTo>
                      <a:lnTo>
                        <a:pt x="144" y="79"/>
                      </a:lnTo>
                      <a:lnTo>
                        <a:pt x="144" y="84"/>
                      </a:lnTo>
                      <a:lnTo>
                        <a:pt x="146" y="89"/>
                      </a:lnTo>
                      <a:lnTo>
                        <a:pt x="144" y="92"/>
                      </a:lnTo>
                      <a:lnTo>
                        <a:pt x="143" y="9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9" name="Freeform 1319">
                  <a:extLst>
                    <a:ext uri="{FF2B5EF4-FFF2-40B4-BE49-F238E27FC236}">
                      <a16:creationId xmlns:a16="http://schemas.microsoft.com/office/drawing/2014/main" id="{A3CEACF5-3916-7C43-BAF1-85A91A54C7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3560" y="3273161"/>
                  <a:ext cx="155386" cy="97672"/>
                </a:xfrm>
                <a:custGeom>
                  <a:avLst/>
                  <a:gdLst>
                    <a:gd name="T0" fmla="*/ 2147483647 w 113"/>
                    <a:gd name="T1" fmla="*/ 2147483647 h 66"/>
                    <a:gd name="T2" fmla="*/ 2147483647 w 113"/>
                    <a:gd name="T3" fmla="*/ 2147483647 h 66"/>
                    <a:gd name="T4" fmla="*/ 2147483647 w 113"/>
                    <a:gd name="T5" fmla="*/ 2147483647 h 66"/>
                    <a:gd name="T6" fmla="*/ 2147483647 w 113"/>
                    <a:gd name="T7" fmla="*/ 2147483647 h 66"/>
                    <a:gd name="T8" fmla="*/ 2147483647 w 113"/>
                    <a:gd name="T9" fmla="*/ 2147483647 h 66"/>
                    <a:gd name="T10" fmla="*/ 2147483647 w 113"/>
                    <a:gd name="T11" fmla="*/ 2147483647 h 66"/>
                    <a:gd name="T12" fmla="*/ 2147483647 w 113"/>
                    <a:gd name="T13" fmla="*/ 2147483647 h 66"/>
                    <a:gd name="T14" fmla="*/ 2147483647 w 113"/>
                    <a:gd name="T15" fmla="*/ 2147483647 h 66"/>
                    <a:gd name="T16" fmla="*/ 2147483647 w 113"/>
                    <a:gd name="T17" fmla="*/ 2147483647 h 66"/>
                    <a:gd name="T18" fmla="*/ 2147483647 w 113"/>
                    <a:gd name="T19" fmla="*/ 2147483647 h 66"/>
                    <a:gd name="T20" fmla="*/ 2147483647 w 113"/>
                    <a:gd name="T21" fmla="*/ 2147483647 h 66"/>
                    <a:gd name="T22" fmla="*/ 2147483647 w 113"/>
                    <a:gd name="T23" fmla="*/ 2147483647 h 66"/>
                    <a:gd name="T24" fmla="*/ 2147483647 w 113"/>
                    <a:gd name="T25" fmla="*/ 2147483647 h 66"/>
                    <a:gd name="T26" fmla="*/ 2147483647 w 113"/>
                    <a:gd name="T27" fmla="*/ 2147483647 h 66"/>
                    <a:gd name="T28" fmla="*/ 2147483647 w 113"/>
                    <a:gd name="T29" fmla="*/ 2147483647 h 66"/>
                    <a:gd name="T30" fmla="*/ 2147483647 w 113"/>
                    <a:gd name="T31" fmla="*/ 2147483647 h 66"/>
                    <a:gd name="T32" fmla="*/ 2147483647 w 113"/>
                    <a:gd name="T33" fmla="*/ 2147483647 h 66"/>
                    <a:gd name="T34" fmla="*/ 2147483647 w 113"/>
                    <a:gd name="T35" fmla="*/ 2147483647 h 66"/>
                    <a:gd name="T36" fmla="*/ 2147483647 w 113"/>
                    <a:gd name="T37" fmla="*/ 2147483647 h 66"/>
                    <a:gd name="T38" fmla="*/ 2147483647 w 113"/>
                    <a:gd name="T39" fmla="*/ 2147483647 h 66"/>
                    <a:gd name="T40" fmla="*/ 2147483647 w 113"/>
                    <a:gd name="T41" fmla="*/ 2147483647 h 66"/>
                    <a:gd name="T42" fmla="*/ 2147483647 w 113"/>
                    <a:gd name="T43" fmla="*/ 2147483647 h 66"/>
                    <a:gd name="T44" fmla="*/ 2147483647 w 113"/>
                    <a:gd name="T45" fmla="*/ 2147483647 h 66"/>
                    <a:gd name="T46" fmla="*/ 2147483647 w 113"/>
                    <a:gd name="T47" fmla="*/ 2147483647 h 66"/>
                    <a:gd name="T48" fmla="*/ 2147483647 w 113"/>
                    <a:gd name="T49" fmla="*/ 2147483647 h 66"/>
                    <a:gd name="T50" fmla="*/ 2147483647 w 113"/>
                    <a:gd name="T51" fmla="*/ 2147483647 h 66"/>
                    <a:gd name="T52" fmla="*/ 2147483647 w 113"/>
                    <a:gd name="T53" fmla="*/ 2147483647 h 66"/>
                    <a:gd name="T54" fmla="*/ 2147483647 w 113"/>
                    <a:gd name="T55" fmla="*/ 2147483647 h 66"/>
                    <a:gd name="T56" fmla="*/ 0 w 113"/>
                    <a:gd name="T57" fmla="*/ 2147483647 h 66"/>
                    <a:gd name="T58" fmla="*/ 2147483647 w 113"/>
                    <a:gd name="T59" fmla="*/ 2147483647 h 66"/>
                    <a:gd name="T60" fmla="*/ 2147483647 w 113"/>
                    <a:gd name="T61" fmla="*/ 2147483647 h 66"/>
                    <a:gd name="T62" fmla="*/ 2147483647 w 113"/>
                    <a:gd name="T63" fmla="*/ 2147483647 h 66"/>
                    <a:gd name="T64" fmla="*/ 2147483647 w 113"/>
                    <a:gd name="T65" fmla="*/ 0 h 66"/>
                    <a:gd name="T66" fmla="*/ 2147483647 w 113"/>
                    <a:gd name="T67" fmla="*/ 0 h 66"/>
                    <a:gd name="T68" fmla="*/ 2147483647 w 113"/>
                    <a:gd name="T69" fmla="*/ 2147483647 h 66"/>
                    <a:gd name="T70" fmla="*/ 2147483647 w 113"/>
                    <a:gd name="T71" fmla="*/ 2147483647 h 66"/>
                    <a:gd name="T72" fmla="*/ 2147483647 w 113"/>
                    <a:gd name="T73" fmla="*/ 2147483647 h 66"/>
                    <a:gd name="T74" fmla="*/ 2147483647 w 113"/>
                    <a:gd name="T75" fmla="*/ 2147483647 h 66"/>
                    <a:gd name="T76" fmla="*/ 2147483647 w 113"/>
                    <a:gd name="T77" fmla="*/ 2147483647 h 66"/>
                    <a:gd name="T78" fmla="*/ 2147483647 w 113"/>
                    <a:gd name="T79" fmla="*/ 2147483647 h 66"/>
                    <a:gd name="T80" fmla="*/ 2147483647 w 113"/>
                    <a:gd name="T81" fmla="*/ 2147483647 h 66"/>
                    <a:gd name="T82" fmla="*/ 2147483647 w 113"/>
                    <a:gd name="T83" fmla="*/ 2147483647 h 66"/>
                    <a:gd name="T84" fmla="*/ 2147483647 w 113"/>
                    <a:gd name="T85" fmla="*/ 2147483647 h 66"/>
                    <a:gd name="T86" fmla="*/ 2147483647 w 113"/>
                    <a:gd name="T87" fmla="*/ 2147483647 h 66"/>
                    <a:gd name="T88" fmla="*/ 2147483647 w 113"/>
                    <a:gd name="T89" fmla="*/ 2147483647 h 66"/>
                    <a:gd name="T90" fmla="*/ 2147483647 w 113"/>
                    <a:gd name="T91" fmla="*/ 2147483647 h 66"/>
                    <a:gd name="T92" fmla="*/ 2147483647 w 113"/>
                    <a:gd name="T93" fmla="*/ 2147483647 h 66"/>
                    <a:gd name="T94" fmla="*/ 2147483647 w 113"/>
                    <a:gd name="T95" fmla="*/ 2147483647 h 66"/>
                    <a:gd name="T96" fmla="*/ 2147483647 w 113"/>
                    <a:gd name="T97" fmla="*/ 2147483647 h 66"/>
                    <a:gd name="T98" fmla="*/ 2147483647 w 113"/>
                    <a:gd name="T99" fmla="*/ 2147483647 h 66"/>
                    <a:gd name="T100" fmla="*/ 2147483647 w 113"/>
                    <a:gd name="T101" fmla="*/ 2147483647 h 66"/>
                    <a:gd name="T102" fmla="*/ 2147483647 w 113"/>
                    <a:gd name="T103" fmla="*/ 2147483647 h 66"/>
                    <a:gd name="T104" fmla="*/ 2147483647 w 113"/>
                    <a:gd name="T105" fmla="*/ 2147483647 h 66"/>
                    <a:gd name="T106" fmla="*/ 2147483647 w 113"/>
                    <a:gd name="T107" fmla="*/ 2147483647 h 66"/>
                    <a:gd name="T108" fmla="*/ 2147483647 w 113"/>
                    <a:gd name="T109" fmla="*/ 2147483647 h 66"/>
                    <a:gd name="T110" fmla="*/ 2147483647 w 113"/>
                    <a:gd name="T111" fmla="*/ 2147483647 h 66"/>
                    <a:gd name="T112" fmla="*/ 2147483647 w 113"/>
                    <a:gd name="T113" fmla="*/ 2147483647 h 66"/>
                    <a:gd name="T114" fmla="*/ 2147483647 w 113"/>
                    <a:gd name="T115" fmla="*/ 2147483647 h 66"/>
                    <a:gd name="T116" fmla="*/ 2147483647 w 113"/>
                    <a:gd name="T117" fmla="*/ 2147483647 h 66"/>
                    <a:gd name="T118" fmla="*/ 2147483647 w 113"/>
                    <a:gd name="T119" fmla="*/ 2147483647 h 66"/>
                    <a:gd name="T120" fmla="*/ 2147483647 w 113"/>
                    <a:gd name="T121" fmla="*/ 2147483647 h 66"/>
                    <a:gd name="T122" fmla="*/ 2147483647 w 113"/>
                    <a:gd name="T123" fmla="*/ 2147483647 h 66"/>
                    <a:gd name="T124" fmla="*/ 2147483647 w 113"/>
                    <a:gd name="T125" fmla="*/ 2147483647 h 6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13"/>
                    <a:gd name="T190" fmla="*/ 0 h 66"/>
                    <a:gd name="T191" fmla="*/ 113 w 113"/>
                    <a:gd name="T192" fmla="*/ 66 h 6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13" h="66">
                      <a:moveTo>
                        <a:pt x="74" y="50"/>
                      </a:moveTo>
                      <a:lnTo>
                        <a:pt x="70" y="50"/>
                      </a:lnTo>
                      <a:lnTo>
                        <a:pt x="69" y="51"/>
                      </a:lnTo>
                      <a:lnTo>
                        <a:pt x="66" y="59"/>
                      </a:lnTo>
                      <a:lnTo>
                        <a:pt x="65" y="61"/>
                      </a:lnTo>
                      <a:lnTo>
                        <a:pt x="61" y="63"/>
                      </a:lnTo>
                      <a:lnTo>
                        <a:pt x="59" y="63"/>
                      </a:lnTo>
                      <a:lnTo>
                        <a:pt x="56" y="63"/>
                      </a:lnTo>
                      <a:lnTo>
                        <a:pt x="50" y="61"/>
                      </a:lnTo>
                      <a:lnTo>
                        <a:pt x="45" y="60"/>
                      </a:lnTo>
                      <a:lnTo>
                        <a:pt x="39" y="60"/>
                      </a:lnTo>
                      <a:lnTo>
                        <a:pt x="29" y="61"/>
                      </a:lnTo>
                      <a:lnTo>
                        <a:pt x="26" y="62"/>
                      </a:lnTo>
                      <a:lnTo>
                        <a:pt x="20" y="64"/>
                      </a:lnTo>
                      <a:lnTo>
                        <a:pt x="17" y="66"/>
                      </a:lnTo>
                      <a:lnTo>
                        <a:pt x="12" y="66"/>
                      </a:lnTo>
                      <a:lnTo>
                        <a:pt x="9" y="66"/>
                      </a:lnTo>
                      <a:lnTo>
                        <a:pt x="8" y="63"/>
                      </a:lnTo>
                      <a:lnTo>
                        <a:pt x="8" y="57"/>
                      </a:lnTo>
                      <a:lnTo>
                        <a:pt x="4" y="51"/>
                      </a:lnTo>
                      <a:lnTo>
                        <a:pt x="3" y="47"/>
                      </a:lnTo>
                      <a:lnTo>
                        <a:pt x="3" y="42"/>
                      </a:lnTo>
                      <a:lnTo>
                        <a:pt x="5" y="36"/>
                      </a:lnTo>
                      <a:lnTo>
                        <a:pt x="8" y="31"/>
                      </a:lnTo>
                      <a:lnTo>
                        <a:pt x="9" y="30"/>
                      </a:lnTo>
                      <a:lnTo>
                        <a:pt x="9" y="28"/>
                      </a:lnTo>
                      <a:lnTo>
                        <a:pt x="6" y="24"/>
                      </a:lnTo>
                      <a:lnTo>
                        <a:pt x="3" y="19"/>
                      </a:lnTo>
                      <a:lnTo>
                        <a:pt x="0" y="16"/>
                      </a:lnTo>
                      <a:lnTo>
                        <a:pt x="1" y="10"/>
                      </a:lnTo>
                      <a:lnTo>
                        <a:pt x="4" y="5"/>
                      </a:lnTo>
                      <a:lnTo>
                        <a:pt x="8" y="2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3" y="5"/>
                      </a:lnTo>
                      <a:lnTo>
                        <a:pt x="17" y="9"/>
                      </a:lnTo>
                      <a:lnTo>
                        <a:pt x="22" y="11"/>
                      </a:lnTo>
                      <a:lnTo>
                        <a:pt x="26" y="12"/>
                      </a:lnTo>
                      <a:lnTo>
                        <a:pt x="36" y="13"/>
                      </a:lnTo>
                      <a:lnTo>
                        <a:pt x="46" y="12"/>
                      </a:lnTo>
                      <a:lnTo>
                        <a:pt x="50" y="12"/>
                      </a:lnTo>
                      <a:lnTo>
                        <a:pt x="53" y="13"/>
                      </a:lnTo>
                      <a:lnTo>
                        <a:pt x="57" y="11"/>
                      </a:lnTo>
                      <a:lnTo>
                        <a:pt x="61" y="8"/>
                      </a:lnTo>
                      <a:lnTo>
                        <a:pt x="65" y="5"/>
                      </a:lnTo>
                      <a:lnTo>
                        <a:pt x="67" y="4"/>
                      </a:lnTo>
                      <a:lnTo>
                        <a:pt x="70" y="4"/>
                      </a:lnTo>
                      <a:lnTo>
                        <a:pt x="75" y="5"/>
                      </a:lnTo>
                      <a:lnTo>
                        <a:pt x="80" y="6"/>
                      </a:lnTo>
                      <a:lnTo>
                        <a:pt x="92" y="11"/>
                      </a:lnTo>
                      <a:lnTo>
                        <a:pt x="97" y="12"/>
                      </a:lnTo>
                      <a:lnTo>
                        <a:pt x="102" y="13"/>
                      </a:lnTo>
                      <a:lnTo>
                        <a:pt x="107" y="12"/>
                      </a:lnTo>
                      <a:lnTo>
                        <a:pt x="113" y="11"/>
                      </a:lnTo>
                      <a:lnTo>
                        <a:pt x="107" y="21"/>
                      </a:lnTo>
                      <a:lnTo>
                        <a:pt x="99" y="30"/>
                      </a:lnTo>
                      <a:lnTo>
                        <a:pt x="93" y="37"/>
                      </a:lnTo>
                      <a:lnTo>
                        <a:pt x="90" y="41"/>
                      </a:lnTo>
                      <a:lnTo>
                        <a:pt x="90" y="43"/>
                      </a:lnTo>
                      <a:lnTo>
                        <a:pt x="92" y="44"/>
                      </a:lnTo>
                      <a:lnTo>
                        <a:pt x="93" y="47"/>
                      </a:lnTo>
                      <a:lnTo>
                        <a:pt x="85" y="49"/>
                      </a:lnTo>
                      <a:lnTo>
                        <a:pt x="74" y="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0" name="Freeform 1320">
                  <a:extLst>
                    <a:ext uri="{FF2B5EF4-FFF2-40B4-BE49-F238E27FC236}">
                      <a16:creationId xmlns:a16="http://schemas.microsoft.com/office/drawing/2014/main" id="{87A7AEDF-D99E-DB43-80CD-90BE1A7373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0641" y="3144409"/>
                  <a:ext cx="221981" cy="146507"/>
                </a:xfrm>
                <a:custGeom>
                  <a:avLst/>
                  <a:gdLst>
                    <a:gd name="T0" fmla="*/ 2147483647 w 163"/>
                    <a:gd name="T1" fmla="*/ 2147483647 h 99"/>
                    <a:gd name="T2" fmla="*/ 2147483647 w 163"/>
                    <a:gd name="T3" fmla="*/ 2147483647 h 99"/>
                    <a:gd name="T4" fmla="*/ 2147483647 w 163"/>
                    <a:gd name="T5" fmla="*/ 2147483647 h 99"/>
                    <a:gd name="T6" fmla="*/ 2147483647 w 163"/>
                    <a:gd name="T7" fmla="*/ 2147483647 h 99"/>
                    <a:gd name="T8" fmla="*/ 2147483647 w 163"/>
                    <a:gd name="T9" fmla="*/ 2147483647 h 99"/>
                    <a:gd name="T10" fmla="*/ 2147483647 w 163"/>
                    <a:gd name="T11" fmla="*/ 2147483647 h 99"/>
                    <a:gd name="T12" fmla="*/ 2147483647 w 163"/>
                    <a:gd name="T13" fmla="*/ 2147483647 h 99"/>
                    <a:gd name="T14" fmla="*/ 2147483647 w 163"/>
                    <a:gd name="T15" fmla="*/ 2147483647 h 99"/>
                    <a:gd name="T16" fmla="*/ 2147483647 w 163"/>
                    <a:gd name="T17" fmla="*/ 2147483647 h 99"/>
                    <a:gd name="T18" fmla="*/ 2147483647 w 163"/>
                    <a:gd name="T19" fmla="*/ 2147483647 h 99"/>
                    <a:gd name="T20" fmla="*/ 2147483647 w 163"/>
                    <a:gd name="T21" fmla="*/ 2147483647 h 99"/>
                    <a:gd name="T22" fmla="*/ 2147483647 w 163"/>
                    <a:gd name="T23" fmla="*/ 2147483647 h 99"/>
                    <a:gd name="T24" fmla="*/ 2147483647 w 163"/>
                    <a:gd name="T25" fmla="*/ 2147483647 h 99"/>
                    <a:gd name="T26" fmla="*/ 2147483647 w 163"/>
                    <a:gd name="T27" fmla="*/ 2147483647 h 99"/>
                    <a:gd name="T28" fmla="*/ 0 w 163"/>
                    <a:gd name="T29" fmla="*/ 2147483647 h 99"/>
                    <a:gd name="T30" fmla="*/ 2147483647 w 163"/>
                    <a:gd name="T31" fmla="*/ 2147483647 h 99"/>
                    <a:gd name="T32" fmla="*/ 2147483647 w 163"/>
                    <a:gd name="T33" fmla="*/ 2147483647 h 99"/>
                    <a:gd name="T34" fmla="*/ 2147483647 w 163"/>
                    <a:gd name="T35" fmla="*/ 2147483647 h 99"/>
                    <a:gd name="T36" fmla="*/ 2147483647 w 163"/>
                    <a:gd name="T37" fmla="*/ 2147483647 h 99"/>
                    <a:gd name="T38" fmla="*/ 2147483647 w 163"/>
                    <a:gd name="T39" fmla="*/ 2147483647 h 99"/>
                    <a:gd name="T40" fmla="*/ 2147483647 w 163"/>
                    <a:gd name="T41" fmla="*/ 2147483647 h 99"/>
                    <a:gd name="T42" fmla="*/ 2147483647 w 163"/>
                    <a:gd name="T43" fmla="*/ 2147483647 h 99"/>
                    <a:gd name="T44" fmla="*/ 2147483647 w 163"/>
                    <a:gd name="T45" fmla="*/ 2147483647 h 99"/>
                    <a:gd name="T46" fmla="*/ 2147483647 w 163"/>
                    <a:gd name="T47" fmla="*/ 2147483647 h 99"/>
                    <a:gd name="T48" fmla="*/ 2147483647 w 163"/>
                    <a:gd name="T49" fmla="*/ 2147483647 h 99"/>
                    <a:gd name="T50" fmla="*/ 2147483647 w 163"/>
                    <a:gd name="T51" fmla="*/ 2147483647 h 99"/>
                    <a:gd name="T52" fmla="*/ 2147483647 w 163"/>
                    <a:gd name="T53" fmla="*/ 2147483647 h 99"/>
                    <a:gd name="T54" fmla="*/ 2147483647 w 163"/>
                    <a:gd name="T55" fmla="*/ 0 h 99"/>
                    <a:gd name="T56" fmla="*/ 2147483647 w 163"/>
                    <a:gd name="T57" fmla="*/ 2147483647 h 99"/>
                    <a:gd name="T58" fmla="*/ 2147483647 w 163"/>
                    <a:gd name="T59" fmla="*/ 2147483647 h 99"/>
                    <a:gd name="T60" fmla="*/ 2147483647 w 163"/>
                    <a:gd name="T61" fmla="*/ 2147483647 h 99"/>
                    <a:gd name="T62" fmla="*/ 2147483647 w 163"/>
                    <a:gd name="T63" fmla="*/ 2147483647 h 99"/>
                    <a:gd name="T64" fmla="*/ 2147483647 w 163"/>
                    <a:gd name="T65" fmla="*/ 2147483647 h 99"/>
                    <a:gd name="T66" fmla="*/ 2147483647 w 163"/>
                    <a:gd name="T67" fmla="*/ 2147483647 h 99"/>
                    <a:gd name="T68" fmla="*/ 2147483647 w 163"/>
                    <a:gd name="T69" fmla="*/ 2147483647 h 99"/>
                    <a:gd name="T70" fmla="*/ 2147483647 w 163"/>
                    <a:gd name="T71" fmla="*/ 2147483647 h 99"/>
                    <a:gd name="T72" fmla="*/ 2147483647 w 163"/>
                    <a:gd name="T73" fmla="*/ 2147483647 h 99"/>
                    <a:gd name="T74" fmla="*/ 2147483647 w 163"/>
                    <a:gd name="T75" fmla="*/ 2147483647 h 99"/>
                    <a:gd name="T76" fmla="*/ 2147483647 w 163"/>
                    <a:gd name="T77" fmla="*/ 2147483647 h 99"/>
                    <a:gd name="T78" fmla="*/ 2147483647 w 163"/>
                    <a:gd name="T79" fmla="*/ 2147483647 h 99"/>
                    <a:gd name="T80" fmla="*/ 2147483647 w 163"/>
                    <a:gd name="T81" fmla="*/ 2147483647 h 99"/>
                    <a:gd name="T82" fmla="*/ 2147483647 w 163"/>
                    <a:gd name="T83" fmla="*/ 2147483647 h 99"/>
                    <a:gd name="T84" fmla="*/ 2147483647 w 163"/>
                    <a:gd name="T85" fmla="*/ 2147483647 h 9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63"/>
                    <a:gd name="T130" fmla="*/ 0 h 99"/>
                    <a:gd name="T131" fmla="*/ 163 w 163"/>
                    <a:gd name="T132" fmla="*/ 99 h 9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63" h="99">
                      <a:moveTo>
                        <a:pt x="144" y="97"/>
                      </a:moveTo>
                      <a:lnTo>
                        <a:pt x="144" y="97"/>
                      </a:lnTo>
                      <a:lnTo>
                        <a:pt x="138" y="98"/>
                      </a:lnTo>
                      <a:lnTo>
                        <a:pt x="132" y="99"/>
                      </a:lnTo>
                      <a:lnTo>
                        <a:pt x="127" y="98"/>
                      </a:lnTo>
                      <a:lnTo>
                        <a:pt x="122" y="97"/>
                      </a:lnTo>
                      <a:lnTo>
                        <a:pt x="111" y="92"/>
                      </a:lnTo>
                      <a:lnTo>
                        <a:pt x="106" y="91"/>
                      </a:lnTo>
                      <a:lnTo>
                        <a:pt x="101" y="90"/>
                      </a:lnTo>
                      <a:lnTo>
                        <a:pt x="98" y="90"/>
                      </a:lnTo>
                      <a:lnTo>
                        <a:pt x="96" y="91"/>
                      </a:lnTo>
                      <a:lnTo>
                        <a:pt x="92" y="93"/>
                      </a:lnTo>
                      <a:lnTo>
                        <a:pt x="88" y="97"/>
                      </a:lnTo>
                      <a:lnTo>
                        <a:pt x="84" y="99"/>
                      </a:lnTo>
                      <a:lnTo>
                        <a:pt x="80" y="98"/>
                      </a:lnTo>
                      <a:lnTo>
                        <a:pt x="77" y="98"/>
                      </a:lnTo>
                      <a:lnTo>
                        <a:pt x="66" y="99"/>
                      </a:lnTo>
                      <a:lnTo>
                        <a:pt x="56" y="98"/>
                      </a:lnTo>
                      <a:lnTo>
                        <a:pt x="52" y="97"/>
                      </a:lnTo>
                      <a:lnTo>
                        <a:pt x="47" y="95"/>
                      </a:lnTo>
                      <a:lnTo>
                        <a:pt x="44" y="91"/>
                      </a:lnTo>
                      <a:lnTo>
                        <a:pt x="41" y="86"/>
                      </a:lnTo>
                      <a:lnTo>
                        <a:pt x="41" y="83"/>
                      </a:lnTo>
                      <a:lnTo>
                        <a:pt x="40" y="79"/>
                      </a:lnTo>
                      <a:lnTo>
                        <a:pt x="37" y="78"/>
                      </a:lnTo>
                      <a:lnTo>
                        <a:pt x="35" y="77"/>
                      </a:lnTo>
                      <a:lnTo>
                        <a:pt x="27" y="74"/>
                      </a:lnTo>
                      <a:lnTo>
                        <a:pt x="24" y="73"/>
                      </a:lnTo>
                      <a:lnTo>
                        <a:pt x="22" y="72"/>
                      </a:lnTo>
                      <a:lnTo>
                        <a:pt x="21" y="70"/>
                      </a:lnTo>
                      <a:lnTo>
                        <a:pt x="21" y="66"/>
                      </a:lnTo>
                      <a:lnTo>
                        <a:pt x="17" y="64"/>
                      </a:lnTo>
                      <a:lnTo>
                        <a:pt x="16" y="63"/>
                      </a:lnTo>
                      <a:lnTo>
                        <a:pt x="14" y="61"/>
                      </a:lnTo>
                      <a:lnTo>
                        <a:pt x="12" y="57"/>
                      </a:lnTo>
                      <a:lnTo>
                        <a:pt x="8" y="52"/>
                      </a:lnTo>
                      <a:lnTo>
                        <a:pt x="0" y="44"/>
                      </a:lnTo>
                      <a:lnTo>
                        <a:pt x="9" y="42"/>
                      </a:lnTo>
                      <a:lnTo>
                        <a:pt x="13" y="42"/>
                      </a:lnTo>
                      <a:lnTo>
                        <a:pt x="18" y="45"/>
                      </a:lnTo>
                      <a:lnTo>
                        <a:pt x="21" y="45"/>
                      </a:lnTo>
                      <a:lnTo>
                        <a:pt x="22" y="44"/>
                      </a:lnTo>
                      <a:lnTo>
                        <a:pt x="23" y="42"/>
                      </a:lnTo>
                      <a:lnTo>
                        <a:pt x="23" y="41"/>
                      </a:lnTo>
                      <a:lnTo>
                        <a:pt x="23" y="39"/>
                      </a:lnTo>
                      <a:lnTo>
                        <a:pt x="24" y="38"/>
                      </a:lnTo>
                      <a:lnTo>
                        <a:pt x="26" y="35"/>
                      </a:lnTo>
                      <a:lnTo>
                        <a:pt x="26" y="32"/>
                      </a:lnTo>
                      <a:lnTo>
                        <a:pt x="37" y="20"/>
                      </a:lnTo>
                      <a:lnTo>
                        <a:pt x="42" y="13"/>
                      </a:lnTo>
                      <a:lnTo>
                        <a:pt x="46" y="6"/>
                      </a:lnTo>
                      <a:lnTo>
                        <a:pt x="47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4" y="4"/>
                      </a:lnTo>
                      <a:lnTo>
                        <a:pt x="58" y="4"/>
                      </a:lnTo>
                      <a:lnTo>
                        <a:pt x="61" y="4"/>
                      </a:lnTo>
                      <a:lnTo>
                        <a:pt x="65" y="3"/>
                      </a:lnTo>
                      <a:lnTo>
                        <a:pt x="69" y="3"/>
                      </a:lnTo>
                      <a:lnTo>
                        <a:pt x="73" y="6"/>
                      </a:lnTo>
                      <a:lnTo>
                        <a:pt x="77" y="8"/>
                      </a:lnTo>
                      <a:lnTo>
                        <a:pt x="80" y="9"/>
                      </a:lnTo>
                      <a:lnTo>
                        <a:pt x="82" y="9"/>
                      </a:lnTo>
                      <a:lnTo>
                        <a:pt x="84" y="8"/>
                      </a:lnTo>
                      <a:lnTo>
                        <a:pt x="88" y="4"/>
                      </a:lnTo>
                      <a:lnTo>
                        <a:pt x="93" y="1"/>
                      </a:lnTo>
                      <a:lnTo>
                        <a:pt x="97" y="0"/>
                      </a:lnTo>
                      <a:lnTo>
                        <a:pt x="99" y="1"/>
                      </a:lnTo>
                      <a:lnTo>
                        <a:pt x="101" y="1"/>
                      </a:lnTo>
                      <a:lnTo>
                        <a:pt x="104" y="7"/>
                      </a:lnTo>
                      <a:lnTo>
                        <a:pt x="106" y="10"/>
                      </a:lnTo>
                      <a:lnTo>
                        <a:pt x="106" y="16"/>
                      </a:lnTo>
                      <a:lnTo>
                        <a:pt x="104" y="22"/>
                      </a:lnTo>
                      <a:lnTo>
                        <a:pt x="106" y="23"/>
                      </a:lnTo>
                      <a:lnTo>
                        <a:pt x="106" y="25"/>
                      </a:lnTo>
                      <a:lnTo>
                        <a:pt x="106" y="28"/>
                      </a:lnTo>
                      <a:lnTo>
                        <a:pt x="106" y="32"/>
                      </a:lnTo>
                      <a:lnTo>
                        <a:pt x="107" y="34"/>
                      </a:lnTo>
                      <a:lnTo>
                        <a:pt x="121" y="46"/>
                      </a:lnTo>
                      <a:lnTo>
                        <a:pt x="127" y="52"/>
                      </a:lnTo>
                      <a:lnTo>
                        <a:pt x="131" y="60"/>
                      </a:lnTo>
                      <a:lnTo>
                        <a:pt x="134" y="63"/>
                      </a:lnTo>
                      <a:lnTo>
                        <a:pt x="136" y="64"/>
                      </a:lnTo>
                      <a:lnTo>
                        <a:pt x="140" y="64"/>
                      </a:lnTo>
                      <a:lnTo>
                        <a:pt x="143" y="64"/>
                      </a:lnTo>
                      <a:lnTo>
                        <a:pt x="150" y="61"/>
                      </a:lnTo>
                      <a:lnTo>
                        <a:pt x="157" y="60"/>
                      </a:lnTo>
                      <a:lnTo>
                        <a:pt x="159" y="60"/>
                      </a:lnTo>
                      <a:lnTo>
                        <a:pt x="163" y="61"/>
                      </a:lnTo>
                      <a:lnTo>
                        <a:pt x="162" y="70"/>
                      </a:lnTo>
                      <a:lnTo>
                        <a:pt x="160" y="72"/>
                      </a:lnTo>
                      <a:lnTo>
                        <a:pt x="158" y="73"/>
                      </a:lnTo>
                      <a:lnTo>
                        <a:pt x="153" y="73"/>
                      </a:lnTo>
                      <a:lnTo>
                        <a:pt x="150" y="73"/>
                      </a:lnTo>
                      <a:lnTo>
                        <a:pt x="149" y="74"/>
                      </a:lnTo>
                      <a:lnTo>
                        <a:pt x="146" y="77"/>
                      </a:lnTo>
                      <a:lnTo>
                        <a:pt x="145" y="79"/>
                      </a:lnTo>
                      <a:lnTo>
                        <a:pt x="145" y="84"/>
                      </a:lnTo>
                      <a:lnTo>
                        <a:pt x="146" y="89"/>
                      </a:lnTo>
                      <a:lnTo>
                        <a:pt x="145" y="92"/>
                      </a:lnTo>
                      <a:lnTo>
                        <a:pt x="144" y="9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1" name="Freeform 1321">
                  <a:extLst>
                    <a:ext uri="{FF2B5EF4-FFF2-40B4-BE49-F238E27FC236}">
                      <a16:creationId xmlns:a16="http://schemas.microsoft.com/office/drawing/2014/main" id="{430C7531-EA3D-C04A-8885-633E9706F0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2075" y="3271682"/>
                  <a:ext cx="155387" cy="96191"/>
                </a:xfrm>
                <a:custGeom>
                  <a:avLst/>
                  <a:gdLst>
                    <a:gd name="T0" fmla="*/ 2147483647 w 113"/>
                    <a:gd name="T1" fmla="*/ 2147483647 h 65"/>
                    <a:gd name="T2" fmla="*/ 2147483647 w 113"/>
                    <a:gd name="T3" fmla="*/ 2147483647 h 65"/>
                    <a:gd name="T4" fmla="*/ 2147483647 w 113"/>
                    <a:gd name="T5" fmla="*/ 2147483647 h 65"/>
                    <a:gd name="T6" fmla="*/ 2147483647 w 113"/>
                    <a:gd name="T7" fmla="*/ 2147483647 h 65"/>
                    <a:gd name="T8" fmla="*/ 2147483647 w 113"/>
                    <a:gd name="T9" fmla="*/ 2147483647 h 65"/>
                    <a:gd name="T10" fmla="*/ 2147483647 w 113"/>
                    <a:gd name="T11" fmla="*/ 2147483647 h 65"/>
                    <a:gd name="T12" fmla="*/ 2147483647 w 113"/>
                    <a:gd name="T13" fmla="*/ 2147483647 h 65"/>
                    <a:gd name="T14" fmla="*/ 2147483647 w 113"/>
                    <a:gd name="T15" fmla="*/ 2147483647 h 65"/>
                    <a:gd name="T16" fmla="*/ 2147483647 w 113"/>
                    <a:gd name="T17" fmla="*/ 2147483647 h 65"/>
                    <a:gd name="T18" fmla="*/ 2147483647 w 113"/>
                    <a:gd name="T19" fmla="*/ 2147483647 h 65"/>
                    <a:gd name="T20" fmla="*/ 2147483647 w 113"/>
                    <a:gd name="T21" fmla="*/ 2147483647 h 65"/>
                    <a:gd name="T22" fmla="*/ 2147483647 w 113"/>
                    <a:gd name="T23" fmla="*/ 2147483647 h 65"/>
                    <a:gd name="T24" fmla="*/ 2147483647 w 113"/>
                    <a:gd name="T25" fmla="*/ 2147483647 h 65"/>
                    <a:gd name="T26" fmla="*/ 2147483647 w 113"/>
                    <a:gd name="T27" fmla="*/ 2147483647 h 65"/>
                    <a:gd name="T28" fmla="*/ 2147483647 w 113"/>
                    <a:gd name="T29" fmla="*/ 2147483647 h 65"/>
                    <a:gd name="T30" fmla="*/ 2147483647 w 113"/>
                    <a:gd name="T31" fmla="*/ 2147483647 h 65"/>
                    <a:gd name="T32" fmla="*/ 2147483647 w 113"/>
                    <a:gd name="T33" fmla="*/ 2147483647 h 65"/>
                    <a:gd name="T34" fmla="*/ 2147483647 w 113"/>
                    <a:gd name="T35" fmla="*/ 2147483647 h 65"/>
                    <a:gd name="T36" fmla="*/ 2147483647 w 113"/>
                    <a:gd name="T37" fmla="*/ 2147483647 h 65"/>
                    <a:gd name="T38" fmla="*/ 0 w 113"/>
                    <a:gd name="T39" fmla="*/ 2147483647 h 65"/>
                    <a:gd name="T40" fmla="*/ 2147483647 w 113"/>
                    <a:gd name="T41" fmla="*/ 2147483647 h 65"/>
                    <a:gd name="T42" fmla="*/ 2147483647 w 113"/>
                    <a:gd name="T43" fmla="*/ 0 h 65"/>
                    <a:gd name="T44" fmla="*/ 2147483647 w 113"/>
                    <a:gd name="T45" fmla="*/ 0 h 65"/>
                    <a:gd name="T46" fmla="*/ 2147483647 w 113"/>
                    <a:gd name="T47" fmla="*/ 2147483647 h 65"/>
                    <a:gd name="T48" fmla="*/ 2147483647 w 113"/>
                    <a:gd name="T49" fmla="*/ 2147483647 h 65"/>
                    <a:gd name="T50" fmla="*/ 2147483647 w 113"/>
                    <a:gd name="T51" fmla="*/ 2147483647 h 65"/>
                    <a:gd name="T52" fmla="*/ 2147483647 w 113"/>
                    <a:gd name="T53" fmla="*/ 2147483647 h 65"/>
                    <a:gd name="T54" fmla="*/ 2147483647 w 113"/>
                    <a:gd name="T55" fmla="*/ 2147483647 h 65"/>
                    <a:gd name="T56" fmla="*/ 2147483647 w 113"/>
                    <a:gd name="T57" fmla="*/ 2147483647 h 65"/>
                    <a:gd name="T58" fmla="*/ 2147483647 w 113"/>
                    <a:gd name="T59" fmla="*/ 2147483647 h 65"/>
                    <a:gd name="T60" fmla="*/ 2147483647 w 113"/>
                    <a:gd name="T61" fmla="*/ 2147483647 h 65"/>
                    <a:gd name="T62" fmla="*/ 2147483647 w 113"/>
                    <a:gd name="T63" fmla="*/ 2147483647 h 65"/>
                    <a:gd name="T64" fmla="*/ 2147483647 w 113"/>
                    <a:gd name="T65" fmla="*/ 2147483647 h 65"/>
                    <a:gd name="T66" fmla="*/ 2147483647 w 113"/>
                    <a:gd name="T67" fmla="*/ 2147483647 h 65"/>
                    <a:gd name="T68" fmla="*/ 2147483647 w 113"/>
                    <a:gd name="T69" fmla="*/ 2147483647 h 65"/>
                    <a:gd name="T70" fmla="*/ 2147483647 w 113"/>
                    <a:gd name="T71" fmla="*/ 2147483647 h 65"/>
                    <a:gd name="T72" fmla="*/ 2147483647 w 113"/>
                    <a:gd name="T73" fmla="*/ 2147483647 h 65"/>
                    <a:gd name="T74" fmla="*/ 2147483647 w 113"/>
                    <a:gd name="T75" fmla="*/ 2147483647 h 65"/>
                    <a:gd name="T76" fmla="*/ 2147483647 w 113"/>
                    <a:gd name="T77" fmla="*/ 2147483647 h 65"/>
                    <a:gd name="T78" fmla="*/ 2147483647 w 113"/>
                    <a:gd name="T79" fmla="*/ 2147483647 h 65"/>
                    <a:gd name="T80" fmla="*/ 2147483647 w 113"/>
                    <a:gd name="T81" fmla="*/ 2147483647 h 65"/>
                    <a:gd name="T82" fmla="*/ 2147483647 w 113"/>
                    <a:gd name="T83" fmla="*/ 2147483647 h 65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13"/>
                    <a:gd name="T127" fmla="*/ 0 h 65"/>
                    <a:gd name="T128" fmla="*/ 113 w 113"/>
                    <a:gd name="T129" fmla="*/ 65 h 65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13" h="65">
                      <a:moveTo>
                        <a:pt x="73" y="50"/>
                      </a:moveTo>
                      <a:lnTo>
                        <a:pt x="73" y="50"/>
                      </a:lnTo>
                      <a:lnTo>
                        <a:pt x="70" y="50"/>
                      </a:lnTo>
                      <a:lnTo>
                        <a:pt x="68" y="51"/>
                      </a:lnTo>
                      <a:lnTo>
                        <a:pt x="66" y="58"/>
                      </a:lnTo>
                      <a:lnTo>
                        <a:pt x="65" y="61"/>
                      </a:lnTo>
                      <a:lnTo>
                        <a:pt x="61" y="63"/>
                      </a:lnTo>
                      <a:lnTo>
                        <a:pt x="58" y="63"/>
                      </a:lnTo>
                      <a:lnTo>
                        <a:pt x="56" y="63"/>
                      </a:lnTo>
                      <a:lnTo>
                        <a:pt x="49" y="61"/>
                      </a:lnTo>
                      <a:lnTo>
                        <a:pt x="44" y="60"/>
                      </a:lnTo>
                      <a:lnTo>
                        <a:pt x="39" y="60"/>
                      </a:lnTo>
                      <a:lnTo>
                        <a:pt x="29" y="61"/>
                      </a:lnTo>
                      <a:lnTo>
                        <a:pt x="25" y="62"/>
                      </a:lnTo>
                      <a:lnTo>
                        <a:pt x="20" y="64"/>
                      </a:lnTo>
                      <a:lnTo>
                        <a:pt x="16" y="65"/>
                      </a:lnTo>
                      <a:lnTo>
                        <a:pt x="11" y="65"/>
                      </a:lnTo>
                      <a:lnTo>
                        <a:pt x="9" y="65"/>
                      </a:lnTo>
                      <a:lnTo>
                        <a:pt x="7" y="63"/>
                      </a:lnTo>
                      <a:lnTo>
                        <a:pt x="7" y="57"/>
                      </a:lnTo>
                      <a:lnTo>
                        <a:pt x="4" y="51"/>
                      </a:lnTo>
                      <a:lnTo>
                        <a:pt x="2" y="46"/>
                      </a:lnTo>
                      <a:lnTo>
                        <a:pt x="2" y="42"/>
                      </a:lnTo>
                      <a:lnTo>
                        <a:pt x="5" y="36"/>
                      </a:lnTo>
                      <a:lnTo>
                        <a:pt x="7" y="31"/>
                      </a:lnTo>
                      <a:lnTo>
                        <a:pt x="9" y="30"/>
                      </a:lnTo>
                      <a:lnTo>
                        <a:pt x="9" y="28"/>
                      </a:lnTo>
                      <a:lnTo>
                        <a:pt x="6" y="24"/>
                      </a:lnTo>
                      <a:lnTo>
                        <a:pt x="2" y="19"/>
                      </a:lnTo>
                      <a:lnTo>
                        <a:pt x="0" y="16"/>
                      </a:lnTo>
                      <a:lnTo>
                        <a:pt x="1" y="10"/>
                      </a:lnTo>
                      <a:lnTo>
                        <a:pt x="4" y="5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3" y="5"/>
                      </a:lnTo>
                      <a:lnTo>
                        <a:pt x="16" y="9"/>
                      </a:lnTo>
                      <a:lnTo>
                        <a:pt x="21" y="11"/>
                      </a:lnTo>
                      <a:lnTo>
                        <a:pt x="25" y="12"/>
                      </a:lnTo>
                      <a:lnTo>
                        <a:pt x="35" y="13"/>
                      </a:lnTo>
                      <a:lnTo>
                        <a:pt x="46" y="12"/>
                      </a:lnTo>
                      <a:lnTo>
                        <a:pt x="49" y="12"/>
                      </a:lnTo>
                      <a:lnTo>
                        <a:pt x="53" y="13"/>
                      </a:lnTo>
                      <a:lnTo>
                        <a:pt x="57" y="11"/>
                      </a:lnTo>
                      <a:lnTo>
                        <a:pt x="61" y="7"/>
                      </a:lnTo>
                      <a:lnTo>
                        <a:pt x="65" y="5"/>
                      </a:lnTo>
                      <a:lnTo>
                        <a:pt x="67" y="4"/>
                      </a:lnTo>
                      <a:lnTo>
                        <a:pt x="70" y="4"/>
                      </a:lnTo>
                      <a:lnTo>
                        <a:pt x="75" y="5"/>
                      </a:lnTo>
                      <a:lnTo>
                        <a:pt x="80" y="6"/>
                      </a:lnTo>
                      <a:lnTo>
                        <a:pt x="91" y="11"/>
                      </a:lnTo>
                      <a:lnTo>
                        <a:pt x="96" y="12"/>
                      </a:lnTo>
                      <a:lnTo>
                        <a:pt x="101" y="13"/>
                      </a:lnTo>
                      <a:lnTo>
                        <a:pt x="107" y="12"/>
                      </a:lnTo>
                      <a:lnTo>
                        <a:pt x="113" y="11"/>
                      </a:lnTo>
                      <a:lnTo>
                        <a:pt x="107" y="20"/>
                      </a:lnTo>
                      <a:lnTo>
                        <a:pt x="99" y="30"/>
                      </a:lnTo>
                      <a:lnTo>
                        <a:pt x="93" y="37"/>
                      </a:lnTo>
                      <a:lnTo>
                        <a:pt x="90" y="41"/>
                      </a:lnTo>
                      <a:lnTo>
                        <a:pt x="90" y="43"/>
                      </a:lnTo>
                      <a:lnTo>
                        <a:pt x="91" y="44"/>
                      </a:lnTo>
                      <a:lnTo>
                        <a:pt x="93" y="46"/>
                      </a:lnTo>
                      <a:lnTo>
                        <a:pt x="85" y="49"/>
                      </a:lnTo>
                      <a:lnTo>
                        <a:pt x="73" y="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2" name="Freeform 1323">
                  <a:extLst>
                    <a:ext uri="{FF2B5EF4-FFF2-40B4-BE49-F238E27FC236}">
                      <a16:creationId xmlns:a16="http://schemas.microsoft.com/office/drawing/2014/main" id="{B53ADAE1-185A-9345-97F2-627349DCB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6917" y="2855837"/>
                  <a:ext cx="53275" cy="56235"/>
                </a:xfrm>
                <a:custGeom>
                  <a:avLst/>
                  <a:gdLst>
                    <a:gd name="T0" fmla="*/ 0 w 39"/>
                    <a:gd name="T1" fmla="*/ 0 h 38"/>
                    <a:gd name="T2" fmla="*/ 2147483647 w 39"/>
                    <a:gd name="T3" fmla="*/ 2147483647 h 38"/>
                    <a:gd name="T4" fmla="*/ 2147483647 w 39"/>
                    <a:gd name="T5" fmla="*/ 2147483647 h 38"/>
                    <a:gd name="T6" fmla="*/ 2147483647 w 39"/>
                    <a:gd name="T7" fmla="*/ 2147483647 h 38"/>
                    <a:gd name="T8" fmla="*/ 2147483647 w 39"/>
                    <a:gd name="T9" fmla="*/ 2147483647 h 38"/>
                    <a:gd name="T10" fmla="*/ 2147483647 w 39"/>
                    <a:gd name="T11" fmla="*/ 2147483647 h 38"/>
                    <a:gd name="T12" fmla="*/ 2147483647 w 39"/>
                    <a:gd name="T13" fmla="*/ 2147483647 h 38"/>
                    <a:gd name="T14" fmla="*/ 2147483647 w 39"/>
                    <a:gd name="T15" fmla="*/ 2147483647 h 38"/>
                    <a:gd name="T16" fmla="*/ 2147483647 w 39"/>
                    <a:gd name="T17" fmla="*/ 2147483647 h 38"/>
                    <a:gd name="T18" fmla="*/ 2147483647 w 39"/>
                    <a:gd name="T19" fmla="*/ 2147483647 h 38"/>
                    <a:gd name="T20" fmla="*/ 2147483647 w 39"/>
                    <a:gd name="T21" fmla="*/ 2147483647 h 38"/>
                    <a:gd name="T22" fmla="*/ 2147483647 w 39"/>
                    <a:gd name="T23" fmla="*/ 2147483647 h 38"/>
                    <a:gd name="T24" fmla="*/ 0 w 39"/>
                    <a:gd name="T25" fmla="*/ 0 h 3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9"/>
                    <a:gd name="T40" fmla="*/ 0 h 38"/>
                    <a:gd name="T41" fmla="*/ 39 w 39"/>
                    <a:gd name="T42" fmla="*/ 38 h 3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9" h="38">
                      <a:moveTo>
                        <a:pt x="0" y="0"/>
                      </a:moveTo>
                      <a:lnTo>
                        <a:pt x="9" y="10"/>
                      </a:lnTo>
                      <a:lnTo>
                        <a:pt x="16" y="16"/>
                      </a:lnTo>
                      <a:lnTo>
                        <a:pt x="20" y="17"/>
                      </a:lnTo>
                      <a:lnTo>
                        <a:pt x="23" y="17"/>
                      </a:lnTo>
                      <a:lnTo>
                        <a:pt x="26" y="16"/>
                      </a:lnTo>
                      <a:lnTo>
                        <a:pt x="32" y="16"/>
                      </a:lnTo>
                      <a:lnTo>
                        <a:pt x="35" y="14"/>
                      </a:lnTo>
                      <a:lnTo>
                        <a:pt x="39" y="20"/>
                      </a:lnTo>
                      <a:lnTo>
                        <a:pt x="39" y="28"/>
                      </a:lnTo>
                      <a:lnTo>
                        <a:pt x="34" y="31"/>
                      </a:lnTo>
                      <a:lnTo>
                        <a:pt x="32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3" name="Freeform 1324">
                  <a:extLst>
                    <a:ext uri="{FF2B5EF4-FFF2-40B4-BE49-F238E27FC236}">
                      <a16:creationId xmlns:a16="http://schemas.microsoft.com/office/drawing/2014/main" id="{9DFD0F64-50AE-4545-854A-D3D4756506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4807" y="3080777"/>
                  <a:ext cx="26637" cy="39957"/>
                </a:xfrm>
                <a:custGeom>
                  <a:avLst/>
                  <a:gdLst>
                    <a:gd name="T0" fmla="*/ 0 w 19"/>
                    <a:gd name="T1" fmla="*/ 2147483647 h 27"/>
                    <a:gd name="T2" fmla="*/ 0 w 19"/>
                    <a:gd name="T3" fmla="*/ 2147483647 h 27"/>
                    <a:gd name="T4" fmla="*/ 0 w 19"/>
                    <a:gd name="T5" fmla="*/ 2147483647 h 27"/>
                    <a:gd name="T6" fmla="*/ 2147483647 w 19"/>
                    <a:gd name="T7" fmla="*/ 2147483647 h 27"/>
                    <a:gd name="T8" fmla="*/ 2147483647 w 19"/>
                    <a:gd name="T9" fmla="*/ 2147483647 h 27"/>
                    <a:gd name="T10" fmla="*/ 2147483647 w 19"/>
                    <a:gd name="T11" fmla="*/ 2147483647 h 27"/>
                    <a:gd name="T12" fmla="*/ 2147483647 w 19"/>
                    <a:gd name="T13" fmla="*/ 2147483647 h 27"/>
                    <a:gd name="T14" fmla="*/ 2147483647 w 19"/>
                    <a:gd name="T15" fmla="*/ 2147483647 h 27"/>
                    <a:gd name="T16" fmla="*/ 2147483647 w 19"/>
                    <a:gd name="T17" fmla="*/ 2147483647 h 27"/>
                    <a:gd name="T18" fmla="*/ 2147483647 w 19"/>
                    <a:gd name="T19" fmla="*/ 2147483647 h 27"/>
                    <a:gd name="T20" fmla="*/ 2147483647 w 19"/>
                    <a:gd name="T21" fmla="*/ 2147483647 h 27"/>
                    <a:gd name="T22" fmla="*/ 2147483647 w 19"/>
                    <a:gd name="T23" fmla="*/ 0 h 2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9"/>
                    <a:gd name="T37" fmla="*/ 0 h 27"/>
                    <a:gd name="T38" fmla="*/ 19 w 19"/>
                    <a:gd name="T39" fmla="*/ 27 h 2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9" h="27">
                      <a:moveTo>
                        <a:pt x="0" y="27"/>
                      </a:moveTo>
                      <a:lnTo>
                        <a:pt x="0" y="27"/>
                      </a:lnTo>
                      <a:lnTo>
                        <a:pt x="0" y="25"/>
                      </a:lnTo>
                      <a:lnTo>
                        <a:pt x="3" y="23"/>
                      </a:lnTo>
                      <a:lnTo>
                        <a:pt x="5" y="19"/>
                      </a:lnTo>
                      <a:lnTo>
                        <a:pt x="13" y="12"/>
                      </a:lnTo>
                      <a:lnTo>
                        <a:pt x="17" y="8"/>
                      </a:lnTo>
                      <a:lnTo>
                        <a:pt x="18" y="5"/>
                      </a:lnTo>
                      <a:lnTo>
                        <a:pt x="19" y="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4" name="Freeform 1325">
                  <a:extLst>
                    <a:ext uri="{FF2B5EF4-FFF2-40B4-BE49-F238E27FC236}">
                      <a16:creationId xmlns:a16="http://schemas.microsoft.com/office/drawing/2014/main" id="{061054DB-8B50-334C-805E-EB0CF6D8D2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5437" y="2854358"/>
                  <a:ext cx="53275" cy="56235"/>
                </a:xfrm>
                <a:custGeom>
                  <a:avLst/>
                  <a:gdLst>
                    <a:gd name="T0" fmla="*/ 0 w 39"/>
                    <a:gd name="T1" fmla="*/ 0 h 38"/>
                    <a:gd name="T2" fmla="*/ 0 w 39"/>
                    <a:gd name="T3" fmla="*/ 0 h 38"/>
                    <a:gd name="T4" fmla="*/ 2147483647 w 39"/>
                    <a:gd name="T5" fmla="*/ 2147483647 h 38"/>
                    <a:gd name="T6" fmla="*/ 2147483647 w 39"/>
                    <a:gd name="T7" fmla="*/ 2147483647 h 38"/>
                    <a:gd name="T8" fmla="*/ 2147483647 w 39"/>
                    <a:gd name="T9" fmla="*/ 2147483647 h 38"/>
                    <a:gd name="T10" fmla="*/ 2147483647 w 39"/>
                    <a:gd name="T11" fmla="*/ 2147483647 h 38"/>
                    <a:gd name="T12" fmla="*/ 2147483647 w 39"/>
                    <a:gd name="T13" fmla="*/ 2147483647 h 38"/>
                    <a:gd name="T14" fmla="*/ 2147483647 w 39"/>
                    <a:gd name="T15" fmla="*/ 2147483647 h 38"/>
                    <a:gd name="T16" fmla="*/ 2147483647 w 39"/>
                    <a:gd name="T17" fmla="*/ 2147483647 h 38"/>
                    <a:gd name="T18" fmla="*/ 2147483647 w 39"/>
                    <a:gd name="T19" fmla="*/ 2147483647 h 38"/>
                    <a:gd name="T20" fmla="*/ 2147483647 w 39"/>
                    <a:gd name="T21" fmla="*/ 2147483647 h 38"/>
                    <a:gd name="T22" fmla="*/ 2147483647 w 39"/>
                    <a:gd name="T23" fmla="*/ 2147483647 h 38"/>
                    <a:gd name="T24" fmla="*/ 2147483647 w 39"/>
                    <a:gd name="T25" fmla="*/ 2147483647 h 38"/>
                    <a:gd name="T26" fmla="*/ 2147483647 w 39"/>
                    <a:gd name="T27" fmla="*/ 2147483647 h 3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9"/>
                    <a:gd name="T43" fmla="*/ 0 h 38"/>
                    <a:gd name="T44" fmla="*/ 39 w 39"/>
                    <a:gd name="T45" fmla="*/ 38 h 3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9" h="3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10"/>
                      </a:lnTo>
                      <a:lnTo>
                        <a:pt x="16" y="15"/>
                      </a:lnTo>
                      <a:lnTo>
                        <a:pt x="20" y="17"/>
                      </a:lnTo>
                      <a:lnTo>
                        <a:pt x="22" y="17"/>
                      </a:lnTo>
                      <a:lnTo>
                        <a:pt x="26" y="15"/>
                      </a:lnTo>
                      <a:lnTo>
                        <a:pt x="31" y="15"/>
                      </a:lnTo>
                      <a:lnTo>
                        <a:pt x="35" y="14"/>
                      </a:lnTo>
                      <a:lnTo>
                        <a:pt x="39" y="20"/>
                      </a:lnTo>
                      <a:lnTo>
                        <a:pt x="39" y="27"/>
                      </a:lnTo>
                      <a:lnTo>
                        <a:pt x="34" y="31"/>
                      </a:lnTo>
                      <a:lnTo>
                        <a:pt x="31" y="38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5" name="Freeform 1326">
                  <a:extLst>
                    <a:ext uri="{FF2B5EF4-FFF2-40B4-BE49-F238E27FC236}">
                      <a16:creationId xmlns:a16="http://schemas.microsoft.com/office/drawing/2014/main" id="{64E5162A-885C-FE44-B96D-1B948D1467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0998" y="2756687"/>
                  <a:ext cx="223460" cy="127269"/>
                </a:xfrm>
                <a:custGeom>
                  <a:avLst/>
                  <a:gdLst>
                    <a:gd name="T0" fmla="*/ 2147483647 w 163"/>
                    <a:gd name="T1" fmla="*/ 2147483647 h 86"/>
                    <a:gd name="T2" fmla="*/ 2147483647 w 163"/>
                    <a:gd name="T3" fmla="*/ 2147483647 h 86"/>
                    <a:gd name="T4" fmla="*/ 2147483647 w 163"/>
                    <a:gd name="T5" fmla="*/ 0 h 86"/>
                    <a:gd name="T6" fmla="*/ 2147483647 w 163"/>
                    <a:gd name="T7" fmla="*/ 2147483647 h 86"/>
                    <a:gd name="T8" fmla="*/ 2147483647 w 163"/>
                    <a:gd name="T9" fmla="*/ 2147483647 h 86"/>
                    <a:gd name="T10" fmla="*/ 2147483647 w 163"/>
                    <a:gd name="T11" fmla="*/ 2147483647 h 86"/>
                    <a:gd name="T12" fmla="*/ 2147483647 w 163"/>
                    <a:gd name="T13" fmla="*/ 2147483647 h 86"/>
                    <a:gd name="T14" fmla="*/ 2147483647 w 163"/>
                    <a:gd name="T15" fmla="*/ 2147483647 h 86"/>
                    <a:gd name="T16" fmla="*/ 2147483647 w 163"/>
                    <a:gd name="T17" fmla="*/ 2147483647 h 86"/>
                    <a:gd name="T18" fmla="*/ 2147483647 w 163"/>
                    <a:gd name="T19" fmla="*/ 2147483647 h 86"/>
                    <a:gd name="T20" fmla="*/ 2147483647 w 163"/>
                    <a:gd name="T21" fmla="*/ 2147483647 h 86"/>
                    <a:gd name="T22" fmla="*/ 2147483647 w 163"/>
                    <a:gd name="T23" fmla="*/ 2147483647 h 86"/>
                    <a:gd name="T24" fmla="*/ 2147483647 w 163"/>
                    <a:gd name="T25" fmla="*/ 2147483647 h 86"/>
                    <a:gd name="T26" fmla="*/ 2147483647 w 163"/>
                    <a:gd name="T27" fmla="*/ 2147483647 h 86"/>
                    <a:gd name="T28" fmla="*/ 2147483647 w 163"/>
                    <a:gd name="T29" fmla="*/ 2147483647 h 86"/>
                    <a:gd name="T30" fmla="*/ 2147483647 w 163"/>
                    <a:gd name="T31" fmla="*/ 2147483647 h 86"/>
                    <a:gd name="T32" fmla="*/ 2147483647 w 163"/>
                    <a:gd name="T33" fmla="*/ 2147483647 h 86"/>
                    <a:gd name="T34" fmla="*/ 2147483647 w 163"/>
                    <a:gd name="T35" fmla="*/ 2147483647 h 86"/>
                    <a:gd name="T36" fmla="*/ 2147483647 w 163"/>
                    <a:gd name="T37" fmla="*/ 2147483647 h 86"/>
                    <a:gd name="T38" fmla="*/ 2147483647 w 163"/>
                    <a:gd name="T39" fmla="*/ 2147483647 h 86"/>
                    <a:gd name="T40" fmla="*/ 2147483647 w 163"/>
                    <a:gd name="T41" fmla="*/ 2147483647 h 86"/>
                    <a:gd name="T42" fmla="*/ 2147483647 w 163"/>
                    <a:gd name="T43" fmla="*/ 2147483647 h 86"/>
                    <a:gd name="T44" fmla="*/ 2147483647 w 163"/>
                    <a:gd name="T45" fmla="*/ 2147483647 h 86"/>
                    <a:gd name="T46" fmla="*/ 2147483647 w 163"/>
                    <a:gd name="T47" fmla="*/ 2147483647 h 86"/>
                    <a:gd name="T48" fmla="*/ 2147483647 w 163"/>
                    <a:gd name="T49" fmla="*/ 2147483647 h 86"/>
                    <a:gd name="T50" fmla="*/ 2147483647 w 163"/>
                    <a:gd name="T51" fmla="*/ 2147483647 h 86"/>
                    <a:gd name="T52" fmla="*/ 2147483647 w 163"/>
                    <a:gd name="T53" fmla="*/ 2147483647 h 86"/>
                    <a:gd name="T54" fmla="*/ 2147483647 w 163"/>
                    <a:gd name="T55" fmla="*/ 2147483647 h 86"/>
                    <a:gd name="T56" fmla="*/ 2147483647 w 163"/>
                    <a:gd name="T57" fmla="*/ 2147483647 h 86"/>
                    <a:gd name="T58" fmla="*/ 2147483647 w 163"/>
                    <a:gd name="T59" fmla="*/ 2147483647 h 86"/>
                    <a:gd name="T60" fmla="*/ 2147483647 w 163"/>
                    <a:gd name="T61" fmla="*/ 2147483647 h 86"/>
                    <a:gd name="T62" fmla="*/ 2147483647 w 163"/>
                    <a:gd name="T63" fmla="*/ 2147483647 h 86"/>
                    <a:gd name="T64" fmla="*/ 2147483647 w 163"/>
                    <a:gd name="T65" fmla="*/ 2147483647 h 86"/>
                    <a:gd name="T66" fmla="*/ 2147483647 w 163"/>
                    <a:gd name="T67" fmla="*/ 2147483647 h 86"/>
                    <a:gd name="T68" fmla="*/ 2147483647 w 163"/>
                    <a:gd name="T69" fmla="*/ 2147483647 h 86"/>
                    <a:gd name="T70" fmla="*/ 2147483647 w 163"/>
                    <a:gd name="T71" fmla="*/ 2147483647 h 86"/>
                    <a:gd name="T72" fmla="*/ 2147483647 w 163"/>
                    <a:gd name="T73" fmla="*/ 2147483647 h 86"/>
                    <a:gd name="T74" fmla="*/ 2147483647 w 163"/>
                    <a:gd name="T75" fmla="*/ 2147483647 h 86"/>
                    <a:gd name="T76" fmla="*/ 2147483647 w 163"/>
                    <a:gd name="T77" fmla="*/ 2147483647 h 86"/>
                    <a:gd name="T78" fmla="*/ 2147483647 w 163"/>
                    <a:gd name="T79" fmla="*/ 2147483647 h 86"/>
                    <a:gd name="T80" fmla="*/ 2147483647 w 163"/>
                    <a:gd name="T81" fmla="*/ 2147483647 h 86"/>
                    <a:gd name="T82" fmla="*/ 2147483647 w 163"/>
                    <a:gd name="T83" fmla="*/ 2147483647 h 86"/>
                    <a:gd name="T84" fmla="*/ 2147483647 w 163"/>
                    <a:gd name="T85" fmla="*/ 2147483647 h 86"/>
                    <a:gd name="T86" fmla="*/ 2147483647 w 163"/>
                    <a:gd name="T87" fmla="*/ 2147483647 h 86"/>
                    <a:gd name="T88" fmla="*/ 2147483647 w 163"/>
                    <a:gd name="T89" fmla="*/ 2147483647 h 86"/>
                    <a:gd name="T90" fmla="*/ 2147483647 w 163"/>
                    <a:gd name="T91" fmla="*/ 2147483647 h 86"/>
                    <a:gd name="T92" fmla="*/ 2147483647 w 163"/>
                    <a:gd name="T93" fmla="*/ 2147483647 h 86"/>
                    <a:gd name="T94" fmla="*/ 2147483647 w 163"/>
                    <a:gd name="T95" fmla="*/ 2147483647 h 86"/>
                    <a:gd name="T96" fmla="*/ 2147483647 w 163"/>
                    <a:gd name="T97" fmla="*/ 2147483647 h 86"/>
                    <a:gd name="T98" fmla="*/ 2147483647 w 163"/>
                    <a:gd name="T99" fmla="*/ 2147483647 h 86"/>
                    <a:gd name="T100" fmla="*/ 2147483647 w 163"/>
                    <a:gd name="T101" fmla="*/ 2147483647 h 86"/>
                    <a:gd name="T102" fmla="*/ 2147483647 w 163"/>
                    <a:gd name="T103" fmla="*/ 2147483647 h 86"/>
                    <a:gd name="T104" fmla="*/ 2147483647 w 163"/>
                    <a:gd name="T105" fmla="*/ 2147483647 h 86"/>
                    <a:gd name="T106" fmla="*/ 2147483647 w 163"/>
                    <a:gd name="T107" fmla="*/ 2147483647 h 86"/>
                    <a:gd name="T108" fmla="*/ 2147483647 w 163"/>
                    <a:gd name="T109" fmla="*/ 2147483647 h 86"/>
                    <a:gd name="T110" fmla="*/ 2147483647 w 163"/>
                    <a:gd name="T111" fmla="*/ 2147483647 h 86"/>
                    <a:gd name="T112" fmla="*/ 2147483647 w 163"/>
                    <a:gd name="T113" fmla="*/ 2147483647 h 86"/>
                    <a:gd name="T114" fmla="*/ 2147483647 w 163"/>
                    <a:gd name="T115" fmla="*/ 2147483647 h 86"/>
                    <a:gd name="T116" fmla="*/ 2147483647 w 163"/>
                    <a:gd name="T117" fmla="*/ 2147483647 h 86"/>
                    <a:gd name="T118" fmla="*/ 2147483647 w 163"/>
                    <a:gd name="T119" fmla="*/ 2147483647 h 86"/>
                    <a:gd name="T120" fmla="*/ 0 w 163"/>
                    <a:gd name="T121" fmla="*/ 2147483647 h 8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3"/>
                    <a:gd name="T184" fmla="*/ 0 h 86"/>
                    <a:gd name="T185" fmla="*/ 163 w 163"/>
                    <a:gd name="T186" fmla="*/ 86 h 8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3" h="86">
                      <a:moveTo>
                        <a:pt x="48" y="10"/>
                      </a:moveTo>
                      <a:lnTo>
                        <a:pt x="62" y="2"/>
                      </a:lnTo>
                      <a:lnTo>
                        <a:pt x="81" y="0"/>
                      </a:lnTo>
                      <a:lnTo>
                        <a:pt x="86" y="8"/>
                      </a:lnTo>
                      <a:lnTo>
                        <a:pt x="88" y="15"/>
                      </a:lnTo>
                      <a:lnTo>
                        <a:pt x="96" y="22"/>
                      </a:lnTo>
                      <a:lnTo>
                        <a:pt x="119" y="25"/>
                      </a:lnTo>
                      <a:lnTo>
                        <a:pt x="122" y="25"/>
                      </a:lnTo>
                      <a:lnTo>
                        <a:pt x="133" y="26"/>
                      </a:lnTo>
                      <a:lnTo>
                        <a:pt x="149" y="28"/>
                      </a:lnTo>
                      <a:lnTo>
                        <a:pt x="156" y="28"/>
                      </a:lnTo>
                      <a:lnTo>
                        <a:pt x="159" y="34"/>
                      </a:lnTo>
                      <a:lnTo>
                        <a:pt x="161" y="39"/>
                      </a:lnTo>
                      <a:lnTo>
                        <a:pt x="163" y="44"/>
                      </a:lnTo>
                      <a:lnTo>
                        <a:pt x="161" y="53"/>
                      </a:lnTo>
                      <a:lnTo>
                        <a:pt x="160" y="59"/>
                      </a:lnTo>
                      <a:lnTo>
                        <a:pt x="159" y="61"/>
                      </a:lnTo>
                      <a:lnTo>
                        <a:pt x="157" y="63"/>
                      </a:lnTo>
                      <a:lnTo>
                        <a:pt x="156" y="64"/>
                      </a:lnTo>
                      <a:lnTo>
                        <a:pt x="155" y="67"/>
                      </a:lnTo>
                      <a:lnTo>
                        <a:pt x="152" y="70"/>
                      </a:lnTo>
                      <a:lnTo>
                        <a:pt x="143" y="77"/>
                      </a:lnTo>
                      <a:lnTo>
                        <a:pt x="140" y="80"/>
                      </a:lnTo>
                      <a:lnTo>
                        <a:pt x="137" y="84"/>
                      </a:lnTo>
                      <a:lnTo>
                        <a:pt x="137" y="86"/>
                      </a:lnTo>
                      <a:lnTo>
                        <a:pt x="135" y="86"/>
                      </a:lnTo>
                      <a:lnTo>
                        <a:pt x="128" y="86"/>
                      </a:lnTo>
                      <a:lnTo>
                        <a:pt x="121" y="85"/>
                      </a:lnTo>
                      <a:lnTo>
                        <a:pt x="118" y="84"/>
                      </a:lnTo>
                      <a:lnTo>
                        <a:pt x="117" y="81"/>
                      </a:lnTo>
                      <a:lnTo>
                        <a:pt x="113" y="76"/>
                      </a:lnTo>
                      <a:lnTo>
                        <a:pt x="109" y="70"/>
                      </a:lnTo>
                      <a:lnTo>
                        <a:pt x="103" y="64"/>
                      </a:lnTo>
                      <a:lnTo>
                        <a:pt x="100" y="63"/>
                      </a:lnTo>
                      <a:lnTo>
                        <a:pt x="90" y="59"/>
                      </a:lnTo>
                      <a:lnTo>
                        <a:pt x="84" y="57"/>
                      </a:lnTo>
                      <a:lnTo>
                        <a:pt x="80" y="55"/>
                      </a:lnTo>
                      <a:lnTo>
                        <a:pt x="77" y="55"/>
                      </a:lnTo>
                      <a:lnTo>
                        <a:pt x="74" y="57"/>
                      </a:lnTo>
                      <a:lnTo>
                        <a:pt x="69" y="59"/>
                      </a:lnTo>
                      <a:lnTo>
                        <a:pt x="66" y="60"/>
                      </a:lnTo>
                      <a:lnTo>
                        <a:pt x="39" y="57"/>
                      </a:lnTo>
                      <a:lnTo>
                        <a:pt x="28" y="54"/>
                      </a:lnTo>
                      <a:lnTo>
                        <a:pt x="19" y="53"/>
                      </a:lnTo>
                      <a:lnTo>
                        <a:pt x="15" y="53"/>
                      </a:lnTo>
                      <a:lnTo>
                        <a:pt x="13" y="54"/>
                      </a:lnTo>
                      <a:lnTo>
                        <a:pt x="0" y="58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6" name="Freeform 1327">
                  <a:extLst>
                    <a:ext uri="{FF2B5EF4-FFF2-40B4-BE49-F238E27FC236}">
                      <a16:creationId xmlns:a16="http://schemas.microsoft.com/office/drawing/2014/main" id="{B91A43C3-35B3-7D4A-A9DB-FC783D958E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2260" y="2709331"/>
                  <a:ext cx="10359" cy="90272"/>
                </a:xfrm>
                <a:custGeom>
                  <a:avLst/>
                  <a:gdLst>
                    <a:gd name="T0" fmla="*/ 2147483647 w 8"/>
                    <a:gd name="T1" fmla="*/ 0 h 61"/>
                    <a:gd name="T2" fmla="*/ 2147483647 w 8"/>
                    <a:gd name="T3" fmla="*/ 2147483647 h 61"/>
                    <a:gd name="T4" fmla="*/ 0 w 8"/>
                    <a:gd name="T5" fmla="*/ 2147483647 h 61"/>
                    <a:gd name="T6" fmla="*/ 2147483647 w 8"/>
                    <a:gd name="T7" fmla="*/ 2147483647 h 61"/>
                    <a:gd name="T8" fmla="*/ 2147483647 w 8"/>
                    <a:gd name="T9" fmla="*/ 2147483647 h 61"/>
                    <a:gd name="T10" fmla="*/ 2147483647 w 8"/>
                    <a:gd name="T11" fmla="*/ 2147483647 h 61"/>
                    <a:gd name="T12" fmla="*/ 2147483647 w 8"/>
                    <a:gd name="T13" fmla="*/ 2147483647 h 61"/>
                    <a:gd name="T14" fmla="*/ 2147483647 w 8"/>
                    <a:gd name="T15" fmla="*/ 2147483647 h 61"/>
                    <a:gd name="T16" fmla="*/ 2147483647 w 8"/>
                    <a:gd name="T17" fmla="*/ 2147483647 h 61"/>
                    <a:gd name="T18" fmla="*/ 2147483647 w 8"/>
                    <a:gd name="T19" fmla="*/ 2147483647 h 61"/>
                    <a:gd name="T20" fmla="*/ 2147483647 w 8"/>
                    <a:gd name="T21" fmla="*/ 2147483647 h 61"/>
                    <a:gd name="T22" fmla="*/ 2147483647 w 8"/>
                    <a:gd name="T23" fmla="*/ 2147483647 h 61"/>
                    <a:gd name="T24" fmla="*/ 2147483647 w 8"/>
                    <a:gd name="T25" fmla="*/ 0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61"/>
                    <a:gd name="T41" fmla="*/ 8 w 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61">
                      <a:moveTo>
                        <a:pt x="2" y="0"/>
                      </a:moveTo>
                      <a:lnTo>
                        <a:pt x="2" y="12"/>
                      </a:lnTo>
                      <a:lnTo>
                        <a:pt x="0" y="22"/>
                      </a:lnTo>
                      <a:lnTo>
                        <a:pt x="2" y="28"/>
                      </a:lnTo>
                      <a:lnTo>
                        <a:pt x="3" y="32"/>
                      </a:lnTo>
                      <a:lnTo>
                        <a:pt x="5" y="34"/>
                      </a:lnTo>
                      <a:lnTo>
                        <a:pt x="7" y="38"/>
                      </a:lnTo>
                      <a:lnTo>
                        <a:pt x="8" y="40"/>
                      </a:lnTo>
                      <a:lnTo>
                        <a:pt x="8" y="47"/>
                      </a:lnTo>
                      <a:lnTo>
                        <a:pt x="8" y="52"/>
                      </a:lnTo>
                      <a:lnTo>
                        <a:pt x="8" y="57"/>
                      </a:lnTo>
                      <a:lnTo>
                        <a:pt x="7" y="6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7" name="Freeform 1328">
                  <a:extLst>
                    <a:ext uri="{FF2B5EF4-FFF2-40B4-BE49-F238E27FC236}">
                      <a16:creationId xmlns:a16="http://schemas.microsoft.com/office/drawing/2014/main" id="{82A33648-1B51-FE4F-9C7B-BC670745EE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0784" y="2706368"/>
                  <a:ext cx="10360" cy="91752"/>
                </a:xfrm>
                <a:custGeom>
                  <a:avLst/>
                  <a:gdLst>
                    <a:gd name="T0" fmla="*/ 2147483647 w 8"/>
                    <a:gd name="T1" fmla="*/ 0 h 62"/>
                    <a:gd name="T2" fmla="*/ 2147483647 w 8"/>
                    <a:gd name="T3" fmla="*/ 0 h 62"/>
                    <a:gd name="T4" fmla="*/ 2147483647 w 8"/>
                    <a:gd name="T5" fmla="*/ 2147483647 h 62"/>
                    <a:gd name="T6" fmla="*/ 2147483647 w 8"/>
                    <a:gd name="T7" fmla="*/ 2147483647 h 62"/>
                    <a:gd name="T8" fmla="*/ 0 w 8"/>
                    <a:gd name="T9" fmla="*/ 2147483647 h 62"/>
                    <a:gd name="T10" fmla="*/ 2147483647 w 8"/>
                    <a:gd name="T11" fmla="*/ 2147483647 h 62"/>
                    <a:gd name="T12" fmla="*/ 2147483647 w 8"/>
                    <a:gd name="T13" fmla="*/ 2147483647 h 62"/>
                    <a:gd name="T14" fmla="*/ 2147483647 w 8"/>
                    <a:gd name="T15" fmla="*/ 2147483647 h 62"/>
                    <a:gd name="T16" fmla="*/ 2147483647 w 8"/>
                    <a:gd name="T17" fmla="*/ 2147483647 h 62"/>
                    <a:gd name="T18" fmla="*/ 2147483647 w 8"/>
                    <a:gd name="T19" fmla="*/ 2147483647 h 62"/>
                    <a:gd name="T20" fmla="*/ 2147483647 w 8"/>
                    <a:gd name="T21" fmla="*/ 2147483647 h 62"/>
                    <a:gd name="T22" fmla="*/ 2147483647 w 8"/>
                    <a:gd name="T23" fmla="*/ 2147483647 h 62"/>
                    <a:gd name="T24" fmla="*/ 2147483647 w 8"/>
                    <a:gd name="T25" fmla="*/ 2147483647 h 62"/>
                    <a:gd name="T26" fmla="*/ 2147483647 w 8"/>
                    <a:gd name="T27" fmla="*/ 2147483647 h 62"/>
                    <a:gd name="T28" fmla="*/ 2147483647 w 8"/>
                    <a:gd name="T29" fmla="*/ 2147483647 h 62"/>
                    <a:gd name="T30" fmla="*/ 2147483647 w 8"/>
                    <a:gd name="T31" fmla="*/ 2147483647 h 62"/>
                    <a:gd name="T32" fmla="*/ 2147483647 w 8"/>
                    <a:gd name="T33" fmla="*/ 2147483647 h 6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62"/>
                    <a:gd name="T53" fmla="*/ 8 w 8"/>
                    <a:gd name="T54" fmla="*/ 62 h 6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62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12"/>
                      </a:lnTo>
                      <a:lnTo>
                        <a:pt x="0" y="23"/>
                      </a:lnTo>
                      <a:lnTo>
                        <a:pt x="1" y="29"/>
                      </a:lnTo>
                      <a:lnTo>
                        <a:pt x="3" y="33"/>
                      </a:lnTo>
                      <a:lnTo>
                        <a:pt x="5" y="35"/>
                      </a:lnTo>
                      <a:lnTo>
                        <a:pt x="6" y="38"/>
                      </a:lnTo>
                      <a:lnTo>
                        <a:pt x="8" y="41"/>
                      </a:lnTo>
                      <a:lnTo>
                        <a:pt x="8" y="48"/>
                      </a:lnTo>
                      <a:lnTo>
                        <a:pt x="8" y="53"/>
                      </a:lnTo>
                      <a:lnTo>
                        <a:pt x="8" y="57"/>
                      </a:lnTo>
                      <a:lnTo>
                        <a:pt x="6" y="62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8" name="Freeform 1329">
                  <a:extLst>
                    <a:ext uri="{FF2B5EF4-FFF2-40B4-BE49-F238E27FC236}">
                      <a16:creationId xmlns:a16="http://schemas.microsoft.com/office/drawing/2014/main" id="{B90024D2-C558-A14F-AFED-D476F257F1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8270" y="3135533"/>
                  <a:ext cx="97672" cy="78433"/>
                </a:xfrm>
                <a:custGeom>
                  <a:avLst/>
                  <a:gdLst>
                    <a:gd name="T0" fmla="*/ 2147483647 w 72"/>
                    <a:gd name="T1" fmla="*/ 2147483647 h 53"/>
                    <a:gd name="T2" fmla="*/ 2147483647 w 72"/>
                    <a:gd name="T3" fmla="*/ 2147483647 h 53"/>
                    <a:gd name="T4" fmla="*/ 2147483647 w 72"/>
                    <a:gd name="T5" fmla="*/ 2147483647 h 53"/>
                    <a:gd name="T6" fmla="*/ 2147483647 w 72"/>
                    <a:gd name="T7" fmla="*/ 2147483647 h 53"/>
                    <a:gd name="T8" fmla="*/ 2147483647 w 72"/>
                    <a:gd name="T9" fmla="*/ 2147483647 h 53"/>
                    <a:gd name="T10" fmla="*/ 2147483647 w 72"/>
                    <a:gd name="T11" fmla="*/ 2147483647 h 53"/>
                    <a:gd name="T12" fmla="*/ 2147483647 w 72"/>
                    <a:gd name="T13" fmla="*/ 2147483647 h 53"/>
                    <a:gd name="T14" fmla="*/ 2147483647 w 72"/>
                    <a:gd name="T15" fmla="*/ 2147483647 h 53"/>
                    <a:gd name="T16" fmla="*/ 2147483647 w 72"/>
                    <a:gd name="T17" fmla="*/ 2147483647 h 53"/>
                    <a:gd name="T18" fmla="*/ 2147483647 w 72"/>
                    <a:gd name="T19" fmla="*/ 2147483647 h 53"/>
                    <a:gd name="T20" fmla="*/ 2147483647 w 72"/>
                    <a:gd name="T21" fmla="*/ 2147483647 h 53"/>
                    <a:gd name="T22" fmla="*/ 2147483647 w 72"/>
                    <a:gd name="T23" fmla="*/ 2147483647 h 53"/>
                    <a:gd name="T24" fmla="*/ 2147483647 w 72"/>
                    <a:gd name="T25" fmla="*/ 2147483647 h 53"/>
                    <a:gd name="T26" fmla="*/ 2147483647 w 72"/>
                    <a:gd name="T27" fmla="*/ 2147483647 h 53"/>
                    <a:gd name="T28" fmla="*/ 2147483647 w 72"/>
                    <a:gd name="T29" fmla="*/ 2147483647 h 53"/>
                    <a:gd name="T30" fmla="*/ 2147483647 w 72"/>
                    <a:gd name="T31" fmla="*/ 2147483647 h 53"/>
                    <a:gd name="T32" fmla="*/ 2147483647 w 72"/>
                    <a:gd name="T33" fmla="*/ 2147483647 h 53"/>
                    <a:gd name="T34" fmla="*/ 2147483647 w 72"/>
                    <a:gd name="T35" fmla="*/ 2147483647 h 53"/>
                    <a:gd name="T36" fmla="*/ 2147483647 w 72"/>
                    <a:gd name="T37" fmla="*/ 2147483647 h 53"/>
                    <a:gd name="T38" fmla="*/ 2147483647 w 72"/>
                    <a:gd name="T39" fmla="*/ 2147483647 h 53"/>
                    <a:gd name="T40" fmla="*/ 2147483647 w 72"/>
                    <a:gd name="T41" fmla="*/ 2147483647 h 53"/>
                    <a:gd name="T42" fmla="*/ 2147483647 w 72"/>
                    <a:gd name="T43" fmla="*/ 2147483647 h 53"/>
                    <a:gd name="T44" fmla="*/ 2147483647 w 72"/>
                    <a:gd name="T45" fmla="*/ 2147483647 h 53"/>
                    <a:gd name="T46" fmla="*/ 2147483647 w 72"/>
                    <a:gd name="T47" fmla="*/ 2147483647 h 53"/>
                    <a:gd name="T48" fmla="*/ 2147483647 w 72"/>
                    <a:gd name="T49" fmla="*/ 2147483647 h 53"/>
                    <a:gd name="T50" fmla="*/ 2147483647 w 72"/>
                    <a:gd name="T51" fmla="*/ 2147483647 h 53"/>
                    <a:gd name="T52" fmla="*/ 2147483647 w 72"/>
                    <a:gd name="T53" fmla="*/ 2147483647 h 53"/>
                    <a:gd name="T54" fmla="*/ 2147483647 w 72"/>
                    <a:gd name="T55" fmla="*/ 2147483647 h 53"/>
                    <a:gd name="T56" fmla="*/ 2147483647 w 72"/>
                    <a:gd name="T57" fmla="*/ 2147483647 h 53"/>
                    <a:gd name="T58" fmla="*/ 2147483647 w 72"/>
                    <a:gd name="T59" fmla="*/ 2147483647 h 53"/>
                    <a:gd name="T60" fmla="*/ 2147483647 w 72"/>
                    <a:gd name="T61" fmla="*/ 0 h 53"/>
                    <a:gd name="T62" fmla="*/ 2147483647 w 72"/>
                    <a:gd name="T63" fmla="*/ 0 h 53"/>
                    <a:gd name="T64" fmla="*/ 2147483647 w 72"/>
                    <a:gd name="T65" fmla="*/ 0 h 53"/>
                    <a:gd name="T66" fmla="*/ 2147483647 w 72"/>
                    <a:gd name="T67" fmla="*/ 2147483647 h 53"/>
                    <a:gd name="T68" fmla="*/ 2147483647 w 72"/>
                    <a:gd name="T69" fmla="*/ 2147483647 h 53"/>
                    <a:gd name="T70" fmla="*/ 0 w 72"/>
                    <a:gd name="T71" fmla="*/ 2147483647 h 5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72"/>
                    <a:gd name="T109" fmla="*/ 0 h 53"/>
                    <a:gd name="T110" fmla="*/ 72 w 72"/>
                    <a:gd name="T111" fmla="*/ 53 h 5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72" h="53">
                      <a:moveTo>
                        <a:pt x="24" y="53"/>
                      </a:moveTo>
                      <a:lnTo>
                        <a:pt x="24" y="53"/>
                      </a:lnTo>
                      <a:lnTo>
                        <a:pt x="33" y="48"/>
                      </a:lnTo>
                      <a:lnTo>
                        <a:pt x="40" y="42"/>
                      </a:lnTo>
                      <a:lnTo>
                        <a:pt x="45" y="38"/>
                      </a:lnTo>
                      <a:lnTo>
                        <a:pt x="45" y="31"/>
                      </a:lnTo>
                      <a:lnTo>
                        <a:pt x="47" y="26"/>
                      </a:lnTo>
                      <a:lnTo>
                        <a:pt x="48" y="25"/>
                      </a:lnTo>
                      <a:lnTo>
                        <a:pt x="49" y="23"/>
                      </a:lnTo>
                      <a:lnTo>
                        <a:pt x="52" y="26"/>
                      </a:lnTo>
                      <a:lnTo>
                        <a:pt x="57" y="29"/>
                      </a:lnTo>
                      <a:lnTo>
                        <a:pt x="62" y="33"/>
                      </a:lnTo>
                      <a:lnTo>
                        <a:pt x="67" y="34"/>
                      </a:lnTo>
                      <a:lnTo>
                        <a:pt x="70" y="35"/>
                      </a:lnTo>
                      <a:lnTo>
                        <a:pt x="72" y="38"/>
                      </a:lnTo>
                      <a:lnTo>
                        <a:pt x="72" y="37"/>
                      </a:lnTo>
                      <a:lnTo>
                        <a:pt x="71" y="29"/>
                      </a:lnTo>
                      <a:lnTo>
                        <a:pt x="68" y="22"/>
                      </a:lnTo>
                      <a:lnTo>
                        <a:pt x="66" y="19"/>
                      </a:lnTo>
                      <a:lnTo>
                        <a:pt x="62" y="18"/>
                      </a:lnTo>
                      <a:lnTo>
                        <a:pt x="58" y="14"/>
                      </a:lnTo>
                      <a:lnTo>
                        <a:pt x="54" y="9"/>
                      </a:lnTo>
                      <a:lnTo>
                        <a:pt x="52" y="6"/>
                      </a:lnTo>
                      <a:lnTo>
                        <a:pt x="49" y="2"/>
                      </a:lnTo>
                      <a:lnTo>
                        <a:pt x="47" y="0"/>
                      </a:lnTo>
                      <a:lnTo>
                        <a:pt x="43" y="0"/>
                      </a:lnTo>
                      <a:lnTo>
                        <a:pt x="37" y="1"/>
                      </a:lnTo>
                      <a:lnTo>
                        <a:pt x="21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9" name="Freeform 1330">
                  <a:extLst>
                    <a:ext uri="{FF2B5EF4-FFF2-40B4-BE49-F238E27FC236}">
                      <a16:creationId xmlns:a16="http://schemas.microsoft.com/office/drawing/2014/main" id="{0C4791B3-D75C-8946-948B-332F4A178B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3874" y="2966828"/>
                  <a:ext cx="358129" cy="202742"/>
                </a:xfrm>
                <a:custGeom>
                  <a:avLst/>
                  <a:gdLst>
                    <a:gd name="T0" fmla="*/ 0 w 262"/>
                    <a:gd name="T1" fmla="*/ 2147483647 h 137"/>
                    <a:gd name="T2" fmla="*/ 2147483647 w 262"/>
                    <a:gd name="T3" fmla="*/ 2147483647 h 137"/>
                    <a:gd name="T4" fmla="*/ 2147483647 w 262"/>
                    <a:gd name="T5" fmla="*/ 2147483647 h 137"/>
                    <a:gd name="T6" fmla="*/ 2147483647 w 262"/>
                    <a:gd name="T7" fmla="*/ 2147483647 h 137"/>
                    <a:gd name="T8" fmla="*/ 2147483647 w 262"/>
                    <a:gd name="T9" fmla="*/ 2147483647 h 137"/>
                    <a:gd name="T10" fmla="*/ 2147483647 w 262"/>
                    <a:gd name="T11" fmla="*/ 2147483647 h 137"/>
                    <a:gd name="T12" fmla="*/ 2147483647 w 262"/>
                    <a:gd name="T13" fmla="*/ 2147483647 h 137"/>
                    <a:gd name="T14" fmla="*/ 2147483647 w 262"/>
                    <a:gd name="T15" fmla="*/ 2147483647 h 137"/>
                    <a:gd name="T16" fmla="*/ 2147483647 w 262"/>
                    <a:gd name="T17" fmla="*/ 2147483647 h 137"/>
                    <a:gd name="T18" fmla="*/ 2147483647 w 262"/>
                    <a:gd name="T19" fmla="*/ 2147483647 h 137"/>
                    <a:gd name="T20" fmla="*/ 2147483647 w 262"/>
                    <a:gd name="T21" fmla="*/ 2147483647 h 137"/>
                    <a:gd name="T22" fmla="*/ 2147483647 w 262"/>
                    <a:gd name="T23" fmla="*/ 2147483647 h 137"/>
                    <a:gd name="T24" fmla="*/ 2147483647 w 262"/>
                    <a:gd name="T25" fmla="*/ 2147483647 h 137"/>
                    <a:gd name="T26" fmla="*/ 2147483647 w 262"/>
                    <a:gd name="T27" fmla="*/ 2147483647 h 137"/>
                    <a:gd name="T28" fmla="*/ 2147483647 w 262"/>
                    <a:gd name="T29" fmla="*/ 2147483647 h 137"/>
                    <a:gd name="T30" fmla="*/ 2147483647 w 262"/>
                    <a:gd name="T31" fmla="*/ 2147483647 h 137"/>
                    <a:gd name="T32" fmla="*/ 2147483647 w 262"/>
                    <a:gd name="T33" fmla="*/ 0 h 137"/>
                    <a:gd name="T34" fmla="*/ 2147483647 w 262"/>
                    <a:gd name="T35" fmla="*/ 2147483647 h 137"/>
                    <a:gd name="T36" fmla="*/ 2147483647 w 262"/>
                    <a:gd name="T37" fmla="*/ 2147483647 h 137"/>
                    <a:gd name="T38" fmla="*/ 2147483647 w 262"/>
                    <a:gd name="T39" fmla="*/ 2147483647 h 137"/>
                    <a:gd name="T40" fmla="*/ 2147483647 w 262"/>
                    <a:gd name="T41" fmla="*/ 0 h 137"/>
                    <a:gd name="T42" fmla="*/ 2147483647 w 262"/>
                    <a:gd name="T43" fmla="*/ 2147483647 h 137"/>
                    <a:gd name="T44" fmla="*/ 2147483647 w 262"/>
                    <a:gd name="T45" fmla="*/ 2147483647 h 137"/>
                    <a:gd name="T46" fmla="*/ 2147483647 w 262"/>
                    <a:gd name="T47" fmla="*/ 2147483647 h 137"/>
                    <a:gd name="T48" fmla="*/ 2147483647 w 262"/>
                    <a:gd name="T49" fmla="*/ 2147483647 h 137"/>
                    <a:gd name="T50" fmla="*/ 2147483647 w 262"/>
                    <a:gd name="T51" fmla="*/ 2147483647 h 137"/>
                    <a:gd name="T52" fmla="*/ 2147483647 w 262"/>
                    <a:gd name="T53" fmla="*/ 2147483647 h 137"/>
                    <a:gd name="T54" fmla="*/ 2147483647 w 262"/>
                    <a:gd name="T55" fmla="*/ 2147483647 h 137"/>
                    <a:gd name="T56" fmla="*/ 2147483647 w 262"/>
                    <a:gd name="T57" fmla="*/ 2147483647 h 137"/>
                    <a:gd name="T58" fmla="*/ 2147483647 w 262"/>
                    <a:gd name="T59" fmla="*/ 2147483647 h 137"/>
                    <a:gd name="T60" fmla="*/ 2147483647 w 262"/>
                    <a:gd name="T61" fmla="*/ 2147483647 h 137"/>
                    <a:gd name="T62" fmla="*/ 2147483647 w 262"/>
                    <a:gd name="T63" fmla="*/ 2147483647 h 137"/>
                    <a:gd name="T64" fmla="*/ 2147483647 w 262"/>
                    <a:gd name="T65" fmla="*/ 2147483647 h 137"/>
                    <a:gd name="T66" fmla="*/ 2147483647 w 262"/>
                    <a:gd name="T67" fmla="*/ 2147483647 h 137"/>
                    <a:gd name="T68" fmla="*/ 2147483647 w 262"/>
                    <a:gd name="T69" fmla="*/ 2147483647 h 137"/>
                    <a:gd name="T70" fmla="*/ 2147483647 w 262"/>
                    <a:gd name="T71" fmla="*/ 2147483647 h 137"/>
                    <a:gd name="T72" fmla="*/ 2147483647 w 262"/>
                    <a:gd name="T73" fmla="*/ 2147483647 h 137"/>
                    <a:gd name="T74" fmla="*/ 2147483647 w 262"/>
                    <a:gd name="T75" fmla="*/ 2147483647 h 137"/>
                    <a:gd name="T76" fmla="*/ 2147483647 w 262"/>
                    <a:gd name="T77" fmla="*/ 2147483647 h 137"/>
                    <a:gd name="T78" fmla="*/ 2147483647 w 262"/>
                    <a:gd name="T79" fmla="*/ 2147483647 h 137"/>
                    <a:gd name="T80" fmla="*/ 2147483647 w 262"/>
                    <a:gd name="T81" fmla="*/ 2147483647 h 137"/>
                    <a:gd name="T82" fmla="*/ 2147483647 w 262"/>
                    <a:gd name="T83" fmla="*/ 2147483647 h 137"/>
                    <a:gd name="T84" fmla="*/ 2147483647 w 262"/>
                    <a:gd name="T85" fmla="*/ 2147483647 h 137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62"/>
                    <a:gd name="T130" fmla="*/ 0 h 137"/>
                    <a:gd name="T131" fmla="*/ 262 w 262"/>
                    <a:gd name="T132" fmla="*/ 137 h 137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62" h="137">
                      <a:moveTo>
                        <a:pt x="0" y="20"/>
                      </a:move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9" y="24"/>
                      </a:lnTo>
                      <a:lnTo>
                        <a:pt x="13" y="22"/>
                      </a:lnTo>
                      <a:lnTo>
                        <a:pt x="19" y="19"/>
                      </a:lnTo>
                      <a:lnTo>
                        <a:pt x="27" y="17"/>
                      </a:lnTo>
                      <a:lnTo>
                        <a:pt x="30" y="15"/>
                      </a:lnTo>
                      <a:lnTo>
                        <a:pt x="34" y="17"/>
                      </a:lnTo>
                      <a:lnTo>
                        <a:pt x="38" y="18"/>
                      </a:lnTo>
                      <a:lnTo>
                        <a:pt x="44" y="18"/>
                      </a:lnTo>
                      <a:lnTo>
                        <a:pt x="58" y="18"/>
                      </a:lnTo>
                      <a:lnTo>
                        <a:pt x="77" y="15"/>
                      </a:lnTo>
                      <a:lnTo>
                        <a:pt x="99" y="20"/>
                      </a:lnTo>
                      <a:lnTo>
                        <a:pt x="114" y="21"/>
                      </a:lnTo>
                      <a:lnTo>
                        <a:pt x="121" y="21"/>
                      </a:lnTo>
                      <a:lnTo>
                        <a:pt x="128" y="19"/>
                      </a:lnTo>
                      <a:lnTo>
                        <a:pt x="131" y="17"/>
                      </a:lnTo>
                      <a:lnTo>
                        <a:pt x="133" y="11"/>
                      </a:lnTo>
                      <a:lnTo>
                        <a:pt x="137" y="6"/>
                      </a:lnTo>
                      <a:lnTo>
                        <a:pt x="138" y="5"/>
                      </a:lnTo>
                      <a:lnTo>
                        <a:pt x="141" y="4"/>
                      </a:lnTo>
                      <a:lnTo>
                        <a:pt x="150" y="4"/>
                      </a:lnTo>
                      <a:lnTo>
                        <a:pt x="156" y="4"/>
                      </a:lnTo>
                      <a:lnTo>
                        <a:pt x="162" y="1"/>
                      </a:lnTo>
                      <a:lnTo>
                        <a:pt x="166" y="0"/>
                      </a:lnTo>
                      <a:lnTo>
                        <a:pt x="169" y="0"/>
                      </a:lnTo>
                      <a:lnTo>
                        <a:pt x="171" y="2"/>
                      </a:lnTo>
                      <a:lnTo>
                        <a:pt x="173" y="4"/>
                      </a:lnTo>
                      <a:lnTo>
                        <a:pt x="176" y="7"/>
                      </a:lnTo>
                      <a:lnTo>
                        <a:pt x="178" y="7"/>
                      </a:lnTo>
                      <a:lnTo>
                        <a:pt x="180" y="4"/>
                      </a:lnTo>
                      <a:lnTo>
                        <a:pt x="182" y="1"/>
                      </a:lnTo>
                      <a:lnTo>
                        <a:pt x="183" y="0"/>
                      </a:lnTo>
                      <a:lnTo>
                        <a:pt x="185" y="0"/>
                      </a:lnTo>
                      <a:lnTo>
                        <a:pt x="187" y="1"/>
                      </a:lnTo>
                      <a:lnTo>
                        <a:pt x="190" y="4"/>
                      </a:lnTo>
                      <a:lnTo>
                        <a:pt x="193" y="5"/>
                      </a:lnTo>
                      <a:lnTo>
                        <a:pt x="194" y="4"/>
                      </a:lnTo>
                      <a:lnTo>
                        <a:pt x="198" y="4"/>
                      </a:lnTo>
                      <a:lnTo>
                        <a:pt x="203" y="4"/>
                      </a:lnTo>
                      <a:lnTo>
                        <a:pt x="208" y="4"/>
                      </a:lnTo>
                      <a:lnTo>
                        <a:pt x="212" y="5"/>
                      </a:lnTo>
                      <a:lnTo>
                        <a:pt x="213" y="7"/>
                      </a:lnTo>
                      <a:lnTo>
                        <a:pt x="216" y="11"/>
                      </a:lnTo>
                      <a:lnTo>
                        <a:pt x="221" y="18"/>
                      </a:lnTo>
                      <a:lnTo>
                        <a:pt x="222" y="21"/>
                      </a:lnTo>
                      <a:lnTo>
                        <a:pt x="225" y="27"/>
                      </a:lnTo>
                      <a:lnTo>
                        <a:pt x="227" y="30"/>
                      </a:lnTo>
                      <a:lnTo>
                        <a:pt x="231" y="33"/>
                      </a:lnTo>
                      <a:lnTo>
                        <a:pt x="235" y="36"/>
                      </a:lnTo>
                      <a:lnTo>
                        <a:pt x="241" y="38"/>
                      </a:lnTo>
                      <a:lnTo>
                        <a:pt x="248" y="40"/>
                      </a:lnTo>
                      <a:lnTo>
                        <a:pt x="251" y="43"/>
                      </a:lnTo>
                      <a:lnTo>
                        <a:pt x="255" y="46"/>
                      </a:lnTo>
                      <a:lnTo>
                        <a:pt x="256" y="49"/>
                      </a:lnTo>
                      <a:lnTo>
                        <a:pt x="258" y="51"/>
                      </a:lnTo>
                      <a:lnTo>
                        <a:pt x="258" y="54"/>
                      </a:lnTo>
                      <a:lnTo>
                        <a:pt x="258" y="62"/>
                      </a:lnTo>
                      <a:lnTo>
                        <a:pt x="258" y="71"/>
                      </a:lnTo>
                      <a:lnTo>
                        <a:pt x="260" y="81"/>
                      </a:lnTo>
                      <a:lnTo>
                        <a:pt x="262" y="90"/>
                      </a:lnTo>
                      <a:lnTo>
                        <a:pt x="262" y="100"/>
                      </a:lnTo>
                      <a:lnTo>
                        <a:pt x="259" y="108"/>
                      </a:lnTo>
                      <a:lnTo>
                        <a:pt x="258" y="113"/>
                      </a:lnTo>
                      <a:lnTo>
                        <a:pt x="254" y="116"/>
                      </a:lnTo>
                      <a:lnTo>
                        <a:pt x="248" y="120"/>
                      </a:lnTo>
                      <a:lnTo>
                        <a:pt x="245" y="122"/>
                      </a:lnTo>
                      <a:lnTo>
                        <a:pt x="245" y="124"/>
                      </a:lnTo>
                      <a:lnTo>
                        <a:pt x="246" y="130"/>
                      </a:lnTo>
                      <a:lnTo>
                        <a:pt x="249" y="137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0" name="Freeform 1331">
                  <a:extLst>
                    <a:ext uri="{FF2B5EF4-FFF2-40B4-BE49-F238E27FC236}">
                      <a16:creationId xmlns:a16="http://schemas.microsoft.com/office/drawing/2014/main" id="{DD826B02-9597-A44F-BA17-99378E3B87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7954" y="2882471"/>
                  <a:ext cx="84352" cy="53275"/>
                </a:xfrm>
                <a:custGeom>
                  <a:avLst/>
                  <a:gdLst>
                    <a:gd name="T0" fmla="*/ 2147483647 w 62"/>
                    <a:gd name="T1" fmla="*/ 0 h 36"/>
                    <a:gd name="T2" fmla="*/ 2147483647 w 62"/>
                    <a:gd name="T3" fmla="*/ 2147483647 h 36"/>
                    <a:gd name="T4" fmla="*/ 2147483647 w 62"/>
                    <a:gd name="T5" fmla="*/ 2147483647 h 36"/>
                    <a:gd name="T6" fmla="*/ 2147483647 w 62"/>
                    <a:gd name="T7" fmla="*/ 2147483647 h 36"/>
                    <a:gd name="T8" fmla="*/ 2147483647 w 62"/>
                    <a:gd name="T9" fmla="*/ 2147483647 h 36"/>
                    <a:gd name="T10" fmla="*/ 2147483647 w 62"/>
                    <a:gd name="T11" fmla="*/ 2147483647 h 36"/>
                    <a:gd name="T12" fmla="*/ 2147483647 w 62"/>
                    <a:gd name="T13" fmla="*/ 2147483647 h 36"/>
                    <a:gd name="T14" fmla="*/ 2147483647 w 62"/>
                    <a:gd name="T15" fmla="*/ 2147483647 h 36"/>
                    <a:gd name="T16" fmla="*/ 2147483647 w 62"/>
                    <a:gd name="T17" fmla="*/ 2147483647 h 36"/>
                    <a:gd name="T18" fmla="*/ 2147483647 w 62"/>
                    <a:gd name="T19" fmla="*/ 2147483647 h 36"/>
                    <a:gd name="T20" fmla="*/ 2147483647 w 62"/>
                    <a:gd name="T21" fmla="*/ 2147483647 h 36"/>
                    <a:gd name="T22" fmla="*/ 2147483647 w 62"/>
                    <a:gd name="T23" fmla="*/ 2147483647 h 36"/>
                    <a:gd name="T24" fmla="*/ 2147483647 w 62"/>
                    <a:gd name="T25" fmla="*/ 2147483647 h 36"/>
                    <a:gd name="T26" fmla="*/ 2147483647 w 62"/>
                    <a:gd name="T27" fmla="*/ 2147483647 h 36"/>
                    <a:gd name="T28" fmla="*/ 2147483647 w 62"/>
                    <a:gd name="T29" fmla="*/ 2147483647 h 36"/>
                    <a:gd name="T30" fmla="*/ 2147483647 w 62"/>
                    <a:gd name="T31" fmla="*/ 2147483647 h 36"/>
                    <a:gd name="T32" fmla="*/ 2147483647 w 62"/>
                    <a:gd name="T33" fmla="*/ 2147483647 h 36"/>
                    <a:gd name="T34" fmla="*/ 2147483647 w 62"/>
                    <a:gd name="T35" fmla="*/ 2147483647 h 36"/>
                    <a:gd name="T36" fmla="*/ 2147483647 w 62"/>
                    <a:gd name="T37" fmla="*/ 2147483647 h 36"/>
                    <a:gd name="T38" fmla="*/ 2147483647 w 62"/>
                    <a:gd name="T39" fmla="*/ 2147483647 h 36"/>
                    <a:gd name="T40" fmla="*/ 2147483647 w 62"/>
                    <a:gd name="T41" fmla="*/ 2147483647 h 36"/>
                    <a:gd name="T42" fmla="*/ 2147483647 w 62"/>
                    <a:gd name="T43" fmla="*/ 2147483647 h 36"/>
                    <a:gd name="T44" fmla="*/ 2147483647 w 62"/>
                    <a:gd name="T45" fmla="*/ 2147483647 h 36"/>
                    <a:gd name="T46" fmla="*/ 2147483647 w 62"/>
                    <a:gd name="T47" fmla="*/ 2147483647 h 36"/>
                    <a:gd name="T48" fmla="*/ 2147483647 w 62"/>
                    <a:gd name="T49" fmla="*/ 2147483647 h 36"/>
                    <a:gd name="T50" fmla="*/ 2147483647 w 62"/>
                    <a:gd name="T51" fmla="*/ 2147483647 h 36"/>
                    <a:gd name="T52" fmla="*/ 2147483647 w 62"/>
                    <a:gd name="T53" fmla="*/ 2147483647 h 36"/>
                    <a:gd name="T54" fmla="*/ 2147483647 w 62"/>
                    <a:gd name="T55" fmla="*/ 2147483647 h 36"/>
                    <a:gd name="T56" fmla="*/ 2147483647 w 62"/>
                    <a:gd name="T57" fmla="*/ 2147483647 h 36"/>
                    <a:gd name="T58" fmla="*/ 2147483647 w 62"/>
                    <a:gd name="T59" fmla="*/ 2147483647 h 36"/>
                    <a:gd name="T60" fmla="*/ 2147483647 w 62"/>
                    <a:gd name="T61" fmla="*/ 2147483647 h 36"/>
                    <a:gd name="T62" fmla="*/ 2147483647 w 62"/>
                    <a:gd name="T63" fmla="*/ 2147483647 h 36"/>
                    <a:gd name="T64" fmla="*/ 2147483647 w 62"/>
                    <a:gd name="T65" fmla="*/ 2147483647 h 36"/>
                    <a:gd name="T66" fmla="*/ 2147483647 w 62"/>
                    <a:gd name="T67" fmla="*/ 2147483647 h 36"/>
                    <a:gd name="T68" fmla="*/ 2147483647 w 62"/>
                    <a:gd name="T69" fmla="*/ 2147483647 h 36"/>
                    <a:gd name="T70" fmla="*/ 0 w 62"/>
                    <a:gd name="T71" fmla="*/ 2147483647 h 36"/>
                    <a:gd name="T72" fmla="*/ 0 w 62"/>
                    <a:gd name="T73" fmla="*/ 2147483647 h 36"/>
                    <a:gd name="T74" fmla="*/ 2147483647 w 62"/>
                    <a:gd name="T75" fmla="*/ 2147483647 h 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62"/>
                    <a:gd name="T115" fmla="*/ 0 h 36"/>
                    <a:gd name="T116" fmla="*/ 62 w 62"/>
                    <a:gd name="T117" fmla="*/ 36 h 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62" h="36">
                      <a:moveTo>
                        <a:pt x="62" y="0"/>
                      </a:moveTo>
                      <a:lnTo>
                        <a:pt x="54" y="11"/>
                      </a:lnTo>
                      <a:lnTo>
                        <a:pt x="54" y="12"/>
                      </a:lnTo>
                      <a:lnTo>
                        <a:pt x="53" y="13"/>
                      </a:lnTo>
                      <a:lnTo>
                        <a:pt x="52" y="14"/>
                      </a:lnTo>
                      <a:lnTo>
                        <a:pt x="51" y="17"/>
                      </a:lnTo>
                      <a:lnTo>
                        <a:pt x="51" y="18"/>
                      </a:lnTo>
                      <a:lnTo>
                        <a:pt x="49" y="19"/>
                      </a:lnTo>
                      <a:lnTo>
                        <a:pt x="49" y="21"/>
                      </a:lnTo>
                      <a:lnTo>
                        <a:pt x="48" y="21"/>
                      </a:lnTo>
                      <a:lnTo>
                        <a:pt x="47" y="21"/>
                      </a:lnTo>
                      <a:lnTo>
                        <a:pt x="47" y="23"/>
                      </a:lnTo>
                      <a:lnTo>
                        <a:pt x="46" y="26"/>
                      </a:lnTo>
                      <a:lnTo>
                        <a:pt x="47" y="30"/>
                      </a:lnTo>
                      <a:lnTo>
                        <a:pt x="47" y="33"/>
                      </a:lnTo>
                      <a:lnTo>
                        <a:pt x="46" y="34"/>
                      </a:lnTo>
                      <a:lnTo>
                        <a:pt x="43" y="36"/>
                      </a:lnTo>
                      <a:lnTo>
                        <a:pt x="38" y="36"/>
                      </a:lnTo>
                      <a:lnTo>
                        <a:pt x="34" y="34"/>
                      </a:lnTo>
                      <a:lnTo>
                        <a:pt x="33" y="33"/>
                      </a:lnTo>
                      <a:lnTo>
                        <a:pt x="32" y="32"/>
                      </a:lnTo>
                      <a:lnTo>
                        <a:pt x="30" y="31"/>
                      </a:lnTo>
                      <a:lnTo>
                        <a:pt x="30" y="30"/>
                      </a:lnTo>
                      <a:lnTo>
                        <a:pt x="29" y="30"/>
                      </a:lnTo>
                      <a:lnTo>
                        <a:pt x="24" y="30"/>
                      </a:lnTo>
                      <a:lnTo>
                        <a:pt x="10" y="31"/>
                      </a:lnTo>
                      <a:lnTo>
                        <a:pt x="1" y="32"/>
                      </a:lnTo>
                      <a:lnTo>
                        <a:pt x="0" y="33"/>
                      </a:lnTo>
                      <a:lnTo>
                        <a:pt x="0" y="34"/>
                      </a:lnTo>
                      <a:lnTo>
                        <a:pt x="2" y="34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1" name="Freeform 1332">
                  <a:extLst>
                    <a:ext uri="{FF2B5EF4-FFF2-40B4-BE49-F238E27FC236}">
                      <a16:creationId xmlns:a16="http://schemas.microsoft.com/office/drawing/2014/main" id="{729296BC-5E11-954D-9792-06583F1D33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4459" y="2843996"/>
                  <a:ext cx="66595" cy="128749"/>
                </a:xfrm>
                <a:custGeom>
                  <a:avLst/>
                  <a:gdLst>
                    <a:gd name="T0" fmla="*/ 0 w 49"/>
                    <a:gd name="T1" fmla="*/ 0 h 87"/>
                    <a:gd name="T2" fmla="*/ 2147483647 w 49"/>
                    <a:gd name="T3" fmla="*/ 2147483647 h 87"/>
                    <a:gd name="T4" fmla="*/ 2147483647 w 49"/>
                    <a:gd name="T5" fmla="*/ 2147483647 h 87"/>
                    <a:gd name="T6" fmla="*/ 2147483647 w 49"/>
                    <a:gd name="T7" fmla="*/ 2147483647 h 87"/>
                    <a:gd name="T8" fmla="*/ 2147483647 w 49"/>
                    <a:gd name="T9" fmla="*/ 2147483647 h 87"/>
                    <a:gd name="T10" fmla="*/ 2147483647 w 49"/>
                    <a:gd name="T11" fmla="*/ 2147483647 h 87"/>
                    <a:gd name="T12" fmla="*/ 2147483647 w 49"/>
                    <a:gd name="T13" fmla="*/ 2147483647 h 87"/>
                    <a:gd name="T14" fmla="*/ 2147483647 w 49"/>
                    <a:gd name="T15" fmla="*/ 2147483647 h 87"/>
                    <a:gd name="T16" fmla="*/ 2147483647 w 49"/>
                    <a:gd name="T17" fmla="*/ 2147483647 h 87"/>
                    <a:gd name="T18" fmla="*/ 2147483647 w 49"/>
                    <a:gd name="T19" fmla="*/ 2147483647 h 87"/>
                    <a:gd name="T20" fmla="*/ 2147483647 w 49"/>
                    <a:gd name="T21" fmla="*/ 2147483647 h 87"/>
                    <a:gd name="T22" fmla="*/ 2147483647 w 49"/>
                    <a:gd name="T23" fmla="*/ 2147483647 h 87"/>
                    <a:gd name="T24" fmla="*/ 2147483647 w 49"/>
                    <a:gd name="T25" fmla="*/ 2147483647 h 87"/>
                    <a:gd name="T26" fmla="*/ 2147483647 w 49"/>
                    <a:gd name="T27" fmla="*/ 2147483647 h 87"/>
                    <a:gd name="T28" fmla="*/ 2147483647 w 49"/>
                    <a:gd name="T29" fmla="*/ 2147483647 h 87"/>
                    <a:gd name="T30" fmla="*/ 2147483647 w 49"/>
                    <a:gd name="T31" fmla="*/ 2147483647 h 87"/>
                    <a:gd name="T32" fmla="*/ 2147483647 w 49"/>
                    <a:gd name="T33" fmla="*/ 2147483647 h 87"/>
                    <a:gd name="T34" fmla="*/ 2147483647 w 49"/>
                    <a:gd name="T35" fmla="*/ 2147483647 h 87"/>
                    <a:gd name="T36" fmla="*/ 2147483647 w 49"/>
                    <a:gd name="T37" fmla="*/ 2147483647 h 87"/>
                    <a:gd name="T38" fmla="*/ 2147483647 w 49"/>
                    <a:gd name="T39" fmla="*/ 2147483647 h 87"/>
                    <a:gd name="T40" fmla="*/ 2147483647 w 49"/>
                    <a:gd name="T41" fmla="*/ 2147483647 h 87"/>
                    <a:gd name="T42" fmla="*/ 2147483647 w 49"/>
                    <a:gd name="T43" fmla="*/ 2147483647 h 87"/>
                    <a:gd name="T44" fmla="*/ 2147483647 w 49"/>
                    <a:gd name="T45" fmla="*/ 2147483647 h 87"/>
                    <a:gd name="T46" fmla="*/ 2147483647 w 49"/>
                    <a:gd name="T47" fmla="*/ 2147483647 h 87"/>
                    <a:gd name="T48" fmla="*/ 2147483647 w 49"/>
                    <a:gd name="T49" fmla="*/ 2147483647 h 87"/>
                    <a:gd name="T50" fmla="*/ 2147483647 w 49"/>
                    <a:gd name="T51" fmla="*/ 2147483647 h 87"/>
                    <a:gd name="T52" fmla="*/ 2147483647 w 49"/>
                    <a:gd name="T53" fmla="*/ 2147483647 h 87"/>
                    <a:gd name="T54" fmla="*/ 2147483647 w 49"/>
                    <a:gd name="T55" fmla="*/ 2147483647 h 87"/>
                    <a:gd name="T56" fmla="*/ 0 w 49"/>
                    <a:gd name="T57" fmla="*/ 0 h 8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49"/>
                    <a:gd name="T88" fmla="*/ 0 h 87"/>
                    <a:gd name="T89" fmla="*/ 49 w 49"/>
                    <a:gd name="T90" fmla="*/ 87 h 8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49" h="87">
                      <a:moveTo>
                        <a:pt x="0" y="0"/>
                      </a:moveTo>
                      <a:lnTo>
                        <a:pt x="3" y="2"/>
                      </a:lnTo>
                      <a:lnTo>
                        <a:pt x="8" y="5"/>
                      </a:lnTo>
                      <a:lnTo>
                        <a:pt x="11" y="7"/>
                      </a:lnTo>
                      <a:lnTo>
                        <a:pt x="13" y="11"/>
                      </a:lnTo>
                      <a:lnTo>
                        <a:pt x="16" y="18"/>
                      </a:lnTo>
                      <a:lnTo>
                        <a:pt x="17" y="22"/>
                      </a:lnTo>
                      <a:lnTo>
                        <a:pt x="17" y="30"/>
                      </a:lnTo>
                      <a:lnTo>
                        <a:pt x="17" y="31"/>
                      </a:lnTo>
                      <a:lnTo>
                        <a:pt x="20" y="32"/>
                      </a:lnTo>
                      <a:lnTo>
                        <a:pt x="24" y="32"/>
                      </a:lnTo>
                      <a:lnTo>
                        <a:pt x="29" y="36"/>
                      </a:lnTo>
                      <a:lnTo>
                        <a:pt x="39" y="43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7" y="45"/>
                      </a:lnTo>
                      <a:lnTo>
                        <a:pt x="48" y="45"/>
                      </a:lnTo>
                      <a:lnTo>
                        <a:pt x="49" y="47"/>
                      </a:lnTo>
                      <a:lnTo>
                        <a:pt x="49" y="50"/>
                      </a:lnTo>
                      <a:lnTo>
                        <a:pt x="48" y="52"/>
                      </a:lnTo>
                      <a:lnTo>
                        <a:pt x="47" y="52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1" y="66"/>
                      </a:lnTo>
                      <a:lnTo>
                        <a:pt x="41" y="70"/>
                      </a:lnTo>
                      <a:lnTo>
                        <a:pt x="44" y="75"/>
                      </a:lnTo>
                      <a:lnTo>
                        <a:pt x="48" y="82"/>
                      </a:lnTo>
                      <a:lnTo>
                        <a:pt x="49" y="8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2" name="Freeform 1333">
                  <a:extLst>
                    <a:ext uri="{FF2B5EF4-FFF2-40B4-BE49-F238E27FC236}">
                      <a16:creationId xmlns:a16="http://schemas.microsoft.com/office/drawing/2014/main" id="{E640AACA-C13B-6C4E-9C0A-4EEA0774BF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6342" y="4727874"/>
                  <a:ext cx="57715" cy="150946"/>
                </a:xfrm>
                <a:custGeom>
                  <a:avLst/>
                  <a:gdLst>
                    <a:gd name="T0" fmla="*/ 2147483647 w 42"/>
                    <a:gd name="T1" fmla="*/ 2147483647 h 102"/>
                    <a:gd name="T2" fmla="*/ 2147483647 w 42"/>
                    <a:gd name="T3" fmla="*/ 2147483647 h 102"/>
                    <a:gd name="T4" fmla="*/ 2147483647 w 42"/>
                    <a:gd name="T5" fmla="*/ 2147483647 h 102"/>
                    <a:gd name="T6" fmla="*/ 2147483647 w 42"/>
                    <a:gd name="T7" fmla="*/ 2147483647 h 102"/>
                    <a:gd name="T8" fmla="*/ 2147483647 w 42"/>
                    <a:gd name="T9" fmla="*/ 2147483647 h 102"/>
                    <a:gd name="T10" fmla="*/ 2147483647 w 42"/>
                    <a:gd name="T11" fmla="*/ 2147483647 h 102"/>
                    <a:gd name="T12" fmla="*/ 2147483647 w 42"/>
                    <a:gd name="T13" fmla="*/ 2147483647 h 102"/>
                    <a:gd name="T14" fmla="*/ 2147483647 w 42"/>
                    <a:gd name="T15" fmla="*/ 2147483647 h 102"/>
                    <a:gd name="T16" fmla="*/ 2147483647 w 42"/>
                    <a:gd name="T17" fmla="*/ 2147483647 h 102"/>
                    <a:gd name="T18" fmla="*/ 2147483647 w 42"/>
                    <a:gd name="T19" fmla="*/ 2147483647 h 102"/>
                    <a:gd name="T20" fmla="*/ 2147483647 w 42"/>
                    <a:gd name="T21" fmla="*/ 2147483647 h 102"/>
                    <a:gd name="T22" fmla="*/ 2147483647 w 42"/>
                    <a:gd name="T23" fmla="*/ 2147483647 h 102"/>
                    <a:gd name="T24" fmla="*/ 2147483647 w 42"/>
                    <a:gd name="T25" fmla="*/ 2147483647 h 102"/>
                    <a:gd name="T26" fmla="*/ 2147483647 w 42"/>
                    <a:gd name="T27" fmla="*/ 2147483647 h 102"/>
                    <a:gd name="T28" fmla="*/ 2147483647 w 42"/>
                    <a:gd name="T29" fmla="*/ 2147483647 h 102"/>
                    <a:gd name="T30" fmla="*/ 2147483647 w 42"/>
                    <a:gd name="T31" fmla="*/ 2147483647 h 102"/>
                    <a:gd name="T32" fmla="*/ 2147483647 w 42"/>
                    <a:gd name="T33" fmla="*/ 2147483647 h 102"/>
                    <a:gd name="T34" fmla="*/ 2147483647 w 42"/>
                    <a:gd name="T35" fmla="*/ 2147483647 h 102"/>
                    <a:gd name="T36" fmla="*/ 2147483647 w 42"/>
                    <a:gd name="T37" fmla="*/ 2147483647 h 102"/>
                    <a:gd name="T38" fmla="*/ 2147483647 w 42"/>
                    <a:gd name="T39" fmla="*/ 2147483647 h 102"/>
                    <a:gd name="T40" fmla="*/ 2147483647 w 42"/>
                    <a:gd name="T41" fmla="*/ 2147483647 h 102"/>
                    <a:gd name="T42" fmla="*/ 2147483647 w 42"/>
                    <a:gd name="T43" fmla="*/ 2147483647 h 102"/>
                    <a:gd name="T44" fmla="*/ 2147483647 w 42"/>
                    <a:gd name="T45" fmla="*/ 2147483647 h 102"/>
                    <a:gd name="T46" fmla="*/ 2147483647 w 42"/>
                    <a:gd name="T47" fmla="*/ 2147483647 h 102"/>
                    <a:gd name="T48" fmla="*/ 2147483647 w 42"/>
                    <a:gd name="T49" fmla="*/ 2147483647 h 102"/>
                    <a:gd name="T50" fmla="*/ 2147483647 w 42"/>
                    <a:gd name="T51" fmla="*/ 2147483647 h 102"/>
                    <a:gd name="T52" fmla="*/ 2147483647 w 42"/>
                    <a:gd name="T53" fmla="*/ 2147483647 h 102"/>
                    <a:gd name="T54" fmla="*/ 0 w 42"/>
                    <a:gd name="T55" fmla="*/ 2147483647 h 102"/>
                    <a:gd name="T56" fmla="*/ 0 w 42"/>
                    <a:gd name="T57" fmla="*/ 2147483647 h 102"/>
                    <a:gd name="T58" fmla="*/ 2147483647 w 42"/>
                    <a:gd name="T59" fmla="*/ 2147483647 h 102"/>
                    <a:gd name="T60" fmla="*/ 2147483647 w 42"/>
                    <a:gd name="T61" fmla="*/ 2147483647 h 102"/>
                    <a:gd name="T62" fmla="*/ 2147483647 w 42"/>
                    <a:gd name="T63" fmla="*/ 0 h 102"/>
                    <a:gd name="T64" fmla="*/ 2147483647 w 42"/>
                    <a:gd name="T65" fmla="*/ 0 h 102"/>
                    <a:gd name="T66" fmla="*/ 2147483647 w 42"/>
                    <a:gd name="T67" fmla="*/ 2147483647 h 102"/>
                    <a:gd name="T68" fmla="*/ 2147483647 w 42"/>
                    <a:gd name="T69" fmla="*/ 2147483647 h 102"/>
                    <a:gd name="T70" fmla="*/ 2147483647 w 42"/>
                    <a:gd name="T71" fmla="*/ 2147483647 h 102"/>
                    <a:gd name="T72" fmla="*/ 2147483647 w 42"/>
                    <a:gd name="T73" fmla="*/ 2147483647 h 102"/>
                    <a:gd name="T74" fmla="*/ 2147483647 w 42"/>
                    <a:gd name="T75" fmla="*/ 2147483647 h 102"/>
                    <a:gd name="T76" fmla="*/ 2147483647 w 42"/>
                    <a:gd name="T77" fmla="*/ 2147483647 h 102"/>
                    <a:gd name="T78" fmla="*/ 2147483647 w 42"/>
                    <a:gd name="T79" fmla="*/ 2147483647 h 102"/>
                    <a:gd name="T80" fmla="*/ 2147483647 w 42"/>
                    <a:gd name="T81" fmla="*/ 2147483647 h 102"/>
                    <a:gd name="T82" fmla="*/ 2147483647 w 42"/>
                    <a:gd name="T83" fmla="*/ 2147483647 h 102"/>
                    <a:gd name="T84" fmla="*/ 2147483647 w 42"/>
                    <a:gd name="T85" fmla="*/ 2147483647 h 10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2"/>
                    <a:gd name="T130" fmla="*/ 0 h 102"/>
                    <a:gd name="T131" fmla="*/ 42 w 42"/>
                    <a:gd name="T132" fmla="*/ 102 h 10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2" h="102">
                      <a:moveTo>
                        <a:pt x="14" y="51"/>
                      </a:moveTo>
                      <a:lnTo>
                        <a:pt x="17" y="56"/>
                      </a:lnTo>
                      <a:lnTo>
                        <a:pt x="21" y="60"/>
                      </a:lnTo>
                      <a:lnTo>
                        <a:pt x="25" y="63"/>
                      </a:lnTo>
                      <a:lnTo>
                        <a:pt x="26" y="68"/>
                      </a:lnTo>
                      <a:lnTo>
                        <a:pt x="30" y="76"/>
                      </a:lnTo>
                      <a:lnTo>
                        <a:pt x="33" y="83"/>
                      </a:lnTo>
                      <a:lnTo>
                        <a:pt x="39" y="89"/>
                      </a:lnTo>
                      <a:lnTo>
                        <a:pt x="41" y="96"/>
                      </a:lnTo>
                      <a:lnTo>
                        <a:pt x="42" y="100"/>
                      </a:lnTo>
                      <a:lnTo>
                        <a:pt x="41" y="102"/>
                      </a:lnTo>
                      <a:lnTo>
                        <a:pt x="36" y="102"/>
                      </a:lnTo>
                      <a:lnTo>
                        <a:pt x="32" y="102"/>
                      </a:lnTo>
                      <a:lnTo>
                        <a:pt x="30" y="100"/>
                      </a:lnTo>
                      <a:lnTo>
                        <a:pt x="27" y="97"/>
                      </a:lnTo>
                      <a:lnTo>
                        <a:pt x="25" y="95"/>
                      </a:lnTo>
                      <a:lnTo>
                        <a:pt x="23" y="92"/>
                      </a:lnTo>
                      <a:lnTo>
                        <a:pt x="23" y="83"/>
                      </a:lnTo>
                      <a:lnTo>
                        <a:pt x="22" y="82"/>
                      </a:lnTo>
                      <a:lnTo>
                        <a:pt x="21" y="81"/>
                      </a:lnTo>
                      <a:lnTo>
                        <a:pt x="18" y="75"/>
                      </a:lnTo>
                      <a:lnTo>
                        <a:pt x="16" y="69"/>
                      </a:lnTo>
                      <a:lnTo>
                        <a:pt x="8" y="60"/>
                      </a:lnTo>
                      <a:lnTo>
                        <a:pt x="7" y="56"/>
                      </a:lnTo>
                      <a:lnTo>
                        <a:pt x="8" y="51"/>
                      </a:lnTo>
                      <a:lnTo>
                        <a:pt x="4" y="45"/>
                      </a:lnTo>
                      <a:lnTo>
                        <a:pt x="2" y="39"/>
                      </a:lnTo>
                      <a:lnTo>
                        <a:pt x="0" y="33"/>
                      </a:lnTo>
                      <a:lnTo>
                        <a:pt x="0" y="28"/>
                      </a:lnTo>
                      <a:lnTo>
                        <a:pt x="3" y="14"/>
                      </a:ln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1" y="5"/>
                      </a:lnTo>
                      <a:lnTo>
                        <a:pt x="12" y="10"/>
                      </a:lnTo>
                      <a:lnTo>
                        <a:pt x="12" y="18"/>
                      </a:lnTo>
                      <a:lnTo>
                        <a:pt x="12" y="28"/>
                      </a:lnTo>
                      <a:lnTo>
                        <a:pt x="13" y="32"/>
                      </a:lnTo>
                      <a:lnTo>
                        <a:pt x="14" y="36"/>
                      </a:lnTo>
                      <a:lnTo>
                        <a:pt x="14" y="39"/>
                      </a:lnTo>
                      <a:lnTo>
                        <a:pt x="14" y="43"/>
                      </a:lnTo>
                      <a:lnTo>
                        <a:pt x="13" y="48"/>
                      </a:lnTo>
                      <a:lnTo>
                        <a:pt x="14" y="5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3" name="Freeform 1334">
                  <a:extLst>
                    <a:ext uri="{FF2B5EF4-FFF2-40B4-BE49-F238E27FC236}">
                      <a16:creationId xmlns:a16="http://schemas.microsoft.com/office/drawing/2014/main" id="{9F8913B1-13E3-1541-8EE0-0611BB838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4059" y="4615402"/>
                  <a:ext cx="79913" cy="88792"/>
                </a:xfrm>
                <a:custGeom>
                  <a:avLst/>
                  <a:gdLst>
                    <a:gd name="T0" fmla="*/ 2147483647 w 59"/>
                    <a:gd name="T1" fmla="*/ 2147483647 h 60"/>
                    <a:gd name="T2" fmla="*/ 2147483647 w 59"/>
                    <a:gd name="T3" fmla="*/ 2147483647 h 60"/>
                    <a:gd name="T4" fmla="*/ 2147483647 w 59"/>
                    <a:gd name="T5" fmla="*/ 2147483647 h 60"/>
                    <a:gd name="T6" fmla="*/ 2147483647 w 59"/>
                    <a:gd name="T7" fmla="*/ 2147483647 h 60"/>
                    <a:gd name="T8" fmla="*/ 2147483647 w 59"/>
                    <a:gd name="T9" fmla="*/ 2147483647 h 60"/>
                    <a:gd name="T10" fmla="*/ 2147483647 w 59"/>
                    <a:gd name="T11" fmla="*/ 2147483647 h 60"/>
                    <a:gd name="T12" fmla="*/ 2147483647 w 59"/>
                    <a:gd name="T13" fmla="*/ 2147483647 h 60"/>
                    <a:gd name="T14" fmla="*/ 2147483647 w 59"/>
                    <a:gd name="T15" fmla="*/ 2147483647 h 60"/>
                    <a:gd name="T16" fmla="*/ 2147483647 w 59"/>
                    <a:gd name="T17" fmla="*/ 2147483647 h 60"/>
                    <a:gd name="T18" fmla="*/ 2147483647 w 59"/>
                    <a:gd name="T19" fmla="*/ 2147483647 h 60"/>
                    <a:gd name="T20" fmla="*/ 2147483647 w 59"/>
                    <a:gd name="T21" fmla="*/ 0 h 60"/>
                    <a:gd name="T22" fmla="*/ 2147483647 w 59"/>
                    <a:gd name="T23" fmla="*/ 0 h 60"/>
                    <a:gd name="T24" fmla="*/ 2147483647 w 59"/>
                    <a:gd name="T25" fmla="*/ 2147483647 h 60"/>
                    <a:gd name="T26" fmla="*/ 2147483647 w 59"/>
                    <a:gd name="T27" fmla="*/ 2147483647 h 60"/>
                    <a:gd name="T28" fmla="*/ 2147483647 w 59"/>
                    <a:gd name="T29" fmla="*/ 2147483647 h 60"/>
                    <a:gd name="T30" fmla="*/ 2147483647 w 59"/>
                    <a:gd name="T31" fmla="*/ 2147483647 h 60"/>
                    <a:gd name="T32" fmla="*/ 2147483647 w 59"/>
                    <a:gd name="T33" fmla="*/ 2147483647 h 60"/>
                    <a:gd name="T34" fmla="*/ 0 w 59"/>
                    <a:gd name="T35" fmla="*/ 2147483647 h 60"/>
                    <a:gd name="T36" fmla="*/ 2147483647 w 59"/>
                    <a:gd name="T37" fmla="*/ 2147483647 h 60"/>
                    <a:gd name="T38" fmla="*/ 2147483647 w 59"/>
                    <a:gd name="T39" fmla="*/ 2147483647 h 60"/>
                    <a:gd name="T40" fmla="*/ 2147483647 w 59"/>
                    <a:gd name="T41" fmla="*/ 2147483647 h 60"/>
                    <a:gd name="T42" fmla="*/ 2147483647 w 59"/>
                    <a:gd name="T43" fmla="*/ 2147483647 h 60"/>
                    <a:gd name="T44" fmla="*/ 2147483647 w 59"/>
                    <a:gd name="T45" fmla="*/ 2147483647 h 60"/>
                    <a:gd name="T46" fmla="*/ 2147483647 w 59"/>
                    <a:gd name="T47" fmla="*/ 2147483647 h 60"/>
                    <a:gd name="T48" fmla="*/ 0 w 59"/>
                    <a:gd name="T49" fmla="*/ 2147483647 h 60"/>
                    <a:gd name="T50" fmla="*/ 2147483647 w 59"/>
                    <a:gd name="T51" fmla="*/ 2147483647 h 60"/>
                    <a:gd name="T52" fmla="*/ 2147483647 w 59"/>
                    <a:gd name="T53" fmla="*/ 2147483647 h 60"/>
                    <a:gd name="T54" fmla="*/ 2147483647 w 59"/>
                    <a:gd name="T55" fmla="*/ 2147483647 h 60"/>
                    <a:gd name="T56" fmla="*/ 2147483647 w 59"/>
                    <a:gd name="T57" fmla="*/ 2147483647 h 60"/>
                    <a:gd name="T58" fmla="*/ 2147483647 w 59"/>
                    <a:gd name="T59" fmla="*/ 2147483647 h 60"/>
                    <a:gd name="T60" fmla="*/ 2147483647 w 59"/>
                    <a:gd name="T61" fmla="*/ 2147483647 h 60"/>
                    <a:gd name="T62" fmla="*/ 2147483647 w 59"/>
                    <a:gd name="T63" fmla="*/ 2147483647 h 60"/>
                    <a:gd name="T64" fmla="*/ 2147483647 w 59"/>
                    <a:gd name="T65" fmla="*/ 2147483647 h 60"/>
                    <a:gd name="T66" fmla="*/ 2147483647 w 59"/>
                    <a:gd name="T67" fmla="*/ 2147483647 h 60"/>
                    <a:gd name="T68" fmla="*/ 2147483647 w 59"/>
                    <a:gd name="T69" fmla="*/ 2147483647 h 60"/>
                    <a:gd name="T70" fmla="*/ 2147483647 w 59"/>
                    <a:gd name="T71" fmla="*/ 2147483647 h 60"/>
                    <a:gd name="T72" fmla="*/ 2147483647 w 59"/>
                    <a:gd name="T73" fmla="*/ 2147483647 h 60"/>
                    <a:gd name="T74" fmla="*/ 2147483647 w 59"/>
                    <a:gd name="T75" fmla="*/ 2147483647 h 60"/>
                    <a:gd name="T76" fmla="*/ 2147483647 w 59"/>
                    <a:gd name="T77" fmla="*/ 2147483647 h 60"/>
                    <a:gd name="T78" fmla="*/ 2147483647 w 59"/>
                    <a:gd name="T79" fmla="*/ 2147483647 h 60"/>
                    <a:gd name="T80" fmla="*/ 2147483647 w 59"/>
                    <a:gd name="T81" fmla="*/ 2147483647 h 60"/>
                    <a:gd name="T82" fmla="*/ 2147483647 w 59"/>
                    <a:gd name="T83" fmla="*/ 2147483647 h 60"/>
                    <a:gd name="T84" fmla="*/ 2147483647 w 59"/>
                    <a:gd name="T85" fmla="*/ 2147483647 h 60"/>
                    <a:gd name="T86" fmla="*/ 2147483647 w 59"/>
                    <a:gd name="T87" fmla="*/ 2147483647 h 60"/>
                    <a:gd name="T88" fmla="*/ 2147483647 w 59"/>
                    <a:gd name="T89" fmla="*/ 2147483647 h 60"/>
                    <a:gd name="T90" fmla="*/ 2147483647 w 59"/>
                    <a:gd name="T91" fmla="*/ 2147483647 h 60"/>
                    <a:gd name="T92" fmla="*/ 2147483647 w 59"/>
                    <a:gd name="T93" fmla="*/ 2147483647 h 60"/>
                    <a:gd name="T94" fmla="*/ 2147483647 w 59"/>
                    <a:gd name="T95" fmla="*/ 2147483647 h 60"/>
                    <a:gd name="T96" fmla="*/ 2147483647 w 59"/>
                    <a:gd name="T97" fmla="*/ 2147483647 h 60"/>
                    <a:gd name="T98" fmla="*/ 2147483647 w 59"/>
                    <a:gd name="T99" fmla="*/ 2147483647 h 60"/>
                    <a:gd name="T100" fmla="*/ 2147483647 w 59"/>
                    <a:gd name="T101" fmla="*/ 2147483647 h 60"/>
                    <a:gd name="T102" fmla="*/ 2147483647 w 59"/>
                    <a:gd name="T103" fmla="*/ 2147483647 h 60"/>
                    <a:gd name="T104" fmla="*/ 2147483647 w 59"/>
                    <a:gd name="T105" fmla="*/ 2147483647 h 60"/>
                    <a:gd name="T106" fmla="*/ 2147483647 w 59"/>
                    <a:gd name="T107" fmla="*/ 2147483647 h 6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59"/>
                    <a:gd name="T163" fmla="*/ 0 h 60"/>
                    <a:gd name="T164" fmla="*/ 59 w 59"/>
                    <a:gd name="T165" fmla="*/ 60 h 6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59" h="60">
                      <a:moveTo>
                        <a:pt x="49" y="23"/>
                      </a:moveTo>
                      <a:lnTo>
                        <a:pt x="49" y="21"/>
                      </a:lnTo>
                      <a:lnTo>
                        <a:pt x="52" y="19"/>
                      </a:lnTo>
                      <a:lnTo>
                        <a:pt x="56" y="19"/>
                      </a:lnTo>
                      <a:lnTo>
                        <a:pt x="59" y="18"/>
                      </a:lnTo>
                      <a:lnTo>
                        <a:pt x="59" y="17"/>
                      </a:lnTo>
                      <a:lnTo>
                        <a:pt x="58" y="16"/>
                      </a:lnTo>
                      <a:lnTo>
                        <a:pt x="51" y="8"/>
                      </a:lnTo>
                      <a:lnTo>
                        <a:pt x="47" y="4"/>
                      </a:lnTo>
                      <a:lnTo>
                        <a:pt x="42" y="3"/>
                      </a:lnTo>
                      <a:lnTo>
                        <a:pt x="36" y="0"/>
                      </a:lnTo>
                      <a:lnTo>
                        <a:pt x="28" y="0"/>
                      </a:lnTo>
                      <a:lnTo>
                        <a:pt x="22" y="2"/>
                      </a:lnTo>
                      <a:lnTo>
                        <a:pt x="17" y="5"/>
                      </a:lnTo>
                      <a:lnTo>
                        <a:pt x="11" y="9"/>
                      </a:lnTo>
                      <a:lnTo>
                        <a:pt x="7" y="13"/>
                      </a:lnTo>
                      <a:lnTo>
                        <a:pt x="3" y="19"/>
                      </a:lnTo>
                      <a:lnTo>
                        <a:pt x="0" y="25"/>
                      </a:lnTo>
                      <a:lnTo>
                        <a:pt x="3" y="25"/>
                      </a:lnTo>
                      <a:lnTo>
                        <a:pt x="4" y="26"/>
                      </a:lnTo>
                      <a:lnTo>
                        <a:pt x="5" y="29"/>
                      </a:lnTo>
                      <a:lnTo>
                        <a:pt x="5" y="34"/>
                      </a:lnTo>
                      <a:lnTo>
                        <a:pt x="4" y="37"/>
                      </a:lnTo>
                      <a:lnTo>
                        <a:pt x="2" y="45"/>
                      </a:lnTo>
                      <a:lnTo>
                        <a:pt x="0" y="50"/>
                      </a:lnTo>
                      <a:lnTo>
                        <a:pt x="2" y="55"/>
                      </a:lnTo>
                      <a:lnTo>
                        <a:pt x="3" y="57"/>
                      </a:lnTo>
                      <a:lnTo>
                        <a:pt x="5" y="58"/>
                      </a:lnTo>
                      <a:lnTo>
                        <a:pt x="8" y="60"/>
                      </a:lnTo>
                      <a:lnTo>
                        <a:pt x="11" y="58"/>
                      </a:lnTo>
                      <a:lnTo>
                        <a:pt x="16" y="54"/>
                      </a:lnTo>
                      <a:lnTo>
                        <a:pt x="21" y="53"/>
                      </a:lnTo>
                      <a:lnTo>
                        <a:pt x="26" y="54"/>
                      </a:lnTo>
                      <a:lnTo>
                        <a:pt x="31" y="56"/>
                      </a:lnTo>
                      <a:lnTo>
                        <a:pt x="35" y="57"/>
                      </a:lnTo>
                      <a:lnTo>
                        <a:pt x="38" y="56"/>
                      </a:lnTo>
                      <a:lnTo>
                        <a:pt x="45" y="53"/>
                      </a:lnTo>
                      <a:lnTo>
                        <a:pt x="45" y="50"/>
                      </a:lnTo>
                      <a:lnTo>
                        <a:pt x="44" y="49"/>
                      </a:lnTo>
                      <a:lnTo>
                        <a:pt x="42" y="47"/>
                      </a:lnTo>
                      <a:lnTo>
                        <a:pt x="40" y="45"/>
                      </a:lnTo>
                      <a:lnTo>
                        <a:pt x="38" y="43"/>
                      </a:lnTo>
                      <a:lnTo>
                        <a:pt x="37" y="43"/>
                      </a:lnTo>
                      <a:lnTo>
                        <a:pt x="38" y="42"/>
                      </a:lnTo>
                      <a:lnTo>
                        <a:pt x="44" y="36"/>
                      </a:lnTo>
                      <a:lnTo>
                        <a:pt x="45" y="34"/>
                      </a:lnTo>
                      <a:lnTo>
                        <a:pt x="45" y="30"/>
                      </a:lnTo>
                      <a:lnTo>
                        <a:pt x="46" y="30"/>
                      </a:lnTo>
                      <a:lnTo>
                        <a:pt x="47" y="29"/>
                      </a:lnTo>
                      <a:lnTo>
                        <a:pt x="47" y="28"/>
                      </a:lnTo>
                      <a:lnTo>
                        <a:pt x="49" y="26"/>
                      </a:lnTo>
                      <a:lnTo>
                        <a:pt x="47" y="25"/>
                      </a:lnTo>
                      <a:lnTo>
                        <a:pt x="47" y="24"/>
                      </a:lnTo>
                      <a:lnTo>
                        <a:pt x="49" y="2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4" name="Freeform 1335">
                  <a:extLst>
                    <a:ext uri="{FF2B5EF4-FFF2-40B4-BE49-F238E27FC236}">
                      <a16:creationId xmlns:a16="http://schemas.microsoft.com/office/drawing/2014/main" id="{497EAAB9-AF83-4F4A-BACD-2D4F5A070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8812" y="4895100"/>
                  <a:ext cx="22198" cy="66595"/>
                </a:xfrm>
                <a:custGeom>
                  <a:avLst/>
                  <a:gdLst>
                    <a:gd name="T0" fmla="*/ 2147483647 w 16"/>
                    <a:gd name="T1" fmla="*/ 2147483647 h 45"/>
                    <a:gd name="T2" fmla="*/ 2147483647 w 16"/>
                    <a:gd name="T3" fmla="*/ 2147483647 h 45"/>
                    <a:gd name="T4" fmla="*/ 2147483647 w 16"/>
                    <a:gd name="T5" fmla="*/ 2147483647 h 45"/>
                    <a:gd name="T6" fmla="*/ 2147483647 w 16"/>
                    <a:gd name="T7" fmla="*/ 2147483647 h 45"/>
                    <a:gd name="T8" fmla="*/ 2147483647 w 16"/>
                    <a:gd name="T9" fmla="*/ 2147483647 h 45"/>
                    <a:gd name="T10" fmla="*/ 2147483647 w 16"/>
                    <a:gd name="T11" fmla="*/ 2147483647 h 45"/>
                    <a:gd name="T12" fmla="*/ 2147483647 w 16"/>
                    <a:gd name="T13" fmla="*/ 2147483647 h 45"/>
                    <a:gd name="T14" fmla="*/ 2147483647 w 16"/>
                    <a:gd name="T15" fmla="*/ 2147483647 h 45"/>
                    <a:gd name="T16" fmla="*/ 2147483647 w 16"/>
                    <a:gd name="T17" fmla="*/ 0 h 45"/>
                    <a:gd name="T18" fmla="*/ 0 w 16"/>
                    <a:gd name="T19" fmla="*/ 2147483647 h 45"/>
                    <a:gd name="T20" fmla="*/ 0 w 16"/>
                    <a:gd name="T21" fmla="*/ 2147483647 h 45"/>
                    <a:gd name="T22" fmla="*/ 0 w 16"/>
                    <a:gd name="T23" fmla="*/ 2147483647 h 45"/>
                    <a:gd name="T24" fmla="*/ 2147483647 w 16"/>
                    <a:gd name="T25" fmla="*/ 2147483647 h 45"/>
                    <a:gd name="T26" fmla="*/ 2147483647 w 16"/>
                    <a:gd name="T27" fmla="*/ 2147483647 h 45"/>
                    <a:gd name="T28" fmla="*/ 2147483647 w 16"/>
                    <a:gd name="T29" fmla="*/ 2147483647 h 45"/>
                    <a:gd name="T30" fmla="*/ 2147483647 w 16"/>
                    <a:gd name="T31" fmla="*/ 2147483647 h 45"/>
                    <a:gd name="T32" fmla="*/ 2147483647 w 16"/>
                    <a:gd name="T33" fmla="*/ 2147483647 h 45"/>
                    <a:gd name="T34" fmla="*/ 2147483647 w 16"/>
                    <a:gd name="T35" fmla="*/ 2147483647 h 45"/>
                    <a:gd name="T36" fmla="*/ 2147483647 w 16"/>
                    <a:gd name="T37" fmla="*/ 2147483647 h 45"/>
                    <a:gd name="T38" fmla="*/ 2147483647 w 16"/>
                    <a:gd name="T39" fmla="*/ 2147483647 h 45"/>
                    <a:gd name="T40" fmla="*/ 2147483647 w 16"/>
                    <a:gd name="T41" fmla="*/ 2147483647 h 45"/>
                    <a:gd name="T42" fmla="*/ 2147483647 w 16"/>
                    <a:gd name="T43" fmla="*/ 2147483647 h 4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6"/>
                    <a:gd name="T67" fmla="*/ 0 h 45"/>
                    <a:gd name="T68" fmla="*/ 16 w 16"/>
                    <a:gd name="T69" fmla="*/ 45 h 4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6" h="45">
                      <a:moveTo>
                        <a:pt x="16" y="43"/>
                      </a:moveTo>
                      <a:lnTo>
                        <a:pt x="16" y="39"/>
                      </a:lnTo>
                      <a:lnTo>
                        <a:pt x="16" y="31"/>
                      </a:lnTo>
                      <a:lnTo>
                        <a:pt x="16" y="21"/>
                      </a:lnTo>
                      <a:lnTo>
                        <a:pt x="14" y="16"/>
                      </a:lnTo>
                      <a:lnTo>
                        <a:pt x="11" y="13"/>
                      </a:lnTo>
                      <a:lnTo>
                        <a:pt x="7" y="8"/>
                      </a:lnTo>
                      <a:lnTo>
                        <a:pt x="4" y="3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4" y="18"/>
                      </a:lnTo>
                      <a:lnTo>
                        <a:pt x="7" y="32"/>
                      </a:lnTo>
                      <a:lnTo>
                        <a:pt x="9" y="37"/>
                      </a:lnTo>
                      <a:lnTo>
                        <a:pt x="9" y="40"/>
                      </a:lnTo>
                      <a:lnTo>
                        <a:pt x="9" y="43"/>
                      </a:lnTo>
                      <a:lnTo>
                        <a:pt x="10" y="45"/>
                      </a:lnTo>
                      <a:lnTo>
                        <a:pt x="12" y="45"/>
                      </a:lnTo>
                      <a:lnTo>
                        <a:pt x="15" y="44"/>
                      </a:lnTo>
                      <a:lnTo>
                        <a:pt x="16" y="4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5" name="Freeform 1336">
                  <a:extLst>
                    <a:ext uri="{FF2B5EF4-FFF2-40B4-BE49-F238E27FC236}">
                      <a16:creationId xmlns:a16="http://schemas.microsoft.com/office/drawing/2014/main" id="{B99EE8D7-9D99-0E40-BC9E-54D4A07F35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5495" y="3564696"/>
                  <a:ext cx="2960" cy="34037"/>
                </a:xfrm>
                <a:custGeom>
                  <a:avLst/>
                  <a:gdLst>
                    <a:gd name="T0" fmla="*/ 0 w 2"/>
                    <a:gd name="T1" fmla="*/ 0 h 23"/>
                    <a:gd name="T2" fmla="*/ 2147483647 w 2"/>
                    <a:gd name="T3" fmla="*/ 2147483647 h 23"/>
                    <a:gd name="T4" fmla="*/ 0 w 2"/>
                    <a:gd name="T5" fmla="*/ 0 h 23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23"/>
                    <a:gd name="T11" fmla="*/ 2 w 2"/>
                    <a:gd name="T12" fmla="*/ 23 h 2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23">
                      <a:moveTo>
                        <a:pt x="0" y="0"/>
                      </a:moveTo>
                      <a:lnTo>
                        <a:pt x="2" y="2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6" name="Freeform 1337">
                  <a:extLst>
                    <a:ext uri="{FF2B5EF4-FFF2-40B4-BE49-F238E27FC236}">
                      <a16:creationId xmlns:a16="http://schemas.microsoft.com/office/drawing/2014/main" id="{3C39DDE8-ED43-9341-915B-3B9A2377E6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4459" y="2843996"/>
                  <a:ext cx="66595" cy="128749"/>
                </a:xfrm>
                <a:custGeom>
                  <a:avLst/>
                  <a:gdLst>
                    <a:gd name="T0" fmla="*/ 0 w 49"/>
                    <a:gd name="T1" fmla="*/ 0 h 87"/>
                    <a:gd name="T2" fmla="*/ 0 w 49"/>
                    <a:gd name="T3" fmla="*/ 0 h 87"/>
                    <a:gd name="T4" fmla="*/ 2147483647 w 49"/>
                    <a:gd name="T5" fmla="*/ 2147483647 h 87"/>
                    <a:gd name="T6" fmla="*/ 2147483647 w 49"/>
                    <a:gd name="T7" fmla="*/ 2147483647 h 87"/>
                    <a:gd name="T8" fmla="*/ 2147483647 w 49"/>
                    <a:gd name="T9" fmla="*/ 2147483647 h 87"/>
                    <a:gd name="T10" fmla="*/ 2147483647 w 49"/>
                    <a:gd name="T11" fmla="*/ 2147483647 h 87"/>
                    <a:gd name="T12" fmla="*/ 2147483647 w 49"/>
                    <a:gd name="T13" fmla="*/ 2147483647 h 87"/>
                    <a:gd name="T14" fmla="*/ 2147483647 w 49"/>
                    <a:gd name="T15" fmla="*/ 2147483647 h 87"/>
                    <a:gd name="T16" fmla="*/ 2147483647 w 49"/>
                    <a:gd name="T17" fmla="*/ 2147483647 h 87"/>
                    <a:gd name="T18" fmla="*/ 2147483647 w 49"/>
                    <a:gd name="T19" fmla="*/ 2147483647 h 87"/>
                    <a:gd name="T20" fmla="*/ 2147483647 w 49"/>
                    <a:gd name="T21" fmla="*/ 2147483647 h 87"/>
                    <a:gd name="T22" fmla="*/ 2147483647 w 49"/>
                    <a:gd name="T23" fmla="*/ 2147483647 h 87"/>
                    <a:gd name="T24" fmla="*/ 2147483647 w 49"/>
                    <a:gd name="T25" fmla="*/ 2147483647 h 87"/>
                    <a:gd name="T26" fmla="*/ 2147483647 w 49"/>
                    <a:gd name="T27" fmla="*/ 2147483647 h 87"/>
                    <a:gd name="T28" fmla="*/ 2147483647 w 49"/>
                    <a:gd name="T29" fmla="*/ 2147483647 h 87"/>
                    <a:gd name="T30" fmla="*/ 2147483647 w 49"/>
                    <a:gd name="T31" fmla="*/ 2147483647 h 87"/>
                    <a:gd name="T32" fmla="*/ 2147483647 w 49"/>
                    <a:gd name="T33" fmla="*/ 2147483647 h 87"/>
                    <a:gd name="T34" fmla="*/ 2147483647 w 49"/>
                    <a:gd name="T35" fmla="*/ 2147483647 h 87"/>
                    <a:gd name="T36" fmla="*/ 2147483647 w 49"/>
                    <a:gd name="T37" fmla="*/ 2147483647 h 87"/>
                    <a:gd name="T38" fmla="*/ 2147483647 w 49"/>
                    <a:gd name="T39" fmla="*/ 2147483647 h 87"/>
                    <a:gd name="T40" fmla="*/ 2147483647 w 49"/>
                    <a:gd name="T41" fmla="*/ 2147483647 h 87"/>
                    <a:gd name="T42" fmla="*/ 2147483647 w 49"/>
                    <a:gd name="T43" fmla="*/ 2147483647 h 87"/>
                    <a:gd name="T44" fmla="*/ 2147483647 w 49"/>
                    <a:gd name="T45" fmla="*/ 2147483647 h 87"/>
                    <a:gd name="T46" fmla="*/ 2147483647 w 49"/>
                    <a:gd name="T47" fmla="*/ 2147483647 h 87"/>
                    <a:gd name="T48" fmla="*/ 2147483647 w 49"/>
                    <a:gd name="T49" fmla="*/ 2147483647 h 87"/>
                    <a:gd name="T50" fmla="*/ 2147483647 w 49"/>
                    <a:gd name="T51" fmla="*/ 2147483647 h 87"/>
                    <a:gd name="T52" fmla="*/ 2147483647 w 49"/>
                    <a:gd name="T53" fmla="*/ 2147483647 h 87"/>
                    <a:gd name="T54" fmla="*/ 2147483647 w 49"/>
                    <a:gd name="T55" fmla="*/ 2147483647 h 87"/>
                    <a:gd name="T56" fmla="*/ 2147483647 w 49"/>
                    <a:gd name="T57" fmla="*/ 2147483647 h 87"/>
                    <a:gd name="T58" fmla="*/ 2147483647 w 49"/>
                    <a:gd name="T59" fmla="*/ 2147483647 h 87"/>
                    <a:gd name="T60" fmla="*/ 2147483647 w 49"/>
                    <a:gd name="T61" fmla="*/ 2147483647 h 87"/>
                    <a:gd name="T62" fmla="*/ 2147483647 w 49"/>
                    <a:gd name="T63" fmla="*/ 2147483647 h 87"/>
                    <a:gd name="T64" fmla="*/ 2147483647 w 49"/>
                    <a:gd name="T65" fmla="*/ 2147483647 h 87"/>
                    <a:gd name="T66" fmla="*/ 2147483647 w 49"/>
                    <a:gd name="T67" fmla="*/ 2147483647 h 87"/>
                    <a:gd name="T68" fmla="*/ 2147483647 w 49"/>
                    <a:gd name="T69" fmla="*/ 2147483647 h 87"/>
                    <a:gd name="T70" fmla="*/ 2147483647 w 49"/>
                    <a:gd name="T71" fmla="*/ 2147483647 h 87"/>
                    <a:gd name="T72" fmla="*/ 2147483647 w 49"/>
                    <a:gd name="T73" fmla="*/ 2147483647 h 87"/>
                    <a:gd name="T74" fmla="*/ 2147483647 w 49"/>
                    <a:gd name="T75" fmla="*/ 2147483647 h 87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9"/>
                    <a:gd name="T115" fmla="*/ 0 h 87"/>
                    <a:gd name="T116" fmla="*/ 49 w 49"/>
                    <a:gd name="T117" fmla="*/ 87 h 87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9" h="8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8" y="5"/>
                      </a:lnTo>
                      <a:lnTo>
                        <a:pt x="11" y="7"/>
                      </a:lnTo>
                      <a:lnTo>
                        <a:pt x="13" y="11"/>
                      </a:lnTo>
                      <a:lnTo>
                        <a:pt x="16" y="18"/>
                      </a:lnTo>
                      <a:lnTo>
                        <a:pt x="17" y="22"/>
                      </a:lnTo>
                      <a:lnTo>
                        <a:pt x="17" y="30"/>
                      </a:lnTo>
                      <a:lnTo>
                        <a:pt x="17" y="31"/>
                      </a:lnTo>
                      <a:lnTo>
                        <a:pt x="20" y="32"/>
                      </a:lnTo>
                      <a:lnTo>
                        <a:pt x="24" y="32"/>
                      </a:lnTo>
                      <a:lnTo>
                        <a:pt x="29" y="36"/>
                      </a:lnTo>
                      <a:lnTo>
                        <a:pt x="39" y="43"/>
                      </a:lnTo>
                      <a:lnTo>
                        <a:pt x="41" y="44"/>
                      </a:lnTo>
                      <a:lnTo>
                        <a:pt x="43" y="44"/>
                      </a:lnTo>
                      <a:lnTo>
                        <a:pt x="47" y="45"/>
                      </a:lnTo>
                      <a:lnTo>
                        <a:pt x="48" y="45"/>
                      </a:lnTo>
                      <a:lnTo>
                        <a:pt x="49" y="47"/>
                      </a:lnTo>
                      <a:lnTo>
                        <a:pt x="49" y="50"/>
                      </a:lnTo>
                      <a:lnTo>
                        <a:pt x="48" y="52"/>
                      </a:lnTo>
                      <a:lnTo>
                        <a:pt x="47" y="52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1" y="66"/>
                      </a:lnTo>
                      <a:lnTo>
                        <a:pt x="41" y="70"/>
                      </a:lnTo>
                      <a:lnTo>
                        <a:pt x="44" y="75"/>
                      </a:lnTo>
                      <a:lnTo>
                        <a:pt x="48" y="82"/>
                      </a:lnTo>
                      <a:lnTo>
                        <a:pt x="49" y="87"/>
                      </a:lnTo>
                    </a:path>
                  </a:pathLst>
                </a:custGeom>
                <a:grpFill/>
                <a:ln w="1588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7" name="Line 1338">
                  <a:extLst>
                    <a:ext uri="{FF2B5EF4-FFF2-40B4-BE49-F238E27FC236}">
                      <a16:creationId xmlns:a16="http://schemas.microsoft.com/office/drawing/2014/main" id="{3868B69C-3C37-2F47-82D0-EFB91C6694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405492" y="3563213"/>
                  <a:ext cx="1480" cy="34038"/>
                </a:xfrm>
                <a:prstGeom prst="line">
                  <a:avLst/>
                </a:pr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8" name="Freeform 1339">
                  <a:extLst>
                    <a:ext uri="{FF2B5EF4-FFF2-40B4-BE49-F238E27FC236}">
                      <a16:creationId xmlns:a16="http://schemas.microsoft.com/office/drawing/2014/main" id="{1E720F99-D226-354D-B528-139ED5D9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48605" y="3230241"/>
                  <a:ext cx="59195" cy="122829"/>
                </a:xfrm>
                <a:custGeom>
                  <a:avLst/>
                  <a:gdLst>
                    <a:gd name="T0" fmla="*/ 2147483647 w 43"/>
                    <a:gd name="T1" fmla="*/ 0 h 83"/>
                    <a:gd name="T2" fmla="*/ 2147483647 w 43"/>
                    <a:gd name="T3" fmla="*/ 0 h 83"/>
                    <a:gd name="T4" fmla="*/ 2147483647 w 43"/>
                    <a:gd name="T5" fmla="*/ 2147483647 h 83"/>
                    <a:gd name="T6" fmla="*/ 2147483647 w 43"/>
                    <a:gd name="T7" fmla="*/ 2147483647 h 83"/>
                    <a:gd name="T8" fmla="*/ 2147483647 w 43"/>
                    <a:gd name="T9" fmla="*/ 2147483647 h 83"/>
                    <a:gd name="T10" fmla="*/ 2147483647 w 43"/>
                    <a:gd name="T11" fmla="*/ 2147483647 h 83"/>
                    <a:gd name="T12" fmla="*/ 2147483647 w 43"/>
                    <a:gd name="T13" fmla="*/ 2147483647 h 83"/>
                    <a:gd name="T14" fmla="*/ 2147483647 w 43"/>
                    <a:gd name="T15" fmla="*/ 2147483647 h 83"/>
                    <a:gd name="T16" fmla="*/ 2147483647 w 43"/>
                    <a:gd name="T17" fmla="*/ 2147483647 h 83"/>
                    <a:gd name="T18" fmla="*/ 2147483647 w 43"/>
                    <a:gd name="T19" fmla="*/ 2147483647 h 83"/>
                    <a:gd name="T20" fmla="*/ 2147483647 w 43"/>
                    <a:gd name="T21" fmla="*/ 2147483647 h 83"/>
                    <a:gd name="T22" fmla="*/ 2147483647 w 43"/>
                    <a:gd name="T23" fmla="*/ 2147483647 h 83"/>
                    <a:gd name="T24" fmla="*/ 2147483647 w 43"/>
                    <a:gd name="T25" fmla="*/ 2147483647 h 83"/>
                    <a:gd name="T26" fmla="*/ 2147483647 w 43"/>
                    <a:gd name="T27" fmla="*/ 2147483647 h 83"/>
                    <a:gd name="T28" fmla="*/ 2147483647 w 43"/>
                    <a:gd name="T29" fmla="*/ 2147483647 h 83"/>
                    <a:gd name="T30" fmla="*/ 2147483647 w 43"/>
                    <a:gd name="T31" fmla="*/ 2147483647 h 83"/>
                    <a:gd name="T32" fmla="*/ 0 w 43"/>
                    <a:gd name="T33" fmla="*/ 2147483647 h 83"/>
                    <a:gd name="T34" fmla="*/ 0 w 43"/>
                    <a:gd name="T35" fmla="*/ 2147483647 h 83"/>
                    <a:gd name="T36" fmla="*/ 0 w 43"/>
                    <a:gd name="T37" fmla="*/ 2147483647 h 83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3"/>
                    <a:gd name="T58" fmla="*/ 0 h 83"/>
                    <a:gd name="T59" fmla="*/ 43 w 43"/>
                    <a:gd name="T60" fmla="*/ 83 h 83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3" h="83">
                      <a:moveTo>
                        <a:pt x="43" y="0"/>
                      </a:moveTo>
                      <a:lnTo>
                        <a:pt x="43" y="0"/>
                      </a:lnTo>
                      <a:lnTo>
                        <a:pt x="40" y="3"/>
                      </a:lnTo>
                      <a:lnTo>
                        <a:pt x="36" y="7"/>
                      </a:lnTo>
                      <a:lnTo>
                        <a:pt x="31" y="9"/>
                      </a:lnTo>
                      <a:lnTo>
                        <a:pt x="18" y="13"/>
                      </a:lnTo>
                      <a:lnTo>
                        <a:pt x="9" y="18"/>
                      </a:lnTo>
                      <a:lnTo>
                        <a:pt x="7" y="19"/>
                      </a:lnTo>
                      <a:lnTo>
                        <a:pt x="5" y="21"/>
                      </a:lnTo>
                      <a:lnTo>
                        <a:pt x="4" y="27"/>
                      </a:lnTo>
                      <a:lnTo>
                        <a:pt x="4" y="35"/>
                      </a:lnTo>
                      <a:lnTo>
                        <a:pt x="5" y="59"/>
                      </a:lnTo>
                      <a:lnTo>
                        <a:pt x="3" y="66"/>
                      </a:lnTo>
                      <a:lnTo>
                        <a:pt x="0" y="76"/>
                      </a:lnTo>
                      <a:lnTo>
                        <a:pt x="0" y="83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9" name="Freeform 1340">
                  <a:extLst>
                    <a:ext uri="{FF2B5EF4-FFF2-40B4-BE49-F238E27FC236}">
                      <a16:creationId xmlns:a16="http://schemas.microsoft.com/office/drawing/2014/main" id="{F1FD897F-8BB6-4248-847B-612BC57899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9955" y="3259844"/>
                  <a:ext cx="229380" cy="60674"/>
                </a:xfrm>
                <a:custGeom>
                  <a:avLst/>
                  <a:gdLst>
                    <a:gd name="T0" fmla="*/ 0 w 168"/>
                    <a:gd name="T1" fmla="*/ 0 h 41"/>
                    <a:gd name="T2" fmla="*/ 0 w 168"/>
                    <a:gd name="T3" fmla="*/ 0 h 41"/>
                    <a:gd name="T4" fmla="*/ 2147483647 w 168"/>
                    <a:gd name="T5" fmla="*/ 2147483647 h 41"/>
                    <a:gd name="T6" fmla="*/ 2147483647 w 168"/>
                    <a:gd name="T7" fmla="*/ 2147483647 h 41"/>
                    <a:gd name="T8" fmla="*/ 2147483647 w 168"/>
                    <a:gd name="T9" fmla="*/ 2147483647 h 41"/>
                    <a:gd name="T10" fmla="*/ 2147483647 w 168"/>
                    <a:gd name="T11" fmla="*/ 2147483647 h 41"/>
                    <a:gd name="T12" fmla="*/ 2147483647 w 168"/>
                    <a:gd name="T13" fmla="*/ 2147483647 h 41"/>
                    <a:gd name="T14" fmla="*/ 2147483647 w 168"/>
                    <a:gd name="T15" fmla="*/ 2147483647 h 41"/>
                    <a:gd name="T16" fmla="*/ 2147483647 w 168"/>
                    <a:gd name="T17" fmla="*/ 2147483647 h 41"/>
                    <a:gd name="T18" fmla="*/ 2147483647 w 168"/>
                    <a:gd name="T19" fmla="*/ 2147483647 h 41"/>
                    <a:gd name="T20" fmla="*/ 2147483647 w 168"/>
                    <a:gd name="T21" fmla="*/ 2147483647 h 41"/>
                    <a:gd name="T22" fmla="*/ 2147483647 w 168"/>
                    <a:gd name="T23" fmla="*/ 2147483647 h 41"/>
                    <a:gd name="T24" fmla="*/ 2147483647 w 168"/>
                    <a:gd name="T25" fmla="*/ 2147483647 h 41"/>
                    <a:gd name="T26" fmla="*/ 2147483647 w 168"/>
                    <a:gd name="T27" fmla="*/ 2147483647 h 41"/>
                    <a:gd name="T28" fmla="*/ 2147483647 w 168"/>
                    <a:gd name="T29" fmla="*/ 2147483647 h 41"/>
                    <a:gd name="T30" fmla="*/ 2147483647 w 168"/>
                    <a:gd name="T31" fmla="*/ 2147483647 h 41"/>
                    <a:gd name="T32" fmla="*/ 2147483647 w 168"/>
                    <a:gd name="T33" fmla="*/ 2147483647 h 41"/>
                    <a:gd name="T34" fmla="*/ 2147483647 w 168"/>
                    <a:gd name="T35" fmla="*/ 2147483647 h 41"/>
                    <a:gd name="T36" fmla="*/ 2147483647 w 168"/>
                    <a:gd name="T37" fmla="*/ 2147483647 h 41"/>
                    <a:gd name="T38" fmla="*/ 2147483647 w 168"/>
                    <a:gd name="T39" fmla="*/ 2147483647 h 41"/>
                    <a:gd name="T40" fmla="*/ 2147483647 w 168"/>
                    <a:gd name="T41" fmla="*/ 2147483647 h 41"/>
                    <a:gd name="T42" fmla="*/ 2147483647 w 168"/>
                    <a:gd name="T43" fmla="*/ 2147483647 h 41"/>
                    <a:gd name="T44" fmla="*/ 2147483647 w 168"/>
                    <a:gd name="T45" fmla="*/ 2147483647 h 41"/>
                    <a:gd name="T46" fmla="*/ 2147483647 w 168"/>
                    <a:gd name="T47" fmla="*/ 2147483647 h 41"/>
                    <a:gd name="T48" fmla="*/ 2147483647 w 168"/>
                    <a:gd name="T49" fmla="*/ 2147483647 h 41"/>
                    <a:gd name="T50" fmla="*/ 2147483647 w 168"/>
                    <a:gd name="T51" fmla="*/ 2147483647 h 41"/>
                    <a:gd name="T52" fmla="*/ 2147483647 w 168"/>
                    <a:gd name="T53" fmla="*/ 2147483647 h 41"/>
                    <a:gd name="T54" fmla="*/ 2147483647 w 168"/>
                    <a:gd name="T55" fmla="*/ 2147483647 h 4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68"/>
                    <a:gd name="T85" fmla="*/ 0 h 41"/>
                    <a:gd name="T86" fmla="*/ 168 w 168"/>
                    <a:gd name="T87" fmla="*/ 41 h 41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68" h="4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8" y="14"/>
                      </a:lnTo>
                      <a:lnTo>
                        <a:pt x="32" y="15"/>
                      </a:lnTo>
                      <a:lnTo>
                        <a:pt x="52" y="17"/>
                      </a:lnTo>
                      <a:lnTo>
                        <a:pt x="54" y="15"/>
                      </a:lnTo>
                      <a:lnTo>
                        <a:pt x="59" y="13"/>
                      </a:lnTo>
                      <a:lnTo>
                        <a:pt x="62" y="13"/>
                      </a:lnTo>
                      <a:lnTo>
                        <a:pt x="68" y="13"/>
                      </a:lnTo>
                      <a:lnTo>
                        <a:pt x="75" y="14"/>
                      </a:lnTo>
                      <a:lnTo>
                        <a:pt x="83" y="18"/>
                      </a:lnTo>
                      <a:lnTo>
                        <a:pt x="103" y="26"/>
                      </a:lnTo>
                      <a:lnTo>
                        <a:pt x="106" y="28"/>
                      </a:lnTo>
                      <a:lnTo>
                        <a:pt x="106" y="31"/>
                      </a:lnTo>
                      <a:lnTo>
                        <a:pt x="106" y="34"/>
                      </a:lnTo>
                      <a:lnTo>
                        <a:pt x="107" y="38"/>
                      </a:lnTo>
                      <a:lnTo>
                        <a:pt x="111" y="40"/>
                      </a:lnTo>
                      <a:lnTo>
                        <a:pt x="117" y="41"/>
                      </a:lnTo>
                      <a:lnTo>
                        <a:pt x="123" y="41"/>
                      </a:lnTo>
                      <a:lnTo>
                        <a:pt x="130" y="40"/>
                      </a:lnTo>
                      <a:lnTo>
                        <a:pt x="146" y="34"/>
                      </a:lnTo>
                      <a:lnTo>
                        <a:pt x="160" y="28"/>
                      </a:lnTo>
                      <a:lnTo>
                        <a:pt x="168" y="25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0" name="Freeform 1341">
                  <a:extLst>
                    <a:ext uri="{FF2B5EF4-FFF2-40B4-BE49-F238E27FC236}">
                      <a16:creationId xmlns:a16="http://schemas.microsoft.com/office/drawing/2014/main" id="{63D03517-550A-644D-AA2C-CB60501E39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5594" y="3387112"/>
                  <a:ext cx="79913" cy="50315"/>
                </a:xfrm>
                <a:custGeom>
                  <a:avLst/>
                  <a:gdLst>
                    <a:gd name="T0" fmla="*/ 0 w 58"/>
                    <a:gd name="T1" fmla="*/ 2147483647 h 34"/>
                    <a:gd name="T2" fmla="*/ 0 w 58"/>
                    <a:gd name="T3" fmla="*/ 2147483647 h 34"/>
                    <a:gd name="T4" fmla="*/ 2147483647 w 58"/>
                    <a:gd name="T5" fmla="*/ 2147483647 h 34"/>
                    <a:gd name="T6" fmla="*/ 2147483647 w 58"/>
                    <a:gd name="T7" fmla="*/ 0 h 34"/>
                    <a:gd name="T8" fmla="*/ 2147483647 w 58"/>
                    <a:gd name="T9" fmla="*/ 0 h 34"/>
                    <a:gd name="T10" fmla="*/ 2147483647 w 58"/>
                    <a:gd name="T11" fmla="*/ 0 h 34"/>
                    <a:gd name="T12" fmla="*/ 2147483647 w 58"/>
                    <a:gd name="T13" fmla="*/ 0 h 34"/>
                    <a:gd name="T14" fmla="*/ 2147483647 w 58"/>
                    <a:gd name="T15" fmla="*/ 2147483647 h 34"/>
                    <a:gd name="T16" fmla="*/ 2147483647 w 58"/>
                    <a:gd name="T17" fmla="*/ 2147483647 h 34"/>
                    <a:gd name="T18" fmla="*/ 2147483647 w 58"/>
                    <a:gd name="T19" fmla="*/ 2147483647 h 34"/>
                    <a:gd name="T20" fmla="*/ 2147483647 w 58"/>
                    <a:gd name="T21" fmla="*/ 2147483647 h 34"/>
                    <a:gd name="T22" fmla="*/ 2147483647 w 58"/>
                    <a:gd name="T23" fmla="*/ 2147483647 h 34"/>
                    <a:gd name="T24" fmla="*/ 2147483647 w 58"/>
                    <a:gd name="T25" fmla="*/ 2147483647 h 34"/>
                    <a:gd name="T26" fmla="*/ 2147483647 w 58"/>
                    <a:gd name="T27" fmla="*/ 2147483647 h 34"/>
                    <a:gd name="T28" fmla="*/ 2147483647 w 58"/>
                    <a:gd name="T29" fmla="*/ 2147483647 h 34"/>
                    <a:gd name="T30" fmla="*/ 2147483647 w 58"/>
                    <a:gd name="T31" fmla="*/ 2147483647 h 34"/>
                    <a:gd name="T32" fmla="*/ 2147483647 w 58"/>
                    <a:gd name="T33" fmla="*/ 2147483647 h 34"/>
                    <a:gd name="T34" fmla="*/ 2147483647 w 58"/>
                    <a:gd name="T35" fmla="*/ 2147483647 h 34"/>
                    <a:gd name="T36" fmla="*/ 2147483647 w 58"/>
                    <a:gd name="T37" fmla="*/ 2147483647 h 34"/>
                    <a:gd name="T38" fmla="*/ 2147483647 w 58"/>
                    <a:gd name="T39" fmla="*/ 2147483647 h 34"/>
                    <a:gd name="T40" fmla="*/ 2147483647 w 58"/>
                    <a:gd name="T41" fmla="*/ 2147483647 h 34"/>
                    <a:gd name="T42" fmla="*/ 2147483647 w 58"/>
                    <a:gd name="T43" fmla="*/ 2147483647 h 34"/>
                    <a:gd name="T44" fmla="*/ 2147483647 w 58"/>
                    <a:gd name="T45" fmla="*/ 2147483647 h 34"/>
                    <a:gd name="T46" fmla="*/ 2147483647 w 58"/>
                    <a:gd name="T47" fmla="*/ 2147483647 h 34"/>
                    <a:gd name="T48" fmla="*/ 2147483647 w 58"/>
                    <a:gd name="T49" fmla="*/ 2147483647 h 34"/>
                    <a:gd name="T50" fmla="*/ 2147483647 w 58"/>
                    <a:gd name="T51" fmla="*/ 2147483647 h 3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58"/>
                    <a:gd name="T79" fmla="*/ 0 h 34"/>
                    <a:gd name="T80" fmla="*/ 58 w 58"/>
                    <a:gd name="T81" fmla="*/ 34 h 3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58" h="3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14" y="0"/>
                      </a:lnTo>
                      <a:lnTo>
                        <a:pt x="23" y="0"/>
                      </a:lnTo>
                      <a:lnTo>
                        <a:pt x="29" y="3"/>
                      </a:lnTo>
                      <a:lnTo>
                        <a:pt x="37" y="5"/>
                      </a:lnTo>
                      <a:lnTo>
                        <a:pt x="39" y="6"/>
                      </a:lnTo>
                      <a:lnTo>
                        <a:pt x="48" y="6"/>
                      </a:lnTo>
                      <a:lnTo>
                        <a:pt x="54" y="8"/>
                      </a:lnTo>
                      <a:lnTo>
                        <a:pt x="57" y="9"/>
                      </a:lnTo>
                      <a:lnTo>
                        <a:pt x="58" y="14"/>
                      </a:lnTo>
                      <a:lnTo>
                        <a:pt x="58" y="18"/>
                      </a:lnTo>
                      <a:lnTo>
                        <a:pt x="57" y="21"/>
                      </a:lnTo>
                      <a:lnTo>
                        <a:pt x="56" y="22"/>
                      </a:lnTo>
                      <a:lnTo>
                        <a:pt x="54" y="24"/>
                      </a:lnTo>
                      <a:lnTo>
                        <a:pt x="54" y="27"/>
                      </a:lnTo>
                      <a:lnTo>
                        <a:pt x="56" y="31"/>
                      </a:lnTo>
                      <a:lnTo>
                        <a:pt x="57" y="34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1" name="Freeform 1342">
                  <a:extLst>
                    <a:ext uri="{FF2B5EF4-FFF2-40B4-BE49-F238E27FC236}">
                      <a16:creationId xmlns:a16="http://schemas.microsoft.com/office/drawing/2014/main" id="{FC046B0B-A443-604B-9162-26E32740E1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5548" y="3338272"/>
                  <a:ext cx="82873" cy="53275"/>
                </a:xfrm>
                <a:custGeom>
                  <a:avLst/>
                  <a:gdLst>
                    <a:gd name="T0" fmla="*/ 0 w 60"/>
                    <a:gd name="T1" fmla="*/ 2147483647 h 36"/>
                    <a:gd name="T2" fmla="*/ 0 w 60"/>
                    <a:gd name="T3" fmla="*/ 2147483647 h 36"/>
                    <a:gd name="T4" fmla="*/ 2147483647 w 60"/>
                    <a:gd name="T5" fmla="*/ 2147483647 h 36"/>
                    <a:gd name="T6" fmla="*/ 2147483647 w 60"/>
                    <a:gd name="T7" fmla="*/ 2147483647 h 36"/>
                    <a:gd name="T8" fmla="*/ 2147483647 w 60"/>
                    <a:gd name="T9" fmla="*/ 2147483647 h 36"/>
                    <a:gd name="T10" fmla="*/ 2147483647 w 60"/>
                    <a:gd name="T11" fmla="*/ 2147483647 h 36"/>
                    <a:gd name="T12" fmla="*/ 2147483647 w 60"/>
                    <a:gd name="T13" fmla="*/ 2147483647 h 36"/>
                    <a:gd name="T14" fmla="*/ 2147483647 w 60"/>
                    <a:gd name="T15" fmla="*/ 2147483647 h 36"/>
                    <a:gd name="T16" fmla="*/ 2147483647 w 60"/>
                    <a:gd name="T17" fmla="*/ 2147483647 h 36"/>
                    <a:gd name="T18" fmla="*/ 2147483647 w 60"/>
                    <a:gd name="T19" fmla="*/ 2147483647 h 36"/>
                    <a:gd name="T20" fmla="*/ 2147483647 w 60"/>
                    <a:gd name="T21" fmla="*/ 2147483647 h 36"/>
                    <a:gd name="T22" fmla="*/ 2147483647 w 60"/>
                    <a:gd name="T23" fmla="*/ 2147483647 h 36"/>
                    <a:gd name="T24" fmla="*/ 2147483647 w 60"/>
                    <a:gd name="T25" fmla="*/ 2147483647 h 36"/>
                    <a:gd name="T26" fmla="*/ 2147483647 w 60"/>
                    <a:gd name="T27" fmla="*/ 2147483647 h 36"/>
                    <a:gd name="T28" fmla="*/ 2147483647 w 60"/>
                    <a:gd name="T29" fmla="*/ 2147483647 h 36"/>
                    <a:gd name="T30" fmla="*/ 2147483647 w 60"/>
                    <a:gd name="T31" fmla="*/ 2147483647 h 36"/>
                    <a:gd name="T32" fmla="*/ 2147483647 w 60"/>
                    <a:gd name="T33" fmla="*/ 2147483647 h 36"/>
                    <a:gd name="T34" fmla="*/ 2147483647 w 60"/>
                    <a:gd name="T35" fmla="*/ 2147483647 h 36"/>
                    <a:gd name="T36" fmla="*/ 2147483647 w 60"/>
                    <a:gd name="T37" fmla="*/ 2147483647 h 36"/>
                    <a:gd name="T38" fmla="*/ 2147483647 w 60"/>
                    <a:gd name="T39" fmla="*/ 2147483647 h 36"/>
                    <a:gd name="T40" fmla="*/ 2147483647 w 60"/>
                    <a:gd name="T41" fmla="*/ 2147483647 h 36"/>
                    <a:gd name="T42" fmla="*/ 2147483647 w 60"/>
                    <a:gd name="T43" fmla="*/ 2147483647 h 36"/>
                    <a:gd name="T44" fmla="*/ 2147483647 w 60"/>
                    <a:gd name="T45" fmla="*/ 2147483647 h 36"/>
                    <a:gd name="T46" fmla="*/ 2147483647 w 60"/>
                    <a:gd name="T47" fmla="*/ 0 h 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60"/>
                    <a:gd name="T73" fmla="*/ 0 h 36"/>
                    <a:gd name="T74" fmla="*/ 60 w 60"/>
                    <a:gd name="T75" fmla="*/ 36 h 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60" h="36"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4" y="31"/>
                      </a:lnTo>
                      <a:lnTo>
                        <a:pt x="6" y="28"/>
                      </a:lnTo>
                      <a:lnTo>
                        <a:pt x="10" y="25"/>
                      </a:lnTo>
                      <a:lnTo>
                        <a:pt x="13" y="25"/>
                      </a:lnTo>
                      <a:lnTo>
                        <a:pt x="15" y="25"/>
                      </a:lnTo>
                      <a:lnTo>
                        <a:pt x="16" y="25"/>
                      </a:lnTo>
                      <a:lnTo>
                        <a:pt x="19" y="24"/>
                      </a:lnTo>
                      <a:lnTo>
                        <a:pt x="22" y="23"/>
                      </a:lnTo>
                      <a:lnTo>
                        <a:pt x="23" y="23"/>
                      </a:lnTo>
                      <a:lnTo>
                        <a:pt x="24" y="22"/>
                      </a:lnTo>
                      <a:lnTo>
                        <a:pt x="23" y="17"/>
                      </a:lnTo>
                      <a:lnTo>
                        <a:pt x="23" y="10"/>
                      </a:lnTo>
                      <a:lnTo>
                        <a:pt x="23" y="7"/>
                      </a:lnTo>
                      <a:lnTo>
                        <a:pt x="25" y="6"/>
                      </a:lnTo>
                      <a:lnTo>
                        <a:pt x="33" y="5"/>
                      </a:lnTo>
                      <a:lnTo>
                        <a:pt x="43" y="4"/>
                      </a:lnTo>
                      <a:lnTo>
                        <a:pt x="52" y="3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2" name="Freeform 1343">
                  <a:extLst>
                    <a:ext uri="{FF2B5EF4-FFF2-40B4-BE49-F238E27FC236}">
                      <a16:creationId xmlns:a16="http://schemas.microsoft.com/office/drawing/2014/main" id="{B7C319F5-FDF5-FC4F-A77C-B638ADDD58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3483" y="3295356"/>
                  <a:ext cx="176105" cy="53275"/>
                </a:xfrm>
                <a:custGeom>
                  <a:avLst/>
                  <a:gdLst>
                    <a:gd name="T0" fmla="*/ 0 w 129"/>
                    <a:gd name="T1" fmla="*/ 2147483647 h 36"/>
                    <a:gd name="T2" fmla="*/ 0 w 129"/>
                    <a:gd name="T3" fmla="*/ 2147483647 h 36"/>
                    <a:gd name="T4" fmla="*/ 2147483647 w 129"/>
                    <a:gd name="T5" fmla="*/ 0 h 36"/>
                    <a:gd name="T6" fmla="*/ 2147483647 w 129"/>
                    <a:gd name="T7" fmla="*/ 0 h 36"/>
                    <a:gd name="T8" fmla="*/ 2147483647 w 129"/>
                    <a:gd name="T9" fmla="*/ 0 h 36"/>
                    <a:gd name="T10" fmla="*/ 2147483647 w 129"/>
                    <a:gd name="T11" fmla="*/ 2147483647 h 36"/>
                    <a:gd name="T12" fmla="*/ 2147483647 w 129"/>
                    <a:gd name="T13" fmla="*/ 2147483647 h 36"/>
                    <a:gd name="T14" fmla="*/ 2147483647 w 129"/>
                    <a:gd name="T15" fmla="*/ 2147483647 h 36"/>
                    <a:gd name="T16" fmla="*/ 2147483647 w 129"/>
                    <a:gd name="T17" fmla="*/ 2147483647 h 36"/>
                    <a:gd name="T18" fmla="*/ 2147483647 w 129"/>
                    <a:gd name="T19" fmla="*/ 2147483647 h 36"/>
                    <a:gd name="T20" fmla="*/ 2147483647 w 129"/>
                    <a:gd name="T21" fmla="*/ 2147483647 h 36"/>
                    <a:gd name="T22" fmla="*/ 2147483647 w 129"/>
                    <a:gd name="T23" fmla="*/ 2147483647 h 36"/>
                    <a:gd name="T24" fmla="*/ 2147483647 w 129"/>
                    <a:gd name="T25" fmla="*/ 2147483647 h 36"/>
                    <a:gd name="T26" fmla="*/ 2147483647 w 129"/>
                    <a:gd name="T27" fmla="*/ 2147483647 h 36"/>
                    <a:gd name="T28" fmla="*/ 2147483647 w 129"/>
                    <a:gd name="T29" fmla="*/ 2147483647 h 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9"/>
                    <a:gd name="T46" fmla="*/ 0 h 36"/>
                    <a:gd name="T47" fmla="*/ 129 w 129"/>
                    <a:gd name="T48" fmla="*/ 36 h 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9" h="36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8" y="0"/>
                      </a:lnTo>
                      <a:lnTo>
                        <a:pt x="32" y="0"/>
                      </a:lnTo>
                      <a:lnTo>
                        <a:pt x="37" y="0"/>
                      </a:lnTo>
                      <a:lnTo>
                        <a:pt x="40" y="1"/>
                      </a:lnTo>
                      <a:lnTo>
                        <a:pt x="56" y="8"/>
                      </a:lnTo>
                      <a:lnTo>
                        <a:pt x="68" y="13"/>
                      </a:lnTo>
                      <a:lnTo>
                        <a:pt x="96" y="25"/>
                      </a:lnTo>
                      <a:lnTo>
                        <a:pt x="114" y="33"/>
                      </a:lnTo>
                      <a:lnTo>
                        <a:pt x="124" y="36"/>
                      </a:lnTo>
                      <a:lnTo>
                        <a:pt x="129" y="36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3" name="Freeform 616">
                  <a:extLst>
                    <a:ext uri="{FF2B5EF4-FFF2-40B4-BE49-F238E27FC236}">
                      <a16:creationId xmlns:a16="http://schemas.microsoft.com/office/drawing/2014/main" id="{51577A71-DD42-0045-8ACC-255E890248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12633" y="4183280"/>
                  <a:ext cx="124309" cy="146507"/>
                </a:xfrm>
                <a:custGeom>
                  <a:avLst/>
                  <a:gdLst>
                    <a:gd name="T0" fmla="*/ 2147483647 w 91"/>
                    <a:gd name="T1" fmla="*/ 2147483647 h 99"/>
                    <a:gd name="T2" fmla="*/ 2147483647 w 91"/>
                    <a:gd name="T3" fmla="*/ 2147483647 h 99"/>
                    <a:gd name="T4" fmla="*/ 2147483647 w 91"/>
                    <a:gd name="T5" fmla="*/ 2147483647 h 99"/>
                    <a:gd name="T6" fmla="*/ 2147483647 w 91"/>
                    <a:gd name="T7" fmla="*/ 2147483647 h 99"/>
                    <a:gd name="T8" fmla="*/ 2147483647 w 91"/>
                    <a:gd name="T9" fmla="*/ 2147483647 h 99"/>
                    <a:gd name="T10" fmla="*/ 2147483647 w 91"/>
                    <a:gd name="T11" fmla="*/ 2147483647 h 99"/>
                    <a:gd name="T12" fmla="*/ 2147483647 w 91"/>
                    <a:gd name="T13" fmla="*/ 2147483647 h 99"/>
                    <a:gd name="T14" fmla="*/ 2147483647 w 91"/>
                    <a:gd name="T15" fmla="*/ 2147483647 h 99"/>
                    <a:gd name="T16" fmla="*/ 2147483647 w 91"/>
                    <a:gd name="T17" fmla="*/ 2147483647 h 99"/>
                    <a:gd name="T18" fmla="*/ 2147483647 w 91"/>
                    <a:gd name="T19" fmla="*/ 2147483647 h 99"/>
                    <a:gd name="T20" fmla="*/ 2147483647 w 91"/>
                    <a:gd name="T21" fmla="*/ 2147483647 h 99"/>
                    <a:gd name="T22" fmla="*/ 2147483647 w 91"/>
                    <a:gd name="T23" fmla="*/ 2147483647 h 99"/>
                    <a:gd name="T24" fmla="*/ 2147483647 w 91"/>
                    <a:gd name="T25" fmla="*/ 2147483647 h 99"/>
                    <a:gd name="T26" fmla="*/ 2147483647 w 91"/>
                    <a:gd name="T27" fmla="*/ 2147483647 h 99"/>
                    <a:gd name="T28" fmla="*/ 2147483647 w 91"/>
                    <a:gd name="T29" fmla="*/ 2147483647 h 99"/>
                    <a:gd name="T30" fmla="*/ 2147483647 w 91"/>
                    <a:gd name="T31" fmla="*/ 2147483647 h 99"/>
                    <a:gd name="T32" fmla="*/ 2147483647 w 91"/>
                    <a:gd name="T33" fmla="*/ 2147483647 h 99"/>
                    <a:gd name="T34" fmla="*/ 2147483647 w 91"/>
                    <a:gd name="T35" fmla="*/ 2147483647 h 99"/>
                    <a:gd name="T36" fmla="*/ 2147483647 w 91"/>
                    <a:gd name="T37" fmla="*/ 2147483647 h 99"/>
                    <a:gd name="T38" fmla="*/ 2147483647 w 91"/>
                    <a:gd name="T39" fmla="*/ 2147483647 h 99"/>
                    <a:gd name="T40" fmla="*/ 2147483647 w 91"/>
                    <a:gd name="T41" fmla="*/ 2147483647 h 99"/>
                    <a:gd name="T42" fmla="*/ 2147483647 w 91"/>
                    <a:gd name="T43" fmla="*/ 2147483647 h 99"/>
                    <a:gd name="T44" fmla="*/ 2147483647 w 91"/>
                    <a:gd name="T45" fmla="*/ 2147483647 h 99"/>
                    <a:gd name="T46" fmla="*/ 2147483647 w 91"/>
                    <a:gd name="T47" fmla="*/ 2147483647 h 99"/>
                    <a:gd name="T48" fmla="*/ 2147483647 w 91"/>
                    <a:gd name="T49" fmla="*/ 2147483647 h 99"/>
                    <a:gd name="T50" fmla="*/ 2147483647 w 91"/>
                    <a:gd name="T51" fmla="*/ 0 h 99"/>
                    <a:gd name="T52" fmla="*/ 2147483647 w 91"/>
                    <a:gd name="T53" fmla="*/ 2147483647 h 99"/>
                    <a:gd name="T54" fmla="*/ 2147483647 w 91"/>
                    <a:gd name="T55" fmla="*/ 2147483647 h 99"/>
                    <a:gd name="T56" fmla="*/ 2147483647 w 91"/>
                    <a:gd name="T57" fmla="*/ 2147483647 h 99"/>
                    <a:gd name="T58" fmla="*/ 2147483647 w 91"/>
                    <a:gd name="T59" fmla="*/ 2147483647 h 99"/>
                    <a:gd name="T60" fmla="*/ 2147483647 w 91"/>
                    <a:gd name="T61" fmla="*/ 2147483647 h 99"/>
                    <a:gd name="T62" fmla="*/ 2147483647 w 91"/>
                    <a:gd name="T63" fmla="*/ 2147483647 h 99"/>
                    <a:gd name="T64" fmla="*/ 2147483647 w 91"/>
                    <a:gd name="T65" fmla="*/ 2147483647 h 99"/>
                    <a:gd name="T66" fmla="*/ 2147483647 w 91"/>
                    <a:gd name="T67" fmla="*/ 2147483647 h 99"/>
                    <a:gd name="T68" fmla="*/ 2147483647 w 91"/>
                    <a:gd name="T69" fmla="*/ 2147483647 h 99"/>
                    <a:gd name="T70" fmla="*/ 2147483647 w 91"/>
                    <a:gd name="T71" fmla="*/ 2147483647 h 99"/>
                    <a:gd name="T72" fmla="*/ 2147483647 w 91"/>
                    <a:gd name="T73" fmla="*/ 2147483647 h 99"/>
                    <a:gd name="T74" fmla="*/ 2147483647 w 91"/>
                    <a:gd name="T75" fmla="*/ 2147483647 h 99"/>
                    <a:gd name="T76" fmla="*/ 2147483647 w 91"/>
                    <a:gd name="T77" fmla="*/ 2147483647 h 99"/>
                    <a:gd name="T78" fmla="*/ 2147483647 w 91"/>
                    <a:gd name="T79" fmla="*/ 2147483647 h 99"/>
                    <a:gd name="T80" fmla="*/ 2147483647 w 91"/>
                    <a:gd name="T81" fmla="*/ 2147483647 h 99"/>
                    <a:gd name="T82" fmla="*/ 2147483647 w 91"/>
                    <a:gd name="T83" fmla="*/ 2147483647 h 99"/>
                    <a:gd name="T84" fmla="*/ 2147483647 w 91"/>
                    <a:gd name="T85" fmla="*/ 2147483647 h 99"/>
                    <a:gd name="T86" fmla="*/ 2147483647 w 91"/>
                    <a:gd name="T87" fmla="*/ 2147483647 h 99"/>
                    <a:gd name="T88" fmla="*/ 2147483647 w 91"/>
                    <a:gd name="T89" fmla="*/ 2147483647 h 99"/>
                    <a:gd name="T90" fmla="*/ 2147483647 w 91"/>
                    <a:gd name="T91" fmla="*/ 2147483647 h 99"/>
                    <a:gd name="T92" fmla="*/ 2147483647 w 91"/>
                    <a:gd name="T93" fmla="*/ 2147483647 h 99"/>
                    <a:gd name="T94" fmla="*/ 2147483647 w 91"/>
                    <a:gd name="T95" fmla="*/ 2147483647 h 99"/>
                    <a:gd name="T96" fmla="*/ 2147483647 w 91"/>
                    <a:gd name="T97" fmla="*/ 2147483647 h 99"/>
                    <a:gd name="T98" fmla="*/ 2147483647 w 91"/>
                    <a:gd name="T99" fmla="*/ 2147483647 h 99"/>
                    <a:gd name="T100" fmla="*/ 2147483647 w 91"/>
                    <a:gd name="T101" fmla="*/ 2147483647 h 99"/>
                    <a:gd name="T102" fmla="*/ 2147483647 w 91"/>
                    <a:gd name="T103" fmla="*/ 2147483647 h 99"/>
                    <a:gd name="T104" fmla="*/ 2147483647 w 91"/>
                    <a:gd name="T105" fmla="*/ 2147483647 h 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91"/>
                    <a:gd name="T160" fmla="*/ 0 h 99"/>
                    <a:gd name="T161" fmla="*/ 91 w 91"/>
                    <a:gd name="T162" fmla="*/ 99 h 99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91" h="99">
                      <a:moveTo>
                        <a:pt x="43" y="98"/>
                      </a:moveTo>
                      <a:lnTo>
                        <a:pt x="43" y="98"/>
                      </a:lnTo>
                      <a:lnTo>
                        <a:pt x="43" y="93"/>
                      </a:lnTo>
                      <a:lnTo>
                        <a:pt x="44" y="88"/>
                      </a:lnTo>
                      <a:lnTo>
                        <a:pt x="47" y="85"/>
                      </a:lnTo>
                      <a:lnTo>
                        <a:pt x="49" y="84"/>
                      </a:lnTo>
                      <a:lnTo>
                        <a:pt x="51" y="83"/>
                      </a:lnTo>
                      <a:lnTo>
                        <a:pt x="56" y="83"/>
                      </a:lnTo>
                      <a:lnTo>
                        <a:pt x="59" y="83"/>
                      </a:lnTo>
                      <a:lnTo>
                        <a:pt x="63" y="84"/>
                      </a:lnTo>
                      <a:lnTo>
                        <a:pt x="67" y="83"/>
                      </a:lnTo>
                      <a:lnTo>
                        <a:pt x="68" y="80"/>
                      </a:lnTo>
                      <a:lnTo>
                        <a:pt x="70" y="77"/>
                      </a:lnTo>
                      <a:lnTo>
                        <a:pt x="68" y="74"/>
                      </a:lnTo>
                      <a:lnTo>
                        <a:pt x="70" y="71"/>
                      </a:lnTo>
                      <a:lnTo>
                        <a:pt x="71" y="70"/>
                      </a:lnTo>
                      <a:lnTo>
                        <a:pt x="71" y="68"/>
                      </a:lnTo>
                      <a:lnTo>
                        <a:pt x="77" y="67"/>
                      </a:lnTo>
                      <a:lnTo>
                        <a:pt x="80" y="66"/>
                      </a:lnTo>
                      <a:lnTo>
                        <a:pt x="80" y="64"/>
                      </a:lnTo>
                      <a:lnTo>
                        <a:pt x="84" y="48"/>
                      </a:lnTo>
                      <a:lnTo>
                        <a:pt x="87" y="40"/>
                      </a:lnTo>
                      <a:lnTo>
                        <a:pt x="91" y="33"/>
                      </a:lnTo>
                      <a:lnTo>
                        <a:pt x="91" y="29"/>
                      </a:lnTo>
                      <a:lnTo>
                        <a:pt x="90" y="26"/>
                      </a:lnTo>
                      <a:lnTo>
                        <a:pt x="87" y="17"/>
                      </a:lnTo>
                      <a:lnTo>
                        <a:pt x="86" y="9"/>
                      </a:lnTo>
                      <a:lnTo>
                        <a:pt x="82" y="9"/>
                      </a:lnTo>
                      <a:lnTo>
                        <a:pt x="80" y="10"/>
                      </a:lnTo>
                      <a:lnTo>
                        <a:pt x="75" y="15"/>
                      </a:lnTo>
                      <a:lnTo>
                        <a:pt x="73" y="15"/>
                      </a:lnTo>
                      <a:lnTo>
                        <a:pt x="72" y="15"/>
                      </a:lnTo>
                      <a:lnTo>
                        <a:pt x="71" y="14"/>
                      </a:lnTo>
                      <a:lnTo>
                        <a:pt x="70" y="13"/>
                      </a:lnTo>
                      <a:lnTo>
                        <a:pt x="70" y="10"/>
                      </a:lnTo>
                      <a:lnTo>
                        <a:pt x="68" y="9"/>
                      </a:lnTo>
                      <a:lnTo>
                        <a:pt x="64" y="7"/>
                      </a:lnTo>
                      <a:lnTo>
                        <a:pt x="61" y="3"/>
                      </a:lnTo>
                      <a:lnTo>
                        <a:pt x="57" y="1"/>
                      </a:lnTo>
                      <a:lnTo>
                        <a:pt x="53" y="0"/>
                      </a:lnTo>
                      <a:lnTo>
                        <a:pt x="49" y="0"/>
                      </a:lnTo>
                      <a:lnTo>
                        <a:pt x="48" y="2"/>
                      </a:lnTo>
                      <a:lnTo>
                        <a:pt x="44" y="8"/>
                      </a:lnTo>
                      <a:lnTo>
                        <a:pt x="43" y="9"/>
                      </a:lnTo>
                      <a:lnTo>
                        <a:pt x="40" y="10"/>
                      </a:lnTo>
                      <a:lnTo>
                        <a:pt x="34" y="10"/>
                      </a:lnTo>
                      <a:lnTo>
                        <a:pt x="29" y="10"/>
                      </a:lnTo>
                      <a:lnTo>
                        <a:pt x="23" y="10"/>
                      </a:lnTo>
                      <a:lnTo>
                        <a:pt x="20" y="11"/>
                      </a:lnTo>
                      <a:lnTo>
                        <a:pt x="18" y="14"/>
                      </a:lnTo>
                      <a:lnTo>
                        <a:pt x="9" y="22"/>
                      </a:lnTo>
                      <a:lnTo>
                        <a:pt x="1" y="32"/>
                      </a:lnTo>
                      <a:lnTo>
                        <a:pt x="0" y="34"/>
                      </a:lnTo>
                      <a:lnTo>
                        <a:pt x="1" y="36"/>
                      </a:lnTo>
                      <a:lnTo>
                        <a:pt x="5" y="40"/>
                      </a:lnTo>
                      <a:lnTo>
                        <a:pt x="6" y="45"/>
                      </a:lnTo>
                      <a:lnTo>
                        <a:pt x="7" y="51"/>
                      </a:lnTo>
                      <a:lnTo>
                        <a:pt x="7" y="56"/>
                      </a:lnTo>
                      <a:lnTo>
                        <a:pt x="6" y="59"/>
                      </a:lnTo>
                      <a:lnTo>
                        <a:pt x="4" y="60"/>
                      </a:lnTo>
                      <a:lnTo>
                        <a:pt x="5" y="62"/>
                      </a:lnTo>
                      <a:lnTo>
                        <a:pt x="10" y="67"/>
                      </a:lnTo>
                      <a:lnTo>
                        <a:pt x="12" y="72"/>
                      </a:lnTo>
                      <a:lnTo>
                        <a:pt x="18" y="81"/>
                      </a:lnTo>
                      <a:lnTo>
                        <a:pt x="19" y="85"/>
                      </a:lnTo>
                      <a:lnTo>
                        <a:pt x="20" y="86"/>
                      </a:lnTo>
                      <a:lnTo>
                        <a:pt x="24" y="86"/>
                      </a:lnTo>
                      <a:lnTo>
                        <a:pt x="26" y="85"/>
                      </a:lnTo>
                      <a:lnTo>
                        <a:pt x="29" y="85"/>
                      </a:lnTo>
                      <a:lnTo>
                        <a:pt x="31" y="85"/>
                      </a:lnTo>
                      <a:lnTo>
                        <a:pt x="33" y="86"/>
                      </a:lnTo>
                      <a:lnTo>
                        <a:pt x="34" y="87"/>
                      </a:lnTo>
                      <a:lnTo>
                        <a:pt x="33" y="90"/>
                      </a:lnTo>
                      <a:lnTo>
                        <a:pt x="29" y="94"/>
                      </a:lnTo>
                      <a:lnTo>
                        <a:pt x="28" y="96"/>
                      </a:lnTo>
                      <a:lnTo>
                        <a:pt x="28" y="98"/>
                      </a:lnTo>
                      <a:lnTo>
                        <a:pt x="29" y="99"/>
                      </a:lnTo>
                      <a:lnTo>
                        <a:pt x="30" y="99"/>
                      </a:lnTo>
                      <a:lnTo>
                        <a:pt x="33" y="98"/>
                      </a:lnTo>
                      <a:lnTo>
                        <a:pt x="37" y="98"/>
                      </a:lnTo>
                      <a:lnTo>
                        <a:pt x="43" y="9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E1F7D31-47C4-0445-A373-9844C4C54A62}"/>
                </a:ext>
              </a:extLst>
            </p:cNvPr>
            <p:cNvGrpSpPr/>
            <p:nvPr/>
          </p:nvGrpSpPr>
          <p:grpSpPr>
            <a:xfrm>
              <a:off x="1679064" y="1520007"/>
              <a:ext cx="8419621" cy="4610206"/>
              <a:chOff x="563222" y="1651218"/>
              <a:chExt cx="8572271" cy="4713394"/>
            </a:xfrm>
            <a:grpFill/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07977CA-A77E-9249-9ACA-7A8659E6D57E}"/>
                  </a:ext>
                </a:extLst>
              </p:cNvPr>
              <p:cNvGrpSpPr/>
              <p:nvPr/>
            </p:nvGrpSpPr>
            <p:grpSpPr>
              <a:xfrm>
                <a:off x="5903451" y="1651218"/>
                <a:ext cx="3232042" cy="4713394"/>
                <a:chOff x="566311" y="1670458"/>
                <a:chExt cx="3232042" cy="4713394"/>
              </a:xfrm>
              <a:grpFill/>
            </p:grpSpPr>
            <p:sp>
              <p:nvSpPr>
                <p:cNvPr id="205" name="Freeform 1044">
                  <a:extLst>
                    <a:ext uri="{FF2B5EF4-FFF2-40B4-BE49-F238E27FC236}">
                      <a16:creationId xmlns:a16="http://schemas.microsoft.com/office/drawing/2014/main" id="{3FDB105A-9D3D-904E-BE9D-0F5D708797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6031" y="5892531"/>
                  <a:ext cx="19239" cy="54756"/>
                </a:xfrm>
                <a:custGeom>
                  <a:avLst/>
                  <a:gdLst>
                    <a:gd name="T0" fmla="*/ 2147483647 w 15"/>
                    <a:gd name="T1" fmla="*/ 2147483647 h 37"/>
                    <a:gd name="T2" fmla="*/ 2147483647 w 15"/>
                    <a:gd name="T3" fmla="*/ 2147483647 h 37"/>
                    <a:gd name="T4" fmla="*/ 2147483647 w 15"/>
                    <a:gd name="T5" fmla="*/ 0 h 37"/>
                    <a:gd name="T6" fmla="*/ 2147483647 w 15"/>
                    <a:gd name="T7" fmla="*/ 0 h 37"/>
                    <a:gd name="T8" fmla="*/ 2147483647 w 15"/>
                    <a:gd name="T9" fmla="*/ 0 h 37"/>
                    <a:gd name="T10" fmla="*/ 2147483647 w 15"/>
                    <a:gd name="T11" fmla="*/ 2147483647 h 37"/>
                    <a:gd name="T12" fmla="*/ 2147483647 w 15"/>
                    <a:gd name="T13" fmla="*/ 2147483647 h 37"/>
                    <a:gd name="T14" fmla="*/ 0 w 15"/>
                    <a:gd name="T15" fmla="*/ 2147483647 h 37"/>
                    <a:gd name="T16" fmla="*/ 0 w 15"/>
                    <a:gd name="T17" fmla="*/ 2147483647 h 37"/>
                    <a:gd name="T18" fmla="*/ 0 w 15"/>
                    <a:gd name="T19" fmla="*/ 2147483647 h 37"/>
                    <a:gd name="T20" fmla="*/ 2147483647 w 15"/>
                    <a:gd name="T21" fmla="*/ 2147483647 h 37"/>
                    <a:gd name="T22" fmla="*/ 2147483647 w 15"/>
                    <a:gd name="T23" fmla="*/ 2147483647 h 37"/>
                    <a:gd name="T24" fmla="*/ 2147483647 w 15"/>
                    <a:gd name="T25" fmla="*/ 2147483647 h 37"/>
                    <a:gd name="T26" fmla="*/ 2147483647 w 15"/>
                    <a:gd name="T27" fmla="*/ 2147483647 h 37"/>
                    <a:gd name="T28" fmla="*/ 2147483647 w 15"/>
                    <a:gd name="T29" fmla="*/ 2147483647 h 37"/>
                    <a:gd name="T30" fmla="*/ 2147483647 w 15"/>
                    <a:gd name="T31" fmla="*/ 2147483647 h 37"/>
                    <a:gd name="T32" fmla="*/ 2147483647 w 15"/>
                    <a:gd name="T33" fmla="*/ 2147483647 h 37"/>
                    <a:gd name="T34" fmla="*/ 2147483647 w 15"/>
                    <a:gd name="T35" fmla="*/ 2147483647 h 37"/>
                    <a:gd name="T36" fmla="*/ 2147483647 w 15"/>
                    <a:gd name="T37" fmla="*/ 2147483647 h 37"/>
                    <a:gd name="T38" fmla="*/ 2147483647 w 15"/>
                    <a:gd name="T39" fmla="*/ 2147483647 h 3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37"/>
                    <a:gd name="T62" fmla="*/ 15 w 15"/>
                    <a:gd name="T63" fmla="*/ 37 h 3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37">
                      <a:moveTo>
                        <a:pt x="15" y="12"/>
                      </a:moveTo>
                      <a:lnTo>
                        <a:pt x="12" y="4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3" y="3"/>
                      </a:lnTo>
                      <a:lnTo>
                        <a:pt x="1" y="6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27"/>
                      </a:lnTo>
                      <a:lnTo>
                        <a:pt x="1" y="37"/>
                      </a:lnTo>
                      <a:lnTo>
                        <a:pt x="7" y="31"/>
                      </a:lnTo>
                      <a:lnTo>
                        <a:pt x="11" y="30"/>
                      </a:lnTo>
                      <a:lnTo>
                        <a:pt x="15" y="31"/>
                      </a:lnTo>
                      <a:lnTo>
                        <a:pt x="15" y="28"/>
                      </a:lnTo>
                      <a:lnTo>
                        <a:pt x="15" y="24"/>
                      </a:lnTo>
                      <a:lnTo>
                        <a:pt x="14" y="22"/>
                      </a:lnTo>
                      <a:lnTo>
                        <a:pt x="15" y="18"/>
                      </a:lnTo>
                      <a:lnTo>
                        <a:pt x="15" y="15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1045">
                  <a:extLst>
                    <a:ext uri="{FF2B5EF4-FFF2-40B4-BE49-F238E27FC236}">
                      <a16:creationId xmlns:a16="http://schemas.microsoft.com/office/drawing/2014/main" id="{637D721F-BBC9-A643-9042-BDF5E409C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5270" y="5979844"/>
                  <a:ext cx="16278" cy="16278"/>
                </a:xfrm>
                <a:custGeom>
                  <a:avLst/>
                  <a:gdLst>
                    <a:gd name="T0" fmla="*/ 2147483647 w 11"/>
                    <a:gd name="T1" fmla="*/ 2147483647 h 11"/>
                    <a:gd name="T2" fmla="*/ 2147483647 w 11"/>
                    <a:gd name="T3" fmla="*/ 2147483647 h 11"/>
                    <a:gd name="T4" fmla="*/ 2147483647 w 11"/>
                    <a:gd name="T5" fmla="*/ 2147483647 h 11"/>
                    <a:gd name="T6" fmla="*/ 2147483647 w 11"/>
                    <a:gd name="T7" fmla="*/ 0 h 11"/>
                    <a:gd name="T8" fmla="*/ 2147483647 w 11"/>
                    <a:gd name="T9" fmla="*/ 0 h 11"/>
                    <a:gd name="T10" fmla="*/ 2147483647 w 11"/>
                    <a:gd name="T11" fmla="*/ 0 h 11"/>
                    <a:gd name="T12" fmla="*/ 2147483647 w 11"/>
                    <a:gd name="T13" fmla="*/ 2147483647 h 11"/>
                    <a:gd name="T14" fmla="*/ 2147483647 w 11"/>
                    <a:gd name="T15" fmla="*/ 2147483647 h 11"/>
                    <a:gd name="T16" fmla="*/ 2147483647 w 11"/>
                    <a:gd name="T17" fmla="*/ 2147483647 h 11"/>
                    <a:gd name="T18" fmla="*/ 0 w 11"/>
                    <a:gd name="T19" fmla="*/ 2147483647 h 11"/>
                    <a:gd name="T20" fmla="*/ 2147483647 w 11"/>
                    <a:gd name="T21" fmla="*/ 2147483647 h 11"/>
                    <a:gd name="T22" fmla="*/ 2147483647 w 11"/>
                    <a:gd name="T23" fmla="*/ 2147483647 h 11"/>
                    <a:gd name="T24" fmla="*/ 2147483647 w 11"/>
                    <a:gd name="T25" fmla="*/ 2147483647 h 11"/>
                    <a:gd name="T26" fmla="*/ 2147483647 w 11"/>
                    <a:gd name="T27" fmla="*/ 2147483647 h 11"/>
                    <a:gd name="T28" fmla="*/ 2147483647 w 11"/>
                    <a:gd name="T29" fmla="*/ 2147483647 h 11"/>
                    <a:gd name="T30" fmla="*/ 2147483647 w 11"/>
                    <a:gd name="T31" fmla="*/ 2147483647 h 11"/>
                    <a:gd name="T32" fmla="*/ 2147483647 w 11"/>
                    <a:gd name="T33" fmla="*/ 2147483647 h 1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1"/>
                    <a:gd name="T52" fmla="*/ 0 h 11"/>
                    <a:gd name="T53" fmla="*/ 11 w 11"/>
                    <a:gd name="T54" fmla="*/ 11 h 1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1" h="11">
                      <a:moveTo>
                        <a:pt x="11" y="6"/>
                      </a:move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1" y="10"/>
                      </a:lnTo>
                      <a:lnTo>
                        <a:pt x="2" y="11"/>
                      </a:lnTo>
                      <a:lnTo>
                        <a:pt x="6" y="11"/>
                      </a:lnTo>
                      <a:lnTo>
                        <a:pt x="9" y="10"/>
                      </a:lnTo>
                      <a:lnTo>
                        <a:pt x="10" y="10"/>
                      </a:lnTo>
                      <a:lnTo>
                        <a:pt x="11" y="9"/>
                      </a:lnTo>
                      <a:lnTo>
                        <a:pt x="1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1046">
                  <a:extLst>
                    <a:ext uri="{FF2B5EF4-FFF2-40B4-BE49-F238E27FC236}">
                      <a16:creationId xmlns:a16="http://schemas.microsoft.com/office/drawing/2014/main" id="{981C783C-60FF-CD42-8220-9F39354666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075" y="5891051"/>
                  <a:ext cx="20718" cy="54755"/>
                </a:xfrm>
                <a:custGeom>
                  <a:avLst/>
                  <a:gdLst>
                    <a:gd name="T0" fmla="*/ 2147483647 w 16"/>
                    <a:gd name="T1" fmla="*/ 2147483647 h 37"/>
                    <a:gd name="T2" fmla="*/ 2147483647 w 16"/>
                    <a:gd name="T3" fmla="*/ 2147483647 h 37"/>
                    <a:gd name="T4" fmla="*/ 2147483647 w 16"/>
                    <a:gd name="T5" fmla="*/ 2147483647 h 37"/>
                    <a:gd name="T6" fmla="*/ 2147483647 w 16"/>
                    <a:gd name="T7" fmla="*/ 0 h 37"/>
                    <a:gd name="T8" fmla="*/ 2147483647 w 16"/>
                    <a:gd name="T9" fmla="*/ 0 h 37"/>
                    <a:gd name="T10" fmla="*/ 2147483647 w 16"/>
                    <a:gd name="T11" fmla="*/ 0 h 37"/>
                    <a:gd name="T12" fmla="*/ 2147483647 w 16"/>
                    <a:gd name="T13" fmla="*/ 0 h 37"/>
                    <a:gd name="T14" fmla="*/ 2147483647 w 16"/>
                    <a:gd name="T15" fmla="*/ 2147483647 h 37"/>
                    <a:gd name="T16" fmla="*/ 2147483647 w 16"/>
                    <a:gd name="T17" fmla="*/ 2147483647 h 37"/>
                    <a:gd name="T18" fmla="*/ 0 w 16"/>
                    <a:gd name="T19" fmla="*/ 2147483647 h 37"/>
                    <a:gd name="T20" fmla="*/ 0 w 16"/>
                    <a:gd name="T21" fmla="*/ 2147483647 h 37"/>
                    <a:gd name="T22" fmla="*/ 0 w 16"/>
                    <a:gd name="T23" fmla="*/ 2147483647 h 37"/>
                    <a:gd name="T24" fmla="*/ 2147483647 w 16"/>
                    <a:gd name="T25" fmla="*/ 2147483647 h 37"/>
                    <a:gd name="T26" fmla="*/ 2147483647 w 16"/>
                    <a:gd name="T27" fmla="*/ 2147483647 h 37"/>
                    <a:gd name="T28" fmla="*/ 2147483647 w 16"/>
                    <a:gd name="T29" fmla="*/ 2147483647 h 37"/>
                    <a:gd name="T30" fmla="*/ 2147483647 w 16"/>
                    <a:gd name="T31" fmla="*/ 2147483647 h 37"/>
                    <a:gd name="T32" fmla="*/ 2147483647 w 16"/>
                    <a:gd name="T33" fmla="*/ 2147483647 h 37"/>
                    <a:gd name="T34" fmla="*/ 2147483647 w 16"/>
                    <a:gd name="T35" fmla="*/ 2147483647 h 37"/>
                    <a:gd name="T36" fmla="*/ 2147483647 w 16"/>
                    <a:gd name="T37" fmla="*/ 2147483647 h 37"/>
                    <a:gd name="T38" fmla="*/ 2147483647 w 16"/>
                    <a:gd name="T39" fmla="*/ 2147483647 h 37"/>
                    <a:gd name="T40" fmla="*/ 2147483647 w 16"/>
                    <a:gd name="T41" fmla="*/ 2147483647 h 37"/>
                    <a:gd name="T42" fmla="*/ 2147483647 w 16"/>
                    <a:gd name="T43" fmla="*/ 2147483647 h 37"/>
                    <a:gd name="T44" fmla="*/ 2147483647 w 16"/>
                    <a:gd name="T45" fmla="*/ 2147483647 h 37"/>
                    <a:gd name="T46" fmla="*/ 2147483647 w 16"/>
                    <a:gd name="T47" fmla="*/ 2147483647 h 37"/>
                    <a:gd name="T48" fmla="*/ 2147483647 w 16"/>
                    <a:gd name="T49" fmla="*/ 2147483647 h 37"/>
                    <a:gd name="T50" fmla="*/ 2147483647 w 16"/>
                    <a:gd name="T51" fmla="*/ 2147483647 h 37"/>
                    <a:gd name="T52" fmla="*/ 2147483647 w 16"/>
                    <a:gd name="T53" fmla="*/ 2147483647 h 37"/>
                    <a:gd name="T54" fmla="*/ 2147483647 w 16"/>
                    <a:gd name="T55" fmla="*/ 2147483647 h 37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6"/>
                    <a:gd name="T85" fmla="*/ 0 h 37"/>
                    <a:gd name="T86" fmla="*/ 16 w 16"/>
                    <a:gd name="T87" fmla="*/ 37 h 37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6" h="37">
                      <a:moveTo>
                        <a:pt x="16" y="12"/>
                      </a:moveTo>
                      <a:lnTo>
                        <a:pt x="16" y="12"/>
                      </a:lnTo>
                      <a:lnTo>
                        <a:pt x="13" y="4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26"/>
                      </a:lnTo>
                      <a:lnTo>
                        <a:pt x="2" y="37"/>
                      </a:lnTo>
                      <a:lnTo>
                        <a:pt x="8" y="31"/>
                      </a:lnTo>
                      <a:lnTo>
                        <a:pt x="12" y="30"/>
                      </a:lnTo>
                      <a:lnTo>
                        <a:pt x="16" y="31"/>
                      </a:lnTo>
                      <a:lnTo>
                        <a:pt x="16" y="28"/>
                      </a:lnTo>
                      <a:lnTo>
                        <a:pt x="16" y="24"/>
                      </a:lnTo>
                      <a:lnTo>
                        <a:pt x="14" y="22"/>
                      </a:lnTo>
                      <a:lnTo>
                        <a:pt x="16" y="18"/>
                      </a:lnTo>
                      <a:lnTo>
                        <a:pt x="16" y="15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8" name="Freeform 1047">
                  <a:extLst>
                    <a:ext uri="{FF2B5EF4-FFF2-40B4-BE49-F238E27FC236}">
                      <a16:creationId xmlns:a16="http://schemas.microsoft.com/office/drawing/2014/main" id="{17895EC7-8534-DC4E-901D-31390D872A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794" y="5976888"/>
                  <a:ext cx="16279" cy="17758"/>
                </a:xfrm>
                <a:custGeom>
                  <a:avLst/>
                  <a:gdLst>
                    <a:gd name="T0" fmla="*/ 2147483647 w 11"/>
                    <a:gd name="T1" fmla="*/ 2147483647 h 12"/>
                    <a:gd name="T2" fmla="*/ 2147483647 w 11"/>
                    <a:gd name="T3" fmla="*/ 2147483647 h 12"/>
                    <a:gd name="T4" fmla="*/ 2147483647 w 11"/>
                    <a:gd name="T5" fmla="*/ 2147483647 h 12"/>
                    <a:gd name="T6" fmla="*/ 2147483647 w 11"/>
                    <a:gd name="T7" fmla="*/ 2147483647 h 12"/>
                    <a:gd name="T8" fmla="*/ 2147483647 w 11"/>
                    <a:gd name="T9" fmla="*/ 0 h 12"/>
                    <a:gd name="T10" fmla="*/ 2147483647 w 11"/>
                    <a:gd name="T11" fmla="*/ 0 h 12"/>
                    <a:gd name="T12" fmla="*/ 2147483647 w 11"/>
                    <a:gd name="T13" fmla="*/ 0 h 12"/>
                    <a:gd name="T14" fmla="*/ 2147483647 w 11"/>
                    <a:gd name="T15" fmla="*/ 0 h 12"/>
                    <a:gd name="T16" fmla="*/ 2147483647 w 11"/>
                    <a:gd name="T17" fmla="*/ 2147483647 h 12"/>
                    <a:gd name="T18" fmla="*/ 2147483647 w 11"/>
                    <a:gd name="T19" fmla="*/ 2147483647 h 12"/>
                    <a:gd name="T20" fmla="*/ 2147483647 w 11"/>
                    <a:gd name="T21" fmla="*/ 2147483647 h 12"/>
                    <a:gd name="T22" fmla="*/ 2147483647 w 11"/>
                    <a:gd name="T23" fmla="*/ 2147483647 h 12"/>
                    <a:gd name="T24" fmla="*/ 2147483647 w 11"/>
                    <a:gd name="T25" fmla="*/ 2147483647 h 12"/>
                    <a:gd name="T26" fmla="*/ 0 w 11"/>
                    <a:gd name="T27" fmla="*/ 2147483647 h 12"/>
                    <a:gd name="T28" fmla="*/ 2147483647 w 11"/>
                    <a:gd name="T29" fmla="*/ 2147483647 h 12"/>
                    <a:gd name="T30" fmla="*/ 2147483647 w 11"/>
                    <a:gd name="T31" fmla="*/ 2147483647 h 12"/>
                    <a:gd name="T32" fmla="*/ 2147483647 w 11"/>
                    <a:gd name="T33" fmla="*/ 2147483647 h 12"/>
                    <a:gd name="T34" fmla="*/ 2147483647 w 11"/>
                    <a:gd name="T35" fmla="*/ 2147483647 h 12"/>
                    <a:gd name="T36" fmla="*/ 2147483647 w 11"/>
                    <a:gd name="T37" fmla="*/ 2147483647 h 12"/>
                    <a:gd name="T38" fmla="*/ 2147483647 w 11"/>
                    <a:gd name="T39" fmla="*/ 2147483647 h 12"/>
                    <a:gd name="T40" fmla="*/ 2147483647 w 11"/>
                    <a:gd name="T41" fmla="*/ 2147483647 h 12"/>
                    <a:gd name="T42" fmla="*/ 2147483647 w 11"/>
                    <a:gd name="T43" fmla="*/ 2147483647 h 12"/>
                    <a:gd name="T44" fmla="*/ 2147483647 w 11"/>
                    <a:gd name="T45" fmla="*/ 2147483647 h 12"/>
                    <a:gd name="T46" fmla="*/ 2147483647 w 11"/>
                    <a:gd name="T47" fmla="*/ 2147483647 h 1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"/>
                    <a:gd name="T73" fmla="*/ 0 h 12"/>
                    <a:gd name="T74" fmla="*/ 11 w 11"/>
                    <a:gd name="T75" fmla="*/ 12 h 1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" h="12">
                      <a:moveTo>
                        <a:pt x="11" y="6"/>
                      </a:moveTo>
                      <a:lnTo>
                        <a:pt x="11" y="6"/>
                      </a:lnTo>
                      <a:lnTo>
                        <a:pt x="11" y="3"/>
                      </a:lnTo>
                      <a:lnTo>
                        <a:pt x="11" y="2"/>
                      </a:lnTo>
                      <a:lnTo>
                        <a:pt x="10" y="0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2" y="3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1" y="11"/>
                      </a:lnTo>
                      <a:lnTo>
                        <a:pt x="2" y="12"/>
                      </a:lnTo>
                      <a:lnTo>
                        <a:pt x="6" y="12"/>
                      </a:lnTo>
                      <a:lnTo>
                        <a:pt x="8" y="11"/>
                      </a:lnTo>
                      <a:lnTo>
                        <a:pt x="10" y="11"/>
                      </a:lnTo>
                      <a:lnTo>
                        <a:pt x="11" y="10"/>
                      </a:lnTo>
                      <a:lnTo>
                        <a:pt x="1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1048">
                  <a:extLst>
                    <a:ext uri="{FF2B5EF4-FFF2-40B4-BE49-F238E27FC236}">
                      <a16:creationId xmlns:a16="http://schemas.microsoft.com/office/drawing/2014/main" id="{6DB997E4-4A56-0A48-9AC8-3246E7ED85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7153" y="5968006"/>
                  <a:ext cx="5919" cy="14799"/>
                </a:xfrm>
                <a:custGeom>
                  <a:avLst/>
                  <a:gdLst>
                    <a:gd name="T0" fmla="*/ 0 w 4"/>
                    <a:gd name="T1" fmla="*/ 2147483647 h 10"/>
                    <a:gd name="T2" fmla="*/ 0 w 4"/>
                    <a:gd name="T3" fmla="*/ 2147483647 h 10"/>
                    <a:gd name="T4" fmla="*/ 2147483647 w 4"/>
                    <a:gd name="T5" fmla="*/ 0 h 10"/>
                    <a:gd name="T6" fmla="*/ 2147483647 w 4"/>
                    <a:gd name="T7" fmla="*/ 0 h 10"/>
                    <a:gd name="T8" fmla="*/ 2147483647 w 4"/>
                    <a:gd name="T9" fmla="*/ 2147483647 h 10"/>
                    <a:gd name="T10" fmla="*/ 2147483647 w 4"/>
                    <a:gd name="T11" fmla="*/ 2147483647 h 10"/>
                    <a:gd name="T12" fmla="*/ 2147483647 w 4"/>
                    <a:gd name="T13" fmla="*/ 2147483647 h 10"/>
                    <a:gd name="T14" fmla="*/ 2147483647 w 4"/>
                    <a:gd name="T15" fmla="*/ 2147483647 h 10"/>
                    <a:gd name="T16" fmla="*/ 0 w 4"/>
                    <a:gd name="T17" fmla="*/ 2147483647 h 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10"/>
                    <a:gd name="T29" fmla="*/ 4 w 4"/>
                    <a:gd name="T30" fmla="*/ 10 h 1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10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4"/>
                      </a:lnTo>
                      <a:lnTo>
                        <a:pt x="4" y="8"/>
                      </a:lnTo>
                      <a:lnTo>
                        <a:pt x="3" y="9"/>
                      </a:lnTo>
                      <a:lnTo>
                        <a:pt x="2" y="1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1049">
                  <a:extLst>
                    <a:ext uri="{FF2B5EF4-FFF2-40B4-BE49-F238E27FC236}">
                      <a16:creationId xmlns:a16="http://schemas.microsoft.com/office/drawing/2014/main" id="{7BC5A9C6-06A9-014E-9F87-C9097248FE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513" y="6005005"/>
                  <a:ext cx="4439" cy="8879"/>
                </a:xfrm>
                <a:custGeom>
                  <a:avLst/>
                  <a:gdLst>
                    <a:gd name="T0" fmla="*/ 2147483647 w 3"/>
                    <a:gd name="T1" fmla="*/ 2147483647 h 6"/>
                    <a:gd name="T2" fmla="*/ 2147483647 w 3"/>
                    <a:gd name="T3" fmla="*/ 2147483647 h 6"/>
                    <a:gd name="T4" fmla="*/ 2147483647 w 3"/>
                    <a:gd name="T5" fmla="*/ 2147483647 h 6"/>
                    <a:gd name="T6" fmla="*/ 0 w 3"/>
                    <a:gd name="T7" fmla="*/ 2147483647 h 6"/>
                    <a:gd name="T8" fmla="*/ 0 w 3"/>
                    <a:gd name="T9" fmla="*/ 2147483647 h 6"/>
                    <a:gd name="T10" fmla="*/ 0 w 3"/>
                    <a:gd name="T11" fmla="*/ 2147483647 h 6"/>
                    <a:gd name="T12" fmla="*/ 0 w 3"/>
                    <a:gd name="T13" fmla="*/ 0 h 6"/>
                    <a:gd name="T14" fmla="*/ 2147483647 w 3"/>
                    <a:gd name="T15" fmla="*/ 0 h 6"/>
                    <a:gd name="T16" fmla="*/ 2147483647 w 3"/>
                    <a:gd name="T17" fmla="*/ 0 h 6"/>
                    <a:gd name="T18" fmla="*/ 2147483647 w 3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"/>
                    <a:gd name="T31" fmla="*/ 0 h 6"/>
                    <a:gd name="T32" fmla="*/ 3 w 3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" h="6">
                      <a:moveTo>
                        <a:pt x="3" y="3"/>
                      </a:move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1050">
                  <a:extLst>
                    <a:ext uri="{FF2B5EF4-FFF2-40B4-BE49-F238E27FC236}">
                      <a16:creationId xmlns:a16="http://schemas.microsoft.com/office/drawing/2014/main" id="{4AEBDB61-743F-0248-8265-09FC7E6D1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5673" y="5966525"/>
                  <a:ext cx="5919" cy="14799"/>
                </a:xfrm>
                <a:custGeom>
                  <a:avLst/>
                  <a:gdLst>
                    <a:gd name="T0" fmla="*/ 0 w 4"/>
                    <a:gd name="T1" fmla="*/ 2147483647 h 10"/>
                    <a:gd name="T2" fmla="*/ 0 w 4"/>
                    <a:gd name="T3" fmla="*/ 2147483647 h 10"/>
                    <a:gd name="T4" fmla="*/ 0 w 4"/>
                    <a:gd name="T5" fmla="*/ 2147483647 h 10"/>
                    <a:gd name="T6" fmla="*/ 2147483647 w 4"/>
                    <a:gd name="T7" fmla="*/ 0 h 10"/>
                    <a:gd name="T8" fmla="*/ 2147483647 w 4"/>
                    <a:gd name="T9" fmla="*/ 0 h 10"/>
                    <a:gd name="T10" fmla="*/ 2147483647 w 4"/>
                    <a:gd name="T11" fmla="*/ 0 h 10"/>
                    <a:gd name="T12" fmla="*/ 2147483647 w 4"/>
                    <a:gd name="T13" fmla="*/ 2147483647 h 10"/>
                    <a:gd name="T14" fmla="*/ 2147483647 w 4"/>
                    <a:gd name="T15" fmla="*/ 2147483647 h 10"/>
                    <a:gd name="T16" fmla="*/ 2147483647 w 4"/>
                    <a:gd name="T17" fmla="*/ 2147483647 h 10"/>
                    <a:gd name="T18" fmla="*/ 2147483647 w 4"/>
                    <a:gd name="T19" fmla="*/ 2147483647 h 10"/>
                    <a:gd name="T20" fmla="*/ 2147483647 w 4"/>
                    <a:gd name="T21" fmla="*/ 2147483647 h 10"/>
                    <a:gd name="T22" fmla="*/ 0 w 4"/>
                    <a:gd name="T23" fmla="*/ 2147483647 h 10"/>
                    <a:gd name="T24" fmla="*/ 0 w 4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"/>
                    <a:gd name="T40" fmla="*/ 0 h 10"/>
                    <a:gd name="T41" fmla="*/ 4 w 4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" h="10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4" y="4"/>
                      </a:lnTo>
                      <a:lnTo>
                        <a:pt x="4" y="7"/>
                      </a:lnTo>
                      <a:lnTo>
                        <a:pt x="3" y="9"/>
                      </a:lnTo>
                      <a:lnTo>
                        <a:pt x="1" y="1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2" name="Freeform 1051">
                  <a:extLst>
                    <a:ext uri="{FF2B5EF4-FFF2-40B4-BE49-F238E27FC236}">
                      <a16:creationId xmlns:a16="http://schemas.microsoft.com/office/drawing/2014/main" id="{60E1770D-C1DC-B54B-BFAF-40FBEB41AC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6035" y="6003525"/>
                  <a:ext cx="2960" cy="8879"/>
                </a:xfrm>
                <a:custGeom>
                  <a:avLst/>
                  <a:gdLst>
                    <a:gd name="T0" fmla="*/ 2147483647 w 2"/>
                    <a:gd name="T1" fmla="*/ 2147483647 h 6"/>
                    <a:gd name="T2" fmla="*/ 2147483647 w 2"/>
                    <a:gd name="T3" fmla="*/ 2147483647 h 6"/>
                    <a:gd name="T4" fmla="*/ 2147483647 w 2"/>
                    <a:gd name="T5" fmla="*/ 2147483647 h 6"/>
                    <a:gd name="T6" fmla="*/ 2147483647 w 2"/>
                    <a:gd name="T7" fmla="*/ 2147483647 h 6"/>
                    <a:gd name="T8" fmla="*/ 2147483647 w 2"/>
                    <a:gd name="T9" fmla="*/ 2147483647 h 6"/>
                    <a:gd name="T10" fmla="*/ 0 w 2"/>
                    <a:gd name="T11" fmla="*/ 2147483647 h 6"/>
                    <a:gd name="T12" fmla="*/ 0 w 2"/>
                    <a:gd name="T13" fmla="*/ 2147483647 h 6"/>
                    <a:gd name="T14" fmla="*/ 0 w 2"/>
                    <a:gd name="T15" fmla="*/ 2147483647 h 6"/>
                    <a:gd name="T16" fmla="*/ 0 w 2"/>
                    <a:gd name="T17" fmla="*/ 2147483647 h 6"/>
                    <a:gd name="T18" fmla="*/ 0 w 2"/>
                    <a:gd name="T19" fmla="*/ 0 h 6"/>
                    <a:gd name="T20" fmla="*/ 0 w 2"/>
                    <a:gd name="T21" fmla="*/ 0 h 6"/>
                    <a:gd name="T22" fmla="*/ 2147483647 w 2"/>
                    <a:gd name="T23" fmla="*/ 0 h 6"/>
                    <a:gd name="T24" fmla="*/ 2147483647 w 2"/>
                    <a:gd name="T25" fmla="*/ 0 h 6"/>
                    <a:gd name="T26" fmla="*/ 2147483647 w 2"/>
                    <a:gd name="T27" fmla="*/ 2147483647 h 6"/>
                    <a:gd name="T28" fmla="*/ 2147483647 w 2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"/>
                    <a:gd name="T46" fmla="*/ 0 h 6"/>
                    <a:gd name="T47" fmla="*/ 2 w 2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" h="6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3" name="Freeform 1052">
                  <a:extLst>
                    <a:ext uri="{FF2B5EF4-FFF2-40B4-BE49-F238E27FC236}">
                      <a16:creationId xmlns:a16="http://schemas.microsoft.com/office/drawing/2014/main" id="{1AF6091B-EC77-6643-B3C4-3B6ADA9DDD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0515" y="6104157"/>
                  <a:ext cx="13319" cy="26638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2147483647 h 18"/>
                    <a:gd name="T4" fmla="*/ 2147483647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2147483647 h 18"/>
                    <a:gd name="T10" fmla="*/ 2147483647 w 9"/>
                    <a:gd name="T11" fmla="*/ 2147483647 h 18"/>
                    <a:gd name="T12" fmla="*/ 0 w 9"/>
                    <a:gd name="T13" fmla="*/ 2147483647 h 18"/>
                    <a:gd name="T14" fmla="*/ 0 w 9"/>
                    <a:gd name="T15" fmla="*/ 2147483647 h 18"/>
                    <a:gd name="T16" fmla="*/ 0 w 9"/>
                    <a:gd name="T17" fmla="*/ 2147483647 h 18"/>
                    <a:gd name="T18" fmla="*/ 2147483647 w 9"/>
                    <a:gd name="T19" fmla="*/ 2147483647 h 18"/>
                    <a:gd name="T20" fmla="*/ 2147483647 w 9"/>
                    <a:gd name="T21" fmla="*/ 0 h 18"/>
                    <a:gd name="T22" fmla="*/ 2147483647 w 9"/>
                    <a:gd name="T23" fmla="*/ 0 h 18"/>
                    <a:gd name="T24" fmla="*/ 2147483647 w 9"/>
                    <a:gd name="T25" fmla="*/ 2147483647 h 18"/>
                    <a:gd name="T26" fmla="*/ 2147483647 w 9"/>
                    <a:gd name="T27" fmla="*/ 2147483647 h 18"/>
                    <a:gd name="T28" fmla="*/ 2147483647 w 9"/>
                    <a:gd name="T29" fmla="*/ 2147483647 h 1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18"/>
                    <a:gd name="T47" fmla="*/ 9 w 9"/>
                    <a:gd name="T48" fmla="*/ 18 h 1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18">
                      <a:moveTo>
                        <a:pt x="9" y="9"/>
                      </a:moveTo>
                      <a:lnTo>
                        <a:pt x="8" y="14"/>
                      </a:lnTo>
                      <a:lnTo>
                        <a:pt x="7" y="16"/>
                      </a:lnTo>
                      <a:lnTo>
                        <a:pt x="4" y="18"/>
                      </a:lnTo>
                      <a:lnTo>
                        <a:pt x="3" y="18"/>
                      </a:lnTo>
                      <a:lnTo>
                        <a:pt x="2" y="16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0" y="4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9" y="4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4" name="Freeform 1054">
                  <a:extLst>
                    <a:ext uri="{FF2B5EF4-FFF2-40B4-BE49-F238E27FC236}">
                      <a16:creationId xmlns:a16="http://schemas.microsoft.com/office/drawing/2014/main" id="{C01995EB-839A-A345-8024-74C338901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0514" y="6102673"/>
                  <a:ext cx="11839" cy="25158"/>
                </a:xfrm>
                <a:custGeom>
                  <a:avLst/>
                  <a:gdLst>
                    <a:gd name="T0" fmla="*/ 2147483647 w 9"/>
                    <a:gd name="T1" fmla="*/ 2147483647 h 17"/>
                    <a:gd name="T2" fmla="*/ 2147483647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2147483647 h 17"/>
                    <a:gd name="T8" fmla="*/ 2147483647 w 9"/>
                    <a:gd name="T9" fmla="*/ 2147483647 h 17"/>
                    <a:gd name="T10" fmla="*/ 2147483647 w 9"/>
                    <a:gd name="T11" fmla="*/ 2147483647 h 17"/>
                    <a:gd name="T12" fmla="*/ 2147483647 w 9"/>
                    <a:gd name="T13" fmla="*/ 2147483647 h 17"/>
                    <a:gd name="T14" fmla="*/ 2147483647 w 9"/>
                    <a:gd name="T15" fmla="*/ 2147483647 h 17"/>
                    <a:gd name="T16" fmla="*/ 0 w 9"/>
                    <a:gd name="T17" fmla="*/ 2147483647 h 17"/>
                    <a:gd name="T18" fmla="*/ 0 w 9"/>
                    <a:gd name="T19" fmla="*/ 2147483647 h 17"/>
                    <a:gd name="T20" fmla="*/ 0 w 9"/>
                    <a:gd name="T21" fmla="*/ 2147483647 h 17"/>
                    <a:gd name="T22" fmla="*/ 0 w 9"/>
                    <a:gd name="T23" fmla="*/ 2147483647 h 17"/>
                    <a:gd name="T24" fmla="*/ 2147483647 w 9"/>
                    <a:gd name="T25" fmla="*/ 2147483647 h 17"/>
                    <a:gd name="T26" fmla="*/ 2147483647 w 9"/>
                    <a:gd name="T27" fmla="*/ 0 h 17"/>
                    <a:gd name="T28" fmla="*/ 2147483647 w 9"/>
                    <a:gd name="T29" fmla="*/ 0 h 17"/>
                    <a:gd name="T30" fmla="*/ 2147483647 w 9"/>
                    <a:gd name="T31" fmla="*/ 0 h 17"/>
                    <a:gd name="T32" fmla="*/ 2147483647 w 9"/>
                    <a:gd name="T33" fmla="*/ 2147483647 h 17"/>
                    <a:gd name="T34" fmla="*/ 2147483647 w 9"/>
                    <a:gd name="T35" fmla="*/ 2147483647 h 17"/>
                    <a:gd name="T36" fmla="*/ 2147483647 w 9"/>
                    <a:gd name="T37" fmla="*/ 2147483647 h 17"/>
                    <a:gd name="T38" fmla="*/ 2147483647 w 9"/>
                    <a:gd name="T39" fmla="*/ 2147483647 h 1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"/>
                    <a:gd name="T61" fmla="*/ 0 h 17"/>
                    <a:gd name="T62" fmla="*/ 9 w 9"/>
                    <a:gd name="T63" fmla="*/ 17 h 1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" h="17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7"/>
                      </a:lnTo>
                      <a:lnTo>
                        <a:pt x="3" y="17"/>
                      </a:lnTo>
                      <a:lnTo>
                        <a:pt x="1" y="16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0" y="4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9" y="4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5" name="Freeform 1057">
                  <a:extLst>
                    <a:ext uri="{FF2B5EF4-FFF2-40B4-BE49-F238E27FC236}">
                      <a16:creationId xmlns:a16="http://schemas.microsoft.com/office/drawing/2014/main" id="{DCF4BA56-DE72-344F-B50F-FDE23AFE40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2353" y="6127832"/>
                  <a:ext cx="17758" cy="38477"/>
                </a:xfrm>
                <a:custGeom>
                  <a:avLst/>
                  <a:gdLst>
                    <a:gd name="T0" fmla="*/ 2147483647 w 13"/>
                    <a:gd name="T1" fmla="*/ 2147483647 h 26"/>
                    <a:gd name="T2" fmla="*/ 2147483647 w 13"/>
                    <a:gd name="T3" fmla="*/ 2147483647 h 26"/>
                    <a:gd name="T4" fmla="*/ 2147483647 w 13"/>
                    <a:gd name="T5" fmla="*/ 2147483647 h 26"/>
                    <a:gd name="T6" fmla="*/ 2147483647 w 13"/>
                    <a:gd name="T7" fmla="*/ 2147483647 h 26"/>
                    <a:gd name="T8" fmla="*/ 2147483647 w 13"/>
                    <a:gd name="T9" fmla="*/ 2147483647 h 26"/>
                    <a:gd name="T10" fmla="*/ 2147483647 w 13"/>
                    <a:gd name="T11" fmla="*/ 0 h 26"/>
                    <a:gd name="T12" fmla="*/ 2147483647 w 13"/>
                    <a:gd name="T13" fmla="*/ 2147483647 h 26"/>
                    <a:gd name="T14" fmla="*/ 2147483647 w 13"/>
                    <a:gd name="T15" fmla="*/ 2147483647 h 26"/>
                    <a:gd name="T16" fmla="*/ 2147483647 w 13"/>
                    <a:gd name="T17" fmla="*/ 2147483647 h 26"/>
                    <a:gd name="T18" fmla="*/ 0 w 13"/>
                    <a:gd name="T19" fmla="*/ 2147483647 h 26"/>
                    <a:gd name="T20" fmla="*/ 2147483647 w 13"/>
                    <a:gd name="T21" fmla="*/ 2147483647 h 26"/>
                    <a:gd name="T22" fmla="*/ 2147483647 w 13"/>
                    <a:gd name="T23" fmla="*/ 2147483647 h 26"/>
                    <a:gd name="T24" fmla="*/ 2147483647 w 13"/>
                    <a:gd name="T25" fmla="*/ 2147483647 h 26"/>
                    <a:gd name="T26" fmla="*/ 2147483647 w 13"/>
                    <a:gd name="T27" fmla="*/ 2147483647 h 26"/>
                    <a:gd name="T28" fmla="*/ 2147483647 w 13"/>
                    <a:gd name="T29" fmla="*/ 2147483647 h 26"/>
                    <a:gd name="T30" fmla="*/ 2147483647 w 13"/>
                    <a:gd name="T31" fmla="*/ 2147483647 h 26"/>
                    <a:gd name="T32" fmla="*/ 2147483647 w 13"/>
                    <a:gd name="T33" fmla="*/ 2147483647 h 26"/>
                    <a:gd name="T34" fmla="*/ 2147483647 w 13"/>
                    <a:gd name="T35" fmla="*/ 2147483647 h 2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26"/>
                    <a:gd name="T56" fmla="*/ 13 w 13"/>
                    <a:gd name="T57" fmla="*/ 26 h 2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26">
                      <a:moveTo>
                        <a:pt x="13" y="17"/>
                      </a:moveTo>
                      <a:lnTo>
                        <a:pt x="13" y="13"/>
                      </a:lnTo>
                      <a:lnTo>
                        <a:pt x="13" y="9"/>
                      </a:lnTo>
                      <a:lnTo>
                        <a:pt x="13" y="5"/>
                      </a:lnTo>
                      <a:lnTo>
                        <a:pt x="10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3"/>
                      </a:lnTo>
                      <a:lnTo>
                        <a:pt x="1" y="5"/>
                      </a:lnTo>
                      <a:lnTo>
                        <a:pt x="0" y="10"/>
                      </a:lnTo>
                      <a:lnTo>
                        <a:pt x="1" y="15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9" y="26"/>
                      </a:lnTo>
                      <a:lnTo>
                        <a:pt x="11" y="25"/>
                      </a:lnTo>
                      <a:lnTo>
                        <a:pt x="13" y="24"/>
                      </a:lnTo>
                      <a:lnTo>
                        <a:pt x="13" y="21"/>
                      </a:lnTo>
                      <a:lnTo>
                        <a:pt x="1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6" name="Freeform 1059">
                  <a:extLst>
                    <a:ext uri="{FF2B5EF4-FFF2-40B4-BE49-F238E27FC236}">
                      <a16:creationId xmlns:a16="http://schemas.microsoft.com/office/drawing/2014/main" id="{D0C52CD8-561E-374C-9DFD-E6B107653D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74" y="6126351"/>
                  <a:ext cx="16278" cy="38477"/>
                </a:xfrm>
                <a:custGeom>
                  <a:avLst/>
                  <a:gdLst>
                    <a:gd name="T0" fmla="*/ 2147483647 w 12"/>
                    <a:gd name="T1" fmla="*/ 2147483647 h 26"/>
                    <a:gd name="T2" fmla="*/ 2147483647 w 12"/>
                    <a:gd name="T3" fmla="*/ 2147483647 h 26"/>
                    <a:gd name="T4" fmla="*/ 2147483647 w 12"/>
                    <a:gd name="T5" fmla="*/ 2147483647 h 26"/>
                    <a:gd name="T6" fmla="*/ 2147483647 w 12"/>
                    <a:gd name="T7" fmla="*/ 2147483647 h 26"/>
                    <a:gd name="T8" fmla="*/ 2147483647 w 12"/>
                    <a:gd name="T9" fmla="*/ 2147483647 h 26"/>
                    <a:gd name="T10" fmla="*/ 2147483647 w 12"/>
                    <a:gd name="T11" fmla="*/ 2147483647 h 26"/>
                    <a:gd name="T12" fmla="*/ 2147483647 w 12"/>
                    <a:gd name="T13" fmla="*/ 2147483647 h 26"/>
                    <a:gd name="T14" fmla="*/ 2147483647 w 12"/>
                    <a:gd name="T15" fmla="*/ 0 h 26"/>
                    <a:gd name="T16" fmla="*/ 2147483647 w 12"/>
                    <a:gd name="T17" fmla="*/ 2147483647 h 26"/>
                    <a:gd name="T18" fmla="*/ 2147483647 w 12"/>
                    <a:gd name="T19" fmla="*/ 2147483647 h 26"/>
                    <a:gd name="T20" fmla="*/ 2147483647 w 12"/>
                    <a:gd name="T21" fmla="*/ 2147483647 h 26"/>
                    <a:gd name="T22" fmla="*/ 2147483647 w 12"/>
                    <a:gd name="T23" fmla="*/ 2147483647 h 26"/>
                    <a:gd name="T24" fmla="*/ 0 w 12"/>
                    <a:gd name="T25" fmla="*/ 2147483647 h 26"/>
                    <a:gd name="T26" fmla="*/ 2147483647 w 12"/>
                    <a:gd name="T27" fmla="*/ 2147483647 h 26"/>
                    <a:gd name="T28" fmla="*/ 2147483647 w 12"/>
                    <a:gd name="T29" fmla="*/ 2147483647 h 26"/>
                    <a:gd name="T30" fmla="*/ 2147483647 w 12"/>
                    <a:gd name="T31" fmla="*/ 2147483647 h 26"/>
                    <a:gd name="T32" fmla="*/ 2147483647 w 12"/>
                    <a:gd name="T33" fmla="*/ 2147483647 h 26"/>
                    <a:gd name="T34" fmla="*/ 2147483647 w 12"/>
                    <a:gd name="T35" fmla="*/ 2147483647 h 26"/>
                    <a:gd name="T36" fmla="*/ 2147483647 w 12"/>
                    <a:gd name="T37" fmla="*/ 2147483647 h 26"/>
                    <a:gd name="T38" fmla="*/ 2147483647 w 12"/>
                    <a:gd name="T39" fmla="*/ 2147483647 h 26"/>
                    <a:gd name="T40" fmla="*/ 2147483647 w 12"/>
                    <a:gd name="T41" fmla="*/ 2147483647 h 26"/>
                    <a:gd name="T42" fmla="*/ 2147483647 w 12"/>
                    <a:gd name="T43" fmla="*/ 2147483647 h 26"/>
                    <a:gd name="T44" fmla="*/ 2147483647 w 12"/>
                    <a:gd name="T45" fmla="*/ 2147483647 h 26"/>
                    <a:gd name="T46" fmla="*/ 2147483647 w 12"/>
                    <a:gd name="T47" fmla="*/ 2147483647 h 2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2"/>
                    <a:gd name="T73" fmla="*/ 0 h 26"/>
                    <a:gd name="T74" fmla="*/ 12 w 12"/>
                    <a:gd name="T75" fmla="*/ 26 h 2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2" h="26">
                      <a:moveTo>
                        <a:pt x="12" y="17"/>
                      </a:moveTo>
                      <a:lnTo>
                        <a:pt x="12" y="17"/>
                      </a:lnTo>
                      <a:lnTo>
                        <a:pt x="12" y="13"/>
                      </a:lnTo>
                      <a:lnTo>
                        <a:pt x="12" y="8"/>
                      </a:lnTo>
                      <a:lnTo>
                        <a:pt x="12" y="5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5" y="1"/>
                      </a:lnTo>
                      <a:lnTo>
                        <a:pt x="2" y="3"/>
                      </a:lnTo>
                      <a:lnTo>
                        <a:pt x="1" y="5"/>
                      </a:lnTo>
                      <a:lnTo>
                        <a:pt x="0" y="10"/>
                      </a:lnTo>
                      <a:lnTo>
                        <a:pt x="1" y="14"/>
                      </a:lnTo>
                      <a:lnTo>
                        <a:pt x="5" y="25"/>
                      </a:lnTo>
                      <a:lnTo>
                        <a:pt x="6" y="26"/>
                      </a:lnTo>
                      <a:lnTo>
                        <a:pt x="9" y="26"/>
                      </a:lnTo>
                      <a:lnTo>
                        <a:pt x="11" y="25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12" y="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865">
                  <a:extLst>
                    <a:ext uri="{FF2B5EF4-FFF2-40B4-BE49-F238E27FC236}">
                      <a16:creationId xmlns:a16="http://schemas.microsoft.com/office/drawing/2014/main" id="{7A58134C-C7EE-FC4A-913F-641571FED2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1953" y="4471857"/>
                  <a:ext cx="926400" cy="1151340"/>
                </a:xfrm>
                <a:custGeom>
                  <a:avLst/>
                  <a:gdLst>
                    <a:gd name="T0" fmla="*/ 2147483647 w 678"/>
                    <a:gd name="T1" fmla="*/ 2147483647 h 778"/>
                    <a:gd name="T2" fmla="*/ 2147483647 w 678"/>
                    <a:gd name="T3" fmla="*/ 2147483647 h 778"/>
                    <a:gd name="T4" fmla="*/ 2147483647 w 678"/>
                    <a:gd name="T5" fmla="*/ 2147483647 h 778"/>
                    <a:gd name="T6" fmla="*/ 2147483647 w 678"/>
                    <a:gd name="T7" fmla="*/ 2147483647 h 778"/>
                    <a:gd name="T8" fmla="*/ 2147483647 w 678"/>
                    <a:gd name="T9" fmla="*/ 2147483647 h 778"/>
                    <a:gd name="T10" fmla="*/ 2147483647 w 678"/>
                    <a:gd name="T11" fmla="*/ 2147483647 h 778"/>
                    <a:gd name="T12" fmla="*/ 2147483647 w 678"/>
                    <a:gd name="T13" fmla="*/ 2147483647 h 778"/>
                    <a:gd name="T14" fmla="*/ 2147483647 w 678"/>
                    <a:gd name="T15" fmla="*/ 2147483647 h 778"/>
                    <a:gd name="T16" fmla="*/ 2147483647 w 678"/>
                    <a:gd name="T17" fmla="*/ 2147483647 h 778"/>
                    <a:gd name="T18" fmla="*/ 2147483647 w 678"/>
                    <a:gd name="T19" fmla="*/ 2147483647 h 778"/>
                    <a:gd name="T20" fmla="*/ 2147483647 w 678"/>
                    <a:gd name="T21" fmla="*/ 2147483647 h 778"/>
                    <a:gd name="T22" fmla="*/ 2147483647 w 678"/>
                    <a:gd name="T23" fmla="*/ 2147483647 h 778"/>
                    <a:gd name="T24" fmla="*/ 2147483647 w 678"/>
                    <a:gd name="T25" fmla="*/ 2147483647 h 778"/>
                    <a:gd name="T26" fmla="*/ 2147483647 w 678"/>
                    <a:gd name="T27" fmla="*/ 2147483647 h 778"/>
                    <a:gd name="T28" fmla="*/ 2147483647 w 678"/>
                    <a:gd name="T29" fmla="*/ 2147483647 h 778"/>
                    <a:gd name="T30" fmla="*/ 2147483647 w 678"/>
                    <a:gd name="T31" fmla="*/ 2147483647 h 778"/>
                    <a:gd name="T32" fmla="*/ 2147483647 w 678"/>
                    <a:gd name="T33" fmla="*/ 2147483647 h 778"/>
                    <a:gd name="T34" fmla="*/ 2147483647 w 678"/>
                    <a:gd name="T35" fmla="*/ 2147483647 h 778"/>
                    <a:gd name="T36" fmla="*/ 2147483647 w 678"/>
                    <a:gd name="T37" fmla="*/ 2147483647 h 778"/>
                    <a:gd name="T38" fmla="*/ 2147483647 w 678"/>
                    <a:gd name="T39" fmla="*/ 2147483647 h 778"/>
                    <a:gd name="T40" fmla="*/ 2147483647 w 678"/>
                    <a:gd name="T41" fmla="*/ 2147483647 h 778"/>
                    <a:gd name="T42" fmla="*/ 2147483647 w 678"/>
                    <a:gd name="T43" fmla="*/ 2147483647 h 778"/>
                    <a:gd name="T44" fmla="*/ 2147483647 w 678"/>
                    <a:gd name="T45" fmla="*/ 2147483647 h 778"/>
                    <a:gd name="T46" fmla="*/ 2147483647 w 678"/>
                    <a:gd name="T47" fmla="*/ 2147483647 h 778"/>
                    <a:gd name="T48" fmla="*/ 2147483647 w 678"/>
                    <a:gd name="T49" fmla="*/ 2147483647 h 778"/>
                    <a:gd name="T50" fmla="*/ 2147483647 w 678"/>
                    <a:gd name="T51" fmla="*/ 2147483647 h 778"/>
                    <a:gd name="T52" fmla="*/ 2147483647 w 678"/>
                    <a:gd name="T53" fmla="*/ 2147483647 h 778"/>
                    <a:gd name="T54" fmla="*/ 2147483647 w 678"/>
                    <a:gd name="T55" fmla="*/ 2147483647 h 778"/>
                    <a:gd name="T56" fmla="*/ 2147483647 w 678"/>
                    <a:gd name="T57" fmla="*/ 2147483647 h 778"/>
                    <a:gd name="T58" fmla="*/ 2147483647 w 678"/>
                    <a:gd name="T59" fmla="*/ 2147483647 h 778"/>
                    <a:gd name="T60" fmla="*/ 2147483647 w 678"/>
                    <a:gd name="T61" fmla="*/ 2147483647 h 778"/>
                    <a:gd name="T62" fmla="*/ 2147483647 w 678"/>
                    <a:gd name="T63" fmla="*/ 2147483647 h 778"/>
                    <a:gd name="T64" fmla="*/ 2147483647 w 678"/>
                    <a:gd name="T65" fmla="*/ 2147483647 h 778"/>
                    <a:gd name="T66" fmla="*/ 2147483647 w 678"/>
                    <a:gd name="T67" fmla="*/ 2147483647 h 778"/>
                    <a:gd name="T68" fmla="*/ 2147483647 w 678"/>
                    <a:gd name="T69" fmla="*/ 2147483647 h 778"/>
                    <a:gd name="T70" fmla="*/ 2147483647 w 678"/>
                    <a:gd name="T71" fmla="*/ 2147483647 h 778"/>
                    <a:gd name="T72" fmla="*/ 2147483647 w 678"/>
                    <a:gd name="T73" fmla="*/ 2147483647 h 778"/>
                    <a:gd name="T74" fmla="*/ 2147483647 w 678"/>
                    <a:gd name="T75" fmla="*/ 2147483647 h 778"/>
                    <a:gd name="T76" fmla="*/ 2147483647 w 678"/>
                    <a:gd name="T77" fmla="*/ 2147483647 h 778"/>
                    <a:gd name="T78" fmla="*/ 2147483647 w 678"/>
                    <a:gd name="T79" fmla="*/ 2147483647 h 778"/>
                    <a:gd name="T80" fmla="*/ 2147483647 w 678"/>
                    <a:gd name="T81" fmla="*/ 2147483647 h 778"/>
                    <a:gd name="T82" fmla="*/ 2147483647 w 678"/>
                    <a:gd name="T83" fmla="*/ 2147483647 h 778"/>
                    <a:gd name="T84" fmla="*/ 2147483647 w 678"/>
                    <a:gd name="T85" fmla="*/ 2147483647 h 778"/>
                    <a:gd name="T86" fmla="*/ 2147483647 w 678"/>
                    <a:gd name="T87" fmla="*/ 2147483647 h 778"/>
                    <a:gd name="T88" fmla="*/ 2147483647 w 678"/>
                    <a:gd name="T89" fmla="*/ 2147483647 h 778"/>
                    <a:gd name="T90" fmla="*/ 2147483647 w 678"/>
                    <a:gd name="T91" fmla="*/ 2147483647 h 778"/>
                    <a:gd name="T92" fmla="*/ 2147483647 w 678"/>
                    <a:gd name="T93" fmla="*/ 2147483647 h 778"/>
                    <a:gd name="T94" fmla="*/ 2147483647 w 678"/>
                    <a:gd name="T95" fmla="*/ 2147483647 h 778"/>
                    <a:gd name="T96" fmla="*/ 2147483647 w 678"/>
                    <a:gd name="T97" fmla="*/ 2147483647 h 778"/>
                    <a:gd name="T98" fmla="*/ 2147483647 w 678"/>
                    <a:gd name="T99" fmla="*/ 2147483647 h 778"/>
                    <a:gd name="T100" fmla="*/ 2147483647 w 678"/>
                    <a:gd name="T101" fmla="*/ 2147483647 h 778"/>
                    <a:gd name="T102" fmla="*/ 2147483647 w 678"/>
                    <a:gd name="T103" fmla="*/ 2147483647 h 778"/>
                    <a:gd name="T104" fmla="*/ 2147483647 w 678"/>
                    <a:gd name="T105" fmla="*/ 2147483647 h 778"/>
                    <a:gd name="T106" fmla="*/ 2147483647 w 678"/>
                    <a:gd name="T107" fmla="*/ 2147483647 h 778"/>
                    <a:gd name="T108" fmla="*/ 2147483647 w 678"/>
                    <a:gd name="T109" fmla="*/ 2147483647 h 778"/>
                    <a:gd name="T110" fmla="*/ 2147483647 w 678"/>
                    <a:gd name="T111" fmla="*/ 2147483647 h 778"/>
                    <a:gd name="T112" fmla="*/ 2147483647 w 678"/>
                    <a:gd name="T113" fmla="*/ 2147483647 h 778"/>
                    <a:gd name="T114" fmla="*/ 2147483647 w 678"/>
                    <a:gd name="T115" fmla="*/ 2147483647 h 778"/>
                    <a:gd name="T116" fmla="*/ 2147483647 w 678"/>
                    <a:gd name="T117" fmla="*/ 2147483647 h 778"/>
                    <a:gd name="T118" fmla="*/ 2147483647 w 678"/>
                    <a:gd name="T119" fmla="*/ 2147483647 h 778"/>
                    <a:gd name="T120" fmla="*/ 2147483647 w 678"/>
                    <a:gd name="T121" fmla="*/ 2147483647 h 778"/>
                    <a:gd name="T122" fmla="*/ 2147483647 w 678"/>
                    <a:gd name="T123" fmla="*/ 2147483647 h 778"/>
                    <a:gd name="T124" fmla="*/ 2147483647 w 678"/>
                    <a:gd name="T125" fmla="*/ 2147483647 h 77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78"/>
                    <a:gd name="T190" fmla="*/ 0 h 778"/>
                    <a:gd name="T191" fmla="*/ 678 w 678"/>
                    <a:gd name="T192" fmla="*/ 778 h 77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78" h="778">
                      <a:moveTo>
                        <a:pt x="388" y="12"/>
                      </a:moveTo>
                      <a:lnTo>
                        <a:pt x="388" y="12"/>
                      </a:lnTo>
                      <a:lnTo>
                        <a:pt x="392" y="22"/>
                      </a:lnTo>
                      <a:lnTo>
                        <a:pt x="396" y="31"/>
                      </a:lnTo>
                      <a:lnTo>
                        <a:pt x="397" y="42"/>
                      </a:lnTo>
                      <a:lnTo>
                        <a:pt x="400" y="55"/>
                      </a:lnTo>
                      <a:lnTo>
                        <a:pt x="401" y="58"/>
                      </a:lnTo>
                      <a:lnTo>
                        <a:pt x="405" y="62"/>
                      </a:lnTo>
                      <a:lnTo>
                        <a:pt x="406" y="64"/>
                      </a:lnTo>
                      <a:lnTo>
                        <a:pt x="409" y="65"/>
                      </a:lnTo>
                      <a:lnTo>
                        <a:pt x="414" y="68"/>
                      </a:lnTo>
                      <a:lnTo>
                        <a:pt x="417" y="69"/>
                      </a:lnTo>
                      <a:lnTo>
                        <a:pt x="417" y="71"/>
                      </a:lnTo>
                      <a:lnTo>
                        <a:pt x="417" y="74"/>
                      </a:lnTo>
                      <a:lnTo>
                        <a:pt x="416" y="81"/>
                      </a:lnTo>
                      <a:lnTo>
                        <a:pt x="414" y="84"/>
                      </a:lnTo>
                      <a:lnTo>
                        <a:pt x="411" y="88"/>
                      </a:lnTo>
                      <a:lnTo>
                        <a:pt x="402" y="94"/>
                      </a:lnTo>
                      <a:lnTo>
                        <a:pt x="401" y="97"/>
                      </a:lnTo>
                      <a:lnTo>
                        <a:pt x="398" y="100"/>
                      </a:lnTo>
                      <a:lnTo>
                        <a:pt x="392" y="105"/>
                      </a:lnTo>
                      <a:lnTo>
                        <a:pt x="388" y="110"/>
                      </a:lnTo>
                      <a:lnTo>
                        <a:pt x="381" y="122"/>
                      </a:lnTo>
                      <a:lnTo>
                        <a:pt x="374" y="128"/>
                      </a:lnTo>
                      <a:lnTo>
                        <a:pt x="370" y="132"/>
                      </a:lnTo>
                      <a:lnTo>
                        <a:pt x="369" y="137"/>
                      </a:lnTo>
                      <a:lnTo>
                        <a:pt x="370" y="138"/>
                      </a:lnTo>
                      <a:lnTo>
                        <a:pt x="372" y="139"/>
                      </a:lnTo>
                      <a:lnTo>
                        <a:pt x="374" y="138"/>
                      </a:lnTo>
                      <a:lnTo>
                        <a:pt x="378" y="138"/>
                      </a:lnTo>
                      <a:lnTo>
                        <a:pt x="384" y="137"/>
                      </a:lnTo>
                      <a:lnTo>
                        <a:pt x="389" y="135"/>
                      </a:lnTo>
                      <a:lnTo>
                        <a:pt x="395" y="133"/>
                      </a:lnTo>
                      <a:lnTo>
                        <a:pt x="398" y="129"/>
                      </a:lnTo>
                      <a:lnTo>
                        <a:pt x="402" y="125"/>
                      </a:lnTo>
                      <a:lnTo>
                        <a:pt x="405" y="120"/>
                      </a:lnTo>
                      <a:lnTo>
                        <a:pt x="410" y="110"/>
                      </a:lnTo>
                      <a:lnTo>
                        <a:pt x="411" y="109"/>
                      </a:lnTo>
                      <a:lnTo>
                        <a:pt x="412" y="108"/>
                      </a:lnTo>
                      <a:lnTo>
                        <a:pt x="426" y="108"/>
                      </a:lnTo>
                      <a:lnTo>
                        <a:pt x="440" y="107"/>
                      </a:lnTo>
                      <a:lnTo>
                        <a:pt x="442" y="107"/>
                      </a:lnTo>
                      <a:lnTo>
                        <a:pt x="442" y="108"/>
                      </a:lnTo>
                      <a:lnTo>
                        <a:pt x="442" y="112"/>
                      </a:lnTo>
                      <a:lnTo>
                        <a:pt x="439" y="121"/>
                      </a:lnTo>
                      <a:lnTo>
                        <a:pt x="436" y="125"/>
                      </a:lnTo>
                      <a:lnTo>
                        <a:pt x="434" y="127"/>
                      </a:lnTo>
                      <a:lnTo>
                        <a:pt x="429" y="131"/>
                      </a:lnTo>
                      <a:lnTo>
                        <a:pt x="424" y="135"/>
                      </a:lnTo>
                      <a:lnTo>
                        <a:pt x="421" y="140"/>
                      </a:lnTo>
                      <a:lnTo>
                        <a:pt x="420" y="142"/>
                      </a:lnTo>
                      <a:lnTo>
                        <a:pt x="421" y="146"/>
                      </a:lnTo>
                      <a:lnTo>
                        <a:pt x="421" y="147"/>
                      </a:lnTo>
                      <a:lnTo>
                        <a:pt x="422" y="147"/>
                      </a:lnTo>
                      <a:lnTo>
                        <a:pt x="428" y="142"/>
                      </a:lnTo>
                      <a:lnTo>
                        <a:pt x="433" y="139"/>
                      </a:lnTo>
                      <a:lnTo>
                        <a:pt x="438" y="137"/>
                      </a:lnTo>
                      <a:lnTo>
                        <a:pt x="444" y="133"/>
                      </a:lnTo>
                      <a:lnTo>
                        <a:pt x="445" y="131"/>
                      </a:lnTo>
                      <a:lnTo>
                        <a:pt x="445" y="127"/>
                      </a:lnTo>
                      <a:lnTo>
                        <a:pt x="447" y="123"/>
                      </a:lnTo>
                      <a:lnTo>
                        <a:pt x="447" y="121"/>
                      </a:lnTo>
                      <a:lnTo>
                        <a:pt x="448" y="119"/>
                      </a:lnTo>
                      <a:lnTo>
                        <a:pt x="450" y="116"/>
                      </a:lnTo>
                      <a:lnTo>
                        <a:pt x="454" y="116"/>
                      </a:lnTo>
                      <a:lnTo>
                        <a:pt x="463" y="119"/>
                      </a:lnTo>
                      <a:lnTo>
                        <a:pt x="468" y="120"/>
                      </a:lnTo>
                      <a:lnTo>
                        <a:pt x="473" y="122"/>
                      </a:lnTo>
                      <a:lnTo>
                        <a:pt x="478" y="123"/>
                      </a:lnTo>
                      <a:lnTo>
                        <a:pt x="483" y="125"/>
                      </a:lnTo>
                      <a:lnTo>
                        <a:pt x="494" y="127"/>
                      </a:lnTo>
                      <a:lnTo>
                        <a:pt x="497" y="129"/>
                      </a:lnTo>
                      <a:lnTo>
                        <a:pt x="502" y="133"/>
                      </a:lnTo>
                      <a:lnTo>
                        <a:pt x="504" y="134"/>
                      </a:lnTo>
                      <a:lnTo>
                        <a:pt x="504" y="137"/>
                      </a:lnTo>
                      <a:lnTo>
                        <a:pt x="504" y="140"/>
                      </a:lnTo>
                      <a:lnTo>
                        <a:pt x="504" y="145"/>
                      </a:lnTo>
                      <a:lnTo>
                        <a:pt x="504" y="150"/>
                      </a:lnTo>
                      <a:lnTo>
                        <a:pt x="505" y="153"/>
                      </a:lnTo>
                      <a:lnTo>
                        <a:pt x="504" y="157"/>
                      </a:lnTo>
                      <a:lnTo>
                        <a:pt x="502" y="159"/>
                      </a:lnTo>
                      <a:lnTo>
                        <a:pt x="502" y="163"/>
                      </a:lnTo>
                      <a:lnTo>
                        <a:pt x="505" y="164"/>
                      </a:lnTo>
                      <a:lnTo>
                        <a:pt x="508" y="164"/>
                      </a:lnTo>
                      <a:lnTo>
                        <a:pt x="510" y="161"/>
                      </a:lnTo>
                      <a:lnTo>
                        <a:pt x="511" y="159"/>
                      </a:lnTo>
                      <a:lnTo>
                        <a:pt x="513" y="153"/>
                      </a:lnTo>
                      <a:lnTo>
                        <a:pt x="514" y="151"/>
                      </a:lnTo>
                      <a:lnTo>
                        <a:pt x="515" y="151"/>
                      </a:lnTo>
                      <a:lnTo>
                        <a:pt x="516" y="151"/>
                      </a:lnTo>
                      <a:lnTo>
                        <a:pt x="519" y="153"/>
                      </a:lnTo>
                      <a:lnTo>
                        <a:pt x="520" y="153"/>
                      </a:lnTo>
                      <a:lnTo>
                        <a:pt x="524" y="153"/>
                      </a:lnTo>
                      <a:lnTo>
                        <a:pt x="528" y="155"/>
                      </a:lnTo>
                      <a:lnTo>
                        <a:pt x="530" y="157"/>
                      </a:lnTo>
                      <a:lnTo>
                        <a:pt x="534" y="158"/>
                      </a:lnTo>
                      <a:lnTo>
                        <a:pt x="539" y="158"/>
                      </a:lnTo>
                      <a:lnTo>
                        <a:pt x="542" y="158"/>
                      </a:lnTo>
                      <a:lnTo>
                        <a:pt x="544" y="159"/>
                      </a:lnTo>
                      <a:lnTo>
                        <a:pt x="548" y="161"/>
                      </a:lnTo>
                      <a:lnTo>
                        <a:pt x="553" y="163"/>
                      </a:lnTo>
                      <a:lnTo>
                        <a:pt x="557" y="163"/>
                      </a:lnTo>
                      <a:lnTo>
                        <a:pt x="561" y="163"/>
                      </a:lnTo>
                      <a:lnTo>
                        <a:pt x="570" y="160"/>
                      </a:lnTo>
                      <a:lnTo>
                        <a:pt x="577" y="158"/>
                      </a:lnTo>
                      <a:lnTo>
                        <a:pt x="580" y="158"/>
                      </a:lnTo>
                      <a:lnTo>
                        <a:pt x="581" y="159"/>
                      </a:lnTo>
                      <a:lnTo>
                        <a:pt x="584" y="161"/>
                      </a:lnTo>
                      <a:lnTo>
                        <a:pt x="586" y="163"/>
                      </a:lnTo>
                      <a:lnTo>
                        <a:pt x="589" y="163"/>
                      </a:lnTo>
                      <a:lnTo>
                        <a:pt x="590" y="163"/>
                      </a:lnTo>
                      <a:lnTo>
                        <a:pt x="593" y="163"/>
                      </a:lnTo>
                      <a:lnTo>
                        <a:pt x="594" y="164"/>
                      </a:lnTo>
                      <a:lnTo>
                        <a:pt x="596" y="166"/>
                      </a:lnTo>
                      <a:lnTo>
                        <a:pt x="600" y="170"/>
                      </a:lnTo>
                      <a:lnTo>
                        <a:pt x="608" y="176"/>
                      </a:lnTo>
                      <a:lnTo>
                        <a:pt x="614" y="183"/>
                      </a:lnTo>
                      <a:lnTo>
                        <a:pt x="621" y="189"/>
                      </a:lnTo>
                      <a:lnTo>
                        <a:pt x="627" y="196"/>
                      </a:lnTo>
                      <a:lnTo>
                        <a:pt x="631" y="198"/>
                      </a:lnTo>
                      <a:lnTo>
                        <a:pt x="635" y="199"/>
                      </a:lnTo>
                      <a:lnTo>
                        <a:pt x="642" y="201"/>
                      </a:lnTo>
                      <a:lnTo>
                        <a:pt x="651" y="202"/>
                      </a:lnTo>
                      <a:lnTo>
                        <a:pt x="655" y="203"/>
                      </a:lnTo>
                      <a:lnTo>
                        <a:pt x="659" y="204"/>
                      </a:lnTo>
                      <a:lnTo>
                        <a:pt x="662" y="206"/>
                      </a:lnTo>
                      <a:lnTo>
                        <a:pt x="665" y="210"/>
                      </a:lnTo>
                      <a:lnTo>
                        <a:pt x="668" y="215"/>
                      </a:lnTo>
                      <a:lnTo>
                        <a:pt x="669" y="218"/>
                      </a:lnTo>
                      <a:lnTo>
                        <a:pt x="669" y="223"/>
                      </a:lnTo>
                      <a:lnTo>
                        <a:pt x="670" y="227"/>
                      </a:lnTo>
                      <a:lnTo>
                        <a:pt x="675" y="236"/>
                      </a:lnTo>
                      <a:lnTo>
                        <a:pt x="678" y="246"/>
                      </a:lnTo>
                      <a:lnTo>
                        <a:pt x="678" y="255"/>
                      </a:lnTo>
                      <a:lnTo>
                        <a:pt x="678" y="265"/>
                      </a:lnTo>
                      <a:lnTo>
                        <a:pt x="675" y="274"/>
                      </a:lnTo>
                      <a:lnTo>
                        <a:pt x="671" y="284"/>
                      </a:lnTo>
                      <a:lnTo>
                        <a:pt x="666" y="292"/>
                      </a:lnTo>
                      <a:lnTo>
                        <a:pt x="660" y="299"/>
                      </a:lnTo>
                      <a:lnTo>
                        <a:pt x="656" y="301"/>
                      </a:lnTo>
                      <a:lnTo>
                        <a:pt x="652" y="304"/>
                      </a:lnTo>
                      <a:lnTo>
                        <a:pt x="647" y="310"/>
                      </a:lnTo>
                      <a:lnTo>
                        <a:pt x="643" y="313"/>
                      </a:lnTo>
                      <a:lnTo>
                        <a:pt x="640" y="317"/>
                      </a:lnTo>
                      <a:lnTo>
                        <a:pt x="637" y="320"/>
                      </a:lnTo>
                      <a:lnTo>
                        <a:pt x="635" y="325"/>
                      </a:lnTo>
                      <a:lnTo>
                        <a:pt x="633" y="329"/>
                      </a:lnTo>
                      <a:lnTo>
                        <a:pt x="631" y="331"/>
                      </a:lnTo>
                      <a:lnTo>
                        <a:pt x="628" y="337"/>
                      </a:lnTo>
                      <a:lnTo>
                        <a:pt x="624" y="344"/>
                      </a:lnTo>
                      <a:lnTo>
                        <a:pt x="621" y="349"/>
                      </a:lnTo>
                      <a:lnTo>
                        <a:pt x="614" y="352"/>
                      </a:lnTo>
                      <a:lnTo>
                        <a:pt x="608" y="357"/>
                      </a:lnTo>
                      <a:lnTo>
                        <a:pt x="605" y="361"/>
                      </a:lnTo>
                      <a:lnTo>
                        <a:pt x="604" y="367"/>
                      </a:lnTo>
                      <a:lnTo>
                        <a:pt x="605" y="372"/>
                      </a:lnTo>
                      <a:lnTo>
                        <a:pt x="604" y="380"/>
                      </a:lnTo>
                      <a:lnTo>
                        <a:pt x="604" y="387"/>
                      </a:lnTo>
                      <a:lnTo>
                        <a:pt x="602" y="391"/>
                      </a:lnTo>
                      <a:lnTo>
                        <a:pt x="602" y="396"/>
                      </a:lnTo>
                      <a:lnTo>
                        <a:pt x="602" y="399"/>
                      </a:lnTo>
                      <a:lnTo>
                        <a:pt x="603" y="401"/>
                      </a:lnTo>
                      <a:lnTo>
                        <a:pt x="604" y="404"/>
                      </a:lnTo>
                      <a:lnTo>
                        <a:pt x="605" y="410"/>
                      </a:lnTo>
                      <a:lnTo>
                        <a:pt x="605" y="413"/>
                      </a:lnTo>
                      <a:lnTo>
                        <a:pt x="605" y="415"/>
                      </a:lnTo>
                      <a:lnTo>
                        <a:pt x="603" y="421"/>
                      </a:lnTo>
                      <a:lnTo>
                        <a:pt x="600" y="428"/>
                      </a:lnTo>
                      <a:lnTo>
                        <a:pt x="600" y="435"/>
                      </a:lnTo>
                      <a:lnTo>
                        <a:pt x="600" y="441"/>
                      </a:lnTo>
                      <a:lnTo>
                        <a:pt x="600" y="444"/>
                      </a:lnTo>
                      <a:lnTo>
                        <a:pt x="599" y="446"/>
                      </a:lnTo>
                      <a:lnTo>
                        <a:pt x="598" y="447"/>
                      </a:lnTo>
                      <a:lnTo>
                        <a:pt x="598" y="450"/>
                      </a:lnTo>
                      <a:lnTo>
                        <a:pt x="600" y="454"/>
                      </a:lnTo>
                      <a:lnTo>
                        <a:pt x="598" y="461"/>
                      </a:lnTo>
                      <a:lnTo>
                        <a:pt x="596" y="468"/>
                      </a:lnTo>
                      <a:lnTo>
                        <a:pt x="598" y="476"/>
                      </a:lnTo>
                      <a:lnTo>
                        <a:pt x="598" y="479"/>
                      </a:lnTo>
                      <a:lnTo>
                        <a:pt x="595" y="484"/>
                      </a:lnTo>
                      <a:lnTo>
                        <a:pt x="591" y="489"/>
                      </a:lnTo>
                      <a:lnTo>
                        <a:pt x="586" y="492"/>
                      </a:lnTo>
                      <a:lnTo>
                        <a:pt x="582" y="497"/>
                      </a:lnTo>
                      <a:lnTo>
                        <a:pt x="581" y="499"/>
                      </a:lnTo>
                      <a:lnTo>
                        <a:pt x="581" y="500"/>
                      </a:lnTo>
                      <a:lnTo>
                        <a:pt x="580" y="506"/>
                      </a:lnTo>
                      <a:lnTo>
                        <a:pt x="579" y="511"/>
                      </a:lnTo>
                      <a:lnTo>
                        <a:pt x="576" y="512"/>
                      </a:lnTo>
                      <a:lnTo>
                        <a:pt x="574" y="512"/>
                      </a:lnTo>
                      <a:lnTo>
                        <a:pt x="574" y="514"/>
                      </a:lnTo>
                      <a:lnTo>
                        <a:pt x="571" y="518"/>
                      </a:lnTo>
                      <a:lnTo>
                        <a:pt x="570" y="523"/>
                      </a:lnTo>
                      <a:lnTo>
                        <a:pt x="569" y="527"/>
                      </a:lnTo>
                      <a:lnTo>
                        <a:pt x="566" y="529"/>
                      </a:lnTo>
                      <a:lnTo>
                        <a:pt x="565" y="531"/>
                      </a:lnTo>
                      <a:lnTo>
                        <a:pt x="566" y="532"/>
                      </a:lnTo>
                      <a:lnTo>
                        <a:pt x="569" y="537"/>
                      </a:lnTo>
                      <a:lnTo>
                        <a:pt x="569" y="540"/>
                      </a:lnTo>
                      <a:lnTo>
                        <a:pt x="569" y="542"/>
                      </a:lnTo>
                      <a:lnTo>
                        <a:pt x="562" y="547"/>
                      </a:lnTo>
                      <a:lnTo>
                        <a:pt x="558" y="549"/>
                      </a:lnTo>
                      <a:lnTo>
                        <a:pt x="555" y="549"/>
                      </a:lnTo>
                      <a:lnTo>
                        <a:pt x="553" y="550"/>
                      </a:lnTo>
                      <a:lnTo>
                        <a:pt x="551" y="551"/>
                      </a:lnTo>
                      <a:lnTo>
                        <a:pt x="549" y="557"/>
                      </a:lnTo>
                      <a:lnTo>
                        <a:pt x="548" y="559"/>
                      </a:lnTo>
                      <a:lnTo>
                        <a:pt x="546" y="557"/>
                      </a:lnTo>
                      <a:lnTo>
                        <a:pt x="541" y="556"/>
                      </a:lnTo>
                      <a:lnTo>
                        <a:pt x="535" y="555"/>
                      </a:lnTo>
                      <a:lnTo>
                        <a:pt x="525" y="556"/>
                      </a:lnTo>
                      <a:lnTo>
                        <a:pt x="516" y="559"/>
                      </a:lnTo>
                      <a:lnTo>
                        <a:pt x="506" y="560"/>
                      </a:lnTo>
                      <a:lnTo>
                        <a:pt x="505" y="561"/>
                      </a:lnTo>
                      <a:lnTo>
                        <a:pt x="505" y="563"/>
                      </a:lnTo>
                      <a:lnTo>
                        <a:pt x="506" y="566"/>
                      </a:lnTo>
                      <a:lnTo>
                        <a:pt x="506" y="568"/>
                      </a:lnTo>
                      <a:lnTo>
                        <a:pt x="505" y="569"/>
                      </a:lnTo>
                      <a:lnTo>
                        <a:pt x="502" y="568"/>
                      </a:lnTo>
                      <a:lnTo>
                        <a:pt x="500" y="568"/>
                      </a:lnTo>
                      <a:lnTo>
                        <a:pt x="499" y="568"/>
                      </a:lnTo>
                      <a:lnTo>
                        <a:pt x="495" y="574"/>
                      </a:lnTo>
                      <a:lnTo>
                        <a:pt x="490" y="578"/>
                      </a:lnTo>
                      <a:lnTo>
                        <a:pt x="485" y="578"/>
                      </a:lnTo>
                      <a:lnTo>
                        <a:pt x="477" y="576"/>
                      </a:lnTo>
                      <a:lnTo>
                        <a:pt x="472" y="578"/>
                      </a:lnTo>
                      <a:lnTo>
                        <a:pt x="469" y="580"/>
                      </a:lnTo>
                      <a:lnTo>
                        <a:pt x="468" y="583"/>
                      </a:lnTo>
                      <a:lnTo>
                        <a:pt x="467" y="588"/>
                      </a:lnTo>
                      <a:lnTo>
                        <a:pt x="466" y="591"/>
                      </a:lnTo>
                      <a:lnTo>
                        <a:pt x="463" y="592"/>
                      </a:lnTo>
                      <a:lnTo>
                        <a:pt x="457" y="594"/>
                      </a:lnTo>
                      <a:lnTo>
                        <a:pt x="450" y="598"/>
                      </a:lnTo>
                      <a:lnTo>
                        <a:pt x="447" y="600"/>
                      </a:lnTo>
                      <a:lnTo>
                        <a:pt x="442" y="602"/>
                      </a:lnTo>
                      <a:lnTo>
                        <a:pt x="436" y="607"/>
                      </a:lnTo>
                      <a:lnTo>
                        <a:pt x="433" y="612"/>
                      </a:lnTo>
                      <a:lnTo>
                        <a:pt x="430" y="617"/>
                      </a:lnTo>
                      <a:lnTo>
                        <a:pt x="429" y="623"/>
                      </a:lnTo>
                      <a:lnTo>
                        <a:pt x="428" y="629"/>
                      </a:lnTo>
                      <a:lnTo>
                        <a:pt x="428" y="633"/>
                      </a:lnTo>
                      <a:lnTo>
                        <a:pt x="430" y="638"/>
                      </a:lnTo>
                      <a:lnTo>
                        <a:pt x="433" y="643"/>
                      </a:lnTo>
                      <a:lnTo>
                        <a:pt x="434" y="645"/>
                      </a:lnTo>
                      <a:lnTo>
                        <a:pt x="435" y="649"/>
                      </a:lnTo>
                      <a:lnTo>
                        <a:pt x="435" y="652"/>
                      </a:lnTo>
                      <a:lnTo>
                        <a:pt x="435" y="657"/>
                      </a:lnTo>
                      <a:lnTo>
                        <a:pt x="431" y="664"/>
                      </a:lnTo>
                      <a:lnTo>
                        <a:pt x="428" y="672"/>
                      </a:lnTo>
                      <a:lnTo>
                        <a:pt x="425" y="676"/>
                      </a:lnTo>
                      <a:lnTo>
                        <a:pt x="422" y="678"/>
                      </a:lnTo>
                      <a:lnTo>
                        <a:pt x="420" y="684"/>
                      </a:lnTo>
                      <a:lnTo>
                        <a:pt x="417" y="689"/>
                      </a:lnTo>
                      <a:lnTo>
                        <a:pt x="412" y="693"/>
                      </a:lnTo>
                      <a:lnTo>
                        <a:pt x="409" y="697"/>
                      </a:lnTo>
                      <a:lnTo>
                        <a:pt x="409" y="698"/>
                      </a:lnTo>
                      <a:lnTo>
                        <a:pt x="409" y="700"/>
                      </a:lnTo>
                      <a:lnTo>
                        <a:pt x="409" y="702"/>
                      </a:lnTo>
                      <a:lnTo>
                        <a:pt x="409" y="703"/>
                      </a:lnTo>
                      <a:lnTo>
                        <a:pt x="405" y="707"/>
                      </a:lnTo>
                      <a:lnTo>
                        <a:pt x="405" y="708"/>
                      </a:lnTo>
                      <a:lnTo>
                        <a:pt x="405" y="710"/>
                      </a:lnTo>
                      <a:lnTo>
                        <a:pt x="403" y="714"/>
                      </a:lnTo>
                      <a:lnTo>
                        <a:pt x="402" y="717"/>
                      </a:lnTo>
                      <a:lnTo>
                        <a:pt x="400" y="721"/>
                      </a:lnTo>
                      <a:lnTo>
                        <a:pt x="396" y="728"/>
                      </a:lnTo>
                      <a:lnTo>
                        <a:pt x="392" y="735"/>
                      </a:lnTo>
                      <a:lnTo>
                        <a:pt x="389" y="739"/>
                      </a:lnTo>
                      <a:lnTo>
                        <a:pt x="387" y="741"/>
                      </a:lnTo>
                      <a:lnTo>
                        <a:pt x="384" y="742"/>
                      </a:lnTo>
                      <a:lnTo>
                        <a:pt x="381" y="742"/>
                      </a:lnTo>
                      <a:lnTo>
                        <a:pt x="379" y="742"/>
                      </a:lnTo>
                      <a:lnTo>
                        <a:pt x="381" y="741"/>
                      </a:lnTo>
                      <a:lnTo>
                        <a:pt x="382" y="738"/>
                      </a:lnTo>
                      <a:lnTo>
                        <a:pt x="386" y="734"/>
                      </a:lnTo>
                      <a:lnTo>
                        <a:pt x="388" y="730"/>
                      </a:lnTo>
                      <a:lnTo>
                        <a:pt x="392" y="722"/>
                      </a:lnTo>
                      <a:lnTo>
                        <a:pt x="396" y="713"/>
                      </a:lnTo>
                      <a:lnTo>
                        <a:pt x="396" y="710"/>
                      </a:lnTo>
                      <a:lnTo>
                        <a:pt x="396" y="708"/>
                      </a:lnTo>
                      <a:lnTo>
                        <a:pt x="397" y="704"/>
                      </a:lnTo>
                      <a:lnTo>
                        <a:pt x="397" y="698"/>
                      </a:lnTo>
                      <a:lnTo>
                        <a:pt x="396" y="693"/>
                      </a:lnTo>
                      <a:lnTo>
                        <a:pt x="395" y="693"/>
                      </a:lnTo>
                      <a:lnTo>
                        <a:pt x="393" y="694"/>
                      </a:lnTo>
                      <a:lnTo>
                        <a:pt x="392" y="698"/>
                      </a:lnTo>
                      <a:lnTo>
                        <a:pt x="391" y="702"/>
                      </a:lnTo>
                      <a:lnTo>
                        <a:pt x="387" y="712"/>
                      </a:lnTo>
                      <a:lnTo>
                        <a:pt x="383" y="721"/>
                      </a:lnTo>
                      <a:lnTo>
                        <a:pt x="378" y="730"/>
                      </a:lnTo>
                      <a:lnTo>
                        <a:pt x="374" y="740"/>
                      </a:lnTo>
                      <a:lnTo>
                        <a:pt x="373" y="742"/>
                      </a:lnTo>
                      <a:lnTo>
                        <a:pt x="370" y="746"/>
                      </a:lnTo>
                      <a:lnTo>
                        <a:pt x="369" y="757"/>
                      </a:lnTo>
                      <a:lnTo>
                        <a:pt x="368" y="767"/>
                      </a:lnTo>
                      <a:lnTo>
                        <a:pt x="365" y="773"/>
                      </a:lnTo>
                      <a:lnTo>
                        <a:pt x="363" y="778"/>
                      </a:lnTo>
                      <a:lnTo>
                        <a:pt x="356" y="771"/>
                      </a:lnTo>
                      <a:lnTo>
                        <a:pt x="354" y="765"/>
                      </a:lnTo>
                      <a:lnTo>
                        <a:pt x="350" y="751"/>
                      </a:lnTo>
                      <a:lnTo>
                        <a:pt x="344" y="745"/>
                      </a:lnTo>
                      <a:lnTo>
                        <a:pt x="337" y="740"/>
                      </a:lnTo>
                      <a:lnTo>
                        <a:pt x="322" y="733"/>
                      </a:lnTo>
                      <a:lnTo>
                        <a:pt x="312" y="727"/>
                      </a:lnTo>
                      <a:lnTo>
                        <a:pt x="304" y="720"/>
                      </a:lnTo>
                      <a:lnTo>
                        <a:pt x="295" y="710"/>
                      </a:lnTo>
                      <a:lnTo>
                        <a:pt x="294" y="709"/>
                      </a:lnTo>
                      <a:lnTo>
                        <a:pt x="290" y="709"/>
                      </a:lnTo>
                      <a:lnTo>
                        <a:pt x="285" y="709"/>
                      </a:lnTo>
                      <a:lnTo>
                        <a:pt x="284" y="708"/>
                      </a:lnTo>
                      <a:lnTo>
                        <a:pt x="282" y="707"/>
                      </a:lnTo>
                      <a:lnTo>
                        <a:pt x="284" y="703"/>
                      </a:lnTo>
                      <a:lnTo>
                        <a:pt x="287" y="700"/>
                      </a:lnTo>
                      <a:lnTo>
                        <a:pt x="290" y="695"/>
                      </a:lnTo>
                      <a:lnTo>
                        <a:pt x="293" y="690"/>
                      </a:lnTo>
                      <a:lnTo>
                        <a:pt x="298" y="680"/>
                      </a:lnTo>
                      <a:lnTo>
                        <a:pt x="299" y="678"/>
                      </a:lnTo>
                      <a:lnTo>
                        <a:pt x="301" y="677"/>
                      </a:lnTo>
                      <a:lnTo>
                        <a:pt x="307" y="676"/>
                      </a:lnTo>
                      <a:lnTo>
                        <a:pt x="312" y="672"/>
                      </a:lnTo>
                      <a:lnTo>
                        <a:pt x="329" y="657"/>
                      </a:lnTo>
                      <a:lnTo>
                        <a:pt x="336" y="649"/>
                      </a:lnTo>
                      <a:lnTo>
                        <a:pt x="346" y="643"/>
                      </a:lnTo>
                      <a:lnTo>
                        <a:pt x="348" y="642"/>
                      </a:lnTo>
                      <a:lnTo>
                        <a:pt x="348" y="640"/>
                      </a:lnTo>
                      <a:lnTo>
                        <a:pt x="349" y="637"/>
                      </a:lnTo>
                      <a:lnTo>
                        <a:pt x="348" y="631"/>
                      </a:lnTo>
                      <a:lnTo>
                        <a:pt x="348" y="625"/>
                      </a:lnTo>
                      <a:lnTo>
                        <a:pt x="346" y="619"/>
                      </a:lnTo>
                      <a:lnTo>
                        <a:pt x="348" y="613"/>
                      </a:lnTo>
                      <a:lnTo>
                        <a:pt x="342" y="613"/>
                      </a:lnTo>
                      <a:lnTo>
                        <a:pt x="339" y="613"/>
                      </a:lnTo>
                      <a:lnTo>
                        <a:pt x="330" y="612"/>
                      </a:lnTo>
                      <a:lnTo>
                        <a:pt x="331" y="602"/>
                      </a:lnTo>
                      <a:lnTo>
                        <a:pt x="334" y="592"/>
                      </a:lnTo>
                      <a:lnTo>
                        <a:pt x="337" y="582"/>
                      </a:lnTo>
                      <a:lnTo>
                        <a:pt x="340" y="572"/>
                      </a:lnTo>
                      <a:lnTo>
                        <a:pt x="336" y="574"/>
                      </a:lnTo>
                      <a:lnTo>
                        <a:pt x="330" y="575"/>
                      </a:lnTo>
                      <a:lnTo>
                        <a:pt x="326" y="576"/>
                      </a:lnTo>
                      <a:lnTo>
                        <a:pt x="323" y="575"/>
                      </a:lnTo>
                      <a:lnTo>
                        <a:pt x="321" y="574"/>
                      </a:lnTo>
                      <a:lnTo>
                        <a:pt x="320" y="570"/>
                      </a:lnTo>
                      <a:lnTo>
                        <a:pt x="321" y="556"/>
                      </a:lnTo>
                      <a:lnTo>
                        <a:pt x="320" y="549"/>
                      </a:lnTo>
                      <a:lnTo>
                        <a:pt x="317" y="546"/>
                      </a:lnTo>
                      <a:lnTo>
                        <a:pt x="315" y="543"/>
                      </a:lnTo>
                      <a:lnTo>
                        <a:pt x="309" y="541"/>
                      </a:lnTo>
                      <a:lnTo>
                        <a:pt x="303" y="538"/>
                      </a:lnTo>
                      <a:lnTo>
                        <a:pt x="292" y="536"/>
                      </a:lnTo>
                      <a:lnTo>
                        <a:pt x="280" y="534"/>
                      </a:lnTo>
                      <a:lnTo>
                        <a:pt x="278" y="532"/>
                      </a:lnTo>
                      <a:lnTo>
                        <a:pt x="276" y="531"/>
                      </a:lnTo>
                      <a:lnTo>
                        <a:pt x="276" y="524"/>
                      </a:lnTo>
                      <a:lnTo>
                        <a:pt x="276" y="514"/>
                      </a:lnTo>
                      <a:lnTo>
                        <a:pt x="276" y="509"/>
                      </a:lnTo>
                      <a:lnTo>
                        <a:pt x="275" y="503"/>
                      </a:lnTo>
                      <a:lnTo>
                        <a:pt x="273" y="498"/>
                      </a:lnTo>
                      <a:lnTo>
                        <a:pt x="269" y="493"/>
                      </a:lnTo>
                      <a:lnTo>
                        <a:pt x="270" y="487"/>
                      </a:lnTo>
                      <a:lnTo>
                        <a:pt x="271" y="482"/>
                      </a:lnTo>
                      <a:lnTo>
                        <a:pt x="274" y="476"/>
                      </a:lnTo>
                      <a:lnTo>
                        <a:pt x="275" y="471"/>
                      </a:lnTo>
                      <a:lnTo>
                        <a:pt x="276" y="465"/>
                      </a:lnTo>
                      <a:lnTo>
                        <a:pt x="276" y="459"/>
                      </a:lnTo>
                      <a:lnTo>
                        <a:pt x="275" y="454"/>
                      </a:lnTo>
                      <a:lnTo>
                        <a:pt x="273" y="448"/>
                      </a:lnTo>
                      <a:lnTo>
                        <a:pt x="269" y="444"/>
                      </a:lnTo>
                      <a:lnTo>
                        <a:pt x="264" y="440"/>
                      </a:lnTo>
                      <a:lnTo>
                        <a:pt x="262" y="439"/>
                      </a:lnTo>
                      <a:lnTo>
                        <a:pt x="264" y="436"/>
                      </a:lnTo>
                      <a:lnTo>
                        <a:pt x="266" y="433"/>
                      </a:lnTo>
                      <a:lnTo>
                        <a:pt x="266" y="428"/>
                      </a:lnTo>
                      <a:lnTo>
                        <a:pt x="264" y="426"/>
                      </a:lnTo>
                      <a:lnTo>
                        <a:pt x="261" y="423"/>
                      </a:lnTo>
                      <a:lnTo>
                        <a:pt x="257" y="422"/>
                      </a:lnTo>
                      <a:lnTo>
                        <a:pt x="249" y="421"/>
                      </a:lnTo>
                      <a:lnTo>
                        <a:pt x="240" y="420"/>
                      </a:lnTo>
                      <a:lnTo>
                        <a:pt x="237" y="417"/>
                      </a:lnTo>
                      <a:lnTo>
                        <a:pt x="236" y="416"/>
                      </a:lnTo>
                      <a:lnTo>
                        <a:pt x="233" y="410"/>
                      </a:lnTo>
                      <a:lnTo>
                        <a:pt x="232" y="404"/>
                      </a:lnTo>
                      <a:lnTo>
                        <a:pt x="233" y="399"/>
                      </a:lnTo>
                      <a:lnTo>
                        <a:pt x="235" y="391"/>
                      </a:lnTo>
                      <a:lnTo>
                        <a:pt x="233" y="385"/>
                      </a:lnTo>
                      <a:lnTo>
                        <a:pt x="229" y="378"/>
                      </a:lnTo>
                      <a:lnTo>
                        <a:pt x="227" y="372"/>
                      </a:lnTo>
                      <a:lnTo>
                        <a:pt x="219" y="370"/>
                      </a:lnTo>
                      <a:lnTo>
                        <a:pt x="212" y="369"/>
                      </a:lnTo>
                      <a:lnTo>
                        <a:pt x="204" y="367"/>
                      </a:lnTo>
                      <a:lnTo>
                        <a:pt x="198" y="362"/>
                      </a:lnTo>
                      <a:lnTo>
                        <a:pt x="189" y="353"/>
                      </a:lnTo>
                      <a:lnTo>
                        <a:pt x="184" y="349"/>
                      </a:lnTo>
                      <a:lnTo>
                        <a:pt x="179" y="345"/>
                      </a:lnTo>
                      <a:lnTo>
                        <a:pt x="161" y="339"/>
                      </a:lnTo>
                      <a:lnTo>
                        <a:pt x="156" y="337"/>
                      </a:lnTo>
                      <a:lnTo>
                        <a:pt x="152" y="335"/>
                      </a:lnTo>
                      <a:lnTo>
                        <a:pt x="149" y="331"/>
                      </a:lnTo>
                      <a:lnTo>
                        <a:pt x="147" y="327"/>
                      </a:lnTo>
                      <a:lnTo>
                        <a:pt x="147" y="321"/>
                      </a:lnTo>
                      <a:lnTo>
                        <a:pt x="146" y="313"/>
                      </a:lnTo>
                      <a:lnTo>
                        <a:pt x="146" y="312"/>
                      </a:lnTo>
                      <a:lnTo>
                        <a:pt x="143" y="311"/>
                      </a:lnTo>
                      <a:lnTo>
                        <a:pt x="141" y="312"/>
                      </a:lnTo>
                      <a:lnTo>
                        <a:pt x="138" y="312"/>
                      </a:lnTo>
                      <a:lnTo>
                        <a:pt x="124" y="314"/>
                      </a:lnTo>
                      <a:lnTo>
                        <a:pt x="119" y="316"/>
                      </a:lnTo>
                      <a:lnTo>
                        <a:pt x="114" y="320"/>
                      </a:lnTo>
                      <a:lnTo>
                        <a:pt x="110" y="324"/>
                      </a:lnTo>
                      <a:lnTo>
                        <a:pt x="99" y="333"/>
                      </a:lnTo>
                      <a:lnTo>
                        <a:pt x="86" y="344"/>
                      </a:lnTo>
                      <a:lnTo>
                        <a:pt x="86" y="338"/>
                      </a:lnTo>
                      <a:lnTo>
                        <a:pt x="85" y="333"/>
                      </a:lnTo>
                      <a:lnTo>
                        <a:pt x="81" y="329"/>
                      </a:lnTo>
                      <a:lnTo>
                        <a:pt x="77" y="325"/>
                      </a:lnTo>
                      <a:lnTo>
                        <a:pt x="68" y="319"/>
                      </a:lnTo>
                      <a:lnTo>
                        <a:pt x="59" y="312"/>
                      </a:lnTo>
                      <a:lnTo>
                        <a:pt x="58" y="310"/>
                      </a:lnTo>
                      <a:lnTo>
                        <a:pt x="57" y="306"/>
                      </a:lnTo>
                      <a:lnTo>
                        <a:pt x="57" y="301"/>
                      </a:lnTo>
                      <a:lnTo>
                        <a:pt x="59" y="297"/>
                      </a:lnTo>
                      <a:lnTo>
                        <a:pt x="59" y="293"/>
                      </a:lnTo>
                      <a:lnTo>
                        <a:pt x="59" y="291"/>
                      </a:lnTo>
                      <a:lnTo>
                        <a:pt x="57" y="289"/>
                      </a:lnTo>
                      <a:lnTo>
                        <a:pt x="55" y="288"/>
                      </a:lnTo>
                      <a:lnTo>
                        <a:pt x="54" y="288"/>
                      </a:lnTo>
                      <a:lnTo>
                        <a:pt x="50" y="289"/>
                      </a:lnTo>
                      <a:lnTo>
                        <a:pt x="43" y="295"/>
                      </a:lnTo>
                      <a:lnTo>
                        <a:pt x="40" y="295"/>
                      </a:lnTo>
                      <a:lnTo>
                        <a:pt x="39" y="294"/>
                      </a:lnTo>
                      <a:lnTo>
                        <a:pt x="35" y="291"/>
                      </a:lnTo>
                      <a:lnTo>
                        <a:pt x="31" y="287"/>
                      </a:lnTo>
                      <a:lnTo>
                        <a:pt x="28" y="285"/>
                      </a:lnTo>
                      <a:lnTo>
                        <a:pt x="25" y="285"/>
                      </a:lnTo>
                      <a:lnTo>
                        <a:pt x="22" y="286"/>
                      </a:lnTo>
                      <a:lnTo>
                        <a:pt x="21" y="285"/>
                      </a:lnTo>
                      <a:lnTo>
                        <a:pt x="20" y="284"/>
                      </a:lnTo>
                      <a:lnTo>
                        <a:pt x="16" y="279"/>
                      </a:lnTo>
                      <a:lnTo>
                        <a:pt x="11" y="273"/>
                      </a:lnTo>
                      <a:lnTo>
                        <a:pt x="10" y="270"/>
                      </a:lnTo>
                      <a:lnTo>
                        <a:pt x="7" y="268"/>
                      </a:lnTo>
                      <a:lnTo>
                        <a:pt x="5" y="267"/>
                      </a:lnTo>
                      <a:lnTo>
                        <a:pt x="2" y="267"/>
                      </a:lnTo>
                      <a:lnTo>
                        <a:pt x="0" y="262"/>
                      </a:lnTo>
                      <a:lnTo>
                        <a:pt x="0" y="257"/>
                      </a:lnTo>
                      <a:lnTo>
                        <a:pt x="1" y="252"/>
                      </a:lnTo>
                      <a:lnTo>
                        <a:pt x="2" y="247"/>
                      </a:lnTo>
                      <a:lnTo>
                        <a:pt x="7" y="235"/>
                      </a:lnTo>
                      <a:lnTo>
                        <a:pt x="12" y="224"/>
                      </a:lnTo>
                      <a:lnTo>
                        <a:pt x="12" y="221"/>
                      </a:lnTo>
                      <a:lnTo>
                        <a:pt x="12" y="217"/>
                      </a:lnTo>
                      <a:lnTo>
                        <a:pt x="15" y="212"/>
                      </a:lnTo>
                      <a:lnTo>
                        <a:pt x="19" y="208"/>
                      </a:lnTo>
                      <a:lnTo>
                        <a:pt x="26" y="199"/>
                      </a:lnTo>
                      <a:lnTo>
                        <a:pt x="36" y="192"/>
                      </a:lnTo>
                      <a:lnTo>
                        <a:pt x="47" y="189"/>
                      </a:lnTo>
                      <a:lnTo>
                        <a:pt x="54" y="187"/>
                      </a:lnTo>
                      <a:lnTo>
                        <a:pt x="63" y="187"/>
                      </a:lnTo>
                      <a:lnTo>
                        <a:pt x="67" y="186"/>
                      </a:lnTo>
                      <a:lnTo>
                        <a:pt x="71" y="185"/>
                      </a:lnTo>
                      <a:lnTo>
                        <a:pt x="73" y="184"/>
                      </a:lnTo>
                      <a:lnTo>
                        <a:pt x="76" y="180"/>
                      </a:lnTo>
                      <a:lnTo>
                        <a:pt x="76" y="179"/>
                      </a:lnTo>
                      <a:lnTo>
                        <a:pt x="75" y="179"/>
                      </a:lnTo>
                      <a:lnTo>
                        <a:pt x="72" y="179"/>
                      </a:lnTo>
                      <a:lnTo>
                        <a:pt x="68" y="179"/>
                      </a:lnTo>
                      <a:lnTo>
                        <a:pt x="64" y="179"/>
                      </a:lnTo>
                      <a:lnTo>
                        <a:pt x="66" y="177"/>
                      </a:lnTo>
                      <a:lnTo>
                        <a:pt x="67" y="173"/>
                      </a:lnTo>
                      <a:lnTo>
                        <a:pt x="69" y="165"/>
                      </a:lnTo>
                      <a:lnTo>
                        <a:pt x="77" y="153"/>
                      </a:lnTo>
                      <a:lnTo>
                        <a:pt x="82" y="140"/>
                      </a:lnTo>
                      <a:lnTo>
                        <a:pt x="85" y="133"/>
                      </a:lnTo>
                      <a:lnTo>
                        <a:pt x="83" y="127"/>
                      </a:lnTo>
                      <a:lnTo>
                        <a:pt x="81" y="121"/>
                      </a:lnTo>
                      <a:lnTo>
                        <a:pt x="80" y="119"/>
                      </a:lnTo>
                      <a:lnTo>
                        <a:pt x="76" y="116"/>
                      </a:lnTo>
                      <a:lnTo>
                        <a:pt x="75" y="115"/>
                      </a:lnTo>
                      <a:lnTo>
                        <a:pt x="75" y="112"/>
                      </a:lnTo>
                      <a:lnTo>
                        <a:pt x="76" y="103"/>
                      </a:lnTo>
                      <a:lnTo>
                        <a:pt x="76" y="101"/>
                      </a:lnTo>
                      <a:lnTo>
                        <a:pt x="78" y="101"/>
                      </a:lnTo>
                      <a:lnTo>
                        <a:pt x="89" y="101"/>
                      </a:lnTo>
                      <a:lnTo>
                        <a:pt x="96" y="99"/>
                      </a:lnTo>
                      <a:lnTo>
                        <a:pt x="100" y="97"/>
                      </a:lnTo>
                      <a:lnTo>
                        <a:pt x="100" y="95"/>
                      </a:lnTo>
                      <a:lnTo>
                        <a:pt x="100" y="94"/>
                      </a:lnTo>
                      <a:lnTo>
                        <a:pt x="99" y="94"/>
                      </a:lnTo>
                      <a:lnTo>
                        <a:pt x="96" y="94"/>
                      </a:lnTo>
                      <a:lnTo>
                        <a:pt x="94" y="90"/>
                      </a:lnTo>
                      <a:lnTo>
                        <a:pt x="91" y="88"/>
                      </a:lnTo>
                      <a:lnTo>
                        <a:pt x="87" y="87"/>
                      </a:lnTo>
                      <a:lnTo>
                        <a:pt x="82" y="87"/>
                      </a:lnTo>
                      <a:lnTo>
                        <a:pt x="80" y="86"/>
                      </a:lnTo>
                      <a:lnTo>
                        <a:pt x="80" y="83"/>
                      </a:lnTo>
                      <a:lnTo>
                        <a:pt x="80" y="81"/>
                      </a:lnTo>
                      <a:lnTo>
                        <a:pt x="82" y="78"/>
                      </a:lnTo>
                      <a:lnTo>
                        <a:pt x="86" y="76"/>
                      </a:lnTo>
                      <a:lnTo>
                        <a:pt x="91" y="75"/>
                      </a:lnTo>
                      <a:lnTo>
                        <a:pt x="100" y="74"/>
                      </a:lnTo>
                      <a:lnTo>
                        <a:pt x="104" y="72"/>
                      </a:lnTo>
                      <a:lnTo>
                        <a:pt x="108" y="70"/>
                      </a:lnTo>
                      <a:lnTo>
                        <a:pt x="110" y="67"/>
                      </a:lnTo>
                      <a:lnTo>
                        <a:pt x="111" y="63"/>
                      </a:lnTo>
                      <a:lnTo>
                        <a:pt x="113" y="61"/>
                      </a:lnTo>
                      <a:lnTo>
                        <a:pt x="115" y="59"/>
                      </a:lnTo>
                      <a:lnTo>
                        <a:pt x="118" y="64"/>
                      </a:lnTo>
                      <a:lnTo>
                        <a:pt x="118" y="69"/>
                      </a:lnTo>
                      <a:lnTo>
                        <a:pt x="119" y="72"/>
                      </a:lnTo>
                      <a:lnTo>
                        <a:pt x="120" y="75"/>
                      </a:lnTo>
                      <a:lnTo>
                        <a:pt x="123" y="75"/>
                      </a:lnTo>
                      <a:lnTo>
                        <a:pt x="125" y="75"/>
                      </a:lnTo>
                      <a:lnTo>
                        <a:pt x="127" y="77"/>
                      </a:lnTo>
                      <a:lnTo>
                        <a:pt x="128" y="80"/>
                      </a:lnTo>
                      <a:lnTo>
                        <a:pt x="130" y="84"/>
                      </a:lnTo>
                      <a:lnTo>
                        <a:pt x="134" y="87"/>
                      </a:lnTo>
                      <a:lnTo>
                        <a:pt x="135" y="88"/>
                      </a:lnTo>
                      <a:lnTo>
                        <a:pt x="138" y="88"/>
                      </a:lnTo>
                      <a:lnTo>
                        <a:pt x="144" y="86"/>
                      </a:lnTo>
                      <a:lnTo>
                        <a:pt x="149" y="83"/>
                      </a:lnTo>
                      <a:lnTo>
                        <a:pt x="156" y="81"/>
                      </a:lnTo>
                      <a:lnTo>
                        <a:pt x="162" y="80"/>
                      </a:lnTo>
                      <a:lnTo>
                        <a:pt x="165" y="78"/>
                      </a:lnTo>
                      <a:lnTo>
                        <a:pt x="165" y="77"/>
                      </a:lnTo>
                      <a:lnTo>
                        <a:pt x="165" y="72"/>
                      </a:lnTo>
                      <a:lnTo>
                        <a:pt x="167" y="68"/>
                      </a:lnTo>
                      <a:lnTo>
                        <a:pt x="171" y="64"/>
                      </a:lnTo>
                      <a:lnTo>
                        <a:pt x="175" y="62"/>
                      </a:lnTo>
                      <a:lnTo>
                        <a:pt x="180" y="59"/>
                      </a:lnTo>
                      <a:lnTo>
                        <a:pt x="181" y="58"/>
                      </a:lnTo>
                      <a:lnTo>
                        <a:pt x="182" y="56"/>
                      </a:lnTo>
                      <a:lnTo>
                        <a:pt x="181" y="55"/>
                      </a:lnTo>
                      <a:lnTo>
                        <a:pt x="180" y="55"/>
                      </a:lnTo>
                      <a:lnTo>
                        <a:pt x="176" y="55"/>
                      </a:lnTo>
                      <a:lnTo>
                        <a:pt x="171" y="55"/>
                      </a:lnTo>
                      <a:lnTo>
                        <a:pt x="167" y="52"/>
                      </a:lnTo>
                      <a:lnTo>
                        <a:pt x="166" y="49"/>
                      </a:lnTo>
                      <a:lnTo>
                        <a:pt x="165" y="42"/>
                      </a:lnTo>
                      <a:lnTo>
                        <a:pt x="162" y="35"/>
                      </a:lnTo>
                      <a:lnTo>
                        <a:pt x="158" y="29"/>
                      </a:lnTo>
                      <a:lnTo>
                        <a:pt x="153" y="23"/>
                      </a:lnTo>
                      <a:lnTo>
                        <a:pt x="153" y="22"/>
                      </a:lnTo>
                      <a:lnTo>
                        <a:pt x="153" y="19"/>
                      </a:lnTo>
                      <a:lnTo>
                        <a:pt x="156" y="18"/>
                      </a:lnTo>
                      <a:lnTo>
                        <a:pt x="162" y="20"/>
                      </a:lnTo>
                      <a:lnTo>
                        <a:pt x="169" y="23"/>
                      </a:lnTo>
                      <a:lnTo>
                        <a:pt x="184" y="26"/>
                      </a:lnTo>
                      <a:lnTo>
                        <a:pt x="186" y="27"/>
                      </a:lnTo>
                      <a:lnTo>
                        <a:pt x="188" y="30"/>
                      </a:lnTo>
                      <a:lnTo>
                        <a:pt x="189" y="29"/>
                      </a:lnTo>
                      <a:lnTo>
                        <a:pt x="193" y="26"/>
                      </a:lnTo>
                      <a:lnTo>
                        <a:pt x="196" y="24"/>
                      </a:lnTo>
                      <a:lnTo>
                        <a:pt x="204" y="22"/>
                      </a:lnTo>
                      <a:lnTo>
                        <a:pt x="209" y="19"/>
                      </a:lnTo>
                      <a:lnTo>
                        <a:pt x="214" y="16"/>
                      </a:lnTo>
                      <a:lnTo>
                        <a:pt x="221" y="13"/>
                      </a:lnTo>
                      <a:lnTo>
                        <a:pt x="227" y="11"/>
                      </a:lnTo>
                      <a:lnTo>
                        <a:pt x="228" y="10"/>
                      </a:lnTo>
                      <a:lnTo>
                        <a:pt x="229" y="6"/>
                      </a:lnTo>
                      <a:lnTo>
                        <a:pt x="229" y="3"/>
                      </a:lnTo>
                      <a:lnTo>
                        <a:pt x="229" y="0"/>
                      </a:lnTo>
                      <a:lnTo>
                        <a:pt x="235" y="0"/>
                      </a:lnTo>
                      <a:lnTo>
                        <a:pt x="238" y="0"/>
                      </a:lnTo>
                      <a:lnTo>
                        <a:pt x="240" y="3"/>
                      </a:lnTo>
                      <a:lnTo>
                        <a:pt x="240" y="5"/>
                      </a:lnTo>
                      <a:lnTo>
                        <a:pt x="241" y="10"/>
                      </a:lnTo>
                      <a:lnTo>
                        <a:pt x="242" y="12"/>
                      </a:lnTo>
                      <a:lnTo>
                        <a:pt x="245" y="14"/>
                      </a:lnTo>
                      <a:lnTo>
                        <a:pt x="250" y="18"/>
                      </a:lnTo>
                      <a:lnTo>
                        <a:pt x="252" y="20"/>
                      </a:lnTo>
                      <a:lnTo>
                        <a:pt x="254" y="23"/>
                      </a:lnTo>
                      <a:lnTo>
                        <a:pt x="254" y="26"/>
                      </a:lnTo>
                      <a:lnTo>
                        <a:pt x="252" y="29"/>
                      </a:lnTo>
                      <a:lnTo>
                        <a:pt x="251" y="31"/>
                      </a:lnTo>
                      <a:lnTo>
                        <a:pt x="249" y="32"/>
                      </a:lnTo>
                      <a:lnTo>
                        <a:pt x="246" y="36"/>
                      </a:lnTo>
                      <a:lnTo>
                        <a:pt x="243" y="39"/>
                      </a:lnTo>
                      <a:lnTo>
                        <a:pt x="243" y="45"/>
                      </a:lnTo>
                      <a:lnTo>
                        <a:pt x="243" y="52"/>
                      </a:lnTo>
                      <a:lnTo>
                        <a:pt x="245" y="58"/>
                      </a:lnTo>
                      <a:lnTo>
                        <a:pt x="247" y="65"/>
                      </a:lnTo>
                      <a:lnTo>
                        <a:pt x="250" y="71"/>
                      </a:lnTo>
                      <a:lnTo>
                        <a:pt x="254" y="77"/>
                      </a:lnTo>
                      <a:lnTo>
                        <a:pt x="257" y="81"/>
                      </a:lnTo>
                      <a:lnTo>
                        <a:pt x="260" y="81"/>
                      </a:lnTo>
                      <a:lnTo>
                        <a:pt x="262" y="78"/>
                      </a:lnTo>
                      <a:lnTo>
                        <a:pt x="268" y="75"/>
                      </a:lnTo>
                      <a:lnTo>
                        <a:pt x="273" y="72"/>
                      </a:lnTo>
                      <a:lnTo>
                        <a:pt x="276" y="72"/>
                      </a:lnTo>
                      <a:lnTo>
                        <a:pt x="280" y="71"/>
                      </a:lnTo>
                      <a:lnTo>
                        <a:pt x="284" y="69"/>
                      </a:lnTo>
                      <a:lnTo>
                        <a:pt x="288" y="68"/>
                      </a:lnTo>
                      <a:lnTo>
                        <a:pt x="292" y="65"/>
                      </a:lnTo>
                      <a:lnTo>
                        <a:pt x="301" y="68"/>
                      </a:lnTo>
                      <a:lnTo>
                        <a:pt x="304" y="67"/>
                      </a:lnTo>
                      <a:lnTo>
                        <a:pt x="306" y="67"/>
                      </a:lnTo>
                      <a:lnTo>
                        <a:pt x="307" y="64"/>
                      </a:lnTo>
                      <a:lnTo>
                        <a:pt x="308" y="59"/>
                      </a:lnTo>
                      <a:lnTo>
                        <a:pt x="308" y="56"/>
                      </a:lnTo>
                      <a:lnTo>
                        <a:pt x="311" y="55"/>
                      </a:lnTo>
                      <a:lnTo>
                        <a:pt x="315" y="52"/>
                      </a:lnTo>
                      <a:lnTo>
                        <a:pt x="320" y="52"/>
                      </a:lnTo>
                      <a:lnTo>
                        <a:pt x="323" y="54"/>
                      </a:lnTo>
                      <a:lnTo>
                        <a:pt x="329" y="56"/>
                      </a:lnTo>
                      <a:lnTo>
                        <a:pt x="334" y="57"/>
                      </a:lnTo>
                      <a:lnTo>
                        <a:pt x="339" y="58"/>
                      </a:lnTo>
                      <a:lnTo>
                        <a:pt x="341" y="59"/>
                      </a:lnTo>
                      <a:lnTo>
                        <a:pt x="342" y="62"/>
                      </a:lnTo>
                      <a:lnTo>
                        <a:pt x="344" y="64"/>
                      </a:lnTo>
                      <a:lnTo>
                        <a:pt x="346" y="67"/>
                      </a:lnTo>
                      <a:lnTo>
                        <a:pt x="349" y="67"/>
                      </a:lnTo>
                      <a:lnTo>
                        <a:pt x="350" y="67"/>
                      </a:lnTo>
                      <a:lnTo>
                        <a:pt x="353" y="63"/>
                      </a:lnTo>
                      <a:lnTo>
                        <a:pt x="356" y="62"/>
                      </a:lnTo>
                      <a:lnTo>
                        <a:pt x="362" y="59"/>
                      </a:lnTo>
                      <a:lnTo>
                        <a:pt x="369" y="59"/>
                      </a:lnTo>
                      <a:lnTo>
                        <a:pt x="374" y="57"/>
                      </a:lnTo>
                      <a:lnTo>
                        <a:pt x="377" y="55"/>
                      </a:lnTo>
                      <a:lnTo>
                        <a:pt x="378" y="51"/>
                      </a:lnTo>
                      <a:lnTo>
                        <a:pt x="379" y="48"/>
                      </a:lnTo>
                      <a:lnTo>
                        <a:pt x="381" y="43"/>
                      </a:lnTo>
                      <a:lnTo>
                        <a:pt x="382" y="37"/>
                      </a:lnTo>
                      <a:lnTo>
                        <a:pt x="383" y="31"/>
                      </a:lnTo>
                      <a:lnTo>
                        <a:pt x="384" y="25"/>
                      </a:lnTo>
                      <a:lnTo>
                        <a:pt x="386" y="19"/>
                      </a:lnTo>
                      <a:lnTo>
                        <a:pt x="387" y="14"/>
                      </a:lnTo>
                      <a:lnTo>
                        <a:pt x="387" y="13"/>
                      </a:lnTo>
                      <a:lnTo>
                        <a:pt x="388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870">
                  <a:extLst>
                    <a:ext uri="{FF2B5EF4-FFF2-40B4-BE49-F238E27FC236}">
                      <a16:creationId xmlns:a16="http://schemas.microsoft.com/office/drawing/2014/main" id="{A0025592-1546-944F-8097-53BBA22F7C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3246" y="4615405"/>
                  <a:ext cx="287095" cy="541633"/>
                </a:xfrm>
                <a:custGeom>
                  <a:avLst/>
                  <a:gdLst>
                    <a:gd name="T0" fmla="*/ 2147483647 w 210"/>
                    <a:gd name="T1" fmla="*/ 2147483647 h 366"/>
                    <a:gd name="T2" fmla="*/ 2147483647 w 210"/>
                    <a:gd name="T3" fmla="*/ 2147483647 h 366"/>
                    <a:gd name="T4" fmla="*/ 2147483647 w 210"/>
                    <a:gd name="T5" fmla="*/ 2147483647 h 366"/>
                    <a:gd name="T6" fmla="*/ 2147483647 w 210"/>
                    <a:gd name="T7" fmla="*/ 2147483647 h 366"/>
                    <a:gd name="T8" fmla="*/ 2147483647 w 210"/>
                    <a:gd name="T9" fmla="*/ 2147483647 h 366"/>
                    <a:gd name="T10" fmla="*/ 2147483647 w 210"/>
                    <a:gd name="T11" fmla="*/ 2147483647 h 366"/>
                    <a:gd name="T12" fmla="*/ 2147483647 w 210"/>
                    <a:gd name="T13" fmla="*/ 2147483647 h 366"/>
                    <a:gd name="T14" fmla="*/ 2147483647 w 210"/>
                    <a:gd name="T15" fmla="*/ 2147483647 h 366"/>
                    <a:gd name="T16" fmla="*/ 2147483647 w 210"/>
                    <a:gd name="T17" fmla="*/ 2147483647 h 366"/>
                    <a:gd name="T18" fmla="*/ 2147483647 w 210"/>
                    <a:gd name="T19" fmla="*/ 2147483647 h 366"/>
                    <a:gd name="T20" fmla="*/ 2147483647 w 210"/>
                    <a:gd name="T21" fmla="*/ 2147483647 h 366"/>
                    <a:gd name="T22" fmla="*/ 2147483647 w 210"/>
                    <a:gd name="T23" fmla="*/ 2147483647 h 366"/>
                    <a:gd name="T24" fmla="*/ 2147483647 w 210"/>
                    <a:gd name="T25" fmla="*/ 2147483647 h 366"/>
                    <a:gd name="T26" fmla="*/ 2147483647 w 210"/>
                    <a:gd name="T27" fmla="*/ 2147483647 h 366"/>
                    <a:gd name="T28" fmla="*/ 2147483647 w 210"/>
                    <a:gd name="T29" fmla="*/ 2147483647 h 366"/>
                    <a:gd name="T30" fmla="*/ 2147483647 w 210"/>
                    <a:gd name="T31" fmla="*/ 2147483647 h 366"/>
                    <a:gd name="T32" fmla="*/ 2147483647 w 210"/>
                    <a:gd name="T33" fmla="*/ 2147483647 h 366"/>
                    <a:gd name="T34" fmla="*/ 2147483647 w 210"/>
                    <a:gd name="T35" fmla="*/ 2147483647 h 366"/>
                    <a:gd name="T36" fmla="*/ 2147483647 w 210"/>
                    <a:gd name="T37" fmla="*/ 2147483647 h 366"/>
                    <a:gd name="T38" fmla="*/ 2147483647 w 210"/>
                    <a:gd name="T39" fmla="*/ 2147483647 h 366"/>
                    <a:gd name="T40" fmla="*/ 2147483647 w 210"/>
                    <a:gd name="T41" fmla="*/ 2147483647 h 366"/>
                    <a:gd name="T42" fmla="*/ 2147483647 w 210"/>
                    <a:gd name="T43" fmla="*/ 2147483647 h 366"/>
                    <a:gd name="T44" fmla="*/ 2147483647 w 210"/>
                    <a:gd name="T45" fmla="*/ 2147483647 h 366"/>
                    <a:gd name="T46" fmla="*/ 2147483647 w 210"/>
                    <a:gd name="T47" fmla="*/ 2147483647 h 366"/>
                    <a:gd name="T48" fmla="*/ 2147483647 w 210"/>
                    <a:gd name="T49" fmla="*/ 2147483647 h 366"/>
                    <a:gd name="T50" fmla="*/ 2147483647 w 210"/>
                    <a:gd name="T51" fmla="*/ 2147483647 h 366"/>
                    <a:gd name="T52" fmla="*/ 2147483647 w 210"/>
                    <a:gd name="T53" fmla="*/ 2147483647 h 366"/>
                    <a:gd name="T54" fmla="*/ 2147483647 w 210"/>
                    <a:gd name="T55" fmla="*/ 2147483647 h 366"/>
                    <a:gd name="T56" fmla="*/ 2147483647 w 210"/>
                    <a:gd name="T57" fmla="*/ 2147483647 h 366"/>
                    <a:gd name="T58" fmla="*/ 2147483647 w 210"/>
                    <a:gd name="T59" fmla="*/ 2147483647 h 366"/>
                    <a:gd name="T60" fmla="*/ 2147483647 w 210"/>
                    <a:gd name="T61" fmla="*/ 2147483647 h 366"/>
                    <a:gd name="T62" fmla="*/ 2147483647 w 210"/>
                    <a:gd name="T63" fmla="*/ 0 h 366"/>
                    <a:gd name="T64" fmla="*/ 2147483647 w 210"/>
                    <a:gd name="T65" fmla="*/ 2147483647 h 366"/>
                    <a:gd name="T66" fmla="*/ 2147483647 w 210"/>
                    <a:gd name="T67" fmla="*/ 2147483647 h 366"/>
                    <a:gd name="T68" fmla="*/ 2147483647 w 210"/>
                    <a:gd name="T69" fmla="*/ 2147483647 h 366"/>
                    <a:gd name="T70" fmla="*/ 2147483647 w 210"/>
                    <a:gd name="T71" fmla="*/ 2147483647 h 366"/>
                    <a:gd name="T72" fmla="*/ 2147483647 w 210"/>
                    <a:gd name="T73" fmla="*/ 2147483647 h 366"/>
                    <a:gd name="T74" fmla="*/ 2147483647 w 210"/>
                    <a:gd name="T75" fmla="*/ 2147483647 h 366"/>
                    <a:gd name="T76" fmla="*/ 2147483647 w 210"/>
                    <a:gd name="T77" fmla="*/ 2147483647 h 366"/>
                    <a:gd name="T78" fmla="*/ 2147483647 w 210"/>
                    <a:gd name="T79" fmla="*/ 2147483647 h 366"/>
                    <a:gd name="T80" fmla="*/ 2147483647 w 210"/>
                    <a:gd name="T81" fmla="*/ 2147483647 h 366"/>
                    <a:gd name="T82" fmla="*/ 2147483647 w 210"/>
                    <a:gd name="T83" fmla="*/ 2147483647 h 366"/>
                    <a:gd name="T84" fmla="*/ 2147483647 w 210"/>
                    <a:gd name="T85" fmla="*/ 2147483647 h 366"/>
                    <a:gd name="T86" fmla="*/ 2147483647 w 210"/>
                    <a:gd name="T87" fmla="*/ 2147483647 h 366"/>
                    <a:gd name="T88" fmla="*/ 2147483647 w 210"/>
                    <a:gd name="T89" fmla="*/ 2147483647 h 366"/>
                    <a:gd name="T90" fmla="*/ 0 w 210"/>
                    <a:gd name="T91" fmla="*/ 2147483647 h 366"/>
                    <a:gd name="T92" fmla="*/ 2147483647 w 210"/>
                    <a:gd name="T93" fmla="*/ 2147483647 h 366"/>
                    <a:gd name="T94" fmla="*/ 2147483647 w 210"/>
                    <a:gd name="T95" fmla="*/ 2147483647 h 366"/>
                    <a:gd name="T96" fmla="*/ 2147483647 w 210"/>
                    <a:gd name="T97" fmla="*/ 2147483647 h 366"/>
                    <a:gd name="T98" fmla="*/ 2147483647 w 210"/>
                    <a:gd name="T99" fmla="*/ 2147483647 h 366"/>
                    <a:gd name="T100" fmla="*/ 2147483647 w 210"/>
                    <a:gd name="T101" fmla="*/ 2147483647 h 366"/>
                    <a:gd name="T102" fmla="*/ 2147483647 w 210"/>
                    <a:gd name="T103" fmla="*/ 2147483647 h 366"/>
                    <a:gd name="T104" fmla="*/ 2147483647 w 210"/>
                    <a:gd name="T105" fmla="*/ 2147483647 h 366"/>
                    <a:gd name="T106" fmla="*/ 2147483647 w 210"/>
                    <a:gd name="T107" fmla="*/ 2147483647 h 366"/>
                    <a:gd name="T108" fmla="*/ 2147483647 w 210"/>
                    <a:gd name="T109" fmla="*/ 2147483647 h 366"/>
                    <a:gd name="T110" fmla="*/ 2147483647 w 210"/>
                    <a:gd name="T111" fmla="*/ 2147483647 h 366"/>
                    <a:gd name="T112" fmla="*/ 2147483647 w 210"/>
                    <a:gd name="T113" fmla="*/ 2147483647 h 366"/>
                    <a:gd name="T114" fmla="*/ 2147483647 w 210"/>
                    <a:gd name="T115" fmla="*/ 2147483647 h 366"/>
                    <a:gd name="T116" fmla="*/ 2147483647 w 210"/>
                    <a:gd name="T117" fmla="*/ 2147483647 h 366"/>
                    <a:gd name="T118" fmla="*/ 2147483647 w 210"/>
                    <a:gd name="T119" fmla="*/ 2147483647 h 366"/>
                    <a:gd name="T120" fmla="*/ 2147483647 w 210"/>
                    <a:gd name="T121" fmla="*/ 2147483647 h 366"/>
                    <a:gd name="T122" fmla="*/ 2147483647 w 210"/>
                    <a:gd name="T123" fmla="*/ 2147483647 h 366"/>
                    <a:gd name="T124" fmla="*/ 2147483647 w 210"/>
                    <a:gd name="T125" fmla="*/ 2147483647 h 36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10"/>
                    <a:gd name="T190" fmla="*/ 0 h 366"/>
                    <a:gd name="T191" fmla="*/ 210 w 210"/>
                    <a:gd name="T192" fmla="*/ 366 h 36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10" h="366">
                      <a:moveTo>
                        <a:pt x="185" y="366"/>
                      </a:moveTo>
                      <a:lnTo>
                        <a:pt x="185" y="366"/>
                      </a:lnTo>
                      <a:lnTo>
                        <a:pt x="191" y="366"/>
                      </a:lnTo>
                      <a:lnTo>
                        <a:pt x="196" y="364"/>
                      </a:lnTo>
                      <a:lnTo>
                        <a:pt x="206" y="362"/>
                      </a:lnTo>
                      <a:lnTo>
                        <a:pt x="202" y="357"/>
                      </a:lnTo>
                      <a:lnTo>
                        <a:pt x="200" y="353"/>
                      </a:lnTo>
                      <a:lnTo>
                        <a:pt x="200" y="348"/>
                      </a:lnTo>
                      <a:lnTo>
                        <a:pt x="200" y="342"/>
                      </a:lnTo>
                      <a:lnTo>
                        <a:pt x="202" y="337"/>
                      </a:lnTo>
                      <a:lnTo>
                        <a:pt x="207" y="328"/>
                      </a:lnTo>
                      <a:lnTo>
                        <a:pt x="209" y="322"/>
                      </a:lnTo>
                      <a:lnTo>
                        <a:pt x="209" y="317"/>
                      </a:lnTo>
                      <a:lnTo>
                        <a:pt x="204" y="288"/>
                      </a:lnTo>
                      <a:lnTo>
                        <a:pt x="202" y="260"/>
                      </a:lnTo>
                      <a:lnTo>
                        <a:pt x="202" y="256"/>
                      </a:lnTo>
                      <a:lnTo>
                        <a:pt x="204" y="253"/>
                      </a:lnTo>
                      <a:lnTo>
                        <a:pt x="206" y="249"/>
                      </a:lnTo>
                      <a:lnTo>
                        <a:pt x="210" y="247"/>
                      </a:lnTo>
                      <a:lnTo>
                        <a:pt x="210" y="241"/>
                      </a:lnTo>
                      <a:lnTo>
                        <a:pt x="209" y="236"/>
                      </a:lnTo>
                      <a:lnTo>
                        <a:pt x="205" y="232"/>
                      </a:lnTo>
                      <a:lnTo>
                        <a:pt x="201" y="228"/>
                      </a:lnTo>
                      <a:lnTo>
                        <a:pt x="192" y="222"/>
                      </a:lnTo>
                      <a:lnTo>
                        <a:pt x="183" y="215"/>
                      </a:lnTo>
                      <a:lnTo>
                        <a:pt x="182" y="213"/>
                      </a:lnTo>
                      <a:lnTo>
                        <a:pt x="181" y="209"/>
                      </a:lnTo>
                      <a:lnTo>
                        <a:pt x="181" y="204"/>
                      </a:lnTo>
                      <a:lnTo>
                        <a:pt x="183" y="200"/>
                      </a:lnTo>
                      <a:lnTo>
                        <a:pt x="183" y="196"/>
                      </a:lnTo>
                      <a:lnTo>
                        <a:pt x="183" y="194"/>
                      </a:lnTo>
                      <a:lnTo>
                        <a:pt x="181" y="192"/>
                      </a:lnTo>
                      <a:lnTo>
                        <a:pt x="179" y="191"/>
                      </a:lnTo>
                      <a:lnTo>
                        <a:pt x="178" y="191"/>
                      </a:lnTo>
                      <a:lnTo>
                        <a:pt x="174" y="192"/>
                      </a:lnTo>
                      <a:lnTo>
                        <a:pt x="167" y="198"/>
                      </a:lnTo>
                      <a:lnTo>
                        <a:pt x="164" y="198"/>
                      </a:lnTo>
                      <a:lnTo>
                        <a:pt x="163" y="197"/>
                      </a:lnTo>
                      <a:lnTo>
                        <a:pt x="159" y="194"/>
                      </a:lnTo>
                      <a:lnTo>
                        <a:pt x="155" y="190"/>
                      </a:lnTo>
                      <a:lnTo>
                        <a:pt x="152" y="188"/>
                      </a:lnTo>
                      <a:lnTo>
                        <a:pt x="149" y="188"/>
                      </a:lnTo>
                      <a:lnTo>
                        <a:pt x="146" y="189"/>
                      </a:lnTo>
                      <a:lnTo>
                        <a:pt x="145" y="188"/>
                      </a:lnTo>
                      <a:lnTo>
                        <a:pt x="144" y="187"/>
                      </a:lnTo>
                      <a:lnTo>
                        <a:pt x="140" y="182"/>
                      </a:lnTo>
                      <a:lnTo>
                        <a:pt x="135" y="176"/>
                      </a:lnTo>
                      <a:lnTo>
                        <a:pt x="134" y="173"/>
                      </a:lnTo>
                      <a:lnTo>
                        <a:pt x="131" y="171"/>
                      </a:lnTo>
                      <a:lnTo>
                        <a:pt x="129" y="170"/>
                      </a:lnTo>
                      <a:lnTo>
                        <a:pt x="126" y="170"/>
                      </a:lnTo>
                      <a:lnTo>
                        <a:pt x="124" y="165"/>
                      </a:lnTo>
                      <a:lnTo>
                        <a:pt x="124" y="160"/>
                      </a:lnTo>
                      <a:lnTo>
                        <a:pt x="125" y="155"/>
                      </a:lnTo>
                      <a:lnTo>
                        <a:pt x="126" y="150"/>
                      </a:lnTo>
                      <a:lnTo>
                        <a:pt x="131" y="138"/>
                      </a:lnTo>
                      <a:lnTo>
                        <a:pt x="136" y="127"/>
                      </a:lnTo>
                      <a:lnTo>
                        <a:pt x="136" y="124"/>
                      </a:lnTo>
                      <a:lnTo>
                        <a:pt x="136" y="120"/>
                      </a:lnTo>
                      <a:lnTo>
                        <a:pt x="139" y="115"/>
                      </a:lnTo>
                      <a:lnTo>
                        <a:pt x="143" y="111"/>
                      </a:lnTo>
                      <a:lnTo>
                        <a:pt x="150" y="102"/>
                      </a:lnTo>
                      <a:lnTo>
                        <a:pt x="160" y="95"/>
                      </a:lnTo>
                      <a:lnTo>
                        <a:pt x="171" y="92"/>
                      </a:lnTo>
                      <a:lnTo>
                        <a:pt x="178" y="90"/>
                      </a:lnTo>
                      <a:lnTo>
                        <a:pt x="187" y="90"/>
                      </a:lnTo>
                      <a:lnTo>
                        <a:pt x="191" y="89"/>
                      </a:lnTo>
                      <a:lnTo>
                        <a:pt x="195" y="88"/>
                      </a:lnTo>
                      <a:lnTo>
                        <a:pt x="197" y="87"/>
                      </a:lnTo>
                      <a:lnTo>
                        <a:pt x="200" y="83"/>
                      </a:lnTo>
                      <a:lnTo>
                        <a:pt x="200" y="82"/>
                      </a:lnTo>
                      <a:lnTo>
                        <a:pt x="199" y="82"/>
                      </a:lnTo>
                      <a:lnTo>
                        <a:pt x="196" y="82"/>
                      </a:lnTo>
                      <a:lnTo>
                        <a:pt x="192" y="82"/>
                      </a:lnTo>
                      <a:lnTo>
                        <a:pt x="188" y="82"/>
                      </a:lnTo>
                      <a:lnTo>
                        <a:pt x="185" y="83"/>
                      </a:lnTo>
                      <a:lnTo>
                        <a:pt x="181" y="83"/>
                      </a:lnTo>
                      <a:lnTo>
                        <a:pt x="177" y="82"/>
                      </a:lnTo>
                      <a:lnTo>
                        <a:pt x="174" y="80"/>
                      </a:lnTo>
                      <a:lnTo>
                        <a:pt x="177" y="74"/>
                      </a:lnTo>
                      <a:lnTo>
                        <a:pt x="181" y="66"/>
                      </a:lnTo>
                      <a:lnTo>
                        <a:pt x="191" y="49"/>
                      </a:lnTo>
                      <a:lnTo>
                        <a:pt x="188" y="47"/>
                      </a:lnTo>
                      <a:lnTo>
                        <a:pt x="185" y="45"/>
                      </a:lnTo>
                      <a:lnTo>
                        <a:pt x="181" y="45"/>
                      </a:lnTo>
                      <a:lnTo>
                        <a:pt x="177" y="44"/>
                      </a:lnTo>
                      <a:lnTo>
                        <a:pt x="172" y="41"/>
                      </a:lnTo>
                      <a:lnTo>
                        <a:pt x="168" y="37"/>
                      </a:lnTo>
                      <a:lnTo>
                        <a:pt x="164" y="36"/>
                      </a:lnTo>
                      <a:lnTo>
                        <a:pt x="159" y="37"/>
                      </a:lnTo>
                      <a:lnTo>
                        <a:pt x="155" y="38"/>
                      </a:lnTo>
                      <a:lnTo>
                        <a:pt x="152" y="37"/>
                      </a:lnTo>
                      <a:lnTo>
                        <a:pt x="148" y="35"/>
                      </a:lnTo>
                      <a:lnTo>
                        <a:pt x="145" y="31"/>
                      </a:lnTo>
                      <a:lnTo>
                        <a:pt x="144" y="28"/>
                      </a:lnTo>
                      <a:lnTo>
                        <a:pt x="141" y="25"/>
                      </a:lnTo>
                      <a:lnTo>
                        <a:pt x="129" y="22"/>
                      </a:lnTo>
                      <a:lnTo>
                        <a:pt x="125" y="21"/>
                      </a:lnTo>
                      <a:lnTo>
                        <a:pt x="110" y="6"/>
                      </a:lnTo>
                      <a:lnTo>
                        <a:pt x="106" y="4"/>
                      </a:lnTo>
                      <a:lnTo>
                        <a:pt x="99" y="0"/>
                      </a:lnTo>
                      <a:lnTo>
                        <a:pt x="102" y="6"/>
                      </a:lnTo>
                      <a:lnTo>
                        <a:pt x="105" y="11"/>
                      </a:lnTo>
                      <a:lnTo>
                        <a:pt x="107" y="17"/>
                      </a:lnTo>
                      <a:lnTo>
                        <a:pt x="110" y="22"/>
                      </a:lnTo>
                      <a:lnTo>
                        <a:pt x="111" y="26"/>
                      </a:lnTo>
                      <a:lnTo>
                        <a:pt x="110" y="30"/>
                      </a:lnTo>
                      <a:lnTo>
                        <a:pt x="108" y="35"/>
                      </a:lnTo>
                      <a:lnTo>
                        <a:pt x="106" y="38"/>
                      </a:lnTo>
                      <a:lnTo>
                        <a:pt x="98" y="45"/>
                      </a:lnTo>
                      <a:lnTo>
                        <a:pt x="92" y="51"/>
                      </a:lnTo>
                      <a:lnTo>
                        <a:pt x="83" y="57"/>
                      </a:lnTo>
                      <a:lnTo>
                        <a:pt x="74" y="63"/>
                      </a:lnTo>
                      <a:lnTo>
                        <a:pt x="66" y="69"/>
                      </a:lnTo>
                      <a:lnTo>
                        <a:pt x="63" y="74"/>
                      </a:lnTo>
                      <a:lnTo>
                        <a:pt x="61" y="79"/>
                      </a:lnTo>
                      <a:lnTo>
                        <a:pt x="59" y="85"/>
                      </a:lnTo>
                      <a:lnTo>
                        <a:pt x="58" y="88"/>
                      </a:lnTo>
                      <a:lnTo>
                        <a:pt x="55" y="90"/>
                      </a:lnTo>
                      <a:lnTo>
                        <a:pt x="53" y="93"/>
                      </a:lnTo>
                      <a:lnTo>
                        <a:pt x="47" y="94"/>
                      </a:lnTo>
                      <a:lnTo>
                        <a:pt x="45" y="95"/>
                      </a:lnTo>
                      <a:lnTo>
                        <a:pt x="44" y="98"/>
                      </a:lnTo>
                      <a:lnTo>
                        <a:pt x="40" y="98"/>
                      </a:lnTo>
                      <a:lnTo>
                        <a:pt x="39" y="98"/>
                      </a:lnTo>
                      <a:lnTo>
                        <a:pt x="36" y="95"/>
                      </a:lnTo>
                      <a:lnTo>
                        <a:pt x="33" y="94"/>
                      </a:lnTo>
                      <a:lnTo>
                        <a:pt x="30" y="95"/>
                      </a:lnTo>
                      <a:lnTo>
                        <a:pt x="23" y="96"/>
                      </a:lnTo>
                      <a:lnTo>
                        <a:pt x="21" y="96"/>
                      </a:lnTo>
                      <a:lnTo>
                        <a:pt x="19" y="96"/>
                      </a:lnTo>
                      <a:lnTo>
                        <a:pt x="17" y="94"/>
                      </a:lnTo>
                      <a:lnTo>
                        <a:pt x="17" y="90"/>
                      </a:lnTo>
                      <a:lnTo>
                        <a:pt x="18" y="87"/>
                      </a:lnTo>
                      <a:lnTo>
                        <a:pt x="21" y="83"/>
                      </a:lnTo>
                      <a:lnTo>
                        <a:pt x="22" y="79"/>
                      </a:lnTo>
                      <a:lnTo>
                        <a:pt x="22" y="76"/>
                      </a:lnTo>
                      <a:lnTo>
                        <a:pt x="21" y="74"/>
                      </a:lnTo>
                      <a:lnTo>
                        <a:pt x="17" y="76"/>
                      </a:lnTo>
                      <a:lnTo>
                        <a:pt x="14" y="76"/>
                      </a:lnTo>
                      <a:lnTo>
                        <a:pt x="11" y="79"/>
                      </a:lnTo>
                      <a:lnTo>
                        <a:pt x="8" y="82"/>
                      </a:lnTo>
                      <a:lnTo>
                        <a:pt x="6" y="86"/>
                      </a:lnTo>
                      <a:lnTo>
                        <a:pt x="3" y="89"/>
                      </a:lnTo>
                      <a:lnTo>
                        <a:pt x="0" y="93"/>
                      </a:lnTo>
                      <a:lnTo>
                        <a:pt x="0" y="96"/>
                      </a:lnTo>
                      <a:lnTo>
                        <a:pt x="6" y="108"/>
                      </a:lnTo>
                      <a:lnTo>
                        <a:pt x="7" y="114"/>
                      </a:lnTo>
                      <a:lnTo>
                        <a:pt x="7" y="121"/>
                      </a:lnTo>
                      <a:lnTo>
                        <a:pt x="8" y="125"/>
                      </a:lnTo>
                      <a:lnTo>
                        <a:pt x="9" y="128"/>
                      </a:lnTo>
                      <a:lnTo>
                        <a:pt x="16" y="133"/>
                      </a:lnTo>
                      <a:lnTo>
                        <a:pt x="22" y="139"/>
                      </a:lnTo>
                      <a:lnTo>
                        <a:pt x="27" y="145"/>
                      </a:lnTo>
                      <a:lnTo>
                        <a:pt x="32" y="156"/>
                      </a:lnTo>
                      <a:lnTo>
                        <a:pt x="36" y="159"/>
                      </a:lnTo>
                      <a:lnTo>
                        <a:pt x="41" y="164"/>
                      </a:lnTo>
                      <a:lnTo>
                        <a:pt x="42" y="165"/>
                      </a:lnTo>
                      <a:lnTo>
                        <a:pt x="42" y="168"/>
                      </a:lnTo>
                      <a:lnTo>
                        <a:pt x="44" y="172"/>
                      </a:lnTo>
                      <a:lnTo>
                        <a:pt x="44" y="177"/>
                      </a:lnTo>
                      <a:lnTo>
                        <a:pt x="51" y="191"/>
                      </a:lnTo>
                      <a:lnTo>
                        <a:pt x="58" y="204"/>
                      </a:lnTo>
                      <a:lnTo>
                        <a:pt x="70" y="233"/>
                      </a:lnTo>
                      <a:lnTo>
                        <a:pt x="73" y="236"/>
                      </a:lnTo>
                      <a:lnTo>
                        <a:pt x="75" y="239"/>
                      </a:lnTo>
                      <a:lnTo>
                        <a:pt x="79" y="252"/>
                      </a:lnTo>
                      <a:lnTo>
                        <a:pt x="82" y="258"/>
                      </a:lnTo>
                      <a:lnTo>
                        <a:pt x="86" y="265"/>
                      </a:lnTo>
                      <a:lnTo>
                        <a:pt x="87" y="267"/>
                      </a:lnTo>
                      <a:lnTo>
                        <a:pt x="87" y="271"/>
                      </a:lnTo>
                      <a:lnTo>
                        <a:pt x="86" y="278"/>
                      </a:lnTo>
                      <a:lnTo>
                        <a:pt x="87" y="285"/>
                      </a:lnTo>
                      <a:lnTo>
                        <a:pt x="91" y="290"/>
                      </a:lnTo>
                      <a:lnTo>
                        <a:pt x="96" y="294"/>
                      </a:lnTo>
                      <a:lnTo>
                        <a:pt x="102" y="298"/>
                      </a:lnTo>
                      <a:lnTo>
                        <a:pt x="105" y="300"/>
                      </a:lnTo>
                      <a:lnTo>
                        <a:pt x="107" y="303"/>
                      </a:lnTo>
                      <a:lnTo>
                        <a:pt x="110" y="310"/>
                      </a:lnTo>
                      <a:lnTo>
                        <a:pt x="112" y="311"/>
                      </a:lnTo>
                      <a:lnTo>
                        <a:pt x="115" y="313"/>
                      </a:lnTo>
                      <a:lnTo>
                        <a:pt x="119" y="318"/>
                      </a:lnTo>
                      <a:lnTo>
                        <a:pt x="121" y="320"/>
                      </a:lnTo>
                      <a:lnTo>
                        <a:pt x="124" y="322"/>
                      </a:lnTo>
                      <a:lnTo>
                        <a:pt x="134" y="325"/>
                      </a:lnTo>
                      <a:lnTo>
                        <a:pt x="143" y="329"/>
                      </a:lnTo>
                      <a:lnTo>
                        <a:pt x="152" y="334"/>
                      </a:lnTo>
                      <a:lnTo>
                        <a:pt x="159" y="339"/>
                      </a:lnTo>
                      <a:lnTo>
                        <a:pt x="162" y="342"/>
                      </a:lnTo>
                      <a:lnTo>
                        <a:pt x="166" y="344"/>
                      </a:lnTo>
                      <a:lnTo>
                        <a:pt x="169" y="347"/>
                      </a:lnTo>
                      <a:lnTo>
                        <a:pt x="171" y="350"/>
                      </a:lnTo>
                      <a:lnTo>
                        <a:pt x="173" y="355"/>
                      </a:lnTo>
                      <a:lnTo>
                        <a:pt x="177" y="360"/>
                      </a:lnTo>
                      <a:lnTo>
                        <a:pt x="182" y="363"/>
                      </a:lnTo>
                      <a:lnTo>
                        <a:pt x="183" y="364"/>
                      </a:lnTo>
                      <a:lnTo>
                        <a:pt x="185" y="36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903">
                  <a:extLst>
                    <a:ext uri="{FF2B5EF4-FFF2-40B4-BE49-F238E27FC236}">
                      <a16:creationId xmlns:a16="http://schemas.microsoft.com/office/drawing/2014/main" id="{60EF4ADA-0B41-6041-981B-BD9B04118A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0214" y="3185846"/>
                  <a:ext cx="48835" cy="35517"/>
                </a:xfrm>
                <a:custGeom>
                  <a:avLst/>
                  <a:gdLst>
                    <a:gd name="T0" fmla="*/ 0 w 36"/>
                    <a:gd name="T1" fmla="*/ 2147483647 h 24"/>
                    <a:gd name="T2" fmla="*/ 2147483647 w 36"/>
                    <a:gd name="T3" fmla="*/ 2147483647 h 24"/>
                    <a:gd name="T4" fmla="*/ 2147483647 w 36"/>
                    <a:gd name="T5" fmla="*/ 2147483647 h 24"/>
                    <a:gd name="T6" fmla="*/ 2147483647 w 36"/>
                    <a:gd name="T7" fmla="*/ 2147483647 h 24"/>
                    <a:gd name="T8" fmla="*/ 2147483647 w 36"/>
                    <a:gd name="T9" fmla="*/ 2147483647 h 24"/>
                    <a:gd name="T10" fmla="*/ 2147483647 w 36"/>
                    <a:gd name="T11" fmla="*/ 2147483647 h 24"/>
                    <a:gd name="T12" fmla="*/ 2147483647 w 36"/>
                    <a:gd name="T13" fmla="*/ 2147483647 h 24"/>
                    <a:gd name="T14" fmla="*/ 2147483647 w 36"/>
                    <a:gd name="T15" fmla="*/ 2147483647 h 24"/>
                    <a:gd name="T16" fmla="*/ 2147483647 w 36"/>
                    <a:gd name="T17" fmla="*/ 2147483647 h 24"/>
                    <a:gd name="T18" fmla="*/ 2147483647 w 36"/>
                    <a:gd name="T19" fmla="*/ 2147483647 h 24"/>
                    <a:gd name="T20" fmla="*/ 2147483647 w 36"/>
                    <a:gd name="T21" fmla="*/ 2147483647 h 24"/>
                    <a:gd name="T22" fmla="*/ 2147483647 w 36"/>
                    <a:gd name="T23" fmla="*/ 2147483647 h 24"/>
                    <a:gd name="T24" fmla="*/ 2147483647 w 36"/>
                    <a:gd name="T25" fmla="*/ 2147483647 h 24"/>
                    <a:gd name="T26" fmla="*/ 2147483647 w 36"/>
                    <a:gd name="T27" fmla="*/ 2147483647 h 24"/>
                    <a:gd name="T28" fmla="*/ 2147483647 w 36"/>
                    <a:gd name="T29" fmla="*/ 2147483647 h 24"/>
                    <a:gd name="T30" fmla="*/ 2147483647 w 36"/>
                    <a:gd name="T31" fmla="*/ 2147483647 h 24"/>
                    <a:gd name="T32" fmla="*/ 2147483647 w 36"/>
                    <a:gd name="T33" fmla="*/ 2147483647 h 24"/>
                    <a:gd name="T34" fmla="*/ 2147483647 w 36"/>
                    <a:gd name="T35" fmla="*/ 2147483647 h 24"/>
                    <a:gd name="T36" fmla="*/ 2147483647 w 36"/>
                    <a:gd name="T37" fmla="*/ 2147483647 h 24"/>
                    <a:gd name="T38" fmla="*/ 2147483647 w 36"/>
                    <a:gd name="T39" fmla="*/ 2147483647 h 24"/>
                    <a:gd name="T40" fmla="*/ 2147483647 w 36"/>
                    <a:gd name="T41" fmla="*/ 2147483647 h 24"/>
                    <a:gd name="T42" fmla="*/ 2147483647 w 36"/>
                    <a:gd name="T43" fmla="*/ 2147483647 h 24"/>
                    <a:gd name="T44" fmla="*/ 2147483647 w 36"/>
                    <a:gd name="T45" fmla="*/ 2147483647 h 24"/>
                    <a:gd name="T46" fmla="*/ 2147483647 w 36"/>
                    <a:gd name="T47" fmla="*/ 2147483647 h 24"/>
                    <a:gd name="T48" fmla="*/ 0 w 36"/>
                    <a:gd name="T49" fmla="*/ 0 h 24"/>
                    <a:gd name="T50" fmla="*/ 0 w 36"/>
                    <a:gd name="T51" fmla="*/ 2147483647 h 2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36"/>
                    <a:gd name="T79" fmla="*/ 0 h 24"/>
                    <a:gd name="T80" fmla="*/ 36 w 36"/>
                    <a:gd name="T81" fmla="*/ 24 h 2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36" h="24">
                      <a:moveTo>
                        <a:pt x="0" y="10"/>
                      </a:moveTo>
                      <a:lnTo>
                        <a:pt x="1" y="11"/>
                      </a:lnTo>
                      <a:lnTo>
                        <a:pt x="3" y="12"/>
                      </a:lnTo>
                      <a:lnTo>
                        <a:pt x="6" y="13"/>
                      </a:lnTo>
                      <a:lnTo>
                        <a:pt x="10" y="16"/>
                      </a:lnTo>
                      <a:lnTo>
                        <a:pt x="15" y="20"/>
                      </a:lnTo>
                      <a:lnTo>
                        <a:pt x="19" y="23"/>
                      </a:lnTo>
                      <a:lnTo>
                        <a:pt x="24" y="24"/>
                      </a:lnTo>
                      <a:lnTo>
                        <a:pt x="29" y="24"/>
                      </a:lnTo>
                      <a:lnTo>
                        <a:pt x="34" y="23"/>
                      </a:lnTo>
                      <a:lnTo>
                        <a:pt x="35" y="21"/>
                      </a:lnTo>
                      <a:lnTo>
                        <a:pt x="36" y="19"/>
                      </a:lnTo>
                      <a:lnTo>
                        <a:pt x="36" y="13"/>
                      </a:lnTo>
                      <a:lnTo>
                        <a:pt x="36" y="12"/>
                      </a:lnTo>
                      <a:lnTo>
                        <a:pt x="35" y="11"/>
                      </a:lnTo>
                      <a:lnTo>
                        <a:pt x="33" y="10"/>
                      </a:lnTo>
                      <a:lnTo>
                        <a:pt x="30" y="10"/>
                      </a:lnTo>
                      <a:lnTo>
                        <a:pt x="28" y="10"/>
                      </a:lnTo>
                      <a:lnTo>
                        <a:pt x="24" y="10"/>
                      </a:lnTo>
                      <a:lnTo>
                        <a:pt x="21" y="10"/>
                      </a:lnTo>
                      <a:lnTo>
                        <a:pt x="19" y="8"/>
                      </a:lnTo>
                      <a:lnTo>
                        <a:pt x="12" y="7"/>
                      </a:lnTo>
                      <a:lnTo>
                        <a:pt x="8" y="6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0" name="Freeform 904">
                  <a:extLst>
                    <a:ext uri="{FF2B5EF4-FFF2-40B4-BE49-F238E27FC236}">
                      <a16:creationId xmlns:a16="http://schemas.microsoft.com/office/drawing/2014/main" id="{7E5EA2F5-B525-4143-BE43-D23E027258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8288" y="3178449"/>
                  <a:ext cx="35517" cy="62155"/>
                </a:xfrm>
                <a:custGeom>
                  <a:avLst/>
                  <a:gdLst>
                    <a:gd name="T0" fmla="*/ 2147483647 w 26"/>
                    <a:gd name="T1" fmla="*/ 2147483647 h 42"/>
                    <a:gd name="T2" fmla="*/ 2147483647 w 26"/>
                    <a:gd name="T3" fmla="*/ 2147483647 h 42"/>
                    <a:gd name="T4" fmla="*/ 2147483647 w 26"/>
                    <a:gd name="T5" fmla="*/ 2147483647 h 42"/>
                    <a:gd name="T6" fmla="*/ 2147483647 w 26"/>
                    <a:gd name="T7" fmla="*/ 2147483647 h 42"/>
                    <a:gd name="T8" fmla="*/ 2147483647 w 26"/>
                    <a:gd name="T9" fmla="*/ 2147483647 h 42"/>
                    <a:gd name="T10" fmla="*/ 2147483647 w 26"/>
                    <a:gd name="T11" fmla="*/ 2147483647 h 42"/>
                    <a:gd name="T12" fmla="*/ 2147483647 w 26"/>
                    <a:gd name="T13" fmla="*/ 2147483647 h 42"/>
                    <a:gd name="T14" fmla="*/ 2147483647 w 26"/>
                    <a:gd name="T15" fmla="*/ 2147483647 h 42"/>
                    <a:gd name="T16" fmla="*/ 2147483647 w 26"/>
                    <a:gd name="T17" fmla="*/ 2147483647 h 42"/>
                    <a:gd name="T18" fmla="*/ 2147483647 w 26"/>
                    <a:gd name="T19" fmla="*/ 2147483647 h 42"/>
                    <a:gd name="T20" fmla="*/ 2147483647 w 26"/>
                    <a:gd name="T21" fmla="*/ 2147483647 h 42"/>
                    <a:gd name="T22" fmla="*/ 2147483647 w 26"/>
                    <a:gd name="T23" fmla="*/ 2147483647 h 42"/>
                    <a:gd name="T24" fmla="*/ 2147483647 w 26"/>
                    <a:gd name="T25" fmla="*/ 2147483647 h 42"/>
                    <a:gd name="T26" fmla="*/ 2147483647 w 26"/>
                    <a:gd name="T27" fmla="*/ 2147483647 h 42"/>
                    <a:gd name="T28" fmla="*/ 2147483647 w 26"/>
                    <a:gd name="T29" fmla="*/ 2147483647 h 42"/>
                    <a:gd name="T30" fmla="*/ 2147483647 w 26"/>
                    <a:gd name="T31" fmla="*/ 2147483647 h 42"/>
                    <a:gd name="T32" fmla="*/ 2147483647 w 26"/>
                    <a:gd name="T33" fmla="*/ 2147483647 h 42"/>
                    <a:gd name="T34" fmla="*/ 2147483647 w 26"/>
                    <a:gd name="T35" fmla="*/ 2147483647 h 42"/>
                    <a:gd name="T36" fmla="*/ 2147483647 w 26"/>
                    <a:gd name="T37" fmla="*/ 2147483647 h 42"/>
                    <a:gd name="T38" fmla="*/ 2147483647 w 26"/>
                    <a:gd name="T39" fmla="*/ 2147483647 h 42"/>
                    <a:gd name="T40" fmla="*/ 0 w 26"/>
                    <a:gd name="T41" fmla="*/ 2147483647 h 42"/>
                    <a:gd name="T42" fmla="*/ 0 w 26"/>
                    <a:gd name="T43" fmla="*/ 2147483647 h 42"/>
                    <a:gd name="T44" fmla="*/ 0 w 26"/>
                    <a:gd name="T45" fmla="*/ 2147483647 h 42"/>
                    <a:gd name="T46" fmla="*/ 0 w 26"/>
                    <a:gd name="T47" fmla="*/ 2147483647 h 42"/>
                    <a:gd name="T48" fmla="*/ 0 w 26"/>
                    <a:gd name="T49" fmla="*/ 2147483647 h 42"/>
                    <a:gd name="T50" fmla="*/ 2147483647 w 26"/>
                    <a:gd name="T51" fmla="*/ 2147483647 h 42"/>
                    <a:gd name="T52" fmla="*/ 2147483647 w 26"/>
                    <a:gd name="T53" fmla="*/ 2147483647 h 42"/>
                    <a:gd name="T54" fmla="*/ 2147483647 w 26"/>
                    <a:gd name="T55" fmla="*/ 2147483647 h 42"/>
                    <a:gd name="T56" fmla="*/ 2147483647 w 26"/>
                    <a:gd name="T57" fmla="*/ 2147483647 h 42"/>
                    <a:gd name="T58" fmla="*/ 2147483647 w 26"/>
                    <a:gd name="T59" fmla="*/ 2147483647 h 42"/>
                    <a:gd name="T60" fmla="*/ 2147483647 w 26"/>
                    <a:gd name="T61" fmla="*/ 0 h 42"/>
                    <a:gd name="T62" fmla="*/ 2147483647 w 26"/>
                    <a:gd name="T63" fmla="*/ 2147483647 h 42"/>
                    <a:gd name="T64" fmla="*/ 2147483647 w 26"/>
                    <a:gd name="T65" fmla="*/ 2147483647 h 42"/>
                    <a:gd name="T66" fmla="*/ 2147483647 w 26"/>
                    <a:gd name="T67" fmla="*/ 2147483647 h 42"/>
                    <a:gd name="T68" fmla="*/ 2147483647 w 26"/>
                    <a:gd name="T69" fmla="*/ 2147483647 h 42"/>
                    <a:gd name="T70" fmla="*/ 2147483647 w 26"/>
                    <a:gd name="T71" fmla="*/ 2147483647 h 42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6"/>
                    <a:gd name="T109" fmla="*/ 0 h 42"/>
                    <a:gd name="T110" fmla="*/ 26 w 26"/>
                    <a:gd name="T111" fmla="*/ 42 h 42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6" h="42">
                      <a:moveTo>
                        <a:pt x="12" y="17"/>
                      </a:moveTo>
                      <a:lnTo>
                        <a:pt x="11" y="19"/>
                      </a:lnTo>
                      <a:lnTo>
                        <a:pt x="11" y="24"/>
                      </a:lnTo>
                      <a:lnTo>
                        <a:pt x="9" y="28"/>
                      </a:lnTo>
                      <a:lnTo>
                        <a:pt x="11" y="30"/>
                      </a:lnTo>
                      <a:lnTo>
                        <a:pt x="13" y="30"/>
                      </a:lnTo>
                      <a:lnTo>
                        <a:pt x="14" y="29"/>
                      </a:lnTo>
                      <a:lnTo>
                        <a:pt x="17" y="26"/>
                      </a:lnTo>
                      <a:lnTo>
                        <a:pt x="19" y="24"/>
                      </a:lnTo>
                      <a:lnTo>
                        <a:pt x="21" y="23"/>
                      </a:lnTo>
                      <a:lnTo>
                        <a:pt x="22" y="24"/>
                      </a:lnTo>
                      <a:lnTo>
                        <a:pt x="25" y="26"/>
                      </a:lnTo>
                      <a:lnTo>
                        <a:pt x="26" y="29"/>
                      </a:lnTo>
                      <a:lnTo>
                        <a:pt x="26" y="32"/>
                      </a:lnTo>
                      <a:lnTo>
                        <a:pt x="25" y="35"/>
                      </a:lnTo>
                      <a:lnTo>
                        <a:pt x="18" y="41"/>
                      </a:lnTo>
                      <a:lnTo>
                        <a:pt x="13" y="42"/>
                      </a:lnTo>
                      <a:lnTo>
                        <a:pt x="9" y="42"/>
                      </a:lnTo>
                      <a:lnTo>
                        <a:pt x="4" y="41"/>
                      </a:lnTo>
                      <a:lnTo>
                        <a:pt x="2" y="38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0" y="25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2" y="12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7" y="4"/>
                      </a:lnTo>
                      <a:lnTo>
                        <a:pt x="9" y="2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6" y="5"/>
                      </a:lnTo>
                      <a:lnTo>
                        <a:pt x="17" y="10"/>
                      </a:lnTo>
                      <a:lnTo>
                        <a:pt x="16" y="15"/>
                      </a:lnTo>
                      <a:lnTo>
                        <a:pt x="12" y="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905">
                  <a:extLst>
                    <a:ext uri="{FF2B5EF4-FFF2-40B4-BE49-F238E27FC236}">
                      <a16:creationId xmlns:a16="http://schemas.microsoft.com/office/drawing/2014/main" id="{1EB2E25A-5AF6-E642-A9B8-82A8C7FCAD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252" y="3184368"/>
                  <a:ext cx="50316" cy="35517"/>
                </a:xfrm>
                <a:custGeom>
                  <a:avLst/>
                  <a:gdLst>
                    <a:gd name="T0" fmla="*/ 0 w 37"/>
                    <a:gd name="T1" fmla="*/ 2147483647 h 24"/>
                    <a:gd name="T2" fmla="*/ 0 w 37"/>
                    <a:gd name="T3" fmla="*/ 2147483647 h 24"/>
                    <a:gd name="T4" fmla="*/ 2147483647 w 37"/>
                    <a:gd name="T5" fmla="*/ 2147483647 h 24"/>
                    <a:gd name="T6" fmla="*/ 2147483647 w 37"/>
                    <a:gd name="T7" fmla="*/ 2147483647 h 24"/>
                    <a:gd name="T8" fmla="*/ 2147483647 w 37"/>
                    <a:gd name="T9" fmla="*/ 2147483647 h 24"/>
                    <a:gd name="T10" fmla="*/ 2147483647 w 37"/>
                    <a:gd name="T11" fmla="*/ 2147483647 h 24"/>
                    <a:gd name="T12" fmla="*/ 2147483647 w 37"/>
                    <a:gd name="T13" fmla="*/ 2147483647 h 24"/>
                    <a:gd name="T14" fmla="*/ 2147483647 w 37"/>
                    <a:gd name="T15" fmla="*/ 2147483647 h 24"/>
                    <a:gd name="T16" fmla="*/ 2147483647 w 37"/>
                    <a:gd name="T17" fmla="*/ 2147483647 h 24"/>
                    <a:gd name="T18" fmla="*/ 2147483647 w 37"/>
                    <a:gd name="T19" fmla="*/ 2147483647 h 24"/>
                    <a:gd name="T20" fmla="*/ 2147483647 w 37"/>
                    <a:gd name="T21" fmla="*/ 2147483647 h 24"/>
                    <a:gd name="T22" fmla="*/ 2147483647 w 37"/>
                    <a:gd name="T23" fmla="*/ 2147483647 h 24"/>
                    <a:gd name="T24" fmla="*/ 2147483647 w 37"/>
                    <a:gd name="T25" fmla="*/ 2147483647 h 24"/>
                    <a:gd name="T26" fmla="*/ 2147483647 w 37"/>
                    <a:gd name="T27" fmla="*/ 2147483647 h 24"/>
                    <a:gd name="T28" fmla="*/ 2147483647 w 37"/>
                    <a:gd name="T29" fmla="*/ 2147483647 h 24"/>
                    <a:gd name="T30" fmla="*/ 2147483647 w 37"/>
                    <a:gd name="T31" fmla="*/ 2147483647 h 24"/>
                    <a:gd name="T32" fmla="*/ 2147483647 w 37"/>
                    <a:gd name="T33" fmla="*/ 2147483647 h 24"/>
                    <a:gd name="T34" fmla="*/ 2147483647 w 37"/>
                    <a:gd name="T35" fmla="*/ 2147483647 h 24"/>
                    <a:gd name="T36" fmla="*/ 2147483647 w 37"/>
                    <a:gd name="T37" fmla="*/ 2147483647 h 24"/>
                    <a:gd name="T38" fmla="*/ 2147483647 w 37"/>
                    <a:gd name="T39" fmla="*/ 2147483647 h 24"/>
                    <a:gd name="T40" fmla="*/ 2147483647 w 37"/>
                    <a:gd name="T41" fmla="*/ 2147483647 h 24"/>
                    <a:gd name="T42" fmla="*/ 2147483647 w 37"/>
                    <a:gd name="T43" fmla="*/ 2147483647 h 24"/>
                    <a:gd name="T44" fmla="*/ 2147483647 w 37"/>
                    <a:gd name="T45" fmla="*/ 2147483647 h 24"/>
                    <a:gd name="T46" fmla="*/ 2147483647 w 37"/>
                    <a:gd name="T47" fmla="*/ 2147483647 h 24"/>
                    <a:gd name="T48" fmla="*/ 2147483647 w 37"/>
                    <a:gd name="T49" fmla="*/ 2147483647 h 24"/>
                    <a:gd name="T50" fmla="*/ 2147483647 w 37"/>
                    <a:gd name="T51" fmla="*/ 2147483647 h 24"/>
                    <a:gd name="T52" fmla="*/ 2147483647 w 37"/>
                    <a:gd name="T53" fmla="*/ 2147483647 h 24"/>
                    <a:gd name="T54" fmla="*/ 2147483647 w 37"/>
                    <a:gd name="T55" fmla="*/ 2147483647 h 24"/>
                    <a:gd name="T56" fmla="*/ 2147483647 w 37"/>
                    <a:gd name="T57" fmla="*/ 2147483647 h 24"/>
                    <a:gd name="T58" fmla="*/ 2147483647 w 37"/>
                    <a:gd name="T59" fmla="*/ 2147483647 h 24"/>
                    <a:gd name="T60" fmla="*/ 2147483647 w 37"/>
                    <a:gd name="T61" fmla="*/ 2147483647 h 24"/>
                    <a:gd name="T62" fmla="*/ 2147483647 w 37"/>
                    <a:gd name="T63" fmla="*/ 2147483647 h 24"/>
                    <a:gd name="T64" fmla="*/ 0 w 37"/>
                    <a:gd name="T65" fmla="*/ 0 h 2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7"/>
                    <a:gd name="T100" fmla="*/ 0 h 24"/>
                    <a:gd name="T101" fmla="*/ 37 w 37"/>
                    <a:gd name="T102" fmla="*/ 24 h 2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7" h="24">
                      <a:moveTo>
                        <a:pt x="0" y="9"/>
                      </a:moveTo>
                      <a:lnTo>
                        <a:pt x="0" y="9"/>
                      </a:lnTo>
                      <a:lnTo>
                        <a:pt x="2" y="11"/>
                      </a:lnTo>
                      <a:lnTo>
                        <a:pt x="4" y="12"/>
                      </a:lnTo>
                      <a:lnTo>
                        <a:pt x="7" y="13"/>
                      </a:lnTo>
                      <a:lnTo>
                        <a:pt x="10" y="15"/>
                      </a:lnTo>
                      <a:lnTo>
                        <a:pt x="16" y="20"/>
                      </a:lnTo>
                      <a:lnTo>
                        <a:pt x="19" y="22"/>
                      </a:lnTo>
                      <a:lnTo>
                        <a:pt x="24" y="24"/>
                      </a:lnTo>
                      <a:lnTo>
                        <a:pt x="30" y="24"/>
                      </a:lnTo>
                      <a:lnTo>
                        <a:pt x="35" y="22"/>
                      </a:lnTo>
                      <a:lnTo>
                        <a:pt x="36" y="21"/>
                      </a:lnTo>
                      <a:lnTo>
                        <a:pt x="37" y="19"/>
                      </a:lnTo>
                      <a:lnTo>
                        <a:pt x="37" y="13"/>
                      </a:lnTo>
                      <a:lnTo>
                        <a:pt x="37" y="12"/>
                      </a:lnTo>
                      <a:lnTo>
                        <a:pt x="36" y="11"/>
                      </a:lnTo>
                      <a:lnTo>
                        <a:pt x="33" y="9"/>
                      </a:lnTo>
                      <a:lnTo>
                        <a:pt x="31" y="9"/>
                      </a:lnTo>
                      <a:lnTo>
                        <a:pt x="28" y="9"/>
                      </a:lnTo>
                      <a:lnTo>
                        <a:pt x="24" y="9"/>
                      </a:lnTo>
                      <a:lnTo>
                        <a:pt x="22" y="9"/>
                      </a:lnTo>
                      <a:lnTo>
                        <a:pt x="19" y="8"/>
                      </a:lnTo>
                      <a:lnTo>
                        <a:pt x="13" y="7"/>
                      </a:lnTo>
                      <a:lnTo>
                        <a:pt x="9" y="6"/>
                      </a:lnTo>
                      <a:lnTo>
                        <a:pt x="4" y="4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906">
                  <a:extLst>
                    <a:ext uri="{FF2B5EF4-FFF2-40B4-BE49-F238E27FC236}">
                      <a16:creationId xmlns:a16="http://schemas.microsoft.com/office/drawing/2014/main" id="{6894768B-9B1D-D94A-9A29-1DA4EFB9A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6807" y="3176969"/>
                  <a:ext cx="35517" cy="62155"/>
                </a:xfrm>
                <a:custGeom>
                  <a:avLst/>
                  <a:gdLst>
                    <a:gd name="T0" fmla="*/ 2147483647 w 26"/>
                    <a:gd name="T1" fmla="*/ 2147483647 h 42"/>
                    <a:gd name="T2" fmla="*/ 2147483647 w 26"/>
                    <a:gd name="T3" fmla="*/ 2147483647 h 42"/>
                    <a:gd name="T4" fmla="*/ 2147483647 w 26"/>
                    <a:gd name="T5" fmla="*/ 2147483647 h 42"/>
                    <a:gd name="T6" fmla="*/ 2147483647 w 26"/>
                    <a:gd name="T7" fmla="*/ 2147483647 h 42"/>
                    <a:gd name="T8" fmla="*/ 2147483647 w 26"/>
                    <a:gd name="T9" fmla="*/ 2147483647 h 42"/>
                    <a:gd name="T10" fmla="*/ 2147483647 w 26"/>
                    <a:gd name="T11" fmla="*/ 2147483647 h 42"/>
                    <a:gd name="T12" fmla="*/ 2147483647 w 26"/>
                    <a:gd name="T13" fmla="*/ 2147483647 h 42"/>
                    <a:gd name="T14" fmla="*/ 2147483647 w 26"/>
                    <a:gd name="T15" fmla="*/ 2147483647 h 42"/>
                    <a:gd name="T16" fmla="*/ 2147483647 w 26"/>
                    <a:gd name="T17" fmla="*/ 2147483647 h 42"/>
                    <a:gd name="T18" fmla="*/ 2147483647 w 26"/>
                    <a:gd name="T19" fmla="*/ 2147483647 h 42"/>
                    <a:gd name="T20" fmla="*/ 2147483647 w 26"/>
                    <a:gd name="T21" fmla="*/ 2147483647 h 42"/>
                    <a:gd name="T22" fmla="*/ 2147483647 w 26"/>
                    <a:gd name="T23" fmla="*/ 2147483647 h 42"/>
                    <a:gd name="T24" fmla="*/ 2147483647 w 26"/>
                    <a:gd name="T25" fmla="*/ 2147483647 h 42"/>
                    <a:gd name="T26" fmla="*/ 2147483647 w 26"/>
                    <a:gd name="T27" fmla="*/ 2147483647 h 42"/>
                    <a:gd name="T28" fmla="*/ 2147483647 w 26"/>
                    <a:gd name="T29" fmla="*/ 2147483647 h 42"/>
                    <a:gd name="T30" fmla="*/ 2147483647 w 26"/>
                    <a:gd name="T31" fmla="*/ 2147483647 h 42"/>
                    <a:gd name="T32" fmla="*/ 2147483647 w 26"/>
                    <a:gd name="T33" fmla="*/ 2147483647 h 42"/>
                    <a:gd name="T34" fmla="*/ 2147483647 w 26"/>
                    <a:gd name="T35" fmla="*/ 2147483647 h 42"/>
                    <a:gd name="T36" fmla="*/ 2147483647 w 26"/>
                    <a:gd name="T37" fmla="*/ 2147483647 h 42"/>
                    <a:gd name="T38" fmla="*/ 2147483647 w 26"/>
                    <a:gd name="T39" fmla="*/ 2147483647 h 42"/>
                    <a:gd name="T40" fmla="*/ 2147483647 w 26"/>
                    <a:gd name="T41" fmla="*/ 2147483647 h 42"/>
                    <a:gd name="T42" fmla="*/ 2147483647 w 26"/>
                    <a:gd name="T43" fmla="*/ 2147483647 h 42"/>
                    <a:gd name="T44" fmla="*/ 2147483647 w 26"/>
                    <a:gd name="T45" fmla="*/ 2147483647 h 42"/>
                    <a:gd name="T46" fmla="*/ 2147483647 w 26"/>
                    <a:gd name="T47" fmla="*/ 2147483647 h 42"/>
                    <a:gd name="T48" fmla="*/ 2147483647 w 26"/>
                    <a:gd name="T49" fmla="*/ 2147483647 h 42"/>
                    <a:gd name="T50" fmla="*/ 0 w 26"/>
                    <a:gd name="T51" fmla="*/ 2147483647 h 42"/>
                    <a:gd name="T52" fmla="*/ 0 w 26"/>
                    <a:gd name="T53" fmla="*/ 2147483647 h 42"/>
                    <a:gd name="T54" fmla="*/ 0 w 26"/>
                    <a:gd name="T55" fmla="*/ 2147483647 h 42"/>
                    <a:gd name="T56" fmla="*/ 0 w 26"/>
                    <a:gd name="T57" fmla="*/ 2147483647 h 42"/>
                    <a:gd name="T58" fmla="*/ 0 w 26"/>
                    <a:gd name="T59" fmla="*/ 2147483647 h 42"/>
                    <a:gd name="T60" fmla="*/ 0 w 26"/>
                    <a:gd name="T61" fmla="*/ 2147483647 h 42"/>
                    <a:gd name="T62" fmla="*/ 2147483647 w 26"/>
                    <a:gd name="T63" fmla="*/ 2147483647 h 42"/>
                    <a:gd name="T64" fmla="*/ 2147483647 w 26"/>
                    <a:gd name="T65" fmla="*/ 2147483647 h 42"/>
                    <a:gd name="T66" fmla="*/ 2147483647 w 26"/>
                    <a:gd name="T67" fmla="*/ 2147483647 h 42"/>
                    <a:gd name="T68" fmla="*/ 2147483647 w 26"/>
                    <a:gd name="T69" fmla="*/ 2147483647 h 42"/>
                    <a:gd name="T70" fmla="*/ 2147483647 w 26"/>
                    <a:gd name="T71" fmla="*/ 2147483647 h 42"/>
                    <a:gd name="T72" fmla="*/ 2147483647 w 26"/>
                    <a:gd name="T73" fmla="*/ 2147483647 h 42"/>
                    <a:gd name="T74" fmla="*/ 2147483647 w 26"/>
                    <a:gd name="T75" fmla="*/ 2147483647 h 42"/>
                    <a:gd name="T76" fmla="*/ 2147483647 w 26"/>
                    <a:gd name="T77" fmla="*/ 0 h 42"/>
                    <a:gd name="T78" fmla="*/ 2147483647 w 26"/>
                    <a:gd name="T79" fmla="*/ 2147483647 h 42"/>
                    <a:gd name="T80" fmla="*/ 2147483647 w 26"/>
                    <a:gd name="T81" fmla="*/ 2147483647 h 42"/>
                    <a:gd name="T82" fmla="*/ 2147483647 w 26"/>
                    <a:gd name="T83" fmla="*/ 2147483647 h 42"/>
                    <a:gd name="T84" fmla="*/ 2147483647 w 26"/>
                    <a:gd name="T85" fmla="*/ 2147483647 h 42"/>
                    <a:gd name="T86" fmla="*/ 2147483647 w 26"/>
                    <a:gd name="T87" fmla="*/ 2147483647 h 42"/>
                    <a:gd name="T88" fmla="*/ 2147483647 w 26"/>
                    <a:gd name="T89" fmla="*/ 2147483647 h 42"/>
                    <a:gd name="T90" fmla="*/ 2147483647 w 26"/>
                    <a:gd name="T91" fmla="*/ 2147483647 h 4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6"/>
                    <a:gd name="T139" fmla="*/ 0 h 42"/>
                    <a:gd name="T140" fmla="*/ 26 w 26"/>
                    <a:gd name="T141" fmla="*/ 42 h 4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6" h="42">
                      <a:moveTo>
                        <a:pt x="12" y="17"/>
                      </a:moveTo>
                      <a:lnTo>
                        <a:pt x="12" y="17"/>
                      </a:lnTo>
                      <a:lnTo>
                        <a:pt x="10" y="19"/>
                      </a:lnTo>
                      <a:lnTo>
                        <a:pt x="10" y="24"/>
                      </a:lnTo>
                      <a:lnTo>
                        <a:pt x="9" y="27"/>
                      </a:lnTo>
                      <a:lnTo>
                        <a:pt x="10" y="30"/>
                      </a:lnTo>
                      <a:lnTo>
                        <a:pt x="13" y="30"/>
                      </a:lnTo>
                      <a:lnTo>
                        <a:pt x="14" y="29"/>
                      </a:lnTo>
                      <a:lnTo>
                        <a:pt x="17" y="26"/>
                      </a:lnTo>
                      <a:lnTo>
                        <a:pt x="19" y="24"/>
                      </a:lnTo>
                      <a:lnTo>
                        <a:pt x="20" y="23"/>
                      </a:lnTo>
                      <a:lnTo>
                        <a:pt x="22" y="24"/>
                      </a:lnTo>
                      <a:lnTo>
                        <a:pt x="24" y="26"/>
                      </a:lnTo>
                      <a:lnTo>
                        <a:pt x="26" y="29"/>
                      </a:lnTo>
                      <a:lnTo>
                        <a:pt x="26" y="32"/>
                      </a:lnTo>
                      <a:lnTo>
                        <a:pt x="24" y="35"/>
                      </a:lnTo>
                      <a:lnTo>
                        <a:pt x="18" y="41"/>
                      </a:lnTo>
                      <a:lnTo>
                        <a:pt x="13" y="42"/>
                      </a:lnTo>
                      <a:lnTo>
                        <a:pt x="9" y="42"/>
                      </a:lnTo>
                      <a:lnTo>
                        <a:pt x="4" y="41"/>
                      </a:lnTo>
                      <a:lnTo>
                        <a:pt x="1" y="38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0" y="25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1" y="12"/>
                      </a:lnTo>
                      <a:lnTo>
                        <a:pt x="3" y="7"/>
                      </a:lnTo>
                      <a:lnTo>
                        <a:pt x="5" y="7"/>
                      </a:lnTo>
                      <a:lnTo>
                        <a:pt x="6" y="4"/>
                      </a:lnTo>
                      <a:lnTo>
                        <a:pt x="9" y="1"/>
                      </a:lnTo>
                      <a:lnTo>
                        <a:pt x="12" y="0"/>
                      </a:lnTo>
                      <a:lnTo>
                        <a:pt x="14" y="1"/>
                      </a:lnTo>
                      <a:lnTo>
                        <a:pt x="15" y="5"/>
                      </a:lnTo>
                      <a:lnTo>
                        <a:pt x="17" y="10"/>
                      </a:lnTo>
                      <a:lnTo>
                        <a:pt x="15" y="14"/>
                      </a:lnTo>
                      <a:lnTo>
                        <a:pt x="12" y="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907">
                  <a:extLst>
                    <a:ext uri="{FF2B5EF4-FFF2-40B4-BE49-F238E27FC236}">
                      <a16:creationId xmlns:a16="http://schemas.microsoft.com/office/drawing/2014/main" id="{1F41EBAB-6466-BF4E-B78C-3996889A6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5643" y="3024542"/>
                  <a:ext cx="161306" cy="186464"/>
                </a:xfrm>
                <a:custGeom>
                  <a:avLst/>
                  <a:gdLst>
                    <a:gd name="T0" fmla="*/ 2147483647 w 118"/>
                    <a:gd name="T1" fmla="*/ 2147483647 h 126"/>
                    <a:gd name="T2" fmla="*/ 2147483647 w 118"/>
                    <a:gd name="T3" fmla="*/ 2147483647 h 126"/>
                    <a:gd name="T4" fmla="*/ 2147483647 w 118"/>
                    <a:gd name="T5" fmla="*/ 2147483647 h 126"/>
                    <a:gd name="T6" fmla="*/ 2147483647 w 118"/>
                    <a:gd name="T7" fmla="*/ 2147483647 h 126"/>
                    <a:gd name="T8" fmla="*/ 2147483647 w 118"/>
                    <a:gd name="T9" fmla="*/ 2147483647 h 126"/>
                    <a:gd name="T10" fmla="*/ 2147483647 w 118"/>
                    <a:gd name="T11" fmla="*/ 2147483647 h 126"/>
                    <a:gd name="T12" fmla="*/ 2147483647 w 118"/>
                    <a:gd name="T13" fmla="*/ 2147483647 h 126"/>
                    <a:gd name="T14" fmla="*/ 2147483647 w 118"/>
                    <a:gd name="T15" fmla="*/ 2147483647 h 126"/>
                    <a:gd name="T16" fmla="*/ 2147483647 w 118"/>
                    <a:gd name="T17" fmla="*/ 2147483647 h 126"/>
                    <a:gd name="T18" fmla="*/ 2147483647 w 118"/>
                    <a:gd name="T19" fmla="*/ 2147483647 h 126"/>
                    <a:gd name="T20" fmla="*/ 2147483647 w 118"/>
                    <a:gd name="T21" fmla="*/ 2147483647 h 126"/>
                    <a:gd name="T22" fmla="*/ 2147483647 w 118"/>
                    <a:gd name="T23" fmla="*/ 2147483647 h 126"/>
                    <a:gd name="T24" fmla="*/ 2147483647 w 118"/>
                    <a:gd name="T25" fmla="*/ 2147483647 h 126"/>
                    <a:gd name="T26" fmla="*/ 2147483647 w 118"/>
                    <a:gd name="T27" fmla="*/ 2147483647 h 126"/>
                    <a:gd name="T28" fmla="*/ 2147483647 w 118"/>
                    <a:gd name="T29" fmla="*/ 2147483647 h 126"/>
                    <a:gd name="T30" fmla="*/ 2147483647 w 118"/>
                    <a:gd name="T31" fmla="*/ 2147483647 h 126"/>
                    <a:gd name="T32" fmla="*/ 2147483647 w 118"/>
                    <a:gd name="T33" fmla="*/ 2147483647 h 126"/>
                    <a:gd name="T34" fmla="*/ 2147483647 w 118"/>
                    <a:gd name="T35" fmla="*/ 2147483647 h 126"/>
                    <a:gd name="T36" fmla="*/ 2147483647 w 118"/>
                    <a:gd name="T37" fmla="*/ 2147483647 h 126"/>
                    <a:gd name="T38" fmla="*/ 2147483647 w 118"/>
                    <a:gd name="T39" fmla="*/ 2147483647 h 126"/>
                    <a:gd name="T40" fmla="*/ 2147483647 w 118"/>
                    <a:gd name="T41" fmla="*/ 2147483647 h 126"/>
                    <a:gd name="T42" fmla="*/ 2147483647 w 118"/>
                    <a:gd name="T43" fmla="*/ 2147483647 h 126"/>
                    <a:gd name="T44" fmla="*/ 2147483647 w 118"/>
                    <a:gd name="T45" fmla="*/ 2147483647 h 126"/>
                    <a:gd name="T46" fmla="*/ 2147483647 w 118"/>
                    <a:gd name="T47" fmla="*/ 2147483647 h 126"/>
                    <a:gd name="T48" fmla="*/ 2147483647 w 118"/>
                    <a:gd name="T49" fmla="*/ 2147483647 h 126"/>
                    <a:gd name="T50" fmla="*/ 2147483647 w 118"/>
                    <a:gd name="T51" fmla="*/ 2147483647 h 126"/>
                    <a:gd name="T52" fmla="*/ 2147483647 w 118"/>
                    <a:gd name="T53" fmla="*/ 2147483647 h 126"/>
                    <a:gd name="T54" fmla="*/ 2147483647 w 118"/>
                    <a:gd name="T55" fmla="*/ 2147483647 h 126"/>
                    <a:gd name="T56" fmla="*/ 2147483647 w 118"/>
                    <a:gd name="T57" fmla="*/ 2147483647 h 126"/>
                    <a:gd name="T58" fmla="*/ 2147483647 w 118"/>
                    <a:gd name="T59" fmla="*/ 2147483647 h 126"/>
                    <a:gd name="T60" fmla="*/ 2147483647 w 118"/>
                    <a:gd name="T61" fmla="*/ 2147483647 h 126"/>
                    <a:gd name="T62" fmla="*/ 2147483647 w 118"/>
                    <a:gd name="T63" fmla="*/ 2147483647 h 126"/>
                    <a:gd name="T64" fmla="*/ 2147483647 w 118"/>
                    <a:gd name="T65" fmla="*/ 2147483647 h 126"/>
                    <a:gd name="T66" fmla="*/ 2147483647 w 118"/>
                    <a:gd name="T67" fmla="*/ 2147483647 h 126"/>
                    <a:gd name="T68" fmla="*/ 2147483647 w 118"/>
                    <a:gd name="T69" fmla="*/ 2147483647 h 126"/>
                    <a:gd name="T70" fmla="*/ 2147483647 w 118"/>
                    <a:gd name="T71" fmla="*/ 2147483647 h 126"/>
                    <a:gd name="T72" fmla="*/ 2147483647 w 118"/>
                    <a:gd name="T73" fmla="*/ 2147483647 h 126"/>
                    <a:gd name="T74" fmla="*/ 2147483647 w 118"/>
                    <a:gd name="T75" fmla="*/ 2147483647 h 126"/>
                    <a:gd name="T76" fmla="*/ 0 w 118"/>
                    <a:gd name="T77" fmla="*/ 2147483647 h 126"/>
                    <a:gd name="T78" fmla="*/ 2147483647 w 118"/>
                    <a:gd name="T79" fmla="*/ 2147483647 h 126"/>
                    <a:gd name="T80" fmla="*/ 2147483647 w 118"/>
                    <a:gd name="T81" fmla="*/ 2147483647 h 126"/>
                    <a:gd name="T82" fmla="*/ 2147483647 w 118"/>
                    <a:gd name="T83" fmla="*/ 2147483647 h 126"/>
                    <a:gd name="T84" fmla="*/ 2147483647 w 118"/>
                    <a:gd name="T85" fmla="*/ 2147483647 h 126"/>
                    <a:gd name="T86" fmla="*/ 2147483647 w 118"/>
                    <a:gd name="T87" fmla="*/ 2147483647 h 126"/>
                    <a:gd name="T88" fmla="*/ 2147483647 w 118"/>
                    <a:gd name="T89" fmla="*/ 2147483647 h 126"/>
                    <a:gd name="T90" fmla="*/ 2147483647 w 118"/>
                    <a:gd name="T91" fmla="*/ 2147483647 h 126"/>
                    <a:gd name="T92" fmla="*/ 2147483647 w 118"/>
                    <a:gd name="T93" fmla="*/ 2147483647 h 126"/>
                    <a:gd name="T94" fmla="*/ 2147483647 w 118"/>
                    <a:gd name="T95" fmla="*/ 2147483647 h 126"/>
                    <a:gd name="T96" fmla="*/ 2147483647 w 118"/>
                    <a:gd name="T97" fmla="*/ 2147483647 h 126"/>
                    <a:gd name="T98" fmla="*/ 2147483647 w 118"/>
                    <a:gd name="T99" fmla="*/ 2147483647 h 126"/>
                    <a:gd name="T100" fmla="*/ 2147483647 w 118"/>
                    <a:gd name="T101" fmla="*/ 2147483647 h 126"/>
                    <a:gd name="T102" fmla="*/ 2147483647 w 118"/>
                    <a:gd name="T103" fmla="*/ 2147483647 h 126"/>
                    <a:gd name="T104" fmla="*/ 2147483647 w 118"/>
                    <a:gd name="T105" fmla="*/ 2147483647 h 126"/>
                    <a:gd name="T106" fmla="*/ 2147483647 w 118"/>
                    <a:gd name="T107" fmla="*/ 2147483647 h 126"/>
                    <a:gd name="T108" fmla="*/ 2147483647 w 118"/>
                    <a:gd name="T109" fmla="*/ 2147483647 h 126"/>
                    <a:gd name="T110" fmla="*/ 2147483647 w 118"/>
                    <a:gd name="T111" fmla="*/ 2147483647 h 126"/>
                    <a:gd name="T112" fmla="*/ 2147483647 w 118"/>
                    <a:gd name="T113" fmla="*/ 2147483647 h 126"/>
                    <a:gd name="T114" fmla="*/ 2147483647 w 118"/>
                    <a:gd name="T115" fmla="*/ 2147483647 h 126"/>
                    <a:gd name="T116" fmla="*/ 2147483647 w 118"/>
                    <a:gd name="T117" fmla="*/ 2147483647 h 12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18"/>
                    <a:gd name="T178" fmla="*/ 0 h 126"/>
                    <a:gd name="T179" fmla="*/ 118 w 118"/>
                    <a:gd name="T180" fmla="*/ 126 h 12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18" h="126">
                      <a:moveTo>
                        <a:pt x="96" y="121"/>
                      </a:moveTo>
                      <a:lnTo>
                        <a:pt x="97" y="125"/>
                      </a:lnTo>
                      <a:lnTo>
                        <a:pt x="99" y="126"/>
                      </a:lnTo>
                      <a:lnTo>
                        <a:pt x="100" y="126"/>
                      </a:lnTo>
                      <a:lnTo>
                        <a:pt x="103" y="125"/>
                      </a:lnTo>
                      <a:lnTo>
                        <a:pt x="104" y="121"/>
                      </a:lnTo>
                      <a:lnTo>
                        <a:pt x="105" y="115"/>
                      </a:lnTo>
                      <a:lnTo>
                        <a:pt x="109" y="109"/>
                      </a:lnTo>
                      <a:lnTo>
                        <a:pt x="113" y="103"/>
                      </a:lnTo>
                      <a:lnTo>
                        <a:pt x="118" y="98"/>
                      </a:lnTo>
                      <a:lnTo>
                        <a:pt x="113" y="95"/>
                      </a:lnTo>
                      <a:lnTo>
                        <a:pt x="111" y="94"/>
                      </a:lnTo>
                      <a:lnTo>
                        <a:pt x="113" y="90"/>
                      </a:lnTo>
                      <a:lnTo>
                        <a:pt x="116" y="84"/>
                      </a:lnTo>
                      <a:lnTo>
                        <a:pt x="116" y="81"/>
                      </a:lnTo>
                      <a:lnTo>
                        <a:pt x="116" y="80"/>
                      </a:lnTo>
                      <a:lnTo>
                        <a:pt x="115" y="78"/>
                      </a:lnTo>
                      <a:lnTo>
                        <a:pt x="113" y="77"/>
                      </a:lnTo>
                      <a:lnTo>
                        <a:pt x="109" y="78"/>
                      </a:lnTo>
                      <a:lnTo>
                        <a:pt x="104" y="83"/>
                      </a:lnTo>
                      <a:lnTo>
                        <a:pt x="103" y="83"/>
                      </a:lnTo>
                      <a:lnTo>
                        <a:pt x="101" y="82"/>
                      </a:lnTo>
                      <a:lnTo>
                        <a:pt x="103" y="78"/>
                      </a:lnTo>
                      <a:lnTo>
                        <a:pt x="104" y="76"/>
                      </a:lnTo>
                      <a:lnTo>
                        <a:pt x="101" y="75"/>
                      </a:lnTo>
                      <a:lnTo>
                        <a:pt x="100" y="75"/>
                      </a:lnTo>
                      <a:lnTo>
                        <a:pt x="99" y="75"/>
                      </a:lnTo>
                      <a:lnTo>
                        <a:pt x="97" y="76"/>
                      </a:lnTo>
                      <a:lnTo>
                        <a:pt x="95" y="76"/>
                      </a:lnTo>
                      <a:lnTo>
                        <a:pt x="94" y="75"/>
                      </a:lnTo>
                      <a:lnTo>
                        <a:pt x="92" y="72"/>
                      </a:lnTo>
                      <a:lnTo>
                        <a:pt x="92" y="69"/>
                      </a:lnTo>
                      <a:lnTo>
                        <a:pt x="92" y="65"/>
                      </a:lnTo>
                      <a:lnTo>
                        <a:pt x="92" y="62"/>
                      </a:lnTo>
                      <a:lnTo>
                        <a:pt x="90" y="59"/>
                      </a:lnTo>
                      <a:lnTo>
                        <a:pt x="89" y="59"/>
                      </a:lnTo>
                      <a:lnTo>
                        <a:pt x="89" y="58"/>
                      </a:lnTo>
                      <a:lnTo>
                        <a:pt x="89" y="56"/>
                      </a:lnTo>
                      <a:lnTo>
                        <a:pt x="90" y="53"/>
                      </a:lnTo>
                      <a:lnTo>
                        <a:pt x="91" y="51"/>
                      </a:lnTo>
                      <a:lnTo>
                        <a:pt x="90" y="50"/>
                      </a:lnTo>
                      <a:lnTo>
                        <a:pt x="87" y="50"/>
                      </a:lnTo>
                      <a:lnTo>
                        <a:pt x="85" y="51"/>
                      </a:lnTo>
                      <a:lnTo>
                        <a:pt x="83" y="52"/>
                      </a:lnTo>
                      <a:lnTo>
                        <a:pt x="81" y="52"/>
                      </a:lnTo>
                      <a:lnTo>
                        <a:pt x="80" y="51"/>
                      </a:lnTo>
                      <a:lnTo>
                        <a:pt x="78" y="50"/>
                      </a:lnTo>
                      <a:lnTo>
                        <a:pt x="75" y="55"/>
                      </a:lnTo>
                      <a:lnTo>
                        <a:pt x="73" y="57"/>
                      </a:lnTo>
                      <a:lnTo>
                        <a:pt x="72" y="58"/>
                      </a:lnTo>
                      <a:lnTo>
                        <a:pt x="70" y="58"/>
                      </a:lnTo>
                      <a:lnTo>
                        <a:pt x="68" y="58"/>
                      </a:lnTo>
                      <a:lnTo>
                        <a:pt x="64" y="56"/>
                      </a:lnTo>
                      <a:lnTo>
                        <a:pt x="63" y="56"/>
                      </a:lnTo>
                      <a:lnTo>
                        <a:pt x="61" y="57"/>
                      </a:lnTo>
                      <a:lnTo>
                        <a:pt x="58" y="57"/>
                      </a:lnTo>
                      <a:lnTo>
                        <a:pt x="57" y="56"/>
                      </a:lnTo>
                      <a:lnTo>
                        <a:pt x="56" y="55"/>
                      </a:lnTo>
                      <a:lnTo>
                        <a:pt x="57" y="52"/>
                      </a:lnTo>
                      <a:lnTo>
                        <a:pt x="59" y="50"/>
                      </a:lnTo>
                      <a:lnTo>
                        <a:pt x="61" y="46"/>
                      </a:lnTo>
                      <a:lnTo>
                        <a:pt x="61" y="44"/>
                      </a:lnTo>
                      <a:lnTo>
                        <a:pt x="59" y="42"/>
                      </a:lnTo>
                      <a:lnTo>
                        <a:pt x="56" y="39"/>
                      </a:lnTo>
                      <a:lnTo>
                        <a:pt x="54" y="40"/>
                      </a:lnTo>
                      <a:lnTo>
                        <a:pt x="52" y="40"/>
                      </a:lnTo>
                      <a:lnTo>
                        <a:pt x="48" y="44"/>
                      </a:lnTo>
                      <a:lnTo>
                        <a:pt x="44" y="48"/>
                      </a:lnTo>
                      <a:lnTo>
                        <a:pt x="43" y="48"/>
                      </a:lnTo>
                      <a:lnTo>
                        <a:pt x="42" y="46"/>
                      </a:lnTo>
                      <a:lnTo>
                        <a:pt x="40" y="42"/>
                      </a:lnTo>
                      <a:lnTo>
                        <a:pt x="39" y="37"/>
                      </a:lnTo>
                      <a:lnTo>
                        <a:pt x="40" y="32"/>
                      </a:lnTo>
                      <a:lnTo>
                        <a:pt x="43" y="31"/>
                      </a:lnTo>
                      <a:lnTo>
                        <a:pt x="44" y="30"/>
                      </a:lnTo>
                      <a:lnTo>
                        <a:pt x="49" y="27"/>
                      </a:lnTo>
                      <a:lnTo>
                        <a:pt x="53" y="24"/>
                      </a:lnTo>
                      <a:lnTo>
                        <a:pt x="56" y="19"/>
                      </a:lnTo>
                      <a:lnTo>
                        <a:pt x="56" y="14"/>
                      </a:lnTo>
                      <a:lnTo>
                        <a:pt x="57" y="13"/>
                      </a:lnTo>
                      <a:lnTo>
                        <a:pt x="58" y="12"/>
                      </a:lnTo>
                      <a:lnTo>
                        <a:pt x="61" y="11"/>
                      </a:lnTo>
                      <a:lnTo>
                        <a:pt x="63" y="10"/>
                      </a:lnTo>
                      <a:lnTo>
                        <a:pt x="66" y="8"/>
                      </a:lnTo>
                      <a:lnTo>
                        <a:pt x="67" y="6"/>
                      </a:lnTo>
                      <a:lnTo>
                        <a:pt x="68" y="4"/>
                      </a:lnTo>
                      <a:lnTo>
                        <a:pt x="70" y="2"/>
                      </a:lnTo>
                      <a:lnTo>
                        <a:pt x="68" y="0"/>
                      </a:lnTo>
                      <a:lnTo>
                        <a:pt x="66" y="1"/>
                      </a:lnTo>
                      <a:lnTo>
                        <a:pt x="61" y="2"/>
                      </a:lnTo>
                      <a:lnTo>
                        <a:pt x="57" y="1"/>
                      </a:lnTo>
                      <a:lnTo>
                        <a:pt x="53" y="1"/>
                      </a:lnTo>
                      <a:lnTo>
                        <a:pt x="49" y="5"/>
                      </a:lnTo>
                      <a:lnTo>
                        <a:pt x="45" y="7"/>
                      </a:lnTo>
                      <a:lnTo>
                        <a:pt x="40" y="8"/>
                      </a:lnTo>
                      <a:lnTo>
                        <a:pt x="36" y="10"/>
                      </a:lnTo>
                      <a:lnTo>
                        <a:pt x="31" y="15"/>
                      </a:lnTo>
                      <a:lnTo>
                        <a:pt x="28" y="24"/>
                      </a:lnTo>
                      <a:lnTo>
                        <a:pt x="25" y="34"/>
                      </a:lnTo>
                      <a:lnTo>
                        <a:pt x="24" y="44"/>
                      </a:lnTo>
                      <a:lnTo>
                        <a:pt x="23" y="46"/>
                      </a:lnTo>
                      <a:lnTo>
                        <a:pt x="21" y="48"/>
                      </a:lnTo>
                      <a:lnTo>
                        <a:pt x="19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6" y="57"/>
                      </a:lnTo>
                      <a:lnTo>
                        <a:pt x="12" y="63"/>
                      </a:lnTo>
                      <a:lnTo>
                        <a:pt x="7" y="68"/>
                      </a:lnTo>
                      <a:lnTo>
                        <a:pt x="1" y="71"/>
                      </a:lnTo>
                      <a:lnTo>
                        <a:pt x="1" y="72"/>
                      </a:lnTo>
                      <a:lnTo>
                        <a:pt x="2" y="74"/>
                      </a:lnTo>
                      <a:lnTo>
                        <a:pt x="6" y="76"/>
                      </a:lnTo>
                      <a:lnTo>
                        <a:pt x="7" y="77"/>
                      </a:lnTo>
                      <a:lnTo>
                        <a:pt x="6" y="80"/>
                      </a:lnTo>
                      <a:lnTo>
                        <a:pt x="3" y="83"/>
                      </a:lnTo>
                      <a:lnTo>
                        <a:pt x="0" y="88"/>
                      </a:lnTo>
                      <a:lnTo>
                        <a:pt x="0" y="93"/>
                      </a:lnTo>
                      <a:lnTo>
                        <a:pt x="0" y="97"/>
                      </a:lnTo>
                      <a:lnTo>
                        <a:pt x="2" y="98"/>
                      </a:lnTo>
                      <a:lnTo>
                        <a:pt x="3" y="98"/>
                      </a:lnTo>
                      <a:lnTo>
                        <a:pt x="10" y="95"/>
                      </a:lnTo>
                      <a:lnTo>
                        <a:pt x="14" y="93"/>
                      </a:lnTo>
                      <a:lnTo>
                        <a:pt x="17" y="93"/>
                      </a:lnTo>
                      <a:lnTo>
                        <a:pt x="24" y="93"/>
                      </a:lnTo>
                      <a:lnTo>
                        <a:pt x="30" y="94"/>
                      </a:lnTo>
                      <a:lnTo>
                        <a:pt x="38" y="95"/>
                      </a:lnTo>
                      <a:lnTo>
                        <a:pt x="44" y="95"/>
                      </a:lnTo>
                      <a:lnTo>
                        <a:pt x="47" y="94"/>
                      </a:lnTo>
                      <a:lnTo>
                        <a:pt x="49" y="93"/>
                      </a:lnTo>
                      <a:lnTo>
                        <a:pt x="54" y="90"/>
                      </a:lnTo>
                      <a:lnTo>
                        <a:pt x="56" y="90"/>
                      </a:lnTo>
                      <a:lnTo>
                        <a:pt x="56" y="91"/>
                      </a:lnTo>
                      <a:lnTo>
                        <a:pt x="57" y="94"/>
                      </a:lnTo>
                      <a:lnTo>
                        <a:pt x="58" y="96"/>
                      </a:lnTo>
                      <a:lnTo>
                        <a:pt x="59" y="98"/>
                      </a:lnTo>
                      <a:lnTo>
                        <a:pt x="62" y="98"/>
                      </a:lnTo>
                      <a:lnTo>
                        <a:pt x="64" y="97"/>
                      </a:lnTo>
                      <a:lnTo>
                        <a:pt x="70" y="94"/>
                      </a:lnTo>
                      <a:lnTo>
                        <a:pt x="72" y="93"/>
                      </a:lnTo>
                      <a:lnTo>
                        <a:pt x="75" y="94"/>
                      </a:lnTo>
                      <a:lnTo>
                        <a:pt x="76" y="95"/>
                      </a:lnTo>
                      <a:lnTo>
                        <a:pt x="76" y="96"/>
                      </a:lnTo>
                      <a:lnTo>
                        <a:pt x="73" y="97"/>
                      </a:lnTo>
                      <a:lnTo>
                        <a:pt x="70" y="101"/>
                      </a:lnTo>
                      <a:lnTo>
                        <a:pt x="67" y="104"/>
                      </a:lnTo>
                      <a:lnTo>
                        <a:pt x="63" y="108"/>
                      </a:lnTo>
                      <a:lnTo>
                        <a:pt x="61" y="112"/>
                      </a:lnTo>
                      <a:lnTo>
                        <a:pt x="57" y="112"/>
                      </a:lnTo>
                      <a:lnTo>
                        <a:pt x="53" y="113"/>
                      </a:lnTo>
                      <a:lnTo>
                        <a:pt x="50" y="114"/>
                      </a:lnTo>
                      <a:lnTo>
                        <a:pt x="50" y="115"/>
                      </a:lnTo>
                      <a:lnTo>
                        <a:pt x="50" y="116"/>
                      </a:lnTo>
                      <a:lnTo>
                        <a:pt x="53" y="119"/>
                      </a:lnTo>
                      <a:lnTo>
                        <a:pt x="56" y="119"/>
                      </a:lnTo>
                      <a:lnTo>
                        <a:pt x="62" y="117"/>
                      </a:lnTo>
                      <a:lnTo>
                        <a:pt x="67" y="115"/>
                      </a:lnTo>
                      <a:lnTo>
                        <a:pt x="71" y="112"/>
                      </a:lnTo>
                      <a:lnTo>
                        <a:pt x="76" y="106"/>
                      </a:lnTo>
                      <a:lnTo>
                        <a:pt x="80" y="100"/>
                      </a:lnTo>
                      <a:lnTo>
                        <a:pt x="85" y="95"/>
                      </a:lnTo>
                      <a:lnTo>
                        <a:pt x="87" y="93"/>
                      </a:lnTo>
                      <a:lnTo>
                        <a:pt x="91" y="93"/>
                      </a:lnTo>
                      <a:lnTo>
                        <a:pt x="92" y="93"/>
                      </a:lnTo>
                      <a:lnTo>
                        <a:pt x="92" y="94"/>
                      </a:lnTo>
                      <a:lnTo>
                        <a:pt x="92" y="96"/>
                      </a:lnTo>
                      <a:lnTo>
                        <a:pt x="90" y="101"/>
                      </a:lnTo>
                      <a:lnTo>
                        <a:pt x="86" y="106"/>
                      </a:lnTo>
                      <a:lnTo>
                        <a:pt x="83" y="109"/>
                      </a:lnTo>
                      <a:lnTo>
                        <a:pt x="85" y="112"/>
                      </a:lnTo>
                      <a:lnTo>
                        <a:pt x="86" y="114"/>
                      </a:lnTo>
                      <a:lnTo>
                        <a:pt x="87" y="114"/>
                      </a:lnTo>
                      <a:lnTo>
                        <a:pt x="89" y="114"/>
                      </a:lnTo>
                      <a:lnTo>
                        <a:pt x="90" y="112"/>
                      </a:lnTo>
                      <a:lnTo>
                        <a:pt x="92" y="109"/>
                      </a:lnTo>
                      <a:lnTo>
                        <a:pt x="94" y="109"/>
                      </a:lnTo>
                      <a:lnTo>
                        <a:pt x="95" y="110"/>
                      </a:lnTo>
                      <a:lnTo>
                        <a:pt x="97" y="112"/>
                      </a:lnTo>
                      <a:lnTo>
                        <a:pt x="97" y="115"/>
                      </a:lnTo>
                      <a:lnTo>
                        <a:pt x="96" y="1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4" name="Freeform 908">
                  <a:extLst>
                    <a:ext uri="{FF2B5EF4-FFF2-40B4-BE49-F238E27FC236}">
                      <a16:creationId xmlns:a16="http://schemas.microsoft.com/office/drawing/2014/main" id="{A0CF5AE0-C57E-B440-B663-EAE9D3D96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5349" y="1671939"/>
                  <a:ext cx="691101" cy="361089"/>
                </a:xfrm>
                <a:custGeom>
                  <a:avLst/>
                  <a:gdLst>
                    <a:gd name="T0" fmla="*/ 2147483647 w 505"/>
                    <a:gd name="T1" fmla="*/ 2147483647 h 244"/>
                    <a:gd name="T2" fmla="*/ 2147483647 w 505"/>
                    <a:gd name="T3" fmla="*/ 2147483647 h 244"/>
                    <a:gd name="T4" fmla="*/ 2147483647 w 505"/>
                    <a:gd name="T5" fmla="*/ 2147483647 h 244"/>
                    <a:gd name="T6" fmla="*/ 2147483647 w 505"/>
                    <a:gd name="T7" fmla="*/ 2147483647 h 244"/>
                    <a:gd name="T8" fmla="*/ 2147483647 w 505"/>
                    <a:gd name="T9" fmla="*/ 2147483647 h 244"/>
                    <a:gd name="T10" fmla="*/ 2147483647 w 505"/>
                    <a:gd name="T11" fmla="*/ 2147483647 h 244"/>
                    <a:gd name="T12" fmla="*/ 2147483647 w 505"/>
                    <a:gd name="T13" fmla="*/ 2147483647 h 244"/>
                    <a:gd name="T14" fmla="*/ 2147483647 w 505"/>
                    <a:gd name="T15" fmla="*/ 2147483647 h 244"/>
                    <a:gd name="T16" fmla="*/ 2147483647 w 505"/>
                    <a:gd name="T17" fmla="*/ 2147483647 h 244"/>
                    <a:gd name="T18" fmla="*/ 2147483647 w 505"/>
                    <a:gd name="T19" fmla="*/ 2147483647 h 244"/>
                    <a:gd name="T20" fmla="*/ 2147483647 w 505"/>
                    <a:gd name="T21" fmla="*/ 2147483647 h 244"/>
                    <a:gd name="T22" fmla="*/ 2147483647 w 505"/>
                    <a:gd name="T23" fmla="*/ 2147483647 h 244"/>
                    <a:gd name="T24" fmla="*/ 2147483647 w 505"/>
                    <a:gd name="T25" fmla="*/ 2147483647 h 244"/>
                    <a:gd name="T26" fmla="*/ 2147483647 w 505"/>
                    <a:gd name="T27" fmla="*/ 2147483647 h 244"/>
                    <a:gd name="T28" fmla="*/ 2147483647 w 505"/>
                    <a:gd name="T29" fmla="*/ 2147483647 h 244"/>
                    <a:gd name="T30" fmla="*/ 2147483647 w 505"/>
                    <a:gd name="T31" fmla="*/ 2147483647 h 244"/>
                    <a:gd name="T32" fmla="*/ 2147483647 w 505"/>
                    <a:gd name="T33" fmla="*/ 2147483647 h 244"/>
                    <a:gd name="T34" fmla="*/ 2147483647 w 505"/>
                    <a:gd name="T35" fmla="*/ 2147483647 h 244"/>
                    <a:gd name="T36" fmla="*/ 2147483647 w 505"/>
                    <a:gd name="T37" fmla="*/ 2147483647 h 244"/>
                    <a:gd name="T38" fmla="*/ 2147483647 w 505"/>
                    <a:gd name="T39" fmla="*/ 2147483647 h 244"/>
                    <a:gd name="T40" fmla="*/ 2147483647 w 505"/>
                    <a:gd name="T41" fmla="*/ 2147483647 h 244"/>
                    <a:gd name="T42" fmla="*/ 2147483647 w 505"/>
                    <a:gd name="T43" fmla="*/ 2147483647 h 244"/>
                    <a:gd name="T44" fmla="*/ 2147483647 w 505"/>
                    <a:gd name="T45" fmla="*/ 2147483647 h 244"/>
                    <a:gd name="T46" fmla="*/ 2147483647 w 505"/>
                    <a:gd name="T47" fmla="*/ 2147483647 h 244"/>
                    <a:gd name="T48" fmla="*/ 2147483647 w 505"/>
                    <a:gd name="T49" fmla="*/ 2147483647 h 244"/>
                    <a:gd name="T50" fmla="*/ 2147483647 w 505"/>
                    <a:gd name="T51" fmla="*/ 2147483647 h 244"/>
                    <a:gd name="T52" fmla="*/ 2147483647 w 505"/>
                    <a:gd name="T53" fmla="*/ 2147483647 h 244"/>
                    <a:gd name="T54" fmla="*/ 2147483647 w 505"/>
                    <a:gd name="T55" fmla="*/ 2147483647 h 244"/>
                    <a:gd name="T56" fmla="*/ 2147483647 w 505"/>
                    <a:gd name="T57" fmla="*/ 2147483647 h 244"/>
                    <a:gd name="T58" fmla="*/ 2147483647 w 505"/>
                    <a:gd name="T59" fmla="*/ 2147483647 h 244"/>
                    <a:gd name="T60" fmla="*/ 2147483647 w 505"/>
                    <a:gd name="T61" fmla="*/ 2147483647 h 244"/>
                    <a:gd name="T62" fmla="*/ 2147483647 w 505"/>
                    <a:gd name="T63" fmla="*/ 2147483647 h 244"/>
                    <a:gd name="T64" fmla="*/ 2147483647 w 505"/>
                    <a:gd name="T65" fmla="*/ 2147483647 h 244"/>
                    <a:gd name="T66" fmla="*/ 2147483647 w 505"/>
                    <a:gd name="T67" fmla="*/ 2147483647 h 244"/>
                    <a:gd name="T68" fmla="*/ 2147483647 w 505"/>
                    <a:gd name="T69" fmla="*/ 2147483647 h 244"/>
                    <a:gd name="T70" fmla="*/ 2147483647 w 505"/>
                    <a:gd name="T71" fmla="*/ 2147483647 h 244"/>
                    <a:gd name="T72" fmla="*/ 2147483647 w 505"/>
                    <a:gd name="T73" fmla="*/ 2147483647 h 244"/>
                    <a:gd name="T74" fmla="*/ 2147483647 w 505"/>
                    <a:gd name="T75" fmla="*/ 2147483647 h 244"/>
                    <a:gd name="T76" fmla="*/ 2147483647 w 505"/>
                    <a:gd name="T77" fmla="*/ 2147483647 h 244"/>
                    <a:gd name="T78" fmla="*/ 2147483647 w 505"/>
                    <a:gd name="T79" fmla="*/ 2147483647 h 244"/>
                    <a:gd name="T80" fmla="*/ 2147483647 w 505"/>
                    <a:gd name="T81" fmla="*/ 2147483647 h 244"/>
                    <a:gd name="T82" fmla="*/ 2147483647 w 505"/>
                    <a:gd name="T83" fmla="*/ 2147483647 h 244"/>
                    <a:gd name="T84" fmla="*/ 2147483647 w 505"/>
                    <a:gd name="T85" fmla="*/ 2147483647 h 244"/>
                    <a:gd name="T86" fmla="*/ 2147483647 w 505"/>
                    <a:gd name="T87" fmla="*/ 2147483647 h 244"/>
                    <a:gd name="T88" fmla="*/ 2147483647 w 505"/>
                    <a:gd name="T89" fmla="*/ 2147483647 h 244"/>
                    <a:gd name="T90" fmla="*/ 2147483647 w 505"/>
                    <a:gd name="T91" fmla="*/ 2147483647 h 244"/>
                    <a:gd name="T92" fmla="*/ 2147483647 w 505"/>
                    <a:gd name="T93" fmla="*/ 2147483647 h 244"/>
                    <a:gd name="T94" fmla="*/ 2147483647 w 505"/>
                    <a:gd name="T95" fmla="*/ 2147483647 h 244"/>
                    <a:gd name="T96" fmla="*/ 2147483647 w 505"/>
                    <a:gd name="T97" fmla="*/ 2147483647 h 244"/>
                    <a:gd name="T98" fmla="*/ 2147483647 w 505"/>
                    <a:gd name="T99" fmla="*/ 2147483647 h 244"/>
                    <a:gd name="T100" fmla="*/ 2147483647 w 505"/>
                    <a:gd name="T101" fmla="*/ 2147483647 h 244"/>
                    <a:gd name="T102" fmla="*/ 2147483647 w 505"/>
                    <a:gd name="T103" fmla="*/ 2147483647 h 244"/>
                    <a:gd name="T104" fmla="*/ 2147483647 w 505"/>
                    <a:gd name="T105" fmla="*/ 2147483647 h 244"/>
                    <a:gd name="T106" fmla="*/ 2147483647 w 505"/>
                    <a:gd name="T107" fmla="*/ 2147483647 h 244"/>
                    <a:gd name="T108" fmla="*/ 2147483647 w 505"/>
                    <a:gd name="T109" fmla="*/ 2147483647 h 244"/>
                    <a:gd name="T110" fmla="*/ 2147483647 w 505"/>
                    <a:gd name="T111" fmla="*/ 2147483647 h 244"/>
                    <a:gd name="T112" fmla="*/ 2147483647 w 505"/>
                    <a:gd name="T113" fmla="*/ 2147483647 h 244"/>
                    <a:gd name="T114" fmla="*/ 2147483647 w 505"/>
                    <a:gd name="T115" fmla="*/ 2147483647 h 244"/>
                    <a:gd name="T116" fmla="*/ 2147483647 w 505"/>
                    <a:gd name="T117" fmla="*/ 2147483647 h 24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505"/>
                    <a:gd name="T178" fmla="*/ 0 h 244"/>
                    <a:gd name="T179" fmla="*/ 505 w 505"/>
                    <a:gd name="T180" fmla="*/ 244 h 24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505" h="244">
                      <a:moveTo>
                        <a:pt x="465" y="69"/>
                      </a:moveTo>
                      <a:lnTo>
                        <a:pt x="459" y="71"/>
                      </a:lnTo>
                      <a:lnTo>
                        <a:pt x="451" y="72"/>
                      </a:lnTo>
                      <a:lnTo>
                        <a:pt x="443" y="74"/>
                      </a:lnTo>
                      <a:lnTo>
                        <a:pt x="436" y="77"/>
                      </a:lnTo>
                      <a:lnTo>
                        <a:pt x="433" y="77"/>
                      </a:lnTo>
                      <a:lnTo>
                        <a:pt x="429" y="77"/>
                      </a:lnTo>
                      <a:lnTo>
                        <a:pt x="427" y="77"/>
                      </a:lnTo>
                      <a:lnTo>
                        <a:pt x="423" y="78"/>
                      </a:lnTo>
                      <a:lnTo>
                        <a:pt x="420" y="82"/>
                      </a:lnTo>
                      <a:lnTo>
                        <a:pt x="418" y="85"/>
                      </a:lnTo>
                      <a:lnTo>
                        <a:pt x="414" y="89"/>
                      </a:lnTo>
                      <a:lnTo>
                        <a:pt x="413" y="89"/>
                      </a:lnTo>
                      <a:lnTo>
                        <a:pt x="410" y="89"/>
                      </a:lnTo>
                      <a:lnTo>
                        <a:pt x="406" y="88"/>
                      </a:lnTo>
                      <a:lnTo>
                        <a:pt x="405" y="88"/>
                      </a:lnTo>
                      <a:lnTo>
                        <a:pt x="403" y="88"/>
                      </a:lnTo>
                      <a:lnTo>
                        <a:pt x="398" y="90"/>
                      </a:lnTo>
                      <a:lnTo>
                        <a:pt x="391" y="91"/>
                      </a:lnTo>
                      <a:lnTo>
                        <a:pt x="386" y="92"/>
                      </a:lnTo>
                      <a:lnTo>
                        <a:pt x="381" y="94"/>
                      </a:lnTo>
                      <a:lnTo>
                        <a:pt x="377" y="95"/>
                      </a:lnTo>
                      <a:lnTo>
                        <a:pt x="373" y="96"/>
                      </a:lnTo>
                      <a:lnTo>
                        <a:pt x="371" y="95"/>
                      </a:lnTo>
                      <a:lnTo>
                        <a:pt x="367" y="94"/>
                      </a:lnTo>
                      <a:lnTo>
                        <a:pt x="365" y="94"/>
                      </a:lnTo>
                      <a:lnTo>
                        <a:pt x="363" y="94"/>
                      </a:lnTo>
                      <a:lnTo>
                        <a:pt x="361" y="98"/>
                      </a:lnTo>
                      <a:lnTo>
                        <a:pt x="358" y="101"/>
                      </a:lnTo>
                      <a:lnTo>
                        <a:pt x="354" y="103"/>
                      </a:lnTo>
                      <a:lnTo>
                        <a:pt x="349" y="103"/>
                      </a:lnTo>
                      <a:lnTo>
                        <a:pt x="353" y="107"/>
                      </a:lnTo>
                      <a:lnTo>
                        <a:pt x="354" y="109"/>
                      </a:lnTo>
                      <a:lnTo>
                        <a:pt x="353" y="111"/>
                      </a:lnTo>
                      <a:lnTo>
                        <a:pt x="353" y="113"/>
                      </a:lnTo>
                      <a:lnTo>
                        <a:pt x="351" y="113"/>
                      </a:lnTo>
                      <a:lnTo>
                        <a:pt x="347" y="113"/>
                      </a:lnTo>
                      <a:lnTo>
                        <a:pt x="345" y="110"/>
                      </a:lnTo>
                      <a:lnTo>
                        <a:pt x="344" y="110"/>
                      </a:lnTo>
                      <a:lnTo>
                        <a:pt x="342" y="111"/>
                      </a:lnTo>
                      <a:lnTo>
                        <a:pt x="339" y="111"/>
                      </a:lnTo>
                      <a:lnTo>
                        <a:pt x="334" y="111"/>
                      </a:lnTo>
                      <a:lnTo>
                        <a:pt x="334" y="113"/>
                      </a:lnTo>
                      <a:lnTo>
                        <a:pt x="333" y="113"/>
                      </a:lnTo>
                      <a:lnTo>
                        <a:pt x="335" y="117"/>
                      </a:lnTo>
                      <a:lnTo>
                        <a:pt x="335" y="120"/>
                      </a:lnTo>
                      <a:lnTo>
                        <a:pt x="335" y="121"/>
                      </a:lnTo>
                      <a:lnTo>
                        <a:pt x="330" y="122"/>
                      </a:lnTo>
                      <a:lnTo>
                        <a:pt x="326" y="122"/>
                      </a:lnTo>
                      <a:lnTo>
                        <a:pt x="321" y="123"/>
                      </a:lnTo>
                      <a:lnTo>
                        <a:pt x="318" y="126"/>
                      </a:lnTo>
                      <a:lnTo>
                        <a:pt x="315" y="126"/>
                      </a:lnTo>
                      <a:lnTo>
                        <a:pt x="311" y="122"/>
                      </a:lnTo>
                      <a:lnTo>
                        <a:pt x="306" y="121"/>
                      </a:lnTo>
                      <a:lnTo>
                        <a:pt x="301" y="120"/>
                      </a:lnTo>
                      <a:lnTo>
                        <a:pt x="296" y="117"/>
                      </a:lnTo>
                      <a:lnTo>
                        <a:pt x="295" y="117"/>
                      </a:lnTo>
                      <a:lnTo>
                        <a:pt x="293" y="117"/>
                      </a:lnTo>
                      <a:lnTo>
                        <a:pt x="292" y="119"/>
                      </a:lnTo>
                      <a:lnTo>
                        <a:pt x="293" y="120"/>
                      </a:lnTo>
                      <a:lnTo>
                        <a:pt x="295" y="121"/>
                      </a:lnTo>
                      <a:lnTo>
                        <a:pt x="297" y="122"/>
                      </a:lnTo>
                      <a:lnTo>
                        <a:pt x="300" y="122"/>
                      </a:lnTo>
                      <a:lnTo>
                        <a:pt x="302" y="123"/>
                      </a:lnTo>
                      <a:lnTo>
                        <a:pt x="304" y="126"/>
                      </a:lnTo>
                      <a:lnTo>
                        <a:pt x="304" y="127"/>
                      </a:lnTo>
                      <a:lnTo>
                        <a:pt x="302" y="128"/>
                      </a:lnTo>
                      <a:lnTo>
                        <a:pt x="300" y="128"/>
                      </a:lnTo>
                      <a:lnTo>
                        <a:pt x="299" y="127"/>
                      </a:lnTo>
                      <a:lnTo>
                        <a:pt x="297" y="127"/>
                      </a:lnTo>
                      <a:lnTo>
                        <a:pt x="295" y="127"/>
                      </a:lnTo>
                      <a:lnTo>
                        <a:pt x="291" y="129"/>
                      </a:lnTo>
                      <a:lnTo>
                        <a:pt x="286" y="130"/>
                      </a:lnTo>
                      <a:lnTo>
                        <a:pt x="276" y="130"/>
                      </a:lnTo>
                      <a:lnTo>
                        <a:pt x="265" y="129"/>
                      </a:lnTo>
                      <a:lnTo>
                        <a:pt x="257" y="126"/>
                      </a:lnTo>
                      <a:lnTo>
                        <a:pt x="252" y="126"/>
                      </a:lnTo>
                      <a:lnTo>
                        <a:pt x="246" y="124"/>
                      </a:lnTo>
                      <a:lnTo>
                        <a:pt x="243" y="123"/>
                      </a:lnTo>
                      <a:lnTo>
                        <a:pt x="240" y="123"/>
                      </a:lnTo>
                      <a:lnTo>
                        <a:pt x="239" y="123"/>
                      </a:lnTo>
                      <a:lnTo>
                        <a:pt x="239" y="126"/>
                      </a:lnTo>
                      <a:lnTo>
                        <a:pt x="239" y="127"/>
                      </a:lnTo>
                      <a:lnTo>
                        <a:pt x="243" y="129"/>
                      </a:lnTo>
                      <a:lnTo>
                        <a:pt x="246" y="130"/>
                      </a:lnTo>
                      <a:lnTo>
                        <a:pt x="250" y="132"/>
                      </a:lnTo>
                      <a:lnTo>
                        <a:pt x="254" y="134"/>
                      </a:lnTo>
                      <a:lnTo>
                        <a:pt x="259" y="136"/>
                      </a:lnTo>
                      <a:lnTo>
                        <a:pt x="265" y="138"/>
                      </a:lnTo>
                      <a:lnTo>
                        <a:pt x="271" y="139"/>
                      </a:lnTo>
                      <a:lnTo>
                        <a:pt x="276" y="140"/>
                      </a:lnTo>
                      <a:lnTo>
                        <a:pt x="278" y="141"/>
                      </a:lnTo>
                      <a:lnTo>
                        <a:pt x="278" y="143"/>
                      </a:lnTo>
                      <a:lnTo>
                        <a:pt x="268" y="142"/>
                      </a:lnTo>
                      <a:lnTo>
                        <a:pt x="258" y="141"/>
                      </a:lnTo>
                      <a:lnTo>
                        <a:pt x="248" y="140"/>
                      </a:lnTo>
                      <a:lnTo>
                        <a:pt x="239" y="138"/>
                      </a:lnTo>
                      <a:lnTo>
                        <a:pt x="235" y="135"/>
                      </a:lnTo>
                      <a:lnTo>
                        <a:pt x="232" y="133"/>
                      </a:lnTo>
                      <a:lnTo>
                        <a:pt x="230" y="133"/>
                      </a:lnTo>
                      <a:lnTo>
                        <a:pt x="229" y="133"/>
                      </a:lnTo>
                      <a:lnTo>
                        <a:pt x="226" y="136"/>
                      </a:lnTo>
                      <a:lnTo>
                        <a:pt x="226" y="139"/>
                      </a:lnTo>
                      <a:lnTo>
                        <a:pt x="227" y="141"/>
                      </a:lnTo>
                      <a:lnTo>
                        <a:pt x="231" y="143"/>
                      </a:lnTo>
                      <a:lnTo>
                        <a:pt x="235" y="146"/>
                      </a:lnTo>
                      <a:lnTo>
                        <a:pt x="243" y="146"/>
                      </a:lnTo>
                      <a:lnTo>
                        <a:pt x="241" y="148"/>
                      </a:lnTo>
                      <a:lnTo>
                        <a:pt x="239" y="149"/>
                      </a:lnTo>
                      <a:lnTo>
                        <a:pt x="235" y="151"/>
                      </a:lnTo>
                      <a:lnTo>
                        <a:pt x="232" y="152"/>
                      </a:lnTo>
                      <a:lnTo>
                        <a:pt x="231" y="154"/>
                      </a:lnTo>
                      <a:lnTo>
                        <a:pt x="231" y="155"/>
                      </a:lnTo>
                      <a:lnTo>
                        <a:pt x="234" y="157"/>
                      </a:lnTo>
                      <a:lnTo>
                        <a:pt x="239" y="158"/>
                      </a:lnTo>
                      <a:lnTo>
                        <a:pt x="243" y="158"/>
                      </a:lnTo>
                      <a:lnTo>
                        <a:pt x="252" y="155"/>
                      </a:lnTo>
                      <a:lnTo>
                        <a:pt x="254" y="157"/>
                      </a:lnTo>
                      <a:lnTo>
                        <a:pt x="255" y="157"/>
                      </a:lnTo>
                      <a:lnTo>
                        <a:pt x="259" y="153"/>
                      </a:lnTo>
                      <a:lnTo>
                        <a:pt x="262" y="153"/>
                      </a:lnTo>
                      <a:lnTo>
                        <a:pt x="263" y="153"/>
                      </a:lnTo>
                      <a:lnTo>
                        <a:pt x="271" y="157"/>
                      </a:lnTo>
                      <a:lnTo>
                        <a:pt x="276" y="158"/>
                      </a:lnTo>
                      <a:lnTo>
                        <a:pt x="279" y="159"/>
                      </a:lnTo>
                      <a:lnTo>
                        <a:pt x="281" y="159"/>
                      </a:lnTo>
                      <a:lnTo>
                        <a:pt x="281" y="160"/>
                      </a:lnTo>
                      <a:lnTo>
                        <a:pt x="279" y="162"/>
                      </a:lnTo>
                      <a:lnTo>
                        <a:pt x="278" y="162"/>
                      </a:lnTo>
                      <a:lnTo>
                        <a:pt x="277" y="162"/>
                      </a:lnTo>
                      <a:lnTo>
                        <a:pt x="274" y="162"/>
                      </a:lnTo>
                      <a:lnTo>
                        <a:pt x="271" y="165"/>
                      </a:lnTo>
                      <a:lnTo>
                        <a:pt x="267" y="166"/>
                      </a:lnTo>
                      <a:lnTo>
                        <a:pt x="259" y="168"/>
                      </a:lnTo>
                      <a:lnTo>
                        <a:pt x="258" y="170"/>
                      </a:lnTo>
                      <a:lnTo>
                        <a:pt x="255" y="172"/>
                      </a:lnTo>
                      <a:lnTo>
                        <a:pt x="254" y="173"/>
                      </a:lnTo>
                      <a:lnTo>
                        <a:pt x="250" y="173"/>
                      </a:lnTo>
                      <a:lnTo>
                        <a:pt x="248" y="173"/>
                      </a:lnTo>
                      <a:lnTo>
                        <a:pt x="246" y="173"/>
                      </a:lnTo>
                      <a:lnTo>
                        <a:pt x="243" y="174"/>
                      </a:lnTo>
                      <a:lnTo>
                        <a:pt x="239" y="174"/>
                      </a:lnTo>
                      <a:lnTo>
                        <a:pt x="235" y="173"/>
                      </a:lnTo>
                      <a:lnTo>
                        <a:pt x="232" y="172"/>
                      </a:lnTo>
                      <a:lnTo>
                        <a:pt x="229" y="172"/>
                      </a:lnTo>
                      <a:lnTo>
                        <a:pt x="227" y="172"/>
                      </a:lnTo>
                      <a:lnTo>
                        <a:pt x="227" y="184"/>
                      </a:lnTo>
                      <a:lnTo>
                        <a:pt x="226" y="190"/>
                      </a:lnTo>
                      <a:lnTo>
                        <a:pt x="224" y="194"/>
                      </a:lnTo>
                      <a:lnTo>
                        <a:pt x="222" y="196"/>
                      </a:lnTo>
                      <a:lnTo>
                        <a:pt x="219" y="196"/>
                      </a:lnTo>
                      <a:lnTo>
                        <a:pt x="211" y="196"/>
                      </a:lnTo>
                      <a:lnTo>
                        <a:pt x="203" y="196"/>
                      </a:lnTo>
                      <a:lnTo>
                        <a:pt x="196" y="198"/>
                      </a:lnTo>
                      <a:lnTo>
                        <a:pt x="187" y="198"/>
                      </a:lnTo>
                      <a:lnTo>
                        <a:pt x="183" y="197"/>
                      </a:lnTo>
                      <a:lnTo>
                        <a:pt x="179" y="196"/>
                      </a:lnTo>
                      <a:lnTo>
                        <a:pt x="172" y="190"/>
                      </a:lnTo>
                      <a:lnTo>
                        <a:pt x="168" y="187"/>
                      </a:lnTo>
                      <a:lnTo>
                        <a:pt x="163" y="186"/>
                      </a:lnTo>
                      <a:lnTo>
                        <a:pt x="163" y="189"/>
                      </a:lnTo>
                      <a:lnTo>
                        <a:pt x="164" y="189"/>
                      </a:lnTo>
                      <a:lnTo>
                        <a:pt x="164" y="190"/>
                      </a:lnTo>
                      <a:lnTo>
                        <a:pt x="168" y="196"/>
                      </a:lnTo>
                      <a:lnTo>
                        <a:pt x="170" y="202"/>
                      </a:lnTo>
                      <a:lnTo>
                        <a:pt x="173" y="204"/>
                      </a:lnTo>
                      <a:lnTo>
                        <a:pt x="175" y="205"/>
                      </a:lnTo>
                      <a:lnTo>
                        <a:pt x="179" y="206"/>
                      </a:lnTo>
                      <a:lnTo>
                        <a:pt x="183" y="205"/>
                      </a:lnTo>
                      <a:lnTo>
                        <a:pt x="194" y="204"/>
                      </a:lnTo>
                      <a:lnTo>
                        <a:pt x="199" y="204"/>
                      </a:lnTo>
                      <a:lnTo>
                        <a:pt x="205" y="206"/>
                      </a:lnTo>
                      <a:lnTo>
                        <a:pt x="216" y="216"/>
                      </a:lnTo>
                      <a:lnTo>
                        <a:pt x="222" y="221"/>
                      </a:lnTo>
                      <a:lnTo>
                        <a:pt x="229" y="223"/>
                      </a:lnTo>
                      <a:lnTo>
                        <a:pt x="229" y="224"/>
                      </a:lnTo>
                      <a:lnTo>
                        <a:pt x="227" y="225"/>
                      </a:lnTo>
                      <a:lnTo>
                        <a:pt x="217" y="228"/>
                      </a:lnTo>
                      <a:lnTo>
                        <a:pt x="210" y="232"/>
                      </a:lnTo>
                      <a:lnTo>
                        <a:pt x="201" y="237"/>
                      </a:lnTo>
                      <a:lnTo>
                        <a:pt x="193" y="241"/>
                      </a:lnTo>
                      <a:lnTo>
                        <a:pt x="188" y="243"/>
                      </a:lnTo>
                      <a:lnTo>
                        <a:pt x="185" y="244"/>
                      </a:lnTo>
                      <a:lnTo>
                        <a:pt x="183" y="243"/>
                      </a:lnTo>
                      <a:lnTo>
                        <a:pt x="182" y="242"/>
                      </a:lnTo>
                      <a:lnTo>
                        <a:pt x="180" y="239"/>
                      </a:lnTo>
                      <a:lnTo>
                        <a:pt x="180" y="236"/>
                      </a:lnTo>
                      <a:lnTo>
                        <a:pt x="179" y="232"/>
                      </a:lnTo>
                      <a:lnTo>
                        <a:pt x="178" y="232"/>
                      </a:lnTo>
                      <a:lnTo>
                        <a:pt x="175" y="231"/>
                      </a:lnTo>
                      <a:lnTo>
                        <a:pt x="172" y="232"/>
                      </a:lnTo>
                      <a:lnTo>
                        <a:pt x="168" y="231"/>
                      </a:lnTo>
                      <a:lnTo>
                        <a:pt x="155" y="229"/>
                      </a:lnTo>
                      <a:lnTo>
                        <a:pt x="150" y="229"/>
                      </a:lnTo>
                      <a:lnTo>
                        <a:pt x="146" y="230"/>
                      </a:lnTo>
                      <a:lnTo>
                        <a:pt x="144" y="232"/>
                      </a:lnTo>
                      <a:lnTo>
                        <a:pt x="141" y="232"/>
                      </a:lnTo>
                      <a:lnTo>
                        <a:pt x="141" y="234"/>
                      </a:lnTo>
                      <a:lnTo>
                        <a:pt x="140" y="234"/>
                      </a:lnTo>
                      <a:lnTo>
                        <a:pt x="137" y="234"/>
                      </a:lnTo>
                      <a:lnTo>
                        <a:pt x="136" y="231"/>
                      </a:lnTo>
                      <a:lnTo>
                        <a:pt x="135" y="230"/>
                      </a:lnTo>
                      <a:lnTo>
                        <a:pt x="130" y="230"/>
                      </a:lnTo>
                      <a:lnTo>
                        <a:pt x="123" y="230"/>
                      </a:lnTo>
                      <a:lnTo>
                        <a:pt x="118" y="230"/>
                      </a:lnTo>
                      <a:lnTo>
                        <a:pt x="117" y="229"/>
                      </a:lnTo>
                      <a:lnTo>
                        <a:pt x="116" y="228"/>
                      </a:lnTo>
                      <a:lnTo>
                        <a:pt x="114" y="224"/>
                      </a:lnTo>
                      <a:lnTo>
                        <a:pt x="111" y="223"/>
                      </a:lnTo>
                      <a:lnTo>
                        <a:pt x="108" y="224"/>
                      </a:lnTo>
                      <a:lnTo>
                        <a:pt x="104" y="225"/>
                      </a:lnTo>
                      <a:lnTo>
                        <a:pt x="102" y="228"/>
                      </a:lnTo>
                      <a:lnTo>
                        <a:pt x="102" y="229"/>
                      </a:lnTo>
                      <a:lnTo>
                        <a:pt x="103" y="230"/>
                      </a:lnTo>
                      <a:lnTo>
                        <a:pt x="104" y="232"/>
                      </a:lnTo>
                      <a:lnTo>
                        <a:pt x="105" y="234"/>
                      </a:lnTo>
                      <a:lnTo>
                        <a:pt x="104" y="236"/>
                      </a:lnTo>
                      <a:lnTo>
                        <a:pt x="103" y="237"/>
                      </a:lnTo>
                      <a:lnTo>
                        <a:pt x="102" y="237"/>
                      </a:lnTo>
                      <a:lnTo>
                        <a:pt x="100" y="237"/>
                      </a:lnTo>
                      <a:lnTo>
                        <a:pt x="93" y="235"/>
                      </a:lnTo>
                      <a:lnTo>
                        <a:pt x="85" y="235"/>
                      </a:lnTo>
                      <a:lnTo>
                        <a:pt x="71" y="237"/>
                      </a:lnTo>
                      <a:lnTo>
                        <a:pt x="70" y="236"/>
                      </a:lnTo>
                      <a:lnTo>
                        <a:pt x="69" y="235"/>
                      </a:lnTo>
                      <a:lnTo>
                        <a:pt x="66" y="232"/>
                      </a:lnTo>
                      <a:lnTo>
                        <a:pt x="64" y="232"/>
                      </a:lnTo>
                      <a:lnTo>
                        <a:pt x="61" y="234"/>
                      </a:lnTo>
                      <a:lnTo>
                        <a:pt x="59" y="235"/>
                      </a:lnTo>
                      <a:lnTo>
                        <a:pt x="55" y="235"/>
                      </a:lnTo>
                      <a:lnTo>
                        <a:pt x="51" y="234"/>
                      </a:lnTo>
                      <a:lnTo>
                        <a:pt x="48" y="235"/>
                      </a:lnTo>
                      <a:lnTo>
                        <a:pt x="45" y="235"/>
                      </a:lnTo>
                      <a:lnTo>
                        <a:pt x="41" y="234"/>
                      </a:lnTo>
                      <a:lnTo>
                        <a:pt x="38" y="231"/>
                      </a:lnTo>
                      <a:lnTo>
                        <a:pt x="38" y="228"/>
                      </a:lnTo>
                      <a:lnTo>
                        <a:pt x="38" y="224"/>
                      </a:lnTo>
                      <a:lnTo>
                        <a:pt x="39" y="221"/>
                      </a:lnTo>
                      <a:lnTo>
                        <a:pt x="41" y="221"/>
                      </a:lnTo>
                      <a:lnTo>
                        <a:pt x="43" y="223"/>
                      </a:lnTo>
                      <a:lnTo>
                        <a:pt x="47" y="219"/>
                      </a:lnTo>
                      <a:lnTo>
                        <a:pt x="50" y="215"/>
                      </a:lnTo>
                      <a:lnTo>
                        <a:pt x="51" y="215"/>
                      </a:lnTo>
                      <a:lnTo>
                        <a:pt x="55" y="215"/>
                      </a:lnTo>
                      <a:lnTo>
                        <a:pt x="59" y="215"/>
                      </a:lnTo>
                      <a:lnTo>
                        <a:pt x="62" y="213"/>
                      </a:lnTo>
                      <a:lnTo>
                        <a:pt x="64" y="210"/>
                      </a:lnTo>
                      <a:lnTo>
                        <a:pt x="57" y="207"/>
                      </a:lnTo>
                      <a:lnTo>
                        <a:pt x="52" y="204"/>
                      </a:lnTo>
                      <a:lnTo>
                        <a:pt x="50" y="199"/>
                      </a:lnTo>
                      <a:lnTo>
                        <a:pt x="48" y="197"/>
                      </a:lnTo>
                      <a:lnTo>
                        <a:pt x="50" y="193"/>
                      </a:lnTo>
                      <a:lnTo>
                        <a:pt x="51" y="191"/>
                      </a:lnTo>
                      <a:lnTo>
                        <a:pt x="55" y="190"/>
                      </a:lnTo>
                      <a:lnTo>
                        <a:pt x="62" y="187"/>
                      </a:lnTo>
                      <a:lnTo>
                        <a:pt x="65" y="186"/>
                      </a:lnTo>
                      <a:lnTo>
                        <a:pt x="69" y="187"/>
                      </a:lnTo>
                      <a:lnTo>
                        <a:pt x="74" y="189"/>
                      </a:lnTo>
                      <a:lnTo>
                        <a:pt x="80" y="192"/>
                      </a:lnTo>
                      <a:lnTo>
                        <a:pt x="85" y="196"/>
                      </a:lnTo>
                      <a:lnTo>
                        <a:pt x="90" y="199"/>
                      </a:lnTo>
                      <a:lnTo>
                        <a:pt x="93" y="199"/>
                      </a:lnTo>
                      <a:lnTo>
                        <a:pt x="95" y="199"/>
                      </a:lnTo>
                      <a:lnTo>
                        <a:pt x="99" y="198"/>
                      </a:lnTo>
                      <a:lnTo>
                        <a:pt x="103" y="198"/>
                      </a:lnTo>
                      <a:lnTo>
                        <a:pt x="108" y="198"/>
                      </a:lnTo>
                      <a:lnTo>
                        <a:pt x="116" y="197"/>
                      </a:lnTo>
                      <a:lnTo>
                        <a:pt x="122" y="194"/>
                      </a:lnTo>
                      <a:lnTo>
                        <a:pt x="123" y="192"/>
                      </a:lnTo>
                      <a:lnTo>
                        <a:pt x="125" y="190"/>
                      </a:lnTo>
                      <a:lnTo>
                        <a:pt x="125" y="187"/>
                      </a:lnTo>
                      <a:lnTo>
                        <a:pt x="126" y="184"/>
                      </a:lnTo>
                      <a:lnTo>
                        <a:pt x="130" y="178"/>
                      </a:lnTo>
                      <a:lnTo>
                        <a:pt x="132" y="174"/>
                      </a:lnTo>
                      <a:lnTo>
                        <a:pt x="133" y="173"/>
                      </a:lnTo>
                      <a:lnTo>
                        <a:pt x="132" y="173"/>
                      </a:lnTo>
                      <a:lnTo>
                        <a:pt x="122" y="177"/>
                      </a:lnTo>
                      <a:lnTo>
                        <a:pt x="117" y="183"/>
                      </a:lnTo>
                      <a:lnTo>
                        <a:pt x="113" y="185"/>
                      </a:lnTo>
                      <a:lnTo>
                        <a:pt x="107" y="185"/>
                      </a:lnTo>
                      <a:lnTo>
                        <a:pt x="100" y="184"/>
                      </a:lnTo>
                      <a:lnTo>
                        <a:pt x="95" y="181"/>
                      </a:lnTo>
                      <a:lnTo>
                        <a:pt x="92" y="179"/>
                      </a:lnTo>
                      <a:lnTo>
                        <a:pt x="92" y="175"/>
                      </a:lnTo>
                      <a:lnTo>
                        <a:pt x="93" y="171"/>
                      </a:lnTo>
                      <a:lnTo>
                        <a:pt x="92" y="170"/>
                      </a:lnTo>
                      <a:lnTo>
                        <a:pt x="90" y="171"/>
                      </a:lnTo>
                      <a:lnTo>
                        <a:pt x="86" y="174"/>
                      </a:lnTo>
                      <a:lnTo>
                        <a:pt x="83" y="177"/>
                      </a:lnTo>
                      <a:lnTo>
                        <a:pt x="79" y="178"/>
                      </a:lnTo>
                      <a:lnTo>
                        <a:pt x="75" y="178"/>
                      </a:lnTo>
                      <a:lnTo>
                        <a:pt x="71" y="178"/>
                      </a:lnTo>
                      <a:lnTo>
                        <a:pt x="67" y="179"/>
                      </a:lnTo>
                      <a:lnTo>
                        <a:pt x="60" y="181"/>
                      </a:lnTo>
                      <a:lnTo>
                        <a:pt x="56" y="183"/>
                      </a:lnTo>
                      <a:lnTo>
                        <a:pt x="52" y="181"/>
                      </a:lnTo>
                      <a:lnTo>
                        <a:pt x="50" y="180"/>
                      </a:lnTo>
                      <a:lnTo>
                        <a:pt x="48" y="179"/>
                      </a:lnTo>
                      <a:lnTo>
                        <a:pt x="48" y="177"/>
                      </a:lnTo>
                      <a:lnTo>
                        <a:pt x="48" y="174"/>
                      </a:lnTo>
                      <a:lnTo>
                        <a:pt x="56" y="165"/>
                      </a:lnTo>
                      <a:lnTo>
                        <a:pt x="57" y="164"/>
                      </a:lnTo>
                      <a:lnTo>
                        <a:pt x="60" y="162"/>
                      </a:lnTo>
                      <a:lnTo>
                        <a:pt x="65" y="161"/>
                      </a:lnTo>
                      <a:lnTo>
                        <a:pt x="66" y="160"/>
                      </a:lnTo>
                      <a:lnTo>
                        <a:pt x="67" y="158"/>
                      </a:lnTo>
                      <a:lnTo>
                        <a:pt x="70" y="154"/>
                      </a:lnTo>
                      <a:lnTo>
                        <a:pt x="71" y="152"/>
                      </a:lnTo>
                      <a:lnTo>
                        <a:pt x="74" y="152"/>
                      </a:lnTo>
                      <a:lnTo>
                        <a:pt x="78" y="155"/>
                      </a:lnTo>
                      <a:lnTo>
                        <a:pt x="80" y="157"/>
                      </a:lnTo>
                      <a:lnTo>
                        <a:pt x="83" y="157"/>
                      </a:lnTo>
                      <a:lnTo>
                        <a:pt x="85" y="155"/>
                      </a:lnTo>
                      <a:lnTo>
                        <a:pt x="86" y="153"/>
                      </a:lnTo>
                      <a:lnTo>
                        <a:pt x="89" y="153"/>
                      </a:lnTo>
                      <a:lnTo>
                        <a:pt x="92" y="154"/>
                      </a:lnTo>
                      <a:lnTo>
                        <a:pt x="94" y="155"/>
                      </a:lnTo>
                      <a:lnTo>
                        <a:pt x="97" y="155"/>
                      </a:lnTo>
                      <a:lnTo>
                        <a:pt x="100" y="154"/>
                      </a:lnTo>
                      <a:lnTo>
                        <a:pt x="104" y="154"/>
                      </a:lnTo>
                      <a:lnTo>
                        <a:pt x="107" y="154"/>
                      </a:lnTo>
                      <a:lnTo>
                        <a:pt x="111" y="154"/>
                      </a:lnTo>
                      <a:lnTo>
                        <a:pt x="112" y="153"/>
                      </a:lnTo>
                      <a:lnTo>
                        <a:pt x="113" y="151"/>
                      </a:lnTo>
                      <a:lnTo>
                        <a:pt x="116" y="151"/>
                      </a:lnTo>
                      <a:lnTo>
                        <a:pt x="119" y="152"/>
                      </a:lnTo>
                      <a:lnTo>
                        <a:pt x="121" y="152"/>
                      </a:lnTo>
                      <a:lnTo>
                        <a:pt x="123" y="151"/>
                      </a:lnTo>
                      <a:lnTo>
                        <a:pt x="128" y="147"/>
                      </a:lnTo>
                      <a:lnTo>
                        <a:pt x="130" y="145"/>
                      </a:lnTo>
                      <a:lnTo>
                        <a:pt x="130" y="142"/>
                      </a:lnTo>
                      <a:lnTo>
                        <a:pt x="128" y="141"/>
                      </a:lnTo>
                      <a:lnTo>
                        <a:pt x="122" y="145"/>
                      </a:lnTo>
                      <a:lnTo>
                        <a:pt x="116" y="147"/>
                      </a:lnTo>
                      <a:lnTo>
                        <a:pt x="109" y="147"/>
                      </a:lnTo>
                      <a:lnTo>
                        <a:pt x="103" y="146"/>
                      </a:lnTo>
                      <a:lnTo>
                        <a:pt x="98" y="145"/>
                      </a:lnTo>
                      <a:lnTo>
                        <a:pt x="93" y="145"/>
                      </a:lnTo>
                      <a:lnTo>
                        <a:pt x="88" y="146"/>
                      </a:lnTo>
                      <a:lnTo>
                        <a:pt x="84" y="145"/>
                      </a:lnTo>
                      <a:lnTo>
                        <a:pt x="83" y="143"/>
                      </a:lnTo>
                      <a:lnTo>
                        <a:pt x="81" y="142"/>
                      </a:lnTo>
                      <a:lnTo>
                        <a:pt x="81" y="139"/>
                      </a:lnTo>
                      <a:lnTo>
                        <a:pt x="83" y="134"/>
                      </a:lnTo>
                      <a:lnTo>
                        <a:pt x="83" y="130"/>
                      </a:lnTo>
                      <a:lnTo>
                        <a:pt x="79" y="128"/>
                      </a:lnTo>
                      <a:lnTo>
                        <a:pt x="76" y="128"/>
                      </a:lnTo>
                      <a:lnTo>
                        <a:pt x="72" y="128"/>
                      </a:lnTo>
                      <a:lnTo>
                        <a:pt x="69" y="128"/>
                      </a:lnTo>
                      <a:lnTo>
                        <a:pt x="67" y="126"/>
                      </a:lnTo>
                      <a:lnTo>
                        <a:pt x="65" y="123"/>
                      </a:lnTo>
                      <a:lnTo>
                        <a:pt x="64" y="117"/>
                      </a:lnTo>
                      <a:lnTo>
                        <a:pt x="64" y="111"/>
                      </a:lnTo>
                      <a:lnTo>
                        <a:pt x="65" y="107"/>
                      </a:lnTo>
                      <a:lnTo>
                        <a:pt x="67" y="104"/>
                      </a:lnTo>
                      <a:lnTo>
                        <a:pt x="71" y="102"/>
                      </a:lnTo>
                      <a:lnTo>
                        <a:pt x="76" y="102"/>
                      </a:lnTo>
                      <a:lnTo>
                        <a:pt x="81" y="103"/>
                      </a:lnTo>
                      <a:lnTo>
                        <a:pt x="92" y="104"/>
                      </a:lnTo>
                      <a:lnTo>
                        <a:pt x="98" y="106"/>
                      </a:lnTo>
                      <a:lnTo>
                        <a:pt x="103" y="104"/>
                      </a:lnTo>
                      <a:lnTo>
                        <a:pt x="114" y="103"/>
                      </a:lnTo>
                      <a:lnTo>
                        <a:pt x="119" y="103"/>
                      </a:lnTo>
                      <a:lnTo>
                        <a:pt x="126" y="104"/>
                      </a:lnTo>
                      <a:lnTo>
                        <a:pt x="128" y="106"/>
                      </a:lnTo>
                      <a:lnTo>
                        <a:pt x="131" y="108"/>
                      </a:lnTo>
                      <a:lnTo>
                        <a:pt x="133" y="114"/>
                      </a:lnTo>
                      <a:lnTo>
                        <a:pt x="136" y="119"/>
                      </a:lnTo>
                      <a:lnTo>
                        <a:pt x="137" y="121"/>
                      </a:lnTo>
                      <a:lnTo>
                        <a:pt x="140" y="123"/>
                      </a:lnTo>
                      <a:lnTo>
                        <a:pt x="144" y="123"/>
                      </a:lnTo>
                      <a:lnTo>
                        <a:pt x="147" y="124"/>
                      </a:lnTo>
                      <a:lnTo>
                        <a:pt x="151" y="129"/>
                      </a:lnTo>
                      <a:lnTo>
                        <a:pt x="154" y="132"/>
                      </a:lnTo>
                      <a:lnTo>
                        <a:pt x="158" y="133"/>
                      </a:lnTo>
                      <a:lnTo>
                        <a:pt x="164" y="133"/>
                      </a:lnTo>
                      <a:lnTo>
                        <a:pt x="170" y="133"/>
                      </a:lnTo>
                      <a:lnTo>
                        <a:pt x="177" y="130"/>
                      </a:lnTo>
                      <a:lnTo>
                        <a:pt x="182" y="127"/>
                      </a:lnTo>
                      <a:lnTo>
                        <a:pt x="174" y="124"/>
                      </a:lnTo>
                      <a:lnTo>
                        <a:pt x="165" y="122"/>
                      </a:lnTo>
                      <a:lnTo>
                        <a:pt x="161" y="121"/>
                      </a:lnTo>
                      <a:lnTo>
                        <a:pt x="159" y="117"/>
                      </a:lnTo>
                      <a:lnTo>
                        <a:pt x="156" y="115"/>
                      </a:lnTo>
                      <a:lnTo>
                        <a:pt x="156" y="110"/>
                      </a:lnTo>
                      <a:lnTo>
                        <a:pt x="156" y="109"/>
                      </a:lnTo>
                      <a:lnTo>
                        <a:pt x="154" y="108"/>
                      </a:lnTo>
                      <a:lnTo>
                        <a:pt x="151" y="107"/>
                      </a:lnTo>
                      <a:lnTo>
                        <a:pt x="150" y="106"/>
                      </a:lnTo>
                      <a:lnTo>
                        <a:pt x="151" y="102"/>
                      </a:lnTo>
                      <a:lnTo>
                        <a:pt x="152" y="101"/>
                      </a:lnTo>
                      <a:lnTo>
                        <a:pt x="155" y="100"/>
                      </a:lnTo>
                      <a:lnTo>
                        <a:pt x="159" y="100"/>
                      </a:lnTo>
                      <a:lnTo>
                        <a:pt x="163" y="100"/>
                      </a:lnTo>
                      <a:lnTo>
                        <a:pt x="170" y="97"/>
                      </a:lnTo>
                      <a:lnTo>
                        <a:pt x="179" y="96"/>
                      </a:lnTo>
                      <a:lnTo>
                        <a:pt x="194" y="96"/>
                      </a:lnTo>
                      <a:lnTo>
                        <a:pt x="198" y="95"/>
                      </a:lnTo>
                      <a:lnTo>
                        <a:pt x="202" y="92"/>
                      </a:lnTo>
                      <a:lnTo>
                        <a:pt x="206" y="90"/>
                      </a:lnTo>
                      <a:lnTo>
                        <a:pt x="208" y="88"/>
                      </a:lnTo>
                      <a:lnTo>
                        <a:pt x="215" y="87"/>
                      </a:lnTo>
                      <a:lnTo>
                        <a:pt x="221" y="87"/>
                      </a:lnTo>
                      <a:lnTo>
                        <a:pt x="227" y="87"/>
                      </a:lnTo>
                      <a:lnTo>
                        <a:pt x="234" y="84"/>
                      </a:lnTo>
                      <a:lnTo>
                        <a:pt x="235" y="83"/>
                      </a:lnTo>
                      <a:lnTo>
                        <a:pt x="235" y="82"/>
                      </a:lnTo>
                      <a:lnTo>
                        <a:pt x="235" y="79"/>
                      </a:lnTo>
                      <a:lnTo>
                        <a:pt x="234" y="79"/>
                      </a:lnTo>
                      <a:lnTo>
                        <a:pt x="227" y="78"/>
                      </a:lnTo>
                      <a:lnTo>
                        <a:pt x="220" y="79"/>
                      </a:lnTo>
                      <a:lnTo>
                        <a:pt x="213" y="81"/>
                      </a:lnTo>
                      <a:lnTo>
                        <a:pt x="210" y="81"/>
                      </a:lnTo>
                      <a:lnTo>
                        <a:pt x="207" y="79"/>
                      </a:lnTo>
                      <a:lnTo>
                        <a:pt x="208" y="77"/>
                      </a:lnTo>
                      <a:lnTo>
                        <a:pt x="221" y="72"/>
                      </a:lnTo>
                      <a:lnTo>
                        <a:pt x="226" y="70"/>
                      </a:lnTo>
                      <a:lnTo>
                        <a:pt x="226" y="69"/>
                      </a:lnTo>
                      <a:lnTo>
                        <a:pt x="221" y="66"/>
                      </a:lnTo>
                      <a:lnTo>
                        <a:pt x="216" y="65"/>
                      </a:lnTo>
                      <a:lnTo>
                        <a:pt x="211" y="66"/>
                      </a:lnTo>
                      <a:lnTo>
                        <a:pt x="206" y="69"/>
                      </a:lnTo>
                      <a:lnTo>
                        <a:pt x="196" y="76"/>
                      </a:lnTo>
                      <a:lnTo>
                        <a:pt x="187" y="84"/>
                      </a:lnTo>
                      <a:lnTo>
                        <a:pt x="183" y="85"/>
                      </a:lnTo>
                      <a:lnTo>
                        <a:pt x="178" y="87"/>
                      </a:lnTo>
                      <a:lnTo>
                        <a:pt x="147" y="90"/>
                      </a:lnTo>
                      <a:lnTo>
                        <a:pt x="117" y="92"/>
                      </a:lnTo>
                      <a:lnTo>
                        <a:pt x="89" y="92"/>
                      </a:lnTo>
                      <a:lnTo>
                        <a:pt x="75" y="92"/>
                      </a:lnTo>
                      <a:lnTo>
                        <a:pt x="61" y="91"/>
                      </a:lnTo>
                      <a:lnTo>
                        <a:pt x="55" y="89"/>
                      </a:lnTo>
                      <a:lnTo>
                        <a:pt x="52" y="88"/>
                      </a:lnTo>
                      <a:lnTo>
                        <a:pt x="52" y="87"/>
                      </a:lnTo>
                      <a:lnTo>
                        <a:pt x="52" y="85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6" y="76"/>
                      </a:lnTo>
                      <a:lnTo>
                        <a:pt x="70" y="71"/>
                      </a:lnTo>
                      <a:lnTo>
                        <a:pt x="69" y="71"/>
                      </a:lnTo>
                      <a:lnTo>
                        <a:pt x="66" y="71"/>
                      </a:lnTo>
                      <a:lnTo>
                        <a:pt x="64" y="72"/>
                      </a:lnTo>
                      <a:lnTo>
                        <a:pt x="62" y="74"/>
                      </a:lnTo>
                      <a:lnTo>
                        <a:pt x="55" y="75"/>
                      </a:lnTo>
                      <a:lnTo>
                        <a:pt x="48" y="77"/>
                      </a:lnTo>
                      <a:lnTo>
                        <a:pt x="43" y="79"/>
                      </a:lnTo>
                      <a:lnTo>
                        <a:pt x="36" y="82"/>
                      </a:lnTo>
                      <a:lnTo>
                        <a:pt x="33" y="82"/>
                      </a:lnTo>
                      <a:lnTo>
                        <a:pt x="29" y="79"/>
                      </a:lnTo>
                      <a:lnTo>
                        <a:pt x="25" y="77"/>
                      </a:lnTo>
                      <a:lnTo>
                        <a:pt x="23" y="74"/>
                      </a:lnTo>
                      <a:lnTo>
                        <a:pt x="27" y="71"/>
                      </a:lnTo>
                      <a:lnTo>
                        <a:pt x="31" y="69"/>
                      </a:lnTo>
                      <a:lnTo>
                        <a:pt x="37" y="62"/>
                      </a:lnTo>
                      <a:lnTo>
                        <a:pt x="36" y="60"/>
                      </a:lnTo>
                      <a:lnTo>
                        <a:pt x="34" y="60"/>
                      </a:lnTo>
                      <a:lnTo>
                        <a:pt x="32" y="62"/>
                      </a:lnTo>
                      <a:lnTo>
                        <a:pt x="29" y="64"/>
                      </a:lnTo>
                      <a:lnTo>
                        <a:pt x="25" y="65"/>
                      </a:lnTo>
                      <a:lnTo>
                        <a:pt x="23" y="65"/>
                      </a:lnTo>
                      <a:lnTo>
                        <a:pt x="18" y="63"/>
                      </a:lnTo>
                      <a:lnTo>
                        <a:pt x="15" y="63"/>
                      </a:lnTo>
                      <a:lnTo>
                        <a:pt x="13" y="64"/>
                      </a:lnTo>
                      <a:lnTo>
                        <a:pt x="9" y="64"/>
                      </a:lnTo>
                      <a:lnTo>
                        <a:pt x="5" y="64"/>
                      </a:lnTo>
                      <a:lnTo>
                        <a:pt x="4" y="64"/>
                      </a:lnTo>
                      <a:lnTo>
                        <a:pt x="3" y="64"/>
                      </a:lnTo>
                      <a:lnTo>
                        <a:pt x="1" y="60"/>
                      </a:lnTo>
                      <a:lnTo>
                        <a:pt x="0" y="53"/>
                      </a:lnTo>
                      <a:lnTo>
                        <a:pt x="1" y="50"/>
                      </a:lnTo>
                      <a:lnTo>
                        <a:pt x="4" y="47"/>
                      </a:lnTo>
                      <a:lnTo>
                        <a:pt x="8" y="46"/>
                      </a:lnTo>
                      <a:lnTo>
                        <a:pt x="12" y="45"/>
                      </a:lnTo>
                      <a:lnTo>
                        <a:pt x="15" y="46"/>
                      </a:lnTo>
                      <a:lnTo>
                        <a:pt x="18" y="45"/>
                      </a:lnTo>
                      <a:lnTo>
                        <a:pt x="33" y="43"/>
                      </a:lnTo>
                      <a:lnTo>
                        <a:pt x="47" y="43"/>
                      </a:lnTo>
                      <a:lnTo>
                        <a:pt x="52" y="43"/>
                      </a:lnTo>
                      <a:lnTo>
                        <a:pt x="56" y="42"/>
                      </a:lnTo>
                      <a:lnTo>
                        <a:pt x="65" y="40"/>
                      </a:lnTo>
                      <a:lnTo>
                        <a:pt x="72" y="39"/>
                      </a:lnTo>
                      <a:lnTo>
                        <a:pt x="81" y="37"/>
                      </a:lnTo>
                      <a:lnTo>
                        <a:pt x="89" y="37"/>
                      </a:lnTo>
                      <a:lnTo>
                        <a:pt x="100" y="38"/>
                      </a:lnTo>
                      <a:lnTo>
                        <a:pt x="111" y="38"/>
                      </a:lnTo>
                      <a:lnTo>
                        <a:pt x="122" y="37"/>
                      </a:lnTo>
                      <a:lnTo>
                        <a:pt x="131" y="34"/>
                      </a:lnTo>
                      <a:lnTo>
                        <a:pt x="136" y="31"/>
                      </a:lnTo>
                      <a:lnTo>
                        <a:pt x="141" y="26"/>
                      </a:lnTo>
                      <a:lnTo>
                        <a:pt x="146" y="25"/>
                      </a:lnTo>
                      <a:lnTo>
                        <a:pt x="151" y="24"/>
                      </a:lnTo>
                      <a:lnTo>
                        <a:pt x="161" y="21"/>
                      </a:lnTo>
                      <a:lnTo>
                        <a:pt x="168" y="20"/>
                      </a:lnTo>
                      <a:lnTo>
                        <a:pt x="173" y="20"/>
                      </a:lnTo>
                      <a:lnTo>
                        <a:pt x="179" y="19"/>
                      </a:lnTo>
                      <a:lnTo>
                        <a:pt x="185" y="18"/>
                      </a:lnTo>
                      <a:lnTo>
                        <a:pt x="194" y="17"/>
                      </a:lnTo>
                      <a:lnTo>
                        <a:pt x="205" y="17"/>
                      </a:lnTo>
                      <a:lnTo>
                        <a:pt x="213" y="17"/>
                      </a:lnTo>
                      <a:lnTo>
                        <a:pt x="224" y="17"/>
                      </a:lnTo>
                      <a:lnTo>
                        <a:pt x="238" y="15"/>
                      </a:lnTo>
                      <a:lnTo>
                        <a:pt x="252" y="13"/>
                      </a:lnTo>
                      <a:lnTo>
                        <a:pt x="265" y="12"/>
                      </a:lnTo>
                      <a:lnTo>
                        <a:pt x="279" y="12"/>
                      </a:lnTo>
                      <a:lnTo>
                        <a:pt x="290" y="12"/>
                      </a:lnTo>
                      <a:lnTo>
                        <a:pt x="295" y="12"/>
                      </a:lnTo>
                      <a:lnTo>
                        <a:pt x="300" y="11"/>
                      </a:lnTo>
                      <a:lnTo>
                        <a:pt x="306" y="8"/>
                      </a:lnTo>
                      <a:lnTo>
                        <a:pt x="312" y="7"/>
                      </a:lnTo>
                      <a:lnTo>
                        <a:pt x="326" y="4"/>
                      </a:lnTo>
                      <a:lnTo>
                        <a:pt x="328" y="4"/>
                      </a:lnTo>
                      <a:lnTo>
                        <a:pt x="329" y="4"/>
                      </a:lnTo>
                      <a:lnTo>
                        <a:pt x="334" y="9"/>
                      </a:lnTo>
                      <a:lnTo>
                        <a:pt x="337" y="11"/>
                      </a:lnTo>
                      <a:lnTo>
                        <a:pt x="338" y="11"/>
                      </a:lnTo>
                      <a:lnTo>
                        <a:pt x="339" y="9"/>
                      </a:lnTo>
                      <a:lnTo>
                        <a:pt x="348" y="4"/>
                      </a:lnTo>
                      <a:lnTo>
                        <a:pt x="352" y="1"/>
                      </a:lnTo>
                      <a:lnTo>
                        <a:pt x="354" y="0"/>
                      </a:lnTo>
                      <a:lnTo>
                        <a:pt x="372" y="4"/>
                      </a:lnTo>
                      <a:lnTo>
                        <a:pt x="387" y="7"/>
                      </a:lnTo>
                      <a:lnTo>
                        <a:pt x="404" y="8"/>
                      </a:lnTo>
                      <a:lnTo>
                        <a:pt x="423" y="8"/>
                      </a:lnTo>
                      <a:lnTo>
                        <a:pt x="423" y="11"/>
                      </a:lnTo>
                      <a:lnTo>
                        <a:pt x="422" y="11"/>
                      </a:lnTo>
                      <a:lnTo>
                        <a:pt x="418" y="12"/>
                      </a:lnTo>
                      <a:lnTo>
                        <a:pt x="413" y="13"/>
                      </a:lnTo>
                      <a:lnTo>
                        <a:pt x="412" y="14"/>
                      </a:lnTo>
                      <a:lnTo>
                        <a:pt x="410" y="15"/>
                      </a:lnTo>
                      <a:lnTo>
                        <a:pt x="418" y="17"/>
                      </a:lnTo>
                      <a:lnTo>
                        <a:pt x="424" y="15"/>
                      </a:lnTo>
                      <a:lnTo>
                        <a:pt x="439" y="13"/>
                      </a:lnTo>
                      <a:lnTo>
                        <a:pt x="446" y="11"/>
                      </a:lnTo>
                      <a:lnTo>
                        <a:pt x="450" y="11"/>
                      </a:lnTo>
                      <a:lnTo>
                        <a:pt x="452" y="12"/>
                      </a:lnTo>
                      <a:lnTo>
                        <a:pt x="455" y="14"/>
                      </a:lnTo>
                      <a:lnTo>
                        <a:pt x="459" y="17"/>
                      </a:lnTo>
                      <a:lnTo>
                        <a:pt x="462" y="17"/>
                      </a:lnTo>
                      <a:lnTo>
                        <a:pt x="465" y="15"/>
                      </a:lnTo>
                      <a:lnTo>
                        <a:pt x="474" y="14"/>
                      </a:lnTo>
                      <a:lnTo>
                        <a:pt x="478" y="15"/>
                      </a:lnTo>
                      <a:lnTo>
                        <a:pt x="483" y="19"/>
                      </a:lnTo>
                      <a:lnTo>
                        <a:pt x="484" y="19"/>
                      </a:lnTo>
                      <a:lnTo>
                        <a:pt x="485" y="19"/>
                      </a:lnTo>
                      <a:lnTo>
                        <a:pt x="486" y="23"/>
                      </a:lnTo>
                      <a:lnTo>
                        <a:pt x="489" y="25"/>
                      </a:lnTo>
                      <a:lnTo>
                        <a:pt x="493" y="28"/>
                      </a:lnTo>
                      <a:lnTo>
                        <a:pt x="499" y="30"/>
                      </a:lnTo>
                      <a:lnTo>
                        <a:pt x="505" y="31"/>
                      </a:lnTo>
                      <a:lnTo>
                        <a:pt x="505" y="32"/>
                      </a:lnTo>
                      <a:lnTo>
                        <a:pt x="505" y="33"/>
                      </a:lnTo>
                      <a:lnTo>
                        <a:pt x="500" y="36"/>
                      </a:lnTo>
                      <a:lnTo>
                        <a:pt x="497" y="38"/>
                      </a:lnTo>
                      <a:lnTo>
                        <a:pt x="489" y="44"/>
                      </a:lnTo>
                      <a:lnTo>
                        <a:pt x="483" y="46"/>
                      </a:lnTo>
                      <a:lnTo>
                        <a:pt x="476" y="47"/>
                      </a:lnTo>
                      <a:lnTo>
                        <a:pt x="470" y="50"/>
                      </a:lnTo>
                      <a:lnTo>
                        <a:pt x="465" y="52"/>
                      </a:lnTo>
                      <a:lnTo>
                        <a:pt x="461" y="52"/>
                      </a:lnTo>
                      <a:lnTo>
                        <a:pt x="457" y="51"/>
                      </a:lnTo>
                      <a:lnTo>
                        <a:pt x="451" y="49"/>
                      </a:lnTo>
                      <a:lnTo>
                        <a:pt x="446" y="47"/>
                      </a:lnTo>
                      <a:lnTo>
                        <a:pt x="442" y="49"/>
                      </a:lnTo>
                      <a:lnTo>
                        <a:pt x="437" y="50"/>
                      </a:lnTo>
                      <a:lnTo>
                        <a:pt x="432" y="52"/>
                      </a:lnTo>
                      <a:lnTo>
                        <a:pt x="427" y="53"/>
                      </a:lnTo>
                      <a:lnTo>
                        <a:pt x="422" y="55"/>
                      </a:lnTo>
                      <a:lnTo>
                        <a:pt x="410" y="53"/>
                      </a:lnTo>
                      <a:lnTo>
                        <a:pt x="399" y="53"/>
                      </a:lnTo>
                      <a:lnTo>
                        <a:pt x="394" y="55"/>
                      </a:lnTo>
                      <a:lnTo>
                        <a:pt x="389" y="57"/>
                      </a:lnTo>
                      <a:lnTo>
                        <a:pt x="392" y="58"/>
                      </a:lnTo>
                      <a:lnTo>
                        <a:pt x="396" y="59"/>
                      </a:lnTo>
                      <a:lnTo>
                        <a:pt x="404" y="60"/>
                      </a:lnTo>
                      <a:lnTo>
                        <a:pt x="413" y="60"/>
                      </a:lnTo>
                      <a:lnTo>
                        <a:pt x="420" y="62"/>
                      </a:lnTo>
                      <a:lnTo>
                        <a:pt x="419" y="63"/>
                      </a:lnTo>
                      <a:lnTo>
                        <a:pt x="396" y="63"/>
                      </a:lnTo>
                      <a:lnTo>
                        <a:pt x="385" y="65"/>
                      </a:lnTo>
                      <a:lnTo>
                        <a:pt x="380" y="66"/>
                      </a:lnTo>
                      <a:lnTo>
                        <a:pt x="375" y="70"/>
                      </a:lnTo>
                      <a:lnTo>
                        <a:pt x="376" y="72"/>
                      </a:lnTo>
                      <a:lnTo>
                        <a:pt x="377" y="74"/>
                      </a:lnTo>
                      <a:lnTo>
                        <a:pt x="380" y="74"/>
                      </a:lnTo>
                      <a:lnTo>
                        <a:pt x="391" y="75"/>
                      </a:lnTo>
                      <a:lnTo>
                        <a:pt x="410" y="74"/>
                      </a:lnTo>
                      <a:lnTo>
                        <a:pt x="428" y="70"/>
                      </a:lnTo>
                      <a:lnTo>
                        <a:pt x="438" y="68"/>
                      </a:lnTo>
                      <a:lnTo>
                        <a:pt x="448" y="64"/>
                      </a:lnTo>
                      <a:lnTo>
                        <a:pt x="455" y="63"/>
                      </a:lnTo>
                      <a:lnTo>
                        <a:pt x="461" y="63"/>
                      </a:lnTo>
                      <a:lnTo>
                        <a:pt x="462" y="62"/>
                      </a:lnTo>
                      <a:lnTo>
                        <a:pt x="465" y="62"/>
                      </a:lnTo>
                      <a:lnTo>
                        <a:pt x="466" y="60"/>
                      </a:lnTo>
                      <a:lnTo>
                        <a:pt x="469" y="62"/>
                      </a:lnTo>
                      <a:lnTo>
                        <a:pt x="470" y="64"/>
                      </a:lnTo>
                      <a:lnTo>
                        <a:pt x="470" y="66"/>
                      </a:lnTo>
                      <a:lnTo>
                        <a:pt x="469" y="68"/>
                      </a:lnTo>
                      <a:lnTo>
                        <a:pt x="465" y="6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5" name="Freeform 909">
                  <a:extLst>
                    <a:ext uri="{FF2B5EF4-FFF2-40B4-BE49-F238E27FC236}">
                      <a16:creationId xmlns:a16="http://schemas.microsoft.com/office/drawing/2014/main" id="{57C72649-0296-184B-8944-7EA80E341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2684" y="3023061"/>
                  <a:ext cx="161306" cy="186464"/>
                </a:xfrm>
                <a:custGeom>
                  <a:avLst/>
                  <a:gdLst>
                    <a:gd name="T0" fmla="*/ 2147483647 w 118"/>
                    <a:gd name="T1" fmla="*/ 2147483647 h 126"/>
                    <a:gd name="T2" fmla="*/ 2147483647 w 118"/>
                    <a:gd name="T3" fmla="*/ 2147483647 h 126"/>
                    <a:gd name="T4" fmla="*/ 2147483647 w 118"/>
                    <a:gd name="T5" fmla="*/ 2147483647 h 126"/>
                    <a:gd name="T6" fmla="*/ 2147483647 w 118"/>
                    <a:gd name="T7" fmla="*/ 2147483647 h 126"/>
                    <a:gd name="T8" fmla="*/ 2147483647 w 118"/>
                    <a:gd name="T9" fmla="*/ 2147483647 h 126"/>
                    <a:gd name="T10" fmla="*/ 2147483647 w 118"/>
                    <a:gd name="T11" fmla="*/ 2147483647 h 126"/>
                    <a:gd name="T12" fmla="*/ 2147483647 w 118"/>
                    <a:gd name="T13" fmla="*/ 2147483647 h 126"/>
                    <a:gd name="T14" fmla="*/ 2147483647 w 118"/>
                    <a:gd name="T15" fmla="*/ 2147483647 h 126"/>
                    <a:gd name="T16" fmla="*/ 2147483647 w 118"/>
                    <a:gd name="T17" fmla="*/ 2147483647 h 126"/>
                    <a:gd name="T18" fmla="*/ 2147483647 w 118"/>
                    <a:gd name="T19" fmla="*/ 2147483647 h 126"/>
                    <a:gd name="T20" fmla="*/ 2147483647 w 118"/>
                    <a:gd name="T21" fmla="*/ 2147483647 h 126"/>
                    <a:gd name="T22" fmla="*/ 2147483647 w 118"/>
                    <a:gd name="T23" fmla="*/ 2147483647 h 126"/>
                    <a:gd name="T24" fmla="*/ 2147483647 w 118"/>
                    <a:gd name="T25" fmla="*/ 2147483647 h 126"/>
                    <a:gd name="T26" fmla="*/ 2147483647 w 118"/>
                    <a:gd name="T27" fmla="*/ 2147483647 h 126"/>
                    <a:gd name="T28" fmla="*/ 2147483647 w 118"/>
                    <a:gd name="T29" fmla="*/ 2147483647 h 126"/>
                    <a:gd name="T30" fmla="*/ 2147483647 w 118"/>
                    <a:gd name="T31" fmla="*/ 2147483647 h 126"/>
                    <a:gd name="T32" fmla="*/ 2147483647 w 118"/>
                    <a:gd name="T33" fmla="*/ 2147483647 h 126"/>
                    <a:gd name="T34" fmla="*/ 2147483647 w 118"/>
                    <a:gd name="T35" fmla="*/ 2147483647 h 126"/>
                    <a:gd name="T36" fmla="*/ 2147483647 w 118"/>
                    <a:gd name="T37" fmla="*/ 2147483647 h 126"/>
                    <a:gd name="T38" fmla="*/ 2147483647 w 118"/>
                    <a:gd name="T39" fmla="*/ 2147483647 h 126"/>
                    <a:gd name="T40" fmla="*/ 2147483647 w 118"/>
                    <a:gd name="T41" fmla="*/ 2147483647 h 126"/>
                    <a:gd name="T42" fmla="*/ 2147483647 w 118"/>
                    <a:gd name="T43" fmla="*/ 2147483647 h 126"/>
                    <a:gd name="T44" fmla="*/ 2147483647 w 118"/>
                    <a:gd name="T45" fmla="*/ 2147483647 h 126"/>
                    <a:gd name="T46" fmla="*/ 2147483647 w 118"/>
                    <a:gd name="T47" fmla="*/ 2147483647 h 126"/>
                    <a:gd name="T48" fmla="*/ 2147483647 w 118"/>
                    <a:gd name="T49" fmla="*/ 2147483647 h 126"/>
                    <a:gd name="T50" fmla="*/ 2147483647 w 118"/>
                    <a:gd name="T51" fmla="*/ 2147483647 h 126"/>
                    <a:gd name="T52" fmla="*/ 2147483647 w 118"/>
                    <a:gd name="T53" fmla="*/ 2147483647 h 126"/>
                    <a:gd name="T54" fmla="*/ 2147483647 w 118"/>
                    <a:gd name="T55" fmla="*/ 2147483647 h 126"/>
                    <a:gd name="T56" fmla="*/ 2147483647 w 118"/>
                    <a:gd name="T57" fmla="*/ 2147483647 h 126"/>
                    <a:gd name="T58" fmla="*/ 2147483647 w 118"/>
                    <a:gd name="T59" fmla="*/ 2147483647 h 126"/>
                    <a:gd name="T60" fmla="*/ 2147483647 w 118"/>
                    <a:gd name="T61" fmla="*/ 2147483647 h 126"/>
                    <a:gd name="T62" fmla="*/ 2147483647 w 118"/>
                    <a:gd name="T63" fmla="*/ 2147483647 h 126"/>
                    <a:gd name="T64" fmla="*/ 2147483647 w 118"/>
                    <a:gd name="T65" fmla="*/ 2147483647 h 126"/>
                    <a:gd name="T66" fmla="*/ 2147483647 w 118"/>
                    <a:gd name="T67" fmla="*/ 2147483647 h 126"/>
                    <a:gd name="T68" fmla="*/ 2147483647 w 118"/>
                    <a:gd name="T69" fmla="*/ 2147483647 h 126"/>
                    <a:gd name="T70" fmla="*/ 2147483647 w 118"/>
                    <a:gd name="T71" fmla="*/ 2147483647 h 126"/>
                    <a:gd name="T72" fmla="*/ 2147483647 w 118"/>
                    <a:gd name="T73" fmla="*/ 2147483647 h 126"/>
                    <a:gd name="T74" fmla="*/ 0 w 118"/>
                    <a:gd name="T75" fmla="*/ 2147483647 h 126"/>
                    <a:gd name="T76" fmla="*/ 2147483647 w 118"/>
                    <a:gd name="T77" fmla="*/ 2147483647 h 126"/>
                    <a:gd name="T78" fmla="*/ 2147483647 w 118"/>
                    <a:gd name="T79" fmla="*/ 2147483647 h 126"/>
                    <a:gd name="T80" fmla="*/ 2147483647 w 118"/>
                    <a:gd name="T81" fmla="*/ 2147483647 h 126"/>
                    <a:gd name="T82" fmla="*/ 2147483647 w 118"/>
                    <a:gd name="T83" fmla="*/ 2147483647 h 126"/>
                    <a:gd name="T84" fmla="*/ 2147483647 w 118"/>
                    <a:gd name="T85" fmla="*/ 2147483647 h 126"/>
                    <a:gd name="T86" fmla="*/ 2147483647 w 118"/>
                    <a:gd name="T87" fmla="*/ 2147483647 h 126"/>
                    <a:gd name="T88" fmla="*/ 2147483647 w 118"/>
                    <a:gd name="T89" fmla="*/ 2147483647 h 126"/>
                    <a:gd name="T90" fmla="*/ 2147483647 w 118"/>
                    <a:gd name="T91" fmla="*/ 2147483647 h 126"/>
                    <a:gd name="T92" fmla="*/ 2147483647 w 118"/>
                    <a:gd name="T93" fmla="*/ 2147483647 h 126"/>
                    <a:gd name="T94" fmla="*/ 2147483647 w 118"/>
                    <a:gd name="T95" fmla="*/ 2147483647 h 126"/>
                    <a:gd name="T96" fmla="*/ 2147483647 w 118"/>
                    <a:gd name="T97" fmla="*/ 2147483647 h 126"/>
                    <a:gd name="T98" fmla="*/ 2147483647 w 118"/>
                    <a:gd name="T99" fmla="*/ 2147483647 h 126"/>
                    <a:gd name="T100" fmla="*/ 2147483647 w 118"/>
                    <a:gd name="T101" fmla="*/ 2147483647 h 126"/>
                    <a:gd name="T102" fmla="*/ 2147483647 w 118"/>
                    <a:gd name="T103" fmla="*/ 2147483647 h 126"/>
                    <a:gd name="T104" fmla="*/ 2147483647 w 118"/>
                    <a:gd name="T105" fmla="*/ 2147483647 h 126"/>
                    <a:gd name="T106" fmla="*/ 2147483647 w 118"/>
                    <a:gd name="T107" fmla="*/ 2147483647 h 126"/>
                    <a:gd name="T108" fmla="*/ 2147483647 w 118"/>
                    <a:gd name="T109" fmla="*/ 2147483647 h 126"/>
                    <a:gd name="T110" fmla="*/ 2147483647 w 118"/>
                    <a:gd name="T111" fmla="*/ 2147483647 h 126"/>
                    <a:gd name="T112" fmla="*/ 2147483647 w 118"/>
                    <a:gd name="T113" fmla="*/ 2147483647 h 126"/>
                    <a:gd name="T114" fmla="*/ 2147483647 w 118"/>
                    <a:gd name="T115" fmla="*/ 2147483647 h 12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18"/>
                    <a:gd name="T175" fmla="*/ 0 h 126"/>
                    <a:gd name="T176" fmla="*/ 118 w 118"/>
                    <a:gd name="T177" fmla="*/ 126 h 12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18" h="126">
                      <a:moveTo>
                        <a:pt x="97" y="121"/>
                      </a:moveTo>
                      <a:lnTo>
                        <a:pt x="97" y="121"/>
                      </a:lnTo>
                      <a:lnTo>
                        <a:pt x="98" y="124"/>
                      </a:lnTo>
                      <a:lnTo>
                        <a:pt x="99" y="126"/>
                      </a:lnTo>
                      <a:lnTo>
                        <a:pt x="101" y="126"/>
                      </a:lnTo>
                      <a:lnTo>
                        <a:pt x="103" y="124"/>
                      </a:lnTo>
                      <a:lnTo>
                        <a:pt x="105" y="121"/>
                      </a:lnTo>
                      <a:lnTo>
                        <a:pt x="106" y="115"/>
                      </a:lnTo>
                      <a:lnTo>
                        <a:pt x="110" y="109"/>
                      </a:lnTo>
                      <a:lnTo>
                        <a:pt x="113" y="103"/>
                      </a:lnTo>
                      <a:lnTo>
                        <a:pt x="118" y="98"/>
                      </a:lnTo>
                      <a:lnTo>
                        <a:pt x="113" y="95"/>
                      </a:lnTo>
                      <a:lnTo>
                        <a:pt x="112" y="94"/>
                      </a:lnTo>
                      <a:lnTo>
                        <a:pt x="113" y="90"/>
                      </a:lnTo>
                      <a:lnTo>
                        <a:pt x="117" y="84"/>
                      </a:lnTo>
                      <a:lnTo>
                        <a:pt x="117" y="81"/>
                      </a:lnTo>
                      <a:lnTo>
                        <a:pt x="117" y="79"/>
                      </a:lnTo>
                      <a:lnTo>
                        <a:pt x="116" y="78"/>
                      </a:lnTo>
                      <a:lnTo>
                        <a:pt x="113" y="77"/>
                      </a:lnTo>
                      <a:lnTo>
                        <a:pt x="110" y="78"/>
                      </a:lnTo>
                      <a:lnTo>
                        <a:pt x="105" y="83"/>
                      </a:lnTo>
                      <a:lnTo>
                        <a:pt x="103" y="83"/>
                      </a:lnTo>
                      <a:lnTo>
                        <a:pt x="102" y="82"/>
                      </a:lnTo>
                      <a:lnTo>
                        <a:pt x="103" y="78"/>
                      </a:lnTo>
                      <a:lnTo>
                        <a:pt x="105" y="76"/>
                      </a:lnTo>
                      <a:lnTo>
                        <a:pt x="102" y="75"/>
                      </a:lnTo>
                      <a:lnTo>
                        <a:pt x="101" y="75"/>
                      </a:lnTo>
                      <a:lnTo>
                        <a:pt x="99" y="75"/>
                      </a:lnTo>
                      <a:lnTo>
                        <a:pt x="98" y="76"/>
                      </a:lnTo>
                      <a:lnTo>
                        <a:pt x="96" y="76"/>
                      </a:lnTo>
                      <a:lnTo>
                        <a:pt x="94" y="75"/>
                      </a:lnTo>
                      <a:lnTo>
                        <a:pt x="93" y="72"/>
                      </a:lnTo>
                      <a:lnTo>
                        <a:pt x="93" y="69"/>
                      </a:lnTo>
                      <a:lnTo>
                        <a:pt x="93" y="65"/>
                      </a:lnTo>
                      <a:lnTo>
                        <a:pt x="93" y="62"/>
                      </a:lnTo>
                      <a:lnTo>
                        <a:pt x="91" y="59"/>
                      </a:lnTo>
                      <a:lnTo>
                        <a:pt x="89" y="59"/>
                      </a:lnTo>
                      <a:lnTo>
                        <a:pt x="89" y="58"/>
                      </a:lnTo>
                      <a:lnTo>
                        <a:pt x="89" y="56"/>
                      </a:lnTo>
                      <a:lnTo>
                        <a:pt x="91" y="53"/>
                      </a:lnTo>
                      <a:lnTo>
                        <a:pt x="92" y="51"/>
                      </a:lnTo>
                      <a:lnTo>
                        <a:pt x="91" y="50"/>
                      </a:lnTo>
                      <a:lnTo>
                        <a:pt x="88" y="50"/>
                      </a:lnTo>
                      <a:lnTo>
                        <a:pt x="85" y="51"/>
                      </a:lnTo>
                      <a:lnTo>
                        <a:pt x="84" y="52"/>
                      </a:lnTo>
                      <a:lnTo>
                        <a:pt x="82" y="52"/>
                      </a:lnTo>
                      <a:lnTo>
                        <a:pt x="80" y="51"/>
                      </a:lnTo>
                      <a:lnTo>
                        <a:pt x="79" y="50"/>
                      </a:lnTo>
                      <a:lnTo>
                        <a:pt x="75" y="54"/>
                      </a:lnTo>
                      <a:lnTo>
                        <a:pt x="74" y="57"/>
                      </a:lnTo>
                      <a:lnTo>
                        <a:pt x="73" y="58"/>
                      </a:lnTo>
                      <a:lnTo>
                        <a:pt x="70" y="58"/>
                      </a:lnTo>
                      <a:lnTo>
                        <a:pt x="69" y="58"/>
                      </a:lnTo>
                      <a:lnTo>
                        <a:pt x="65" y="56"/>
                      </a:lnTo>
                      <a:lnTo>
                        <a:pt x="64" y="56"/>
                      </a:lnTo>
                      <a:lnTo>
                        <a:pt x="61" y="57"/>
                      </a:lnTo>
                      <a:lnTo>
                        <a:pt x="59" y="57"/>
                      </a:lnTo>
                      <a:lnTo>
                        <a:pt x="58" y="56"/>
                      </a:lnTo>
                      <a:lnTo>
                        <a:pt x="56" y="54"/>
                      </a:lnTo>
                      <a:lnTo>
                        <a:pt x="58" y="52"/>
                      </a:lnTo>
                      <a:lnTo>
                        <a:pt x="60" y="50"/>
                      </a:lnTo>
                      <a:lnTo>
                        <a:pt x="61" y="46"/>
                      </a:lnTo>
                      <a:lnTo>
                        <a:pt x="61" y="44"/>
                      </a:lnTo>
                      <a:lnTo>
                        <a:pt x="60" y="41"/>
                      </a:lnTo>
                      <a:lnTo>
                        <a:pt x="56" y="39"/>
                      </a:lnTo>
                      <a:lnTo>
                        <a:pt x="55" y="40"/>
                      </a:lnTo>
                      <a:lnTo>
                        <a:pt x="52" y="40"/>
                      </a:lnTo>
                      <a:lnTo>
                        <a:pt x="49" y="44"/>
                      </a:lnTo>
                      <a:lnTo>
                        <a:pt x="45" y="47"/>
                      </a:lnTo>
                      <a:lnTo>
                        <a:pt x="44" y="47"/>
                      </a:lnTo>
                      <a:lnTo>
                        <a:pt x="42" y="46"/>
                      </a:lnTo>
                      <a:lnTo>
                        <a:pt x="41" y="41"/>
                      </a:lnTo>
                      <a:lnTo>
                        <a:pt x="40" y="37"/>
                      </a:lnTo>
                      <a:lnTo>
                        <a:pt x="41" y="32"/>
                      </a:lnTo>
                      <a:lnTo>
                        <a:pt x="44" y="31"/>
                      </a:lnTo>
                      <a:lnTo>
                        <a:pt x="45" y="30"/>
                      </a:lnTo>
                      <a:lnTo>
                        <a:pt x="50" y="27"/>
                      </a:lnTo>
                      <a:lnTo>
                        <a:pt x="54" y="24"/>
                      </a:lnTo>
                      <a:lnTo>
                        <a:pt x="56" y="19"/>
                      </a:lnTo>
                      <a:lnTo>
                        <a:pt x="56" y="14"/>
                      </a:lnTo>
                      <a:lnTo>
                        <a:pt x="58" y="13"/>
                      </a:lnTo>
                      <a:lnTo>
                        <a:pt x="59" y="12"/>
                      </a:lnTo>
                      <a:lnTo>
                        <a:pt x="61" y="11"/>
                      </a:lnTo>
                      <a:lnTo>
                        <a:pt x="64" y="9"/>
                      </a:lnTo>
                      <a:lnTo>
                        <a:pt x="66" y="8"/>
                      </a:lnTo>
                      <a:lnTo>
                        <a:pt x="68" y="6"/>
                      </a:lnTo>
                      <a:lnTo>
                        <a:pt x="69" y="3"/>
                      </a:lnTo>
                      <a:lnTo>
                        <a:pt x="70" y="2"/>
                      </a:lnTo>
                      <a:lnTo>
                        <a:pt x="69" y="0"/>
                      </a:lnTo>
                      <a:lnTo>
                        <a:pt x="66" y="1"/>
                      </a:lnTo>
                      <a:lnTo>
                        <a:pt x="61" y="2"/>
                      </a:lnTo>
                      <a:lnTo>
                        <a:pt x="58" y="1"/>
                      </a:lnTo>
                      <a:lnTo>
                        <a:pt x="54" y="1"/>
                      </a:lnTo>
                      <a:lnTo>
                        <a:pt x="50" y="5"/>
                      </a:lnTo>
                      <a:lnTo>
                        <a:pt x="46" y="7"/>
                      </a:lnTo>
                      <a:lnTo>
                        <a:pt x="41" y="8"/>
                      </a:lnTo>
                      <a:lnTo>
                        <a:pt x="37" y="9"/>
                      </a:lnTo>
                      <a:lnTo>
                        <a:pt x="32" y="15"/>
                      </a:lnTo>
                      <a:lnTo>
                        <a:pt x="28" y="24"/>
                      </a:lnTo>
                      <a:lnTo>
                        <a:pt x="26" y="34"/>
                      </a:lnTo>
                      <a:lnTo>
                        <a:pt x="25" y="44"/>
                      </a:lnTo>
                      <a:lnTo>
                        <a:pt x="23" y="46"/>
                      </a:lnTo>
                      <a:lnTo>
                        <a:pt x="22" y="47"/>
                      </a:lnTo>
                      <a:lnTo>
                        <a:pt x="19" y="49"/>
                      </a:lnTo>
                      <a:lnTo>
                        <a:pt x="18" y="50"/>
                      </a:lnTo>
                      <a:lnTo>
                        <a:pt x="18" y="53"/>
                      </a:lnTo>
                      <a:lnTo>
                        <a:pt x="17" y="57"/>
                      </a:lnTo>
                      <a:lnTo>
                        <a:pt x="13" y="63"/>
                      </a:lnTo>
                      <a:lnTo>
                        <a:pt x="8" y="67"/>
                      </a:lnTo>
                      <a:lnTo>
                        <a:pt x="2" y="71"/>
                      </a:lnTo>
                      <a:lnTo>
                        <a:pt x="2" y="72"/>
                      </a:lnTo>
                      <a:lnTo>
                        <a:pt x="3" y="73"/>
                      </a:lnTo>
                      <a:lnTo>
                        <a:pt x="7" y="76"/>
                      </a:lnTo>
                      <a:lnTo>
                        <a:pt x="8" y="77"/>
                      </a:lnTo>
                      <a:lnTo>
                        <a:pt x="7" y="79"/>
                      </a:lnTo>
                      <a:lnTo>
                        <a:pt x="4" y="83"/>
                      </a:lnTo>
                      <a:lnTo>
                        <a:pt x="0" y="88"/>
                      </a:lnTo>
                      <a:lnTo>
                        <a:pt x="0" y="92"/>
                      </a:lnTo>
                      <a:lnTo>
                        <a:pt x="0" y="97"/>
                      </a:lnTo>
                      <a:lnTo>
                        <a:pt x="3" y="98"/>
                      </a:lnTo>
                      <a:lnTo>
                        <a:pt x="4" y="98"/>
                      </a:lnTo>
                      <a:lnTo>
                        <a:pt x="11" y="95"/>
                      </a:lnTo>
                      <a:lnTo>
                        <a:pt x="14" y="92"/>
                      </a:lnTo>
                      <a:lnTo>
                        <a:pt x="18" y="92"/>
                      </a:lnTo>
                      <a:lnTo>
                        <a:pt x="25" y="92"/>
                      </a:lnTo>
                      <a:lnTo>
                        <a:pt x="31" y="94"/>
                      </a:lnTo>
                      <a:lnTo>
                        <a:pt x="38" y="95"/>
                      </a:lnTo>
                      <a:lnTo>
                        <a:pt x="45" y="95"/>
                      </a:lnTo>
                      <a:lnTo>
                        <a:pt x="47" y="94"/>
                      </a:lnTo>
                      <a:lnTo>
                        <a:pt x="50" y="92"/>
                      </a:lnTo>
                      <a:lnTo>
                        <a:pt x="55" y="90"/>
                      </a:lnTo>
                      <a:lnTo>
                        <a:pt x="56" y="90"/>
                      </a:lnTo>
                      <a:lnTo>
                        <a:pt x="56" y="91"/>
                      </a:lnTo>
                      <a:lnTo>
                        <a:pt x="58" y="94"/>
                      </a:lnTo>
                      <a:lnTo>
                        <a:pt x="59" y="96"/>
                      </a:lnTo>
                      <a:lnTo>
                        <a:pt x="60" y="98"/>
                      </a:lnTo>
                      <a:lnTo>
                        <a:pt x="63" y="98"/>
                      </a:lnTo>
                      <a:lnTo>
                        <a:pt x="65" y="97"/>
                      </a:lnTo>
                      <a:lnTo>
                        <a:pt x="70" y="94"/>
                      </a:lnTo>
                      <a:lnTo>
                        <a:pt x="73" y="92"/>
                      </a:lnTo>
                      <a:lnTo>
                        <a:pt x="75" y="94"/>
                      </a:lnTo>
                      <a:lnTo>
                        <a:pt x="77" y="95"/>
                      </a:lnTo>
                      <a:lnTo>
                        <a:pt x="77" y="96"/>
                      </a:lnTo>
                      <a:lnTo>
                        <a:pt x="74" y="97"/>
                      </a:lnTo>
                      <a:lnTo>
                        <a:pt x="70" y="101"/>
                      </a:lnTo>
                      <a:lnTo>
                        <a:pt x="68" y="104"/>
                      </a:lnTo>
                      <a:lnTo>
                        <a:pt x="64" y="108"/>
                      </a:lnTo>
                      <a:lnTo>
                        <a:pt x="61" y="111"/>
                      </a:lnTo>
                      <a:lnTo>
                        <a:pt x="58" y="111"/>
                      </a:lnTo>
                      <a:lnTo>
                        <a:pt x="54" y="113"/>
                      </a:lnTo>
                      <a:lnTo>
                        <a:pt x="51" y="114"/>
                      </a:lnTo>
                      <a:lnTo>
                        <a:pt x="51" y="115"/>
                      </a:lnTo>
                      <a:lnTo>
                        <a:pt x="51" y="116"/>
                      </a:lnTo>
                      <a:lnTo>
                        <a:pt x="54" y="118"/>
                      </a:lnTo>
                      <a:lnTo>
                        <a:pt x="56" y="118"/>
                      </a:lnTo>
                      <a:lnTo>
                        <a:pt x="63" y="117"/>
                      </a:lnTo>
                      <a:lnTo>
                        <a:pt x="68" y="115"/>
                      </a:lnTo>
                      <a:lnTo>
                        <a:pt x="72" y="111"/>
                      </a:lnTo>
                      <a:lnTo>
                        <a:pt x="77" y="105"/>
                      </a:lnTo>
                      <a:lnTo>
                        <a:pt x="80" y="99"/>
                      </a:lnTo>
                      <a:lnTo>
                        <a:pt x="85" y="95"/>
                      </a:lnTo>
                      <a:lnTo>
                        <a:pt x="88" y="92"/>
                      </a:lnTo>
                      <a:lnTo>
                        <a:pt x="92" y="92"/>
                      </a:lnTo>
                      <a:lnTo>
                        <a:pt x="93" y="92"/>
                      </a:lnTo>
                      <a:lnTo>
                        <a:pt x="93" y="94"/>
                      </a:lnTo>
                      <a:lnTo>
                        <a:pt x="93" y="96"/>
                      </a:lnTo>
                      <a:lnTo>
                        <a:pt x="91" y="101"/>
                      </a:lnTo>
                      <a:lnTo>
                        <a:pt x="87" y="105"/>
                      </a:lnTo>
                      <a:lnTo>
                        <a:pt x="84" y="109"/>
                      </a:lnTo>
                      <a:lnTo>
                        <a:pt x="85" y="111"/>
                      </a:lnTo>
                      <a:lnTo>
                        <a:pt x="87" y="114"/>
                      </a:lnTo>
                      <a:lnTo>
                        <a:pt x="88" y="114"/>
                      </a:lnTo>
                      <a:lnTo>
                        <a:pt x="89" y="114"/>
                      </a:lnTo>
                      <a:lnTo>
                        <a:pt x="91" y="111"/>
                      </a:lnTo>
                      <a:lnTo>
                        <a:pt x="93" y="109"/>
                      </a:lnTo>
                      <a:lnTo>
                        <a:pt x="94" y="109"/>
                      </a:lnTo>
                      <a:lnTo>
                        <a:pt x="96" y="110"/>
                      </a:lnTo>
                      <a:lnTo>
                        <a:pt x="98" y="111"/>
                      </a:lnTo>
                      <a:lnTo>
                        <a:pt x="98" y="115"/>
                      </a:lnTo>
                      <a:lnTo>
                        <a:pt x="97" y="12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6" name="Freeform 910">
                  <a:extLst>
                    <a:ext uri="{FF2B5EF4-FFF2-40B4-BE49-F238E27FC236}">
                      <a16:creationId xmlns:a16="http://schemas.microsoft.com/office/drawing/2014/main" id="{30E280EF-3B59-6144-8862-9660A34C4E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5348" y="1670458"/>
                  <a:ext cx="689620" cy="361089"/>
                </a:xfrm>
                <a:custGeom>
                  <a:avLst/>
                  <a:gdLst>
                    <a:gd name="T0" fmla="*/ 2147483647 w 505"/>
                    <a:gd name="T1" fmla="*/ 2147483647 h 244"/>
                    <a:gd name="T2" fmla="*/ 2147483647 w 505"/>
                    <a:gd name="T3" fmla="*/ 2147483647 h 244"/>
                    <a:gd name="T4" fmla="*/ 2147483647 w 505"/>
                    <a:gd name="T5" fmla="*/ 2147483647 h 244"/>
                    <a:gd name="T6" fmla="*/ 2147483647 w 505"/>
                    <a:gd name="T7" fmla="*/ 2147483647 h 244"/>
                    <a:gd name="T8" fmla="*/ 2147483647 w 505"/>
                    <a:gd name="T9" fmla="*/ 2147483647 h 244"/>
                    <a:gd name="T10" fmla="*/ 2147483647 w 505"/>
                    <a:gd name="T11" fmla="*/ 2147483647 h 244"/>
                    <a:gd name="T12" fmla="*/ 2147483647 w 505"/>
                    <a:gd name="T13" fmla="*/ 2147483647 h 244"/>
                    <a:gd name="T14" fmla="*/ 2147483647 w 505"/>
                    <a:gd name="T15" fmla="*/ 2147483647 h 244"/>
                    <a:gd name="T16" fmla="*/ 2147483647 w 505"/>
                    <a:gd name="T17" fmla="*/ 2147483647 h 244"/>
                    <a:gd name="T18" fmla="*/ 2147483647 w 505"/>
                    <a:gd name="T19" fmla="*/ 2147483647 h 244"/>
                    <a:gd name="T20" fmla="*/ 2147483647 w 505"/>
                    <a:gd name="T21" fmla="*/ 2147483647 h 244"/>
                    <a:gd name="T22" fmla="*/ 2147483647 w 505"/>
                    <a:gd name="T23" fmla="*/ 2147483647 h 244"/>
                    <a:gd name="T24" fmla="*/ 2147483647 w 505"/>
                    <a:gd name="T25" fmla="*/ 2147483647 h 244"/>
                    <a:gd name="T26" fmla="*/ 2147483647 w 505"/>
                    <a:gd name="T27" fmla="*/ 2147483647 h 244"/>
                    <a:gd name="T28" fmla="*/ 2147483647 w 505"/>
                    <a:gd name="T29" fmla="*/ 2147483647 h 244"/>
                    <a:gd name="T30" fmla="*/ 2147483647 w 505"/>
                    <a:gd name="T31" fmla="*/ 2147483647 h 244"/>
                    <a:gd name="T32" fmla="*/ 2147483647 w 505"/>
                    <a:gd name="T33" fmla="*/ 2147483647 h 244"/>
                    <a:gd name="T34" fmla="*/ 2147483647 w 505"/>
                    <a:gd name="T35" fmla="*/ 2147483647 h 244"/>
                    <a:gd name="T36" fmla="*/ 2147483647 w 505"/>
                    <a:gd name="T37" fmla="*/ 2147483647 h 244"/>
                    <a:gd name="T38" fmla="*/ 2147483647 w 505"/>
                    <a:gd name="T39" fmla="*/ 2147483647 h 244"/>
                    <a:gd name="T40" fmla="*/ 2147483647 w 505"/>
                    <a:gd name="T41" fmla="*/ 2147483647 h 244"/>
                    <a:gd name="T42" fmla="*/ 2147483647 w 505"/>
                    <a:gd name="T43" fmla="*/ 2147483647 h 244"/>
                    <a:gd name="T44" fmla="*/ 2147483647 w 505"/>
                    <a:gd name="T45" fmla="*/ 2147483647 h 244"/>
                    <a:gd name="T46" fmla="*/ 2147483647 w 505"/>
                    <a:gd name="T47" fmla="*/ 2147483647 h 244"/>
                    <a:gd name="T48" fmla="*/ 2147483647 w 505"/>
                    <a:gd name="T49" fmla="*/ 2147483647 h 244"/>
                    <a:gd name="T50" fmla="*/ 2147483647 w 505"/>
                    <a:gd name="T51" fmla="*/ 2147483647 h 244"/>
                    <a:gd name="T52" fmla="*/ 2147483647 w 505"/>
                    <a:gd name="T53" fmla="*/ 2147483647 h 244"/>
                    <a:gd name="T54" fmla="*/ 2147483647 w 505"/>
                    <a:gd name="T55" fmla="*/ 2147483647 h 244"/>
                    <a:gd name="T56" fmla="*/ 2147483647 w 505"/>
                    <a:gd name="T57" fmla="*/ 2147483647 h 244"/>
                    <a:gd name="T58" fmla="*/ 2147483647 w 505"/>
                    <a:gd name="T59" fmla="*/ 2147483647 h 244"/>
                    <a:gd name="T60" fmla="*/ 2147483647 w 505"/>
                    <a:gd name="T61" fmla="*/ 2147483647 h 244"/>
                    <a:gd name="T62" fmla="*/ 2147483647 w 505"/>
                    <a:gd name="T63" fmla="*/ 2147483647 h 244"/>
                    <a:gd name="T64" fmla="*/ 2147483647 w 505"/>
                    <a:gd name="T65" fmla="*/ 2147483647 h 244"/>
                    <a:gd name="T66" fmla="*/ 2147483647 w 505"/>
                    <a:gd name="T67" fmla="*/ 2147483647 h 244"/>
                    <a:gd name="T68" fmla="*/ 2147483647 w 505"/>
                    <a:gd name="T69" fmla="*/ 2147483647 h 244"/>
                    <a:gd name="T70" fmla="*/ 2147483647 w 505"/>
                    <a:gd name="T71" fmla="*/ 2147483647 h 244"/>
                    <a:gd name="T72" fmla="*/ 2147483647 w 505"/>
                    <a:gd name="T73" fmla="*/ 2147483647 h 244"/>
                    <a:gd name="T74" fmla="*/ 2147483647 w 505"/>
                    <a:gd name="T75" fmla="*/ 2147483647 h 244"/>
                    <a:gd name="T76" fmla="*/ 2147483647 w 505"/>
                    <a:gd name="T77" fmla="*/ 2147483647 h 244"/>
                    <a:gd name="T78" fmla="*/ 2147483647 w 505"/>
                    <a:gd name="T79" fmla="*/ 2147483647 h 244"/>
                    <a:gd name="T80" fmla="*/ 2147483647 w 505"/>
                    <a:gd name="T81" fmla="*/ 2147483647 h 244"/>
                    <a:gd name="T82" fmla="*/ 2147483647 w 505"/>
                    <a:gd name="T83" fmla="*/ 2147483647 h 244"/>
                    <a:gd name="T84" fmla="*/ 2147483647 w 505"/>
                    <a:gd name="T85" fmla="*/ 2147483647 h 244"/>
                    <a:gd name="T86" fmla="*/ 2147483647 w 505"/>
                    <a:gd name="T87" fmla="*/ 2147483647 h 244"/>
                    <a:gd name="T88" fmla="*/ 2147483647 w 505"/>
                    <a:gd name="T89" fmla="*/ 2147483647 h 244"/>
                    <a:gd name="T90" fmla="*/ 2147483647 w 505"/>
                    <a:gd name="T91" fmla="*/ 2147483647 h 244"/>
                    <a:gd name="T92" fmla="*/ 2147483647 w 505"/>
                    <a:gd name="T93" fmla="*/ 2147483647 h 244"/>
                    <a:gd name="T94" fmla="*/ 2147483647 w 505"/>
                    <a:gd name="T95" fmla="*/ 2147483647 h 244"/>
                    <a:gd name="T96" fmla="*/ 2147483647 w 505"/>
                    <a:gd name="T97" fmla="*/ 2147483647 h 244"/>
                    <a:gd name="T98" fmla="*/ 2147483647 w 505"/>
                    <a:gd name="T99" fmla="*/ 2147483647 h 244"/>
                    <a:gd name="T100" fmla="*/ 2147483647 w 505"/>
                    <a:gd name="T101" fmla="*/ 2147483647 h 244"/>
                    <a:gd name="T102" fmla="*/ 2147483647 w 505"/>
                    <a:gd name="T103" fmla="*/ 2147483647 h 244"/>
                    <a:gd name="T104" fmla="*/ 2147483647 w 505"/>
                    <a:gd name="T105" fmla="*/ 2147483647 h 244"/>
                    <a:gd name="T106" fmla="*/ 2147483647 w 505"/>
                    <a:gd name="T107" fmla="*/ 2147483647 h 244"/>
                    <a:gd name="T108" fmla="*/ 2147483647 w 505"/>
                    <a:gd name="T109" fmla="*/ 2147483647 h 244"/>
                    <a:gd name="T110" fmla="*/ 2147483647 w 505"/>
                    <a:gd name="T111" fmla="*/ 2147483647 h 244"/>
                    <a:gd name="T112" fmla="*/ 2147483647 w 505"/>
                    <a:gd name="T113" fmla="*/ 2147483647 h 244"/>
                    <a:gd name="T114" fmla="*/ 2147483647 w 505"/>
                    <a:gd name="T115" fmla="*/ 2147483647 h 244"/>
                    <a:gd name="T116" fmla="*/ 2147483647 w 505"/>
                    <a:gd name="T117" fmla="*/ 2147483647 h 244"/>
                    <a:gd name="T118" fmla="*/ 2147483647 w 505"/>
                    <a:gd name="T119" fmla="*/ 2147483647 h 244"/>
                    <a:gd name="T120" fmla="*/ 2147483647 w 505"/>
                    <a:gd name="T121" fmla="*/ 2147483647 h 24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505"/>
                    <a:gd name="T184" fmla="*/ 0 h 244"/>
                    <a:gd name="T185" fmla="*/ 505 w 505"/>
                    <a:gd name="T186" fmla="*/ 244 h 24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505" h="244">
                      <a:moveTo>
                        <a:pt x="465" y="69"/>
                      </a:moveTo>
                      <a:lnTo>
                        <a:pt x="465" y="69"/>
                      </a:lnTo>
                      <a:lnTo>
                        <a:pt x="458" y="71"/>
                      </a:lnTo>
                      <a:lnTo>
                        <a:pt x="451" y="72"/>
                      </a:lnTo>
                      <a:lnTo>
                        <a:pt x="443" y="73"/>
                      </a:lnTo>
                      <a:lnTo>
                        <a:pt x="435" y="77"/>
                      </a:lnTo>
                      <a:lnTo>
                        <a:pt x="433" y="77"/>
                      </a:lnTo>
                      <a:lnTo>
                        <a:pt x="429" y="77"/>
                      </a:lnTo>
                      <a:lnTo>
                        <a:pt x="426" y="77"/>
                      </a:lnTo>
                      <a:lnTo>
                        <a:pt x="423" y="78"/>
                      </a:lnTo>
                      <a:lnTo>
                        <a:pt x="420" y="82"/>
                      </a:lnTo>
                      <a:lnTo>
                        <a:pt x="418" y="85"/>
                      </a:lnTo>
                      <a:lnTo>
                        <a:pt x="414" y="89"/>
                      </a:lnTo>
                      <a:lnTo>
                        <a:pt x="413" y="89"/>
                      </a:lnTo>
                      <a:lnTo>
                        <a:pt x="410" y="89"/>
                      </a:lnTo>
                      <a:lnTo>
                        <a:pt x="406" y="88"/>
                      </a:lnTo>
                      <a:lnTo>
                        <a:pt x="405" y="88"/>
                      </a:lnTo>
                      <a:lnTo>
                        <a:pt x="402" y="88"/>
                      </a:lnTo>
                      <a:lnTo>
                        <a:pt x="397" y="90"/>
                      </a:lnTo>
                      <a:lnTo>
                        <a:pt x="391" y="91"/>
                      </a:lnTo>
                      <a:lnTo>
                        <a:pt x="386" y="92"/>
                      </a:lnTo>
                      <a:lnTo>
                        <a:pt x="381" y="93"/>
                      </a:lnTo>
                      <a:lnTo>
                        <a:pt x="377" y="95"/>
                      </a:lnTo>
                      <a:lnTo>
                        <a:pt x="373" y="96"/>
                      </a:lnTo>
                      <a:lnTo>
                        <a:pt x="371" y="95"/>
                      </a:lnTo>
                      <a:lnTo>
                        <a:pt x="367" y="93"/>
                      </a:lnTo>
                      <a:lnTo>
                        <a:pt x="364" y="93"/>
                      </a:lnTo>
                      <a:lnTo>
                        <a:pt x="363" y="93"/>
                      </a:lnTo>
                      <a:lnTo>
                        <a:pt x="360" y="98"/>
                      </a:lnTo>
                      <a:lnTo>
                        <a:pt x="358" y="101"/>
                      </a:lnTo>
                      <a:lnTo>
                        <a:pt x="354" y="103"/>
                      </a:lnTo>
                      <a:lnTo>
                        <a:pt x="349" y="103"/>
                      </a:lnTo>
                      <a:lnTo>
                        <a:pt x="353" y="107"/>
                      </a:lnTo>
                      <a:lnTo>
                        <a:pt x="354" y="109"/>
                      </a:lnTo>
                      <a:lnTo>
                        <a:pt x="353" y="111"/>
                      </a:lnTo>
                      <a:lnTo>
                        <a:pt x="353" y="112"/>
                      </a:lnTo>
                      <a:lnTo>
                        <a:pt x="350" y="112"/>
                      </a:lnTo>
                      <a:lnTo>
                        <a:pt x="346" y="112"/>
                      </a:lnTo>
                      <a:lnTo>
                        <a:pt x="345" y="110"/>
                      </a:lnTo>
                      <a:lnTo>
                        <a:pt x="344" y="110"/>
                      </a:lnTo>
                      <a:lnTo>
                        <a:pt x="341" y="111"/>
                      </a:lnTo>
                      <a:lnTo>
                        <a:pt x="339" y="111"/>
                      </a:lnTo>
                      <a:lnTo>
                        <a:pt x="334" y="111"/>
                      </a:lnTo>
                      <a:lnTo>
                        <a:pt x="334" y="112"/>
                      </a:lnTo>
                      <a:lnTo>
                        <a:pt x="333" y="112"/>
                      </a:lnTo>
                      <a:lnTo>
                        <a:pt x="335" y="117"/>
                      </a:lnTo>
                      <a:lnTo>
                        <a:pt x="335" y="120"/>
                      </a:lnTo>
                      <a:lnTo>
                        <a:pt x="335" y="121"/>
                      </a:lnTo>
                      <a:lnTo>
                        <a:pt x="330" y="122"/>
                      </a:lnTo>
                      <a:lnTo>
                        <a:pt x="326" y="122"/>
                      </a:lnTo>
                      <a:lnTo>
                        <a:pt x="321" y="123"/>
                      </a:lnTo>
                      <a:lnTo>
                        <a:pt x="317" y="125"/>
                      </a:lnTo>
                      <a:lnTo>
                        <a:pt x="315" y="125"/>
                      </a:lnTo>
                      <a:lnTo>
                        <a:pt x="311" y="122"/>
                      </a:lnTo>
                      <a:lnTo>
                        <a:pt x="306" y="121"/>
                      </a:lnTo>
                      <a:lnTo>
                        <a:pt x="301" y="120"/>
                      </a:lnTo>
                      <a:lnTo>
                        <a:pt x="296" y="117"/>
                      </a:lnTo>
                      <a:lnTo>
                        <a:pt x="294" y="117"/>
                      </a:lnTo>
                      <a:lnTo>
                        <a:pt x="293" y="117"/>
                      </a:lnTo>
                      <a:lnTo>
                        <a:pt x="292" y="118"/>
                      </a:lnTo>
                      <a:lnTo>
                        <a:pt x="293" y="120"/>
                      </a:lnTo>
                      <a:lnTo>
                        <a:pt x="294" y="121"/>
                      </a:lnTo>
                      <a:lnTo>
                        <a:pt x="297" y="122"/>
                      </a:lnTo>
                      <a:lnTo>
                        <a:pt x="300" y="122"/>
                      </a:lnTo>
                      <a:lnTo>
                        <a:pt x="302" y="123"/>
                      </a:lnTo>
                      <a:lnTo>
                        <a:pt x="303" y="125"/>
                      </a:lnTo>
                      <a:lnTo>
                        <a:pt x="303" y="127"/>
                      </a:lnTo>
                      <a:lnTo>
                        <a:pt x="302" y="128"/>
                      </a:lnTo>
                      <a:lnTo>
                        <a:pt x="300" y="128"/>
                      </a:lnTo>
                      <a:lnTo>
                        <a:pt x="298" y="127"/>
                      </a:lnTo>
                      <a:lnTo>
                        <a:pt x="297" y="127"/>
                      </a:lnTo>
                      <a:lnTo>
                        <a:pt x="294" y="127"/>
                      </a:lnTo>
                      <a:lnTo>
                        <a:pt x="291" y="129"/>
                      </a:lnTo>
                      <a:lnTo>
                        <a:pt x="286" y="130"/>
                      </a:lnTo>
                      <a:lnTo>
                        <a:pt x="275" y="130"/>
                      </a:lnTo>
                      <a:lnTo>
                        <a:pt x="265" y="129"/>
                      </a:lnTo>
                      <a:lnTo>
                        <a:pt x="256" y="125"/>
                      </a:lnTo>
                      <a:lnTo>
                        <a:pt x="251" y="125"/>
                      </a:lnTo>
                      <a:lnTo>
                        <a:pt x="246" y="124"/>
                      </a:lnTo>
                      <a:lnTo>
                        <a:pt x="242" y="123"/>
                      </a:lnTo>
                      <a:lnTo>
                        <a:pt x="240" y="123"/>
                      </a:lnTo>
                      <a:lnTo>
                        <a:pt x="239" y="123"/>
                      </a:lnTo>
                      <a:lnTo>
                        <a:pt x="239" y="125"/>
                      </a:lnTo>
                      <a:lnTo>
                        <a:pt x="239" y="127"/>
                      </a:lnTo>
                      <a:lnTo>
                        <a:pt x="242" y="129"/>
                      </a:lnTo>
                      <a:lnTo>
                        <a:pt x="246" y="130"/>
                      </a:lnTo>
                      <a:lnTo>
                        <a:pt x="250" y="131"/>
                      </a:lnTo>
                      <a:lnTo>
                        <a:pt x="254" y="134"/>
                      </a:lnTo>
                      <a:lnTo>
                        <a:pt x="259" y="136"/>
                      </a:lnTo>
                      <a:lnTo>
                        <a:pt x="265" y="137"/>
                      </a:lnTo>
                      <a:lnTo>
                        <a:pt x="270" y="139"/>
                      </a:lnTo>
                      <a:lnTo>
                        <a:pt x="275" y="140"/>
                      </a:lnTo>
                      <a:lnTo>
                        <a:pt x="278" y="141"/>
                      </a:lnTo>
                      <a:lnTo>
                        <a:pt x="278" y="143"/>
                      </a:lnTo>
                      <a:lnTo>
                        <a:pt x="268" y="142"/>
                      </a:lnTo>
                      <a:lnTo>
                        <a:pt x="258" y="141"/>
                      </a:lnTo>
                      <a:lnTo>
                        <a:pt x="247" y="140"/>
                      </a:lnTo>
                      <a:lnTo>
                        <a:pt x="239" y="137"/>
                      </a:lnTo>
                      <a:lnTo>
                        <a:pt x="235" y="135"/>
                      </a:lnTo>
                      <a:lnTo>
                        <a:pt x="232" y="133"/>
                      </a:lnTo>
                      <a:lnTo>
                        <a:pt x="230" y="133"/>
                      </a:lnTo>
                      <a:lnTo>
                        <a:pt x="228" y="133"/>
                      </a:lnTo>
                      <a:lnTo>
                        <a:pt x="226" y="136"/>
                      </a:lnTo>
                      <a:lnTo>
                        <a:pt x="226" y="139"/>
                      </a:lnTo>
                      <a:lnTo>
                        <a:pt x="227" y="141"/>
                      </a:lnTo>
                      <a:lnTo>
                        <a:pt x="231" y="143"/>
                      </a:lnTo>
                      <a:lnTo>
                        <a:pt x="235" y="146"/>
                      </a:lnTo>
                      <a:lnTo>
                        <a:pt x="242" y="146"/>
                      </a:lnTo>
                      <a:lnTo>
                        <a:pt x="241" y="148"/>
                      </a:lnTo>
                      <a:lnTo>
                        <a:pt x="239" y="149"/>
                      </a:lnTo>
                      <a:lnTo>
                        <a:pt x="235" y="150"/>
                      </a:lnTo>
                      <a:lnTo>
                        <a:pt x="232" y="152"/>
                      </a:lnTo>
                      <a:lnTo>
                        <a:pt x="231" y="154"/>
                      </a:lnTo>
                      <a:lnTo>
                        <a:pt x="231" y="155"/>
                      </a:lnTo>
                      <a:lnTo>
                        <a:pt x="233" y="156"/>
                      </a:lnTo>
                      <a:lnTo>
                        <a:pt x="239" y="158"/>
                      </a:lnTo>
                      <a:lnTo>
                        <a:pt x="242" y="158"/>
                      </a:lnTo>
                      <a:lnTo>
                        <a:pt x="251" y="155"/>
                      </a:lnTo>
                      <a:lnTo>
                        <a:pt x="254" y="156"/>
                      </a:lnTo>
                      <a:lnTo>
                        <a:pt x="255" y="156"/>
                      </a:lnTo>
                      <a:lnTo>
                        <a:pt x="259" y="153"/>
                      </a:lnTo>
                      <a:lnTo>
                        <a:pt x="261" y="153"/>
                      </a:lnTo>
                      <a:lnTo>
                        <a:pt x="263" y="153"/>
                      </a:lnTo>
                      <a:lnTo>
                        <a:pt x="270" y="156"/>
                      </a:lnTo>
                      <a:lnTo>
                        <a:pt x="275" y="158"/>
                      </a:lnTo>
                      <a:lnTo>
                        <a:pt x="279" y="159"/>
                      </a:lnTo>
                      <a:lnTo>
                        <a:pt x="280" y="159"/>
                      </a:lnTo>
                      <a:lnTo>
                        <a:pt x="280" y="160"/>
                      </a:lnTo>
                      <a:lnTo>
                        <a:pt x="279" y="162"/>
                      </a:lnTo>
                      <a:lnTo>
                        <a:pt x="278" y="162"/>
                      </a:lnTo>
                      <a:lnTo>
                        <a:pt x="277" y="162"/>
                      </a:lnTo>
                      <a:lnTo>
                        <a:pt x="274" y="162"/>
                      </a:lnTo>
                      <a:lnTo>
                        <a:pt x="270" y="165"/>
                      </a:lnTo>
                      <a:lnTo>
                        <a:pt x="266" y="166"/>
                      </a:lnTo>
                      <a:lnTo>
                        <a:pt x="259" y="168"/>
                      </a:lnTo>
                      <a:lnTo>
                        <a:pt x="258" y="169"/>
                      </a:lnTo>
                      <a:lnTo>
                        <a:pt x="255" y="172"/>
                      </a:lnTo>
                      <a:lnTo>
                        <a:pt x="254" y="173"/>
                      </a:lnTo>
                      <a:lnTo>
                        <a:pt x="250" y="173"/>
                      </a:lnTo>
                      <a:lnTo>
                        <a:pt x="247" y="173"/>
                      </a:lnTo>
                      <a:lnTo>
                        <a:pt x="246" y="173"/>
                      </a:lnTo>
                      <a:lnTo>
                        <a:pt x="242" y="174"/>
                      </a:lnTo>
                      <a:lnTo>
                        <a:pt x="239" y="174"/>
                      </a:lnTo>
                      <a:lnTo>
                        <a:pt x="235" y="173"/>
                      </a:lnTo>
                      <a:lnTo>
                        <a:pt x="232" y="172"/>
                      </a:lnTo>
                      <a:lnTo>
                        <a:pt x="228" y="172"/>
                      </a:lnTo>
                      <a:lnTo>
                        <a:pt x="227" y="172"/>
                      </a:lnTo>
                      <a:lnTo>
                        <a:pt x="227" y="184"/>
                      </a:lnTo>
                      <a:lnTo>
                        <a:pt x="226" y="190"/>
                      </a:lnTo>
                      <a:lnTo>
                        <a:pt x="223" y="194"/>
                      </a:lnTo>
                      <a:lnTo>
                        <a:pt x="222" y="195"/>
                      </a:lnTo>
                      <a:lnTo>
                        <a:pt x="218" y="195"/>
                      </a:lnTo>
                      <a:lnTo>
                        <a:pt x="211" y="195"/>
                      </a:lnTo>
                      <a:lnTo>
                        <a:pt x="203" y="195"/>
                      </a:lnTo>
                      <a:lnTo>
                        <a:pt x="195" y="198"/>
                      </a:lnTo>
                      <a:lnTo>
                        <a:pt x="186" y="198"/>
                      </a:lnTo>
                      <a:lnTo>
                        <a:pt x="183" y="197"/>
                      </a:lnTo>
                      <a:lnTo>
                        <a:pt x="179" y="195"/>
                      </a:lnTo>
                      <a:lnTo>
                        <a:pt x="171" y="190"/>
                      </a:lnTo>
                      <a:lnTo>
                        <a:pt x="167" y="187"/>
                      </a:lnTo>
                      <a:lnTo>
                        <a:pt x="162" y="186"/>
                      </a:lnTo>
                      <a:lnTo>
                        <a:pt x="162" y="188"/>
                      </a:lnTo>
                      <a:lnTo>
                        <a:pt x="164" y="188"/>
                      </a:lnTo>
                      <a:lnTo>
                        <a:pt x="164" y="190"/>
                      </a:lnTo>
                      <a:lnTo>
                        <a:pt x="167" y="195"/>
                      </a:lnTo>
                      <a:lnTo>
                        <a:pt x="170" y="201"/>
                      </a:lnTo>
                      <a:lnTo>
                        <a:pt x="173" y="204"/>
                      </a:lnTo>
                      <a:lnTo>
                        <a:pt x="175" y="205"/>
                      </a:lnTo>
                      <a:lnTo>
                        <a:pt x="179" y="206"/>
                      </a:lnTo>
                      <a:lnTo>
                        <a:pt x="183" y="205"/>
                      </a:lnTo>
                      <a:lnTo>
                        <a:pt x="194" y="204"/>
                      </a:lnTo>
                      <a:lnTo>
                        <a:pt x="199" y="204"/>
                      </a:lnTo>
                      <a:lnTo>
                        <a:pt x="204" y="206"/>
                      </a:lnTo>
                      <a:lnTo>
                        <a:pt x="216" y="216"/>
                      </a:lnTo>
                      <a:lnTo>
                        <a:pt x="222" y="220"/>
                      </a:lnTo>
                      <a:lnTo>
                        <a:pt x="228" y="223"/>
                      </a:lnTo>
                      <a:lnTo>
                        <a:pt x="228" y="224"/>
                      </a:lnTo>
                      <a:lnTo>
                        <a:pt x="227" y="225"/>
                      </a:lnTo>
                      <a:lnTo>
                        <a:pt x="217" y="227"/>
                      </a:lnTo>
                      <a:lnTo>
                        <a:pt x="209" y="232"/>
                      </a:lnTo>
                      <a:lnTo>
                        <a:pt x="200" y="237"/>
                      </a:lnTo>
                      <a:lnTo>
                        <a:pt x="193" y="240"/>
                      </a:lnTo>
                      <a:lnTo>
                        <a:pt x="188" y="243"/>
                      </a:lnTo>
                      <a:lnTo>
                        <a:pt x="185" y="244"/>
                      </a:lnTo>
                      <a:lnTo>
                        <a:pt x="183" y="243"/>
                      </a:lnTo>
                      <a:lnTo>
                        <a:pt x="181" y="242"/>
                      </a:lnTo>
                      <a:lnTo>
                        <a:pt x="180" y="239"/>
                      </a:lnTo>
                      <a:lnTo>
                        <a:pt x="180" y="236"/>
                      </a:lnTo>
                      <a:lnTo>
                        <a:pt x="179" y="232"/>
                      </a:lnTo>
                      <a:lnTo>
                        <a:pt x="178" y="232"/>
                      </a:lnTo>
                      <a:lnTo>
                        <a:pt x="175" y="231"/>
                      </a:lnTo>
                      <a:lnTo>
                        <a:pt x="171" y="232"/>
                      </a:lnTo>
                      <a:lnTo>
                        <a:pt x="167" y="231"/>
                      </a:lnTo>
                      <a:lnTo>
                        <a:pt x="155" y="229"/>
                      </a:lnTo>
                      <a:lnTo>
                        <a:pt x="150" y="229"/>
                      </a:lnTo>
                      <a:lnTo>
                        <a:pt x="146" y="230"/>
                      </a:lnTo>
                      <a:lnTo>
                        <a:pt x="143" y="232"/>
                      </a:lnTo>
                      <a:lnTo>
                        <a:pt x="141" y="232"/>
                      </a:lnTo>
                      <a:lnTo>
                        <a:pt x="141" y="233"/>
                      </a:lnTo>
                      <a:lnTo>
                        <a:pt x="140" y="233"/>
                      </a:lnTo>
                      <a:lnTo>
                        <a:pt x="137" y="233"/>
                      </a:lnTo>
                      <a:lnTo>
                        <a:pt x="136" y="231"/>
                      </a:lnTo>
                      <a:lnTo>
                        <a:pt x="134" y="230"/>
                      </a:lnTo>
                      <a:lnTo>
                        <a:pt x="129" y="230"/>
                      </a:lnTo>
                      <a:lnTo>
                        <a:pt x="123" y="230"/>
                      </a:lnTo>
                      <a:lnTo>
                        <a:pt x="118" y="230"/>
                      </a:lnTo>
                      <a:lnTo>
                        <a:pt x="117" y="229"/>
                      </a:lnTo>
                      <a:lnTo>
                        <a:pt x="115" y="227"/>
                      </a:lnTo>
                      <a:lnTo>
                        <a:pt x="114" y="224"/>
                      </a:lnTo>
                      <a:lnTo>
                        <a:pt x="110" y="223"/>
                      </a:lnTo>
                      <a:lnTo>
                        <a:pt x="108" y="224"/>
                      </a:lnTo>
                      <a:lnTo>
                        <a:pt x="104" y="225"/>
                      </a:lnTo>
                      <a:lnTo>
                        <a:pt x="101" y="227"/>
                      </a:lnTo>
                      <a:lnTo>
                        <a:pt x="101" y="229"/>
                      </a:lnTo>
                      <a:lnTo>
                        <a:pt x="103" y="230"/>
                      </a:lnTo>
                      <a:lnTo>
                        <a:pt x="104" y="232"/>
                      </a:lnTo>
                      <a:lnTo>
                        <a:pt x="105" y="233"/>
                      </a:lnTo>
                      <a:lnTo>
                        <a:pt x="104" y="236"/>
                      </a:lnTo>
                      <a:lnTo>
                        <a:pt x="103" y="237"/>
                      </a:lnTo>
                      <a:lnTo>
                        <a:pt x="101" y="237"/>
                      </a:lnTo>
                      <a:lnTo>
                        <a:pt x="100" y="237"/>
                      </a:lnTo>
                      <a:lnTo>
                        <a:pt x="93" y="235"/>
                      </a:lnTo>
                      <a:lnTo>
                        <a:pt x="85" y="235"/>
                      </a:lnTo>
                      <a:lnTo>
                        <a:pt x="71" y="237"/>
                      </a:lnTo>
                      <a:lnTo>
                        <a:pt x="70" y="236"/>
                      </a:lnTo>
                      <a:lnTo>
                        <a:pt x="68" y="235"/>
                      </a:lnTo>
                      <a:lnTo>
                        <a:pt x="66" y="232"/>
                      </a:lnTo>
                      <a:lnTo>
                        <a:pt x="63" y="232"/>
                      </a:lnTo>
                      <a:lnTo>
                        <a:pt x="61" y="233"/>
                      </a:lnTo>
                      <a:lnTo>
                        <a:pt x="58" y="235"/>
                      </a:lnTo>
                      <a:lnTo>
                        <a:pt x="54" y="235"/>
                      </a:lnTo>
                      <a:lnTo>
                        <a:pt x="51" y="233"/>
                      </a:lnTo>
                      <a:lnTo>
                        <a:pt x="48" y="235"/>
                      </a:lnTo>
                      <a:lnTo>
                        <a:pt x="44" y="235"/>
                      </a:lnTo>
                      <a:lnTo>
                        <a:pt x="40" y="233"/>
                      </a:lnTo>
                      <a:lnTo>
                        <a:pt x="38" y="231"/>
                      </a:lnTo>
                      <a:lnTo>
                        <a:pt x="38" y="227"/>
                      </a:lnTo>
                      <a:lnTo>
                        <a:pt x="38" y="224"/>
                      </a:lnTo>
                      <a:lnTo>
                        <a:pt x="39" y="220"/>
                      </a:lnTo>
                      <a:lnTo>
                        <a:pt x="40" y="220"/>
                      </a:lnTo>
                      <a:lnTo>
                        <a:pt x="43" y="223"/>
                      </a:lnTo>
                      <a:lnTo>
                        <a:pt x="47" y="219"/>
                      </a:lnTo>
                      <a:lnTo>
                        <a:pt x="49" y="214"/>
                      </a:lnTo>
                      <a:lnTo>
                        <a:pt x="51" y="214"/>
                      </a:lnTo>
                      <a:lnTo>
                        <a:pt x="54" y="214"/>
                      </a:lnTo>
                      <a:lnTo>
                        <a:pt x="58" y="214"/>
                      </a:lnTo>
                      <a:lnTo>
                        <a:pt x="62" y="213"/>
                      </a:lnTo>
                      <a:lnTo>
                        <a:pt x="63" y="210"/>
                      </a:lnTo>
                      <a:lnTo>
                        <a:pt x="57" y="207"/>
                      </a:lnTo>
                      <a:lnTo>
                        <a:pt x="52" y="204"/>
                      </a:lnTo>
                      <a:lnTo>
                        <a:pt x="49" y="199"/>
                      </a:lnTo>
                      <a:lnTo>
                        <a:pt x="48" y="197"/>
                      </a:lnTo>
                      <a:lnTo>
                        <a:pt x="49" y="193"/>
                      </a:lnTo>
                      <a:lnTo>
                        <a:pt x="51" y="191"/>
                      </a:lnTo>
                      <a:lnTo>
                        <a:pt x="54" y="190"/>
                      </a:lnTo>
                      <a:lnTo>
                        <a:pt x="62" y="187"/>
                      </a:lnTo>
                      <a:lnTo>
                        <a:pt x="65" y="186"/>
                      </a:lnTo>
                      <a:lnTo>
                        <a:pt x="68" y="187"/>
                      </a:lnTo>
                      <a:lnTo>
                        <a:pt x="73" y="188"/>
                      </a:lnTo>
                      <a:lnTo>
                        <a:pt x="80" y="192"/>
                      </a:lnTo>
                      <a:lnTo>
                        <a:pt x="85" y="195"/>
                      </a:lnTo>
                      <a:lnTo>
                        <a:pt x="90" y="199"/>
                      </a:lnTo>
                      <a:lnTo>
                        <a:pt x="93" y="199"/>
                      </a:lnTo>
                      <a:lnTo>
                        <a:pt x="95" y="199"/>
                      </a:lnTo>
                      <a:lnTo>
                        <a:pt x="99" y="198"/>
                      </a:lnTo>
                      <a:lnTo>
                        <a:pt x="103" y="198"/>
                      </a:lnTo>
                      <a:lnTo>
                        <a:pt x="108" y="198"/>
                      </a:lnTo>
                      <a:lnTo>
                        <a:pt x="115" y="197"/>
                      </a:lnTo>
                      <a:lnTo>
                        <a:pt x="122" y="194"/>
                      </a:lnTo>
                      <a:lnTo>
                        <a:pt x="123" y="192"/>
                      </a:lnTo>
                      <a:lnTo>
                        <a:pt x="124" y="190"/>
                      </a:lnTo>
                      <a:lnTo>
                        <a:pt x="124" y="187"/>
                      </a:lnTo>
                      <a:lnTo>
                        <a:pt x="126" y="184"/>
                      </a:lnTo>
                      <a:lnTo>
                        <a:pt x="129" y="178"/>
                      </a:lnTo>
                      <a:lnTo>
                        <a:pt x="132" y="174"/>
                      </a:lnTo>
                      <a:lnTo>
                        <a:pt x="133" y="173"/>
                      </a:lnTo>
                      <a:lnTo>
                        <a:pt x="132" y="173"/>
                      </a:lnTo>
                      <a:lnTo>
                        <a:pt x="122" y="176"/>
                      </a:lnTo>
                      <a:lnTo>
                        <a:pt x="117" y="182"/>
                      </a:lnTo>
                      <a:lnTo>
                        <a:pt x="113" y="185"/>
                      </a:lnTo>
                      <a:lnTo>
                        <a:pt x="106" y="185"/>
                      </a:lnTo>
                      <a:lnTo>
                        <a:pt x="100" y="184"/>
                      </a:lnTo>
                      <a:lnTo>
                        <a:pt x="95" y="181"/>
                      </a:lnTo>
                      <a:lnTo>
                        <a:pt x="91" y="179"/>
                      </a:lnTo>
                      <a:lnTo>
                        <a:pt x="91" y="175"/>
                      </a:lnTo>
                      <a:lnTo>
                        <a:pt x="93" y="171"/>
                      </a:lnTo>
                      <a:lnTo>
                        <a:pt x="91" y="169"/>
                      </a:lnTo>
                      <a:lnTo>
                        <a:pt x="90" y="171"/>
                      </a:lnTo>
                      <a:lnTo>
                        <a:pt x="86" y="174"/>
                      </a:lnTo>
                      <a:lnTo>
                        <a:pt x="82" y="176"/>
                      </a:lnTo>
                      <a:lnTo>
                        <a:pt x="79" y="178"/>
                      </a:lnTo>
                      <a:lnTo>
                        <a:pt x="75" y="178"/>
                      </a:lnTo>
                      <a:lnTo>
                        <a:pt x="71" y="178"/>
                      </a:lnTo>
                      <a:lnTo>
                        <a:pt x="67" y="179"/>
                      </a:lnTo>
                      <a:lnTo>
                        <a:pt x="60" y="181"/>
                      </a:lnTo>
                      <a:lnTo>
                        <a:pt x="56" y="182"/>
                      </a:lnTo>
                      <a:lnTo>
                        <a:pt x="52" y="181"/>
                      </a:lnTo>
                      <a:lnTo>
                        <a:pt x="49" y="180"/>
                      </a:lnTo>
                      <a:lnTo>
                        <a:pt x="48" y="179"/>
                      </a:lnTo>
                      <a:lnTo>
                        <a:pt x="48" y="176"/>
                      </a:lnTo>
                      <a:lnTo>
                        <a:pt x="48" y="174"/>
                      </a:lnTo>
                      <a:lnTo>
                        <a:pt x="56" y="165"/>
                      </a:lnTo>
                      <a:lnTo>
                        <a:pt x="57" y="163"/>
                      </a:lnTo>
                      <a:lnTo>
                        <a:pt x="60" y="162"/>
                      </a:lnTo>
                      <a:lnTo>
                        <a:pt x="65" y="161"/>
                      </a:lnTo>
                      <a:lnTo>
                        <a:pt x="66" y="160"/>
                      </a:lnTo>
                      <a:lnTo>
                        <a:pt x="67" y="158"/>
                      </a:lnTo>
                      <a:lnTo>
                        <a:pt x="70" y="154"/>
                      </a:lnTo>
                      <a:lnTo>
                        <a:pt x="71" y="152"/>
                      </a:lnTo>
                      <a:lnTo>
                        <a:pt x="73" y="152"/>
                      </a:lnTo>
                      <a:lnTo>
                        <a:pt x="77" y="155"/>
                      </a:lnTo>
                      <a:lnTo>
                        <a:pt x="80" y="156"/>
                      </a:lnTo>
                      <a:lnTo>
                        <a:pt x="82" y="156"/>
                      </a:lnTo>
                      <a:lnTo>
                        <a:pt x="85" y="155"/>
                      </a:lnTo>
                      <a:lnTo>
                        <a:pt x="86" y="153"/>
                      </a:lnTo>
                      <a:lnTo>
                        <a:pt x="89" y="153"/>
                      </a:lnTo>
                      <a:lnTo>
                        <a:pt x="91" y="154"/>
                      </a:lnTo>
                      <a:lnTo>
                        <a:pt x="94" y="155"/>
                      </a:lnTo>
                      <a:lnTo>
                        <a:pt x="96" y="155"/>
                      </a:lnTo>
                      <a:lnTo>
                        <a:pt x="100" y="154"/>
                      </a:lnTo>
                      <a:lnTo>
                        <a:pt x="104" y="154"/>
                      </a:lnTo>
                      <a:lnTo>
                        <a:pt x="106" y="154"/>
                      </a:lnTo>
                      <a:lnTo>
                        <a:pt x="110" y="154"/>
                      </a:lnTo>
                      <a:lnTo>
                        <a:pt x="112" y="153"/>
                      </a:lnTo>
                      <a:lnTo>
                        <a:pt x="113" y="150"/>
                      </a:lnTo>
                      <a:lnTo>
                        <a:pt x="115" y="150"/>
                      </a:lnTo>
                      <a:lnTo>
                        <a:pt x="119" y="152"/>
                      </a:lnTo>
                      <a:lnTo>
                        <a:pt x="120" y="152"/>
                      </a:lnTo>
                      <a:lnTo>
                        <a:pt x="123" y="150"/>
                      </a:lnTo>
                      <a:lnTo>
                        <a:pt x="128" y="147"/>
                      </a:lnTo>
                      <a:lnTo>
                        <a:pt x="129" y="144"/>
                      </a:lnTo>
                      <a:lnTo>
                        <a:pt x="129" y="142"/>
                      </a:lnTo>
                      <a:lnTo>
                        <a:pt x="128" y="141"/>
                      </a:lnTo>
                      <a:lnTo>
                        <a:pt x="122" y="144"/>
                      </a:lnTo>
                      <a:lnTo>
                        <a:pt x="115" y="147"/>
                      </a:lnTo>
                      <a:lnTo>
                        <a:pt x="109" y="147"/>
                      </a:lnTo>
                      <a:lnTo>
                        <a:pt x="103" y="146"/>
                      </a:lnTo>
                      <a:lnTo>
                        <a:pt x="98" y="144"/>
                      </a:lnTo>
                      <a:lnTo>
                        <a:pt x="93" y="144"/>
                      </a:lnTo>
                      <a:lnTo>
                        <a:pt x="87" y="146"/>
                      </a:lnTo>
                      <a:lnTo>
                        <a:pt x="84" y="144"/>
                      </a:lnTo>
                      <a:lnTo>
                        <a:pt x="82" y="143"/>
                      </a:lnTo>
                      <a:lnTo>
                        <a:pt x="81" y="142"/>
                      </a:lnTo>
                      <a:lnTo>
                        <a:pt x="81" y="139"/>
                      </a:lnTo>
                      <a:lnTo>
                        <a:pt x="82" y="134"/>
                      </a:lnTo>
                      <a:lnTo>
                        <a:pt x="82" y="130"/>
                      </a:lnTo>
                      <a:lnTo>
                        <a:pt x="79" y="128"/>
                      </a:lnTo>
                      <a:lnTo>
                        <a:pt x="76" y="128"/>
                      </a:lnTo>
                      <a:lnTo>
                        <a:pt x="72" y="128"/>
                      </a:lnTo>
                      <a:lnTo>
                        <a:pt x="68" y="128"/>
                      </a:lnTo>
                      <a:lnTo>
                        <a:pt x="67" y="125"/>
                      </a:lnTo>
                      <a:lnTo>
                        <a:pt x="65" y="123"/>
                      </a:lnTo>
                      <a:lnTo>
                        <a:pt x="63" y="117"/>
                      </a:lnTo>
                      <a:lnTo>
                        <a:pt x="63" y="111"/>
                      </a:lnTo>
                      <a:lnTo>
                        <a:pt x="65" y="107"/>
                      </a:lnTo>
                      <a:lnTo>
                        <a:pt x="67" y="104"/>
                      </a:lnTo>
                      <a:lnTo>
                        <a:pt x="71" y="102"/>
                      </a:lnTo>
                      <a:lnTo>
                        <a:pt x="76" y="102"/>
                      </a:lnTo>
                      <a:lnTo>
                        <a:pt x="81" y="103"/>
                      </a:lnTo>
                      <a:lnTo>
                        <a:pt x="91" y="104"/>
                      </a:lnTo>
                      <a:lnTo>
                        <a:pt x="98" y="105"/>
                      </a:lnTo>
                      <a:lnTo>
                        <a:pt x="103" y="104"/>
                      </a:lnTo>
                      <a:lnTo>
                        <a:pt x="114" y="103"/>
                      </a:lnTo>
                      <a:lnTo>
                        <a:pt x="119" y="103"/>
                      </a:lnTo>
                      <a:lnTo>
                        <a:pt x="126" y="104"/>
                      </a:lnTo>
                      <a:lnTo>
                        <a:pt x="128" y="105"/>
                      </a:lnTo>
                      <a:lnTo>
                        <a:pt x="131" y="108"/>
                      </a:lnTo>
                      <a:lnTo>
                        <a:pt x="133" y="114"/>
                      </a:lnTo>
                      <a:lnTo>
                        <a:pt x="136" y="118"/>
                      </a:lnTo>
                      <a:lnTo>
                        <a:pt x="137" y="121"/>
                      </a:lnTo>
                      <a:lnTo>
                        <a:pt x="140" y="123"/>
                      </a:lnTo>
                      <a:lnTo>
                        <a:pt x="143" y="123"/>
                      </a:lnTo>
                      <a:lnTo>
                        <a:pt x="147" y="124"/>
                      </a:lnTo>
                      <a:lnTo>
                        <a:pt x="151" y="129"/>
                      </a:lnTo>
                      <a:lnTo>
                        <a:pt x="153" y="131"/>
                      </a:lnTo>
                      <a:lnTo>
                        <a:pt x="157" y="133"/>
                      </a:lnTo>
                      <a:lnTo>
                        <a:pt x="164" y="133"/>
                      </a:lnTo>
                      <a:lnTo>
                        <a:pt x="170" y="133"/>
                      </a:lnTo>
                      <a:lnTo>
                        <a:pt x="176" y="130"/>
                      </a:lnTo>
                      <a:lnTo>
                        <a:pt x="181" y="127"/>
                      </a:lnTo>
                      <a:lnTo>
                        <a:pt x="174" y="124"/>
                      </a:lnTo>
                      <a:lnTo>
                        <a:pt x="165" y="122"/>
                      </a:lnTo>
                      <a:lnTo>
                        <a:pt x="161" y="121"/>
                      </a:lnTo>
                      <a:lnTo>
                        <a:pt x="159" y="117"/>
                      </a:lnTo>
                      <a:lnTo>
                        <a:pt x="156" y="115"/>
                      </a:lnTo>
                      <a:lnTo>
                        <a:pt x="156" y="110"/>
                      </a:lnTo>
                      <a:lnTo>
                        <a:pt x="156" y="109"/>
                      </a:lnTo>
                      <a:lnTo>
                        <a:pt x="153" y="108"/>
                      </a:lnTo>
                      <a:lnTo>
                        <a:pt x="151" y="107"/>
                      </a:lnTo>
                      <a:lnTo>
                        <a:pt x="150" y="105"/>
                      </a:lnTo>
                      <a:lnTo>
                        <a:pt x="151" y="102"/>
                      </a:lnTo>
                      <a:lnTo>
                        <a:pt x="152" y="101"/>
                      </a:lnTo>
                      <a:lnTo>
                        <a:pt x="155" y="99"/>
                      </a:lnTo>
                      <a:lnTo>
                        <a:pt x="159" y="99"/>
                      </a:lnTo>
                      <a:lnTo>
                        <a:pt x="162" y="99"/>
                      </a:lnTo>
                      <a:lnTo>
                        <a:pt x="170" y="97"/>
                      </a:lnTo>
                      <a:lnTo>
                        <a:pt x="179" y="96"/>
                      </a:lnTo>
                      <a:lnTo>
                        <a:pt x="194" y="96"/>
                      </a:lnTo>
                      <a:lnTo>
                        <a:pt x="198" y="95"/>
                      </a:lnTo>
                      <a:lnTo>
                        <a:pt x="202" y="92"/>
                      </a:lnTo>
                      <a:lnTo>
                        <a:pt x="206" y="90"/>
                      </a:lnTo>
                      <a:lnTo>
                        <a:pt x="208" y="88"/>
                      </a:lnTo>
                      <a:lnTo>
                        <a:pt x="214" y="86"/>
                      </a:lnTo>
                      <a:lnTo>
                        <a:pt x="221" y="86"/>
                      </a:lnTo>
                      <a:lnTo>
                        <a:pt x="227" y="86"/>
                      </a:lnTo>
                      <a:lnTo>
                        <a:pt x="233" y="84"/>
                      </a:lnTo>
                      <a:lnTo>
                        <a:pt x="235" y="83"/>
                      </a:lnTo>
                      <a:lnTo>
                        <a:pt x="235" y="82"/>
                      </a:lnTo>
                      <a:lnTo>
                        <a:pt x="235" y="79"/>
                      </a:lnTo>
                      <a:lnTo>
                        <a:pt x="233" y="79"/>
                      </a:lnTo>
                      <a:lnTo>
                        <a:pt x="227" y="78"/>
                      </a:lnTo>
                      <a:lnTo>
                        <a:pt x="220" y="79"/>
                      </a:lnTo>
                      <a:lnTo>
                        <a:pt x="213" y="80"/>
                      </a:lnTo>
                      <a:lnTo>
                        <a:pt x="209" y="80"/>
                      </a:lnTo>
                      <a:lnTo>
                        <a:pt x="207" y="79"/>
                      </a:lnTo>
                      <a:lnTo>
                        <a:pt x="208" y="77"/>
                      </a:lnTo>
                      <a:lnTo>
                        <a:pt x="221" y="72"/>
                      </a:lnTo>
                      <a:lnTo>
                        <a:pt x="226" y="70"/>
                      </a:lnTo>
                      <a:lnTo>
                        <a:pt x="226" y="69"/>
                      </a:lnTo>
                      <a:lnTo>
                        <a:pt x="221" y="66"/>
                      </a:lnTo>
                      <a:lnTo>
                        <a:pt x="216" y="65"/>
                      </a:lnTo>
                      <a:lnTo>
                        <a:pt x="211" y="66"/>
                      </a:lnTo>
                      <a:lnTo>
                        <a:pt x="206" y="69"/>
                      </a:lnTo>
                      <a:lnTo>
                        <a:pt x="195" y="76"/>
                      </a:lnTo>
                      <a:lnTo>
                        <a:pt x="186" y="84"/>
                      </a:lnTo>
                      <a:lnTo>
                        <a:pt x="183" y="85"/>
                      </a:lnTo>
                      <a:lnTo>
                        <a:pt x="178" y="86"/>
                      </a:lnTo>
                      <a:lnTo>
                        <a:pt x="147" y="90"/>
                      </a:lnTo>
                      <a:lnTo>
                        <a:pt x="117" y="92"/>
                      </a:lnTo>
                      <a:lnTo>
                        <a:pt x="89" y="92"/>
                      </a:lnTo>
                      <a:lnTo>
                        <a:pt x="75" y="92"/>
                      </a:lnTo>
                      <a:lnTo>
                        <a:pt x="61" y="91"/>
                      </a:lnTo>
                      <a:lnTo>
                        <a:pt x="54" y="89"/>
                      </a:lnTo>
                      <a:lnTo>
                        <a:pt x="52" y="88"/>
                      </a:lnTo>
                      <a:lnTo>
                        <a:pt x="52" y="86"/>
                      </a:lnTo>
                      <a:lnTo>
                        <a:pt x="52" y="85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6" y="76"/>
                      </a:lnTo>
                      <a:lnTo>
                        <a:pt x="70" y="71"/>
                      </a:lnTo>
                      <a:lnTo>
                        <a:pt x="68" y="71"/>
                      </a:lnTo>
                      <a:lnTo>
                        <a:pt x="66" y="71"/>
                      </a:lnTo>
                      <a:lnTo>
                        <a:pt x="63" y="72"/>
                      </a:lnTo>
                      <a:lnTo>
                        <a:pt x="62" y="73"/>
                      </a:lnTo>
                      <a:lnTo>
                        <a:pt x="54" y="75"/>
                      </a:lnTo>
                      <a:lnTo>
                        <a:pt x="48" y="77"/>
                      </a:lnTo>
                      <a:lnTo>
                        <a:pt x="43" y="79"/>
                      </a:lnTo>
                      <a:lnTo>
                        <a:pt x="35" y="82"/>
                      </a:lnTo>
                      <a:lnTo>
                        <a:pt x="33" y="82"/>
                      </a:lnTo>
                      <a:lnTo>
                        <a:pt x="29" y="79"/>
                      </a:lnTo>
                      <a:lnTo>
                        <a:pt x="25" y="77"/>
                      </a:lnTo>
                      <a:lnTo>
                        <a:pt x="23" y="73"/>
                      </a:lnTo>
                      <a:lnTo>
                        <a:pt x="26" y="71"/>
                      </a:lnTo>
                      <a:lnTo>
                        <a:pt x="30" y="69"/>
                      </a:lnTo>
                      <a:lnTo>
                        <a:pt x="37" y="61"/>
                      </a:lnTo>
                      <a:lnTo>
                        <a:pt x="35" y="60"/>
                      </a:lnTo>
                      <a:lnTo>
                        <a:pt x="34" y="60"/>
                      </a:lnTo>
                      <a:lnTo>
                        <a:pt x="32" y="61"/>
                      </a:lnTo>
                      <a:lnTo>
                        <a:pt x="29" y="64"/>
                      </a:lnTo>
                      <a:lnTo>
                        <a:pt x="25" y="65"/>
                      </a:lnTo>
                      <a:lnTo>
                        <a:pt x="23" y="65"/>
                      </a:lnTo>
                      <a:lnTo>
                        <a:pt x="18" y="63"/>
                      </a:lnTo>
                      <a:lnTo>
                        <a:pt x="15" y="63"/>
                      </a:lnTo>
                      <a:lnTo>
                        <a:pt x="13" y="64"/>
                      </a:lnTo>
                      <a:lnTo>
                        <a:pt x="9" y="64"/>
                      </a:lnTo>
                      <a:lnTo>
                        <a:pt x="5" y="64"/>
                      </a:lnTo>
                      <a:lnTo>
                        <a:pt x="4" y="64"/>
                      </a:lnTo>
                      <a:lnTo>
                        <a:pt x="2" y="64"/>
                      </a:lnTo>
                      <a:lnTo>
                        <a:pt x="1" y="60"/>
                      </a:lnTo>
                      <a:lnTo>
                        <a:pt x="0" y="53"/>
                      </a:lnTo>
                      <a:lnTo>
                        <a:pt x="1" y="50"/>
                      </a:lnTo>
                      <a:lnTo>
                        <a:pt x="4" y="47"/>
                      </a:lnTo>
                      <a:lnTo>
                        <a:pt x="7" y="46"/>
                      </a:lnTo>
                      <a:lnTo>
                        <a:pt x="11" y="45"/>
                      </a:lnTo>
                      <a:lnTo>
                        <a:pt x="15" y="46"/>
                      </a:lnTo>
                      <a:lnTo>
                        <a:pt x="18" y="45"/>
                      </a:lnTo>
                      <a:lnTo>
                        <a:pt x="33" y="43"/>
                      </a:lnTo>
                      <a:lnTo>
                        <a:pt x="47" y="43"/>
                      </a:lnTo>
                      <a:lnTo>
                        <a:pt x="52" y="43"/>
                      </a:lnTo>
                      <a:lnTo>
                        <a:pt x="56" y="41"/>
                      </a:lnTo>
                      <a:lnTo>
                        <a:pt x="65" y="40"/>
                      </a:lnTo>
                      <a:lnTo>
                        <a:pt x="72" y="39"/>
                      </a:lnTo>
                      <a:lnTo>
                        <a:pt x="81" y="37"/>
                      </a:lnTo>
                      <a:lnTo>
                        <a:pt x="89" y="37"/>
                      </a:lnTo>
                      <a:lnTo>
                        <a:pt x="100" y="38"/>
                      </a:lnTo>
                      <a:lnTo>
                        <a:pt x="110" y="38"/>
                      </a:lnTo>
                      <a:lnTo>
                        <a:pt x="122" y="37"/>
                      </a:lnTo>
                      <a:lnTo>
                        <a:pt x="131" y="34"/>
                      </a:lnTo>
                      <a:lnTo>
                        <a:pt x="136" y="31"/>
                      </a:lnTo>
                      <a:lnTo>
                        <a:pt x="141" y="26"/>
                      </a:lnTo>
                      <a:lnTo>
                        <a:pt x="146" y="25"/>
                      </a:lnTo>
                      <a:lnTo>
                        <a:pt x="151" y="24"/>
                      </a:lnTo>
                      <a:lnTo>
                        <a:pt x="161" y="21"/>
                      </a:lnTo>
                      <a:lnTo>
                        <a:pt x="167" y="20"/>
                      </a:lnTo>
                      <a:lnTo>
                        <a:pt x="173" y="20"/>
                      </a:lnTo>
                      <a:lnTo>
                        <a:pt x="179" y="19"/>
                      </a:lnTo>
                      <a:lnTo>
                        <a:pt x="185" y="18"/>
                      </a:lnTo>
                      <a:lnTo>
                        <a:pt x="194" y="16"/>
                      </a:lnTo>
                      <a:lnTo>
                        <a:pt x="204" y="16"/>
                      </a:lnTo>
                      <a:lnTo>
                        <a:pt x="213" y="16"/>
                      </a:lnTo>
                      <a:lnTo>
                        <a:pt x="223" y="16"/>
                      </a:lnTo>
                      <a:lnTo>
                        <a:pt x="237" y="15"/>
                      </a:lnTo>
                      <a:lnTo>
                        <a:pt x="251" y="13"/>
                      </a:lnTo>
                      <a:lnTo>
                        <a:pt x="265" y="12"/>
                      </a:lnTo>
                      <a:lnTo>
                        <a:pt x="279" y="12"/>
                      </a:lnTo>
                      <a:lnTo>
                        <a:pt x="289" y="12"/>
                      </a:lnTo>
                      <a:lnTo>
                        <a:pt x="294" y="12"/>
                      </a:lnTo>
                      <a:lnTo>
                        <a:pt x="300" y="10"/>
                      </a:lnTo>
                      <a:lnTo>
                        <a:pt x="306" y="8"/>
                      </a:lnTo>
                      <a:lnTo>
                        <a:pt x="312" y="7"/>
                      </a:lnTo>
                      <a:lnTo>
                        <a:pt x="326" y="3"/>
                      </a:lnTo>
                      <a:lnTo>
                        <a:pt x="327" y="3"/>
                      </a:lnTo>
                      <a:lnTo>
                        <a:pt x="329" y="3"/>
                      </a:lnTo>
                      <a:lnTo>
                        <a:pt x="334" y="9"/>
                      </a:lnTo>
                      <a:lnTo>
                        <a:pt x="336" y="10"/>
                      </a:lnTo>
                      <a:lnTo>
                        <a:pt x="338" y="10"/>
                      </a:lnTo>
                      <a:lnTo>
                        <a:pt x="339" y="9"/>
                      </a:lnTo>
                      <a:lnTo>
                        <a:pt x="348" y="3"/>
                      </a:lnTo>
                      <a:lnTo>
                        <a:pt x="352" y="1"/>
                      </a:lnTo>
                      <a:lnTo>
                        <a:pt x="354" y="0"/>
                      </a:lnTo>
                      <a:lnTo>
                        <a:pt x="372" y="3"/>
                      </a:lnTo>
                      <a:lnTo>
                        <a:pt x="387" y="7"/>
                      </a:lnTo>
                      <a:lnTo>
                        <a:pt x="404" y="8"/>
                      </a:lnTo>
                      <a:lnTo>
                        <a:pt x="423" y="8"/>
                      </a:lnTo>
                      <a:lnTo>
                        <a:pt x="423" y="10"/>
                      </a:lnTo>
                      <a:lnTo>
                        <a:pt x="421" y="10"/>
                      </a:lnTo>
                      <a:lnTo>
                        <a:pt x="418" y="12"/>
                      </a:lnTo>
                      <a:lnTo>
                        <a:pt x="413" y="13"/>
                      </a:lnTo>
                      <a:lnTo>
                        <a:pt x="411" y="14"/>
                      </a:lnTo>
                      <a:lnTo>
                        <a:pt x="410" y="15"/>
                      </a:lnTo>
                      <a:lnTo>
                        <a:pt x="418" y="16"/>
                      </a:lnTo>
                      <a:lnTo>
                        <a:pt x="424" y="15"/>
                      </a:lnTo>
                      <a:lnTo>
                        <a:pt x="439" y="13"/>
                      </a:lnTo>
                      <a:lnTo>
                        <a:pt x="446" y="10"/>
                      </a:lnTo>
                      <a:lnTo>
                        <a:pt x="449" y="10"/>
                      </a:lnTo>
                      <a:lnTo>
                        <a:pt x="452" y="12"/>
                      </a:lnTo>
                      <a:lnTo>
                        <a:pt x="454" y="14"/>
                      </a:lnTo>
                      <a:lnTo>
                        <a:pt x="458" y="16"/>
                      </a:lnTo>
                      <a:lnTo>
                        <a:pt x="462" y="16"/>
                      </a:lnTo>
                      <a:lnTo>
                        <a:pt x="465" y="15"/>
                      </a:lnTo>
                      <a:lnTo>
                        <a:pt x="473" y="14"/>
                      </a:lnTo>
                      <a:lnTo>
                        <a:pt x="477" y="15"/>
                      </a:lnTo>
                      <a:lnTo>
                        <a:pt x="482" y="19"/>
                      </a:lnTo>
                      <a:lnTo>
                        <a:pt x="484" y="19"/>
                      </a:lnTo>
                      <a:lnTo>
                        <a:pt x="485" y="19"/>
                      </a:lnTo>
                      <a:lnTo>
                        <a:pt x="486" y="22"/>
                      </a:lnTo>
                      <a:lnTo>
                        <a:pt x="489" y="25"/>
                      </a:lnTo>
                      <a:lnTo>
                        <a:pt x="493" y="28"/>
                      </a:lnTo>
                      <a:lnTo>
                        <a:pt x="499" y="29"/>
                      </a:lnTo>
                      <a:lnTo>
                        <a:pt x="505" y="31"/>
                      </a:lnTo>
                      <a:lnTo>
                        <a:pt x="505" y="32"/>
                      </a:lnTo>
                      <a:lnTo>
                        <a:pt x="505" y="33"/>
                      </a:lnTo>
                      <a:lnTo>
                        <a:pt x="500" y="35"/>
                      </a:lnTo>
                      <a:lnTo>
                        <a:pt x="496" y="38"/>
                      </a:lnTo>
                      <a:lnTo>
                        <a:pt x="489" y="44"/>
                      </a:lnTo>
                      <a:lnTo>
                        <a:pt x="482" y="46"/>
                      </a:lnTo>
                      <a:lnTo>
                        <a:pt x="476" y="47"/>
                      </a:lnTo>
                      <a:lnTo>
                        <a:pt x="470" y="50"/>
                      </a:lnTo>
                      <a:lnTo>
                        <a:pt x="465" y="52"/>
                      </a:lnTo>
                      <a:lnTo>
                        <a:pt x="461" y="52"/>
                      </a:lnTo>
                      <a:lnTo>
                        <a:pt x="457" y="51"/>
                      </a:lnTo>
                      <a:lnTo>
                        <a:pt x="451" y="48"/>
                      </a:lnTo>
                      <a:lnTo>
                        <a:pt x="446" y="47"/>
                      </a:lnTo>
                      <a:lnTo>
                        <a:pt x="442" y="48"/>
                      </a:lnTo>
                      <a:lnTo>
                        <a:pt x="437" y="50"/>
                      </a:lnTo>
                      <a:lnTo>
                        <a:pt x="432" y="52"/>
                      </a:lnTo>
                      <a:lnTo>
                        <a:pt x="426" y="53"/>
                      </a:lnTo>
                      <a:lnTo>
                        <a:pt x="421" y="54"/>
                      </a:lnTo>
                      <a:lnTo>
                        <a:pt x="410" y="53"/>
                      </a:lnTo>
                      <a:lnTo>
                        <a:pt x="399" y="53"/>
                      </a:lnTo>
                      <a:lnTo>
                        <a:pt x="393" y="54"/>
                      </a:lnTo>
                      <a:lnTo>
                        <a:pt x="388" y="57"/>
                      </a:lnTo>
                      <a:lnTo>
                        <a:pt x="392" y="58"/>
                      </a:lnTo>
                      <a:lnTo>
                        <a:pt x="396" y="59"/>
                      </a:lnTo>
                      <a:lnTo>
                        <a:pt x="404" y="60"/>
                      </a:lnTo>
                      <a:lnTo>
                        <a:pt x="413" y="60"/>
                      </a:lnTo>
                      <a:lnTo>
                        <a:pt x="420" y="61"/>
                      </a:lnTo>
                      <a:lnTo>
                        <a:pt x="419" y="63"/>
                      </a:lnTo>
                      <a:lnTo>
                        <a:pt x="396" y="63"/>
                      </a:lnTo>
                      <a:lnTo>
                        <a:pt x="385" y="65"/>
                      </a:lnTo>
                      <a:lnTo>
                        <a:pt x="380" y="66"/>
                      </a:lnTo>
                      <a:lnTo>
                        <a:pt x="374" y="70"/>
                      </a:lnTo>
                      <a:lnTo>
                        <a:pt x="376" y="72"/>
                      </a:lnTo>
                      <a:lnTo>
                        <a:pt x="377" y="73"/>
                      </a:lnTo>
                      <a:lnTo>
                        <a:pt x="380" y="73"/>
                      </a:lnTo>
                      <a:lnTo>
                        <a:pt x="391" y="75"/>
                      </a:lnTo>
                      <a:lnTo>
                        <a:pt x="410" y="73"/>
                      </a:lnTo>
                      <a:lnTo>
                        <a:pt x="428" y="70"/>
                      </a:lnTo>
                      <a:lnTo>
                        <a:pt x="438" y="67"/>
                      </a:lnTo>
                      <a:lnTo>
                        <a:pt x="448" y="64"/>
                      </a:lnTo>
                      <a:lnTo>
                        <a:pt x="454" y="63"/>
                      </a:lnTo>
                      <a:lnTo>
                        <a:pt x="461" y="63"/>
                      </a:lnTo>
                      <a:lnTo>
                        <a:pt x="462" y="61"/>
                      </a:lnTo>
                      <a:lnTo>
                        <a:pt x="465" y="61"/>
                      </a:lnTo>
                      <a:lnTo>
                        <a:pt x="466" y="60"/>
                      </a:lnTo>
                      <a:lnTo>
                        <a:pt x="468" y="61"/>
                      </a:lnTo>
                      <a:lnTo>
                        <a:pt x="470" y="64"/>
                      </a:lnTo>
                      <a:lnTo>
                        <a:pt x="470" y="66"/>
                      </a:lnTo>
                      <a:lnTo>
                        <a:pt x="468" y="67"/>
                      </a:lnTo>
                      <a:lnTo>
                        <a:pt x="465" y="6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7" name="Freeform 911">
                  <a:extLst>
                    <a:ext uri="{FF2B5EF4-FFF2-40B4-BE49-F238E27FC236}">
                      <a16:creationId xmlns:a16="http://schemas.microsoft.com/office/drawing/2014/main" id="{3BD4B1B0-300D-1E4B-8032-454146ABAB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3522" y="1973833"/>
                  <a:ext cx="2960" cy="2960"/>
                </a:xfrm>
                <a:custGeom>
                  <a:avLst/>
                  <a:gdLst>
                    <a:gd name="T0" fmla="*/ 2147483647 w 3"/>
                    <a:gd name="T1" fmla="*/ 2147483647 h 2"/>
                    <a:gd name="T2" fmla="*/ 2147483647 w 3"/>
                    <a:gd name="T3" fmla="*/ 2147483647 h 2"/>
                    <a:gd name="T4" fmla="*/ 2147483647 w 3"/>
                    <a:gd name="T5" fmla="*/ 2147483647 h 2"/>
                    <a:gd name="T6" fmla="*/ 0 w 3"/>
                    <a:gd name="T7" fmla="*/ 2147483647 h 2"/>
                    <a:gd name="T8" fmla="*/ 0 w 3"/>
                    <a:gd name="T9" fmla="*/ 2147483647 h 2"/>
                    <a:gd name="T10" fmla="*/ 2147483647 w 3"/>
                    <a:gd name="T11" fmla="*/ 0 h 2"/>
                    <a:gd name="T12" fmla="*/ 2147483647 w 3"/>
                    <a:gd name="T13" fmla="*/ 214748364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"/>
                    <a:gd name="T22" fmla="*/ 0 h 2"/>
                    <a:gd name="T23" fmla="*/ 3 w 3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" h="2">
                      <a:moveTo>
                        <a:pt x="3" y="1"/>
                      </a:move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8" name="Freeform 912">
                  <a:extLst>
                    <a:ext uri="{FF2B5EF4-FFF2-40B4-BE49-F238E27FC236}">
                      <a16:creationId xmlns:a16="http://schemas.microsoft.com/office/drawing/2014/main" id="{5F99DB43-73A4-564F-A6F8-5956DFD701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2473" y="1765169"/>
                  <a:ext cx="171665" cy="173145"/>
                </a:xfrm>
                <a:custGeom>
                  <a:avLst/>
                  <a:gdLst>
                    <a:gd name="T0" fmla="*/ 2147483647 w 125"/>
                    <a:gd name="T1" fmla="*/ 2147483647 h 117"/>
                    <a:gd name="T2" fmla="*/ 2147483647 w 125"/>
                    <a:gd name="T3" fmla="*/ 2147483647 h 117"/>
                    <a:gd name="T4" fmla="*/ 2147483647 w 125"/>
                    <a:gd name="T5" fmla="*/ 2147483647 h 117"/>
                    <a:gd name="T6" fmla="*/ 2147483647 w 125"/>
                    <a:gd name="T7" fmla="*/ 2147483647 h 117"/>
                    <a:gd name="T8" fmla="*/ 2147483647 w 125"/>
                    <a:gd name="T9" fmla="*/ 2147483647 h 117"/>
                    <a:gd name="T10" fmla="*/ 2147483647 w 125"/>
                    <a:gd name="T11" fmla="*/ 2147483647 h 117"/>
                    <a:gd name="T12" fmla="*/ 2147483647 w 125"/>
                    <a:gd name="T13" fmla="*/ 2147483647 h 117"/>
                    <a:gd name="T14" fmla="*/ 2147483647 w 125"/>
                    <a:gd name="T15" fmla="*/ 2147483647 h 117"/>
                    <a:gd name="T16" fmla="*/ 2147483647 w 125"/>
                    <a:gd name="T17" fmla="*/ 2147483647 h 117"/>
                    <a:gd name="T18" fmla="*/ 2147483647 w 125"/>
                    <a:gd name="T19" fmla="*/ 2147483647 h 117"/>
                    <a:gd name="T20" fmla="*/ 2147483647 w 125"/>
                    <a:gd name="T21" fmla="*/ 2147483647 h 117"/>
                    <a:gd name="T22" fmla="*/ 2147483647 w 125"/>
                    <a:gd name="T23" fmla="*/ 2147483647 h 117"/>
                    <a:gd name="T24" fmla="*/ 2147483647 w 125"/>
                    <a:gd name="T25" fmla="*/ 2147483647 h 117"/>
                    <a:gd name="T26" fmla="*/ 2147483647 w 125"/>
                    <a:gd name="T27" fmla="*/ 2147483647 h 117"/>
                    <a:gd name="T28" fmla="*/ 2147483647 w 125"/>
                    <a:gd name="T29" fmla="*/ 2147483647 h 117"/>
                    <a:gd name="T30" fmla="*/ 2147483647 w 125"/>
                    <a:gd name="T31" fmla="*/ 2147483647 h 117"/>
                    <a:gd name="T32" fmla="*/ 2147483647 w 125"/>
                    <a:gd name="T33" fmla="*/ 2147483647 h 117"/>
                    <a:gd name="T34" fmla="*/ 2147483647 w 125"/>
                    <a:gd name="T35" fmla="*/ 2147483647 h 117"/>
                    <a:gd name="T36" fmla="*/ 2147483647 w 125"/>
                    <a:gd name="T37" fmla="*/ 2147483647 h 117"/>
                    <a:gd name="T38" fmla="*/ 2147483647 w 125"/>
                    <a:gd name="T39" fmla="*/ 0 h 117"/>
                    <a:gd name="T40" fmla="*/ 2147483647 w 125"/>
                    <a:gd name="T41" fmla="*/ 2147483647 h 117"/>
                    <a:gd name="T42" fmla="*/ 2147483647 w 125"/>
                    <a:gd name="T43" fmla="*/ 2147483647 h 117"/>
                    <a:gd name="T44" fmla="*/ 2147483647 w 125"/>
                    <a:gd name="T45" fmla="*/ 2147483647 h 117"/>
                    <a:gd name="T46" fmla="*/ 2147483647 w 125"/>
                    <a:gd name="T47" fmla="*/ 2147483647 h 117"/>
                    <a:gd name="T48" fmla="*/ 2147483647 w 125"/>
                    <a:gd name="T49" fmla="*/ 2147483647 h 117"/>
                    <a:gd name="T50" fmla="*/ 2147483647 w 125"/>
                    <a:gd name="T51" fmla="*/ 2147483647 h 117"/>
                    <a:gd name="T52" fmla="*/ 2147483647 w 125"/>
                    <a:gd name="T53" fmla="*/ 2147483647 h 117"/>
                    <a:gd name="T54" fmla="*/ 2147483647 w 125"/>
                    <a:gd name="T55" fmla="*/ 2147483647 h 117"/>
                    <a:gd name="T56" fmla="*/ 2147483647 w 125"/>
                    <a:gd name="T57" fmla="*/ 2147483647 h 117"/>
                    <a:gd name="T58" fmla="*/ 2147483647 w 125"/>
                    <a:gd name="T59" fmla="*/ 2147483647 h 117"/>
                    <a:gd name="T60" fmla="*/ 2147483647 w 125"/>
                    <a:gd name="T61" fmla="*/ 2147483647 h 117"/>
                    <a:gd name="T62" fmla="*/ 2147483647 w 125"/>
                    <a:gd name="T63" fmla="*/ 2147483647 h 117"/>
                    <a:gd name="T64" fmla="*/ 2147483647 w 125"/>
                    <a:gd name="T65" fmla="*/ 2147483647 h 117"/>
                    <a:gd name="T66" fmla="*/ 0 w 125"/>
                    <a:gd name="T67" fmla="*/ 2147483647 h 117"/>
                    <a:gd name="T68" fmla="*/ 2147483647 w 125"/>
                    <a:gd name="T69" fmla="*/ 2147483647 h 117"/>
                    <a:gd name="T70" fmla="*/ 2147483647 w 125"/>
                    <a:gd name="T71" fmla="*/ 2147483647 h 117"/>
                    <a:gd name="T72" fmla="*/ 2147483647 w 125"/>
                    <a:gd name="T73" fmla="*/ 2147483647 h 117"/>
                    <a:gd name="T74" fmla="*/ 2147483647 w 125"/>
                    <a:gd name="T75" fmla="*/ 2147483647 h 117"/>
                    <a:gd name="T76" fmla="*/ 2147483647 w 125"/>
                    <a:gd name="T77" fmla="*/ 2147483647 h 117"/>
                    <a:gd name="T78" fmla="*/ 2147483647 w 125"/>
                    <a:gd name="T79" fmla="*/ 2147483647 h 117"/>
                    <a:gd name="T80" fmla="*/ 2147483647 w 125"/>
                    <a:gd name="T81" fmla="*/ 2147483647 h 117"/>
                    <a:gd name="T82" fmla="*/ 2147483647 w 125"/>
                    <a:gd name="T83" fmla="*/ 2147483647 h 117"/>
                    <a:gd name="T84" fmla="*/ 2147483647 w 125"/>
                    <a:gd name="T85" fmla="*/ 2147483647 h 117"/>
                    <a:gd name="T86" fmla="*/ 2147483647 w 125"/>
                    <a:gd name="T87" fmla="*/ 2147483647 h 117"/>
                    <a:gd name="T88" fmla="*/ 2147483647 w 125"/>
                    <a:gd name="T89" fmla="*/ 2147483647 h 117"/>
                    <a:gd name="T90" fmla="*/ 2147483647 w 125"/>
                    <a:gd name="T91" fmla="*/ 2147483647 h 117"/>
                    <a:gd name="T92" fmla="*/ 2147483647 w 125"/>
                    <a:gd name="T93" fmla="*/ 2147483647 h 117"/>
                    <a:gd name="T94" fmla="*/ 2147483647 w 125"/>
                    <a:gd name="T95" fmla="*/ 2147483647 h 1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25"/>
                    <a:gd name="T145" fmla="*/ 0 h 117"/>
                    <a:gd name="T146" fmla="*/ 125 w 125"/>
                    <a:gd name="T147" fmla="*/ 117 h 1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25" h="117">
                      <a:moveTo>
                        <a:pt x="57" y="114"/>
                      </a:moveTo>
                      <a:lnTo>
                        <a:pt x="61" y="115"/>
                      </a:lnTo>
                      <a:lnTo>
                        <a:pt x="66" y="115"/>
                      </a:lnTo>
                      <a:lnTo>
                        <a:pt x="69" y="114"/>
                      </a:lnTo>
                      <a:lnTo>
                        <a:pt x="73" y="111"/>
                      </a:lnTo>
                      <a:lnTo>
                        <a:pt x="76" y="107"/>
                      </a:lnTo>
                      <a:lnTo>
                        <a:pt x="80" y="98"/>
                      </a:lnTo>
                      <a:lnTo>
                        <a:pt x="81" y="97"/>
                      </a:lnTo>
                      <a:lnTo>
                        <a:pt x="84" y="101"/>
                      </a:lnTo>
                      <a:lnTo>
                        <a:pt x="85" y="104"/>
                      </a:lnTo>
                      <a:lnTo>
                        <a:pt x="88" y="108"/>
                      </a:lnTo>
                      <a:lnTo>
                        <a:pt x="90" y="108"/>
                      </a:lnTo>
                      <a:lnTo>
                        <a:pt x="92" y="107"/>
                      </a:lnTo>
                      <a:lnTo>
                        <a:pt x="94" y="104"/>
                      </a:lnTo>
                      <a:lnTo>
                        <a:pt x="99" y="103"/>
                      </a:lnTo>
                      <a:lnTo>
                        <a:pt x="102" y="103"/>
                      </a:lnTo>
                      <a:lnTo>
                        <a:pt x="103" y="101"/>
                      </a:lnTo>
                      <a:lnTo>
                        <a:pt x="107" y="96"/>
                      </a:lnTo>
                      <a:lnTo>
                        <a:pt x="111" y="91"/>
                      </a:lnTo>
                      <a:lnTo>
                        <a:pt x="117" y="88"/>
                      </a:lnTo>
                      <a:lnTo>
                        <a:pt x="123" y="85"/>
                      </a:lnTo>
                      <a:lnTo>
                        <a:pt x="125" y="85"/>
                      </a:lnTo>
                      <a:lnTo>
                        <a:pt x="125" y="84"/>
                      </a:lnTo>
                      <a:lnTo>
                        <a:pt x="123" y="80"/>
                      </a:lnTo>
                      <a:lnTo>
                        <a:pt x="120" y="75"/>
                      </a:lnTo>
                      <a:lnTo>
                        <a:pt x="116" y="69"/>
                      </a:lnTo>
                      <a:lnTo>
                        <a:pt x="112" y="63"/>
                      </a:lnTo>
                      <a:lnTo>
                        <a:pt x="111" y="60"/>
                      </a:lnTo>
                      <a:lnTo>
                        <a:pt x="108" y="61"/>
                      </a:lnTo>
                      <a:lnTo>
                        <a:pt x="104" y="63"/>
                      </a:lnTo>
                      <a:lnTo>
                        <a:pt x="102" y="63"/>
                      </a:lnTo>
                      <a:lnTo>
                        <a:pt x="99" y="61"/>
                      </a:lnTo>
                      <a:lnTo>
                        <a:pt x="98" y="60"/>
                      </a:lnTo>
                      <a:lnTo>
                        <a:pt x="98" y="59"/>
                      </a:lnTo>
                      <a:lnTo>
                        <a:pt x="102" y="57"/>
                      </a:lnTo>
                      <a:lnTo>
                        <a:pt x="103" y="53"/>
                      </a:lnTo>
                      <a:lnTo>
                        <a:pt x="103" y="50"/>
                      </a:lnTo>
                      <a:lnTo>
                        <a:pt x="102" y="46"/>
                      </a:lnTo>
                      <a:lnTo>
                        <a:pt x="98" y="39"/>
                      </a:lnTo>
                      <a:lnTo>
                        <a:pt x="93" y="32"/>
                      </a:lnTo>
                      <a:lnTo>
                        <a:pt x="92" y="32"/>
                      </a:lnTo>
                      <a:lnTo>
                        <a:pt x="89" y="33"/>
                      </a:lnTo>
                      <a:lnTo>
                        <a:pt x="86" y="35"/>
                      </a:lnTo>
                      <a:lnTo>
                        <a:pt x="84" y="37"/>
                      </a:lnTo>
                      <a:lnTo>
                        <a:pt x="83" y="35"/>
                      </a:lnTo>
                      <a:lnTo>
                        <a:pt x="81" y="34"/>
                      </a:lnTo>
                      <a:lnTo>
                        <a:pt x="81" y="29"/>
                      </a:lnTo>
                      <a:lnTo>
                        <a:pt x="75" y="31"/>
                      </a:lnTo>
                      <a:lnTo>
                        <a:pt x="70" y="31"/>
                      </a:lnTo>
                      <a:lnTo>
                        <a:pt x="65" y="28"/>
                      </a:lnTo>
                      <a:lnTo>
                        <a:pt x="60" y="24"/>
                      </a:lnTo>
                      <a:lnTo>
                        <a:pt x="52" y="14"/>
                      </a:lnTo>
                      <a:lnTo>
                        <a:pt x="45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0" y="3"/>
                      </a:lnTo>
                      <a:lnTo>
                        <a:pt x="36" y="2"/>
                      </a:lnTo>
                      <a:lnTo>
                        <a:pt x="32" y="0"/>
                      </a:lnTo>
                      <a:lnTo>
                        <a:pt x="31" y="0"/>
                      </a:lnTo>
                      <a:lnTo>
                        <a:pt x="28" y="0"/>
                      </a:lnTo>
                      <a:lnTo>
                        <a:pt x="28" y="1"/>
                      </a:lnTo>
                      <a:lnTo>
                        <a:pt x="27" y="1"/>
                      </a:lnTo>
                      <a:lnTo>
                        <a:pt x="29" y="7"/>
                      </a:lnTo>
                      <a:lnTo>
                        <a:pt x="29" y="9"/>
                      </a:lnTo>
                      <a:lnTo>
                        <a:pt x="28" y="11"/>
                      </a:lnTo>
                      <a:lnTo>
                        <a:pt x="23" y="13"/>
                      </a:lnTo>
                      <a:lnTo>
                        <a:pt x="18" y="16"/>
                      </a:lnTo>
                      <a:lnTo>
                        <a:pt x="15" y="21"/>
                      </a:lnTo>
                      <a:lnTo>
                        <a:pt x="15" y="26"/>
                      </a:lnTo>
                      <a:lnTo>
                        <a:pt x="17" y="27"/>
                      </a:lnTo>
                      <a:lnTo>
                        <a:pt x="19" y="28"/>
                      </a:lnTo>
                      <a:lnTo>
                        <a:pt x="23" y="28"/>
                      </a:lnTo>
                      <a:lnTo>
                        <a:pt x="24" y="29"/>
                      </a:lnTo>
                      <a:lnTo>
                        <a:pt x="26" y="32"/>
                      </a:lnTo>
                      <a:lnTo>
                        <a:pt x="27" y="34"/>
                      </a:lnTo>
                      <a:lnTo>
                        <a:pt x="26" y="35"/>
                      </a:lnTo>
                      <a:lnTo>
                        <a:pt x="23" y="37"/>
                      </a:lnTo>
                      <a:lnTo>
                        <a:pt x="20" y="37"/>
                      </a:lnTo>
                      <a:lnTo>
                        <a:pt x="15" y="37"/>
                      </a:lnTo>
                      <a:lnTo>
                        <a:pt x="13" y="37"/>
                      </a:lnTo>
                      <a:lnTo>
                        <a:pt x="10" y="35"/>
                      </a:lnTo>
                      <a:lnTo>
                        <a:pt x="6" y="35"/>
                      </a:lnTo>
                      <a:lnTo>
                        <a:pt x="4" y="35"/>
                      </a:lnTo>
                      <a:lnTo>
                        <a:pt x="3" y="37"/>
                      </a:lnTo>
                      <a:lnTo>
                        <a:pt x="3" y="38"/>
                      </a:lnTo>
                      <a:lnTo>
                        <a:pt x="4" y="41"/>
                      </a:lnTo>
                      <a:lnTo>
                        <a:pt x="6" y="43"/>
                      </a:lnTo>
                      <a:lnTo>
                        <a:pt x="9" y="43"/>
                      </a:lnTo>
                      <a:lnTo>
                        <a:pt x="13" y="43"/>
                      </a:lnTo>
                      <a:lnTo>
                        <a:pt x="15" y="41"/>
                      </a:lnTo>
                      <a:lnTo>
                        <a:pt x="17" y="43"/>
                      </a:lnTo>
                      <a:lnTo>
                        <a:pt x="18" y="43"/>
                      </a:lnTo>
                      <a:lnTo>
                        <a:pt x="18" y="46"/>
                      </a:lnTo>
                      <a:lnTo>
                        <a:pt x="18" y="48"/>
                      </a:lnTo>
                      <a:lnTo>
                        <a:pt x="15" y="51"/>
                      </a:lnTo>
                      <a:lnTo>
                        <a:pt x="13" y="52"/>
                      </a:lnTo>
                      <a:lnTo>
                        <a:pt x="9" y="53"/>
                      </a:lnTo>
                      <a:lnTo>
                        <a:pt x="4" y="53"/>
                      </a:lnTo>
                      <a:lnTo>
                        <a:pt x="3" y="52"/>
                      </a:lnTo>
                      <a:lnTo>
                        <a:pt x="1" y="51"/>
                      </a:lnTo>
                      <a:lnTo>
                        <a:pt x="0" y="52"/>
                      </a:lnTo>
                      <a:lnTo>
                        <a:pt x="0" y="54"/>
                      </a:lnTo>
                      <a:lnTo>
                        <a:pt x="4" y="63"/>
                      </a:lnTo>
                      <a:lnTo>
                        <a:pt x="6" y="67"/>
                      </a:lnTo>
                      <a:lnTo>
                        <a:pt x="5" y="72"/>
                      </a:lnTo>
                      <a:lnTo>
                        <a:pt x="8" y="72"/>
                      </a:lnTo>
                      <a:lnTo>
                        <a:pt x="9" y="72"/>
                      </a:lnTo>
                      <a:lnTo>
                        <a:pt x="15" y="70"/>
                      </a:lnTo>
                      <a:lnTo>
                        <a:pt x="18" y="69"/>
                      </a:lnTo>
                      <a:lnTo>
                        <a:pt x="20" y="69"/>
                      </a:lnTo>
                      <a:lnTo>
                        <a:pt x="23" y="70"/>
                      </a:lnTo>
                      <a:lnTo>
                        <a:pt x="24" y="72"/>
                      </a:lnTo>
                      <a:lnTo>
                        <a:pt x="26" y="73"/>
                      </a:lnTo>
                      <a:lnTo>
                        <a:pt x="28" y="75"/>
                      </a:lnTo>
                      <a:lnTo>
                        <a:pt x="40" y="75"/>
                      </a:lnTo>
                      <a:lnTo>
                        <a:pt x="42" y="75"/>
                      </a:lnTo>
                      <a:lnTo>
                        <a:pt x="45" y="76"/>
                      </a:lnTo>
                      <a:lnTo>
                        <a:pt x="45" y="78"/>
                      </a:lnTo>
                      <a:lnTo>
                        <a:pt x="45" y="80"/>
                      </a:lnTo>
                      <a:lnTo>
                        <a:pt x="42" y="83"/>
                      </a:lnTo>
                      <a:lnTo>
                        <a:pt x="40" y="84"/>
                      </a:lnTo>
                      <a:lnTo>
                        <a:pt x="33" y="84"/>
                      </a:lnTo>
                      <a:lnTo>
                        <a:pt x="26" y="84"/>
                      </a:lnTo>
                      <a:lnTo>
                        <a:pt x="18" y="86"/>
                      </a:lnTo>
                      <a:lnTo>
                        <a:pt x="17" y="86"/>
                      </a:lnTo>
                      <a:lnTo>
                        <a:pt x="17" y="89"/>
                      </a:lnTo>
                      <a:lnTo>
                        <a:pt x="20" y="94"/>
                      </a:lnTo>
                      <a:lnTo>
                        <a:pt x="22" y="98"/>
                      </a:lnTo>
                      <a:lnTo>
                        <a:pt x="24" y="101"/>
                      </a:lnTo>
                      <a:lnTo>
                        <a:pt x="28" y="101"/>
                      </a:lnTo>
                      <a:lnTo>
                        <a:pt x="28" y="102"/>
                      </a:lnTo>
                      <a:lnTo>
                        <a:pt x="34" y="102"/>
                      </a:lnTo>
                      <a:lnTo>
                        <a:pt x="36" y="103"/>
                      </a:lnTo>
                      <a:lnTo>
                        <a:pt x="33" y="105"/>
                      </a:lnTo>
                      <a:lnTo>
                        <a:pt x="32" y="108"/>
                      </a:lnTo>
                      <a:lnTo>
                        <a:pt x="33" y="111"/>
                      </a:lnTo>
                      <a:lnTo>
                        <a:pt x="37" y="116"/>
                      </a:lnTo>
                      <a:lnTo>
                        <a:pt x="41" y="117"/>
                      </a:lnTo>
                      <a:lnTo>
                        <a:pt x="43" y="117"/>
                      </a:lnTo>
                      <a:lnTo>
                        <a:pt x="46" y="117"/>
                      </a:lnTo>
                      <a:lnTo>
                        <a:pt x="46" y="116"/>
                      </a:lnTo>
                      <a:lnTo>
                        <a:pt x="48" y="115"/>
                      </a:lnTo>
                      <a:lnTo>
                        <a:pt x="51" y="115"/>
                      </a:lnTo>
                      <a:lnTo>
                        <a:pt x="55" y="115"/>
                      </a:lnTo>
                      <a:lnTo>
                        <a:pt x="57" y="1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9" name="Freeform 913">
                  <a:extLst>
                    <a:ext uri="{FF2B5EF4-FFF2-40B4-BE49-F238E27FC236}">
                      <a16:creationId xmlns:a16="http://schemas.microsoft.com/office/drawing/2014/main" id="{1E44F882-7FA7-3444-BA81-4B426C3E0E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2041" y="1972353"/>
                  <a:ext cx="2960" cy="2960"/>
                </a:xfrm>
                <a:custGeom>
                  <a:avLst/>
                  <a:gdLst>
                    <a:gd name="T0" fmla="*/ 2147483647 w 3"/>
                    <a:gd name="T1" fmla="*/ 2147483647 h 2"/>
                    <a:gd name="T2" fmla="*/ 2147483647 w 3"/>
                    <a:gd name="T3" fmla="*/ 2147483647 h 2"/>
                    <a:gd name="T4" fmla="*/ 2147483647 w 3"/>
                    <a:gd name="T5" fmla="*/ 2147483647 h 2"/>
                    <a:gd name="T6" fmla="*/ 2147483647 w 3"/>
                    <a:gd name="T7" fmla="*/ 2147483647 h 2"/>
                    <a:gd name="T8" fmla="*/ 2147483647 w 3"/>
                    <a:gd name="T9" fmla="*/ 2147483647 h 2"/>
                    <a:gd name="T10" fmla="*/ 0 w 3"/>
                    <a:gd name="T11" fmla="*/ 2147483647 h 2"/>
                    <a:gd name="T12" fmla="*/ 0 w 3"/>
                    <a:gd name="T13" fmla="*/ 2147483647 h 2"/>
                    <a:gd name="T14" fmla="*/ 0 w 3"/>
                    <a:gd name="T15" fmla="*/ 2147483647 h 2"/>
                    <a:gd name="T16" fmla="*/ 2147483647 w 3"/>
                    <a:gd name="T17" fmla="*/ 0 h 2"/>
                    <a:gd name="T18" fmla="*/ 2147483647 w 3"/>
                    <a:gd name="T19" fmla="*/ 2147483647 h 2"/>
                    <a:gd name="T20" fmla="*/ 2147483647 w 3"/>
                    <a:gd name="T21" fmla="*/ 2147483647 h 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"/>
                    <a:gd name="T34" fmla="*/ 0 h 2"/>
                    <a:gd name="T35" fmla="*/ 3 w 3"/>
                    <a:gd name="T36" fmla="*/ 2 h 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" h="2">
                      <a:moveTo>
                        <a:pt x="3" y="1"/>
                      </a:move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0" name="Freeform 914">
                  <a:extLst>
                    <a:ext uri="{FF2B5EF4-FFF2-40B4-BE49-F238E27FC236}">
                      <a16:creationId xmlns:a16="http://schemas.microsoft.com/office/drawing/2014/main" id="{B0AD9533-1E00-B14A-A47F-58B5AD3658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0994" y="1763691"/>
                  <a:ext cx="170185" cy="173145"/>
                </a:xfrm>
                <a:custGeom>
                  <a:avLst/>
                  <a:gdLst>
                    <a:gd name="T0" fmla="*/ 2147483647 w 124"/>
                    <a:gd name="T1" fmla="*/ 2147483647 h 117"/>
                    <a:gd name="T2" fmla="*/ 2147483647 w 124"/>
                    <a:gd name="T3" fmla="*/ 2147483647 h 117"/>
                    <a:gd name="T4" fmla="*/ 2147483647 w 124"/>
                    <a:gd name="T5" fmla="*/ 2147483647 h 117"/>
                    <a:gd name="T6" fmla="*/ 2147483647 w 124"/>
                    <a:gd name="T7" fmla="*/ 2147483647 h 117"/>
                    <a:gd name="T8" fmla="*/ 2147483647 w 124"/>
                    <a:gd name="T9" fmla="*/ 2147483647 h 117"/>
                    <a:gd name="T10" fmla="*/ 2147483647 w 124"/>
                    <a:gd name="T11" fmla="*/ 2147483647 h 117"/>
                    <a:gd name="T12" fmla="*/ 2147483647 w 124"/>
                    <a:gd name="T13" fmla="*/ 2147483647 h 117"/>
                    <a:gd name="T14" fmla="*/ 2147483647 w 124"/>
                    <a:gd name="T15" fmla="*/ 2147483647 h 117"/>
                    <a:gd name="T16" fmla="*/ 2147483647 w 124"/>
                    <a:gd name="T17" fmla="*/ 2147483647 h 117"/>
                    <a:gd name="T18" fmla="*/ 2147483647 w 124"/>
                    <a:gd name="T19" fmla="*/ 2147483647 h 117"/>
                    <a:gd name="T20" fmla="*/ 2147483647 w 124"/>
                    <a:gd name="T21" fmla="*/ 2147483647 h 117"/>
                    <a:gd name="T22" fmla="*/ 2147483647 w 124"/>
                    <a:gd name="T23" fmla="*/ 2147483647 h 117"/>
                    <a:gd name="T24" fmla="*/ 2147483647 w 124"/>
                    <a:gd name="T25" fmla="*/ 2147483647 h 117"/>
                    <a:gd name="T26" fmla="*/ 2147483647 w 124"/>
                    <a:gd name="T27" fmla="*/ 2147483647 h 117"/>
                    <a:gd name="T28" fmla="*/ 2147483647 w 124"/>
                    <a:gd name="T29" fmla="*/ 2147483647 h 117"/>
                    <a:gd name="T30" fmla="*/ 2147483647 w 124"/>
                    <a:gd name="T31" fmla="*/ 2147483647 h 117"/>
                    <a:gd name="T32" fmla="*/ 2147483647 w 124"/>
                    <a:gd name="T33" fmla="*/ 2147483647 h 117"/>
                    <a:gd name="T34" fmla="*/ 2147483647 w 124"/>
                    <a:gd name="T35" fmla="*/ 2147483647 h 117"/>
                    <a:gd name="T36" fmla="*/ 2147483647 w 124"/>
                    <a:gd name="T37" fmla="*/ 0 h 117"/>
                    <a:gd name="T38" fmla="*/ 2147483647 w 124"/>
                    <a:gd name="T39" fmla="*/ 2147483647 h 117"/>
                    <a:gd name="T40" fmla="*/ 2147483647 w 124"/>
                    <a:gd name="T41" fmla="*/ 2147483647 h 117"/>
                    <a:gd name="T42" fmla="*/ 2147483647 w 124"/>
                    <a:gd name="T43" fmla="*/ 2147483647 h 117"/>
                    <a:gd name="T44" fmla="*/ 2147483647 w 124"/>
                    <a:gd name="T45" fmla="*/ 2147483647 h 117"/>
                    <a:gd name="T46" fmla="*/ 2147483647 w 124"/>
                    <a:gd name="T47" fmla="*/ 2147483647 h 117"/>
                    <a:gd name="T48" fmla="*/ 2147483647 w 124"/>
                    <a:gd name="T49" fmla="*/ 2147483647 h 117"/>
                    <a:gd name="T50" fmla="*/ 2147483647 w 124"/>
                    <a:gd name="T51" fmla="*/ 2147483647 h 117"/>
                    <a:gd name="T52" fmla="*/ 2147483647 w 124"/>
                    <a:gd name="T53" fmla="*/ 2147483647 h 117"/>
                    <a:gd name="T54" fmla="*/ 2147483647 w 124"/>
                    <a:gd name="T55" fmla="*/ 2147483647 h 117"/>
                    <a:gd name="T56" fmla="*/ 2147483647 w 124"/>
                    <a:gd name="T57" fmla="*/ 2147483647 h 117"/>
                    <a:gd name="T58" fmla="*/ 2147483647 w 124"/>
                    <a:gd name="T59" fmla="*/ 2147483647 h 117"/>
                    <a:gd name="T60" fmla="*/ 2147483647 w 124"/>
                    <a:gd name="T61" fmla="*/ 2147483647 h 117"/>
                    <a:gd name="T62" fmla="*/ 2147483647 w 124"/>
                    <a:gd name="T63" fmla="*/ 2147483647 h 117"/>
                    <a:gd name="T64" fmla="*/ 0 w 124"/>
                    <a:gd name="T65" fmla="*/ 2147483647 h 117"/>
                    <a:gd name="T66" fmla="*/ 2147483647 w 124"/>
                    <a:gd name="T67" fmla="*/ 2147483647 h 117"/>
                    <a:gd name="T68" fmla="*/ 2147483647 w 124"/>
                    <a:gd name="T69" fmla="*/ 2147483647 h 117"/>
                    <a:gd name="T70" fmla="*/ 2147483647 w 124"/>
                    <a:gd name="T71" fmla="*/ 2147483647 h 117"/>
                    <a:gd name="T72" fmla="*/ 2147483647 w 124"/>
                    <a:gd name="T73" fmla="*/ 2147483647 h 117"/>
                    <a:gd name="T74" fmla="*/ 2147483647 w 124"/>
                    <a:gd name="T75" fmla="*/ 2147483647 h 117"/>
                    <a:gd name="T76" fmla="*/ 2147483647 w 124"/>
                    <a:gd name="T77" fmla="*/ 2147483647 h 117"/>
                    <a:gd name="T78" fmla="*/ 2147483647 w 124"/>
                    <a:gd name="T79" fmla="*/ 2147483647 h 117"/>
                    <a:gd name="T80" fmla="*/ 2147483647 w 124"/>
                    <a:gd name="T81" fmla="*/ 2147483647 h 117"/>
                    <a:gd name="T82" fmla="*/ 2147483647 w 124"/>
                    <a:gd name="T83" fmla="*/ 2147483647 h 117"/>
                    <a:gd name="T84" fmla="*/ 2147483647 w 124"/>
                    <a:gd name="T85" fmla="*/ 2147483647 h 117"/>
                    <a:gd name="T86" fmla="*/ 2147483647 w 124"/>
                    <a:gd name="T87" fmla="*/ 2147483647 h 117"/>
                    <a:gd name="T88" fmla="*/ 2147483647 w 124"/>
                    <a:gd name="T89" fmla="*/ 2147483647 h 117"/>
                    <a:gd name="T90" fmla="*/ 2147483647 w 124"/>
                    <a:gd name="T91" fmla="*/ 2147483647 h 117"/>
                    <a:gd name="T92" fmla="*/ 2147483647 w 124"/>
                    <a:gd name="T93" fmla="*/ 2147483647 h 117"/>
                    <a:gd name="T94" fmla="*/ 2147483647 w 124"/>
                    <a:gd name="T95" fmla="*/ 2147483647 h 1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24"/>
                    <a:gd name="T145" fmla="*/ 0 h 117"/>
                    <a:gd name="T146" fmla="*/ 124 w 124"/>
                    <a:gd name="T147" fmla="*/ 117 h 1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24" h="117">
                      <a:moveTo>
                        <a:pt x="57" y="113"/>
                      </a:moveTo>
                      <a:lnTo>
                        <a:pt x="57" y="113"/>
                      </a:lnTo>
                      <a:lnTo>
                        <a:pt x="61" y="115"/>
                      </a:lnTo>
                      <a:lnTo>
                        <a:pt x="66" y="115"/>
                      </a:lnTo>
                      <a:lnTo>
                        <a:pt x="68" y="113"/>
                      </a:lnTo>
                      <a:lnTo>
                        <a:pt x="72" y="111"/>
                      </a:lnTo>
                      <a:lnTo>
                        <a:pt x="76" y="106"/>
                      </a:lnTo>
                      <a:lnTo>
                        <a:pt x="80" y="98"/>
                      </a:lnTo>
                      <a:lnTo>
                        <a:pt x="81" y="97"/>
                      </a:lnTo>
                      <a:lnTo>
                        <a:pt x="84" y="100"/>
                      </a:lnTo>
                      <a:lnTo>
                        <a:pt x="85" y="104"/>
                      </a:lnTo>
                      <a:lnTo>
                        <a:pt x="87" y="108"/>
                      </a:lnTo>
                      <a:lnTo>
                        <a:pt x="90" y="108"/>
                      </a:lnTo>
                      <a:lnTo>
                        <a:pt x="91" y="106"/>
                      </a:lnTo>
                      <a:lnTo>
                        <a:pt x="94" y="104"/>
                      </a:lnTo>
                      <a:lnTo>
                        <a:pt x="99" y="103"/>
                      </a:lnTo>
                      <a:lnTo>
                        <a:pt x="101" y="103"/>
                      </a:lnTo>
                      <a:lnTo>
                        <a:pt x="103" y="100"/>
                      </a:lnTo>
                      <a:lnTo>
                        <a:pt x="107" y="96"/>
                      </a:lnTo>
                      <a:lnTo>
                        <a:pt x="110" y="91"/>
                      </a:lnTo>
                      <a:lnTo>
                        <a:pt x="117" y="87"/>
                      </a:lnTo>
                      <a:lnTo>
                        <a:pt x="123" y="85"/>
                      </a:lnTo>
                      <a:lnTo>
                        <a:pt x="124" y="85"/>
                      </a:lnTo>
                      <a:lnTo>
                        <a:pt x="124" y="84"/>
                      </a:lnTo>
                      <a:lnTo>
                        <a:pt x="123" y="80"/>
                      </a:lnTo>
                      <a:lnTo>
                        <a:pt x="119" y="74"/>
                      </a:lnTo>
                      <a:lnTo>
                        <a:pt x="115" y="68"/>
                      </a:lnTo>
                      <a:lnTo>
                        <a:pt x="112" y="62"/>
                      </a:lnTo>
                      <a:lnTo>
                        <a:pt x="110" y="60"/>
                      </a:lnTo>
                      <a:lnTo>
                        <a:pt x="108" y="61"/>
                      </a:lnTo>
                      <a:lnTo>
                        <a:pt x="104" y="62"/>
                      </a:lnTo>
                      <a:lnTo>
                        <a:pt x="101" y="62"/>
                      </a:lnTo>
                      <a:lnTo>
                        <a:pt x="99" y="61"/>
                      </a:lnTo>
                      <a:lnTo>
                        <a:pt x="98" y="60"/>
                      </a:lnTo>
                      <a:lnTo>
                        <a:pt x="98" y="59"/>
                      </a:lnTo>
                      <a:lnTo>
                        <a:pt x="101" y="57"/>
                      </a:lnTo>
                      <a:lnTo>
                        <a:pt x="103" y="53"/>
                      </a:lnTo>
                      <a:lnTo>
                        <a:pt x="103" y="49"/>
                      </a:lnTo>
                      <a:lnTo>
                        <a:pt x="101" y="46"/>
                      </a:lnTo>
                      <a:lnTo>
                        <a:pt x="98" y="39"/>
                      </a:lnTo>
                      <a:lnTo>
                        <a:pt x="93" y="32"/>
                      </a:lnTo>
                      <a:lnTo>
                        <a:pt x="91" y="32"/>
                      </a:lnTo>
                      <a:lnTo>
                        <a:pt x="89" y="33"/>
                      </a:lnTo>
                      <a:lnTo>
                        <a:pt x="86" y="35"/>
                      </a:lnTo>
                      <a:lnTo>
                        <a:pt x="84" y="36"/>
                      </a:lnTo>
                      <a:lnTo>
                        <a:pt x="82" y="35"/>
                      </a:lnTo>
                      <a:lnTo>
                        <a:pt x="81" y="34"/>
                      </a:lnTo>
                      <a:lnTo>
                        <a:pt x="81" y="29"/>
                      </a:lnTo>
                      <a:lnTo>
                        <a:pt x="75" y="30"/>
                      </a:lnTo>
                      <a:lnTo>
                        <a:pt x="70" y="30"/>
                      </a:lnTo>
                      <a:lnTo>
                        <a:pt x="65" y="28"/>
                      </a:lnTo>
                      <a:lnTo>
                        <a:pt x="60" y="23"/>
                      </a:lnTo>
                      <a:lnTo>
                        <a:pt x="52" y="1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39" y="3"/>
                      </a:lnTo>
                      <a:lnTo>
                        <a:pt x="35" y="2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28" y="0"/>
                      </a:lnTo>
                      <a:lnTo>
                        <a:pt x="28" y="1"/>
                      </a:lnTo>
                      <a:lnTo>
                        <a:pt x="27" y="1"/>
                      </a:lnTo>
                      <a:lnTo>
                        <a:pt x="29" y="7"/>
                      </a:lnTo>
                      <a:lnTo>
                        <a:pt x="29" y="9"/>
                      </a:lnTo>
                      <a:lnTo>
                        <a:pt x="28" y="10"/>
                      </a:lnTo>
                      <a:lnTo>
                        <a:pt x="23" y="13"/>
                      </a:lnTo>
                      <a:lnTo>
                        <a:pt x="18" y="16"/>
                      </a:lnTo>
                      <a:lnTo>
                        <a:pt x="15" y="21"/>
                      </a:lnTo>
                      <a:lnTo>
                        <a:pt x="15" y="26"/>
                      </a:lnTo>
                      <a:lnTo>
                        <a:pt x="16" y="27"/>
                      </a:lnTo>
                      <a:lnTo>
                        <a:pt x="19" y="28"/>
                      </a:lnTo>
                      <a:lnTo>
                        <a:pt x="23" y="28"/>
                      </a:lnTo>
                      <a:lnTo>
                        <a:pt x="24" y="29"/>
                      </a:lnTo>
                      <a:lnTo>
                        <a:pt x="25" y="32"/>
                      </a:lnTo>
                      <a:lnTo>
                        <a:pt x="27" y="34"/>
                      </a:lnTo>
                      <a:lnTo>
                        <a:pt x="25" y="35"/>
                      </a:lnTo>
                      <a:lnTo>
                        <a:pt x="23" y="36"/>
                      </a:lnTo>
                      <a:lnTo>
                        <a:pt x="20" y="36"/>
                      </a:lnTo>
                      <a:lnTo>
                        <a:pt x="15" y="36"/>
                      </a:lnTo>
                      <a:lnTo>
                        <a:pt x="13" y="36"/>
                      </a:lnTo>
                      <a:lnTo>
                        <a:pt x="10" y="35"/>
                      </a:lnTo>
                      <a:lnTo>
                        <a:pt x="6" y="35"/>
                      </a:lnTo>
                      <a:lnTo>
                        <a:pt x="4" y="35"/>
                      </a:lnTo>
                      <a:lnTo>
                        <a:pt x="2" y="36"/>
                      </a:lnTo>
                      <a:lnTo>
                        <a:pt x="2" y="38"/>
                      </a:lnTo>
                      <a:lnTo>
                        <a:pt x="4" y="41"/>
                      </a:lnTo>
                      <a:lnTo>
                        <a:pt x="6" y="42"/>
                      </a:lnTo>
                      <a:lnTo>
                        <a:pt x="9" y="42"/>
                      </a:lnTo>
                      <a:lnTo>
                        <a:pt x="13" y="42"/>
                      </a:lnTo>
                      <a:lnTo>
                        <a:pt x="15" y="41"/>
                      </a:lnTo>
                      <a:lnTo>
                        <a:pt x="16" y="42"/>
                      </a:lnTo>
                      <a:lnTo>
                        <a:pt x="18" y="42"/>
                      </a:lnTo>
                      <a:lnTo>
                        <a:pt x="18" y="46"/>
                      </a:lnTo>
                      <a:lnTo>
                        <a:pt x="18" y="48"/>
                      </a:lnTo>
                      <a:lnTo>
                        <a:pt x="15" y="51"/>
                      </a:lnTo>
                      <a:lnTo>
                        <a:pt x="13" y="52"/>
                      </a:lnTo>
                      <a:lnTo>
                        <a:pt x="9" y="53"/>
                      </a:lnTo>
                      <a:lnTo>
                        <a:pt x="4" y="53"/>
                      </a:lnTo>
                      <a:lnTo>
                        <a:pt x="2" y="52"/>
                      </a:lnTo>
                      <a:lnTo>
                        <a:pt x="1" y="51"/>
                      </a:lnTo>
                      <a:lnTo>
                        <a:pt x="0" y="52"/>
                      </a:lnTo>
                      <a:lnTo>
                        <a:pt x="0" y="54"/>
                      </a:lnTo>
                      <a:lnTo>
                        <a:pt x="4" y="62"/>
                      </a:lnTo>
                      <a:lnTo>
                        <a:pt x="6" y="67"/>
                      </a:lnTo>
                      <a:lnTo>
                        <a:pt x="5" y="72"/>
                      </a:lnTo>
                      <a:lnTo>
                        <a:pt x="7" y="72"/>
                      </a:lnTo>
                      <a:lnTo>
                        <a:pt x="9" y="72"/>
                      </a:lnTo>
                      <a:lnTo>
                        <a:pt x="15" y="70"/>
                      </a:lnTo>
                      <a:lnTo>
                        <a:pt x="18" y="68"/>
                      </a:lnTo>
                      <a:lnTo>
                        <a:pt x="20" y="68"/>
                      </a:lnTo>
                      <a:lnTo>
                        <a:pt x="23" y="70"/>
                      </a:lnTo>
                      <a:lnTo>
                        <a:pt x="24" y="72"/>
                      </a:lnTo>
                      <a:lnTo>
                        <a:pt x="25" y="73"/>
                      </a:lnTo>
                      <a:lnTo>
                        <a:pt x="28" y="74"/>
                      </a:lnTo>
                      <a:lnTo>
                        <a:pt x="39" y="74"/>
                      </a:lnTo>
                      <a:lnTo>
                        <a:pt x="42" y="74"/>
                      </a:lnTo>
                      <a:lnTo>
                        <a:pt x="44" y="76"/>
                      </a:lnTo>
                      <a:lnTo>
                        <a:pt x="44" y="78"/>
                      </a:lnTo>
                      <a:lnTo>
                        <a:pt x="44" y="80"/>
                      </a:lnTo>
                      <a:lnTo>
                        <a:pt x="42" y="83"/>
                      </a:lnTo>
                      <a:lnTo>
                        <a:pt x="39" y="84"/>
                      </a:lnTo>
                      <a:lnTo>
                        <a:pt x="33" y="84"/>
                      </a:lnTo>
                      <a:lnTo>
                        <a:pt x="25" y="84"/>
                      </a:lnTo>
                      <a:lnTo>
                        <a:pt x="18" y="86"/>
                      </a:lnTo>
                      <a:lnTo>
                        <a:pt x="16" y="86"/>
                      </a:lnTo>
                      <a:lnTo>
                        <a:pt x="16" y="89"/>
                      </a:lnTo>
                      <a:lnTo>
                        <a:pt x="20" y="93"/>
                      </a:lnTo>
                      <a:lnTo>
                        <a:pt x="21" y="98"/>
                      </a:lnTo>
                      <a:lnTo>
                        <a:pt x="24" y="100"/>
                      </a:lnTo>
                      <a:lnTo>
                        <a:pt x="28" y="100"/>
                      </a:lnTo>
                      <a:lnTo>
                        <a:pt x="28" y="102"/>
                      </a:lnTo>
                      <a:lnTo>
                        <a:pt x="34" y="102"/>
                      </a:lnTo>
                      <a:lnTo>
                        <a:pt x="35" y="103"/>
                      </a:lnTo>
                      <a:lnTo>
                        <a:pt x="33" y="105"/>
                      </a:lnTo>
                      <a:lnTo>
                        <a:pt x="32" y="108"/>
                      </a:lnTo>
                      <a:lnTo>
                        <a:pt x="33" y="111"/>
                      </a:lnTo>
                      <a:lnTo>
                        <a:pt x="37" y="116"/>
                      </a:lnTo>
                      <a:lnTo>
                        <a:pt x="41" y="117"/>
                      </a:lnTo>
                      <a:lnTo>
                        <a:pt x="43" y="117"/>
                      </a:lnTo>
                      <a:lnTo>
                        <a:pt x="46" y="117"/>
                      </a:lnTo>
                      <a:lnTo>
                        <a:pt x="46" y="116"/>
                      </a:lnTo>
                      <a:lnTo>
                        <a:pt x="48" y="115"/>
                      </a:lnTo>
                      <a:lnTo>
                        <a:pt x="51" y="115"/>
                      </a:lnTo>
                      <a:lnTo>
                        <a:pt x="54" y="115"/>
                      </a:lnTo>
                      <a:lnTo>
                        <a:pt x="57" y="1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915">
                  <a:extLst>
                    <a:ext uri="{FF2B5EF4-FFF2-40B4-BE49-F238E27FC236}">
                      <a16:creationId xmlns:a16="http://schemas.microsoft.com/office/drawing/2014/main" id="{5DA17592-A1A8-6440-BC85-B7AB89E56A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825" y="1957556"/>
                  <a:ext cx="32557" cy="20718"/>
                </a:xfrm>
                <a:custGeom>
                  <a:avLst/>
                  <a:gdLst>
                    <a:gd name="T0" fmla="*/ 2147483647 w 23"/>
                    <a:gd name="T1" fmla="*/ 2147483647 h 14"/>
                    <a:gd name="T2" fmla="*/ 2147483647 w 23"/>
                    <a:gd name="T3" fmla="*/ 2147483647 h 14"/>
                    <a:gd name="T4" fmla="*/ 2147483647 w 23"/>
                    <a:gd name="T5" fmla="*/ 2147483647 h 14"/>
                    <a:gd name="T6" fmla="*/ 2147483647 w 23"/>
                    <a:gd name="T7" fmla="*/ 2147483647 h 14"/>
                    <a:gd name="T8" fmla="*/ 2147483647 w 23"/>
                    <a:gd name="T9" fmla="*/ 2147483647 h 14"/>
                    <a:gd name="T10" fmla="*/ 2147483647 w 23"/>
                    <a:gd name="T11" fmla="*/ 2147483647 h 14"/>
                    <a:gd name="T12" fmla="*/ 2147483647 w 23"/>
                    <a:gd name="T13" fmla="*/ 2147483647 h 14"/>
                    <a:gd name="T14" fmla="*/ 2147483647 w 23"/>
                    <a:gd name="T15" fmla="*/ 0 h 14"/>
                    <a:gd name="T16" fmla="*/ 2147483647 w 23"/>
                    <a:gd name="T17" fmla="*/ 0 h 14"/>
                    <a:gd name="T18" fmla="*/ 2147483647 w 23"/>
                    <a:gd name="T19" fmla="*/ 2147483647 h 14"/>
                    <a:gd name="T20" fmla="*/ 2147483647 w 23"/>
                    <a:gd name="T21" fmla="*/ 2147483647 h 14"/>
                    <a:gd name="T22" fmla="*/ 0 w 23"/>
                    <a:gd name="T23" fmla="*/ 2147483647 h 14"/>
                    <a:gd name="T24" fmla="*/ 2147483647 w 23"/>
                    <a:gd name="T25" fmla="*/ 2147483647 h 14"/>
                    <a:gd name="T26" fmla="*/ 2147483647 w 23"/>
                    <a:gd name="T27" fmla="*/ 2147483647 h 14"/>
                    <a:gd name="T28" fmla="*/ 2147483647 w 23"/>
                    <a:gd name="T29" fmla="*/ 2147483647 h 14"/>
                    <a:gd name="T30" fmla="*/ 2147483647 w 23"/>
                    <a:gd name="T31" fmla="*/ 2147483647 h 14"/>
                    <a:gd name="T32" fmla="*/ 2147483647 w 23"/>
                    <a:gd name="T33" fmla="*/ 2147483647 h 14"/>
                    <a:gd name="T34" fmla="*/ 2147483647 w 23"/>
                    <a:gd name="T35" fmla="*/ 2147483647 h 1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3"/>
                    <a:gd name="T55" fmla="*/ 0 h 14"/>
                    <a:gd name="T56" fmla="*/ 23 w 23"/>
                    <a:gd name="T57" fmla="*/ 14 h 1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3" h="14">
                      <a:moveTo>
                        <a:pt x="17" y="14"/>
                      </a:moveTo>
                      <a:lnTo>
                        <a:pt x="19" y="13"/>
                      </a:lnTo>
                      <a:lnTo>
                        <a:pt x="22" y="12"/>
                      </a:lnTo>
                      <a:lnTo>
                        <a:pt x="23" y="10"/>
                      </a:lnTo>
                      <a:lnTo>
                        <a:pt x="22" y="9"/>
                      </a:lnTo>
                      <a:lnTo>
                        <a:pt x="16" y="5"/>
                      </a:lnTo>
                      <a:lnTo>
                        <a:pt x="12" y="3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2" y="3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4" y="10"/>
                      </a:lnTo>
                      <a:lnTo>
                        <a:pt x="8" y="14"/>
                      </a:lnTo>
                      <a:lnTo>
                        <a:pt x="11" y="14"/>
                      </a:lnTo>
                      <a:lnTo>
                        <a:pt x="12" y="14"/>
                      </a:lnTo>
                      <a:lnTo>
                        <a:pt x="17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916">
                  <a:extLst>
                    <a:ext uri="{FF2B5EF4-FFF2-40B4-BE49-F238E27FC236}">
                      <a16:creationId xmlns:a16="http://schemas.microsoft.com/office/drawing/2014/main" id="{47711FE0-FE4A-0C45-A582-E64CA500E4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1040" y="1953115"/>
                  <a:ext cx="57715" cy="20718"/>
                </a:xfrm>
                <a:custGeom>
                  <a:avLst/>
                  <a:gdLst>
                    <a:gd name="T0" fmla="*/ 2147483647 w 42"/>
                    <a:gd name="T1" fmla="*/ 2147483647 h 14"/>
                    <a:gd name="T2" fmla="*/ 2147483647 w 42"/>
                    <a:gd name="T3" fmla="*/ 2147483647 h 14"/>
                    <a:gd name="T4" fmla="*/ 2147483647 w 42"/>
                    <a:gd name="T5" fmla="*/ 2147483647 h 14"/>
                    <a:gd name="T6" fmla="*/ 2147483647 w 42"/>
                    <a:gd name="T7" fmla="*/ 2147483647 h 14"/>
                    <a:gd name="T8" fmla="*/ 2147483647 w 42"/>
                    <a:gd name="T9" fmla="*/ 2147483647 h 14"/>
                    <a:gd name="T10" fmla="*/ 2147483647 w 42"/>
                    <a:gd name="T11" fmla="*/ 0 h 14"/>
                    <a:gd name="T12" fmla="*/ 2147483647 w 42"/>
                    <a:gd name="T13" fmla="*/ 2147483647 h 14"/>
                    <a:gd name="T14" fmla="*/ 2147483647 w 42"/>
                    <a:gd name="T15" fmla="*/ 2147483647 h 14"/>
                    <a:gd name="T16" fmla="*/ 2147483647 w 42"/>
                    <a:gd name="T17" fmla="*/ 2147483647 h 14"/>
                    <a:gd name="T18" fmla="*/ 2147483647 w 42"/>
                    <a:gd name="T19" fmla="*/ 2147483647 h 14"/>
                    <a:gd name="T20" fmla="*/ 2147483647 w 42"/>
                    <a:gd name="T21" fmla="*/ 2147483647 h 14"/>
                    <a:gd name="T22" fmla="*/ 2147483647 w 42"/>
                    <a:gd name="T23" fmla="*/ 0 h 14"/>
                    <a:gd name="T24" fmla="*/ 2147483647 w 42"/>
                    <a:gd name="T25" fmla="*/ 0 h 14"/>
                    <a:gd name="T26" fmla="*/ 2147483647 w 42"/>
                    <a:gd name="T27" fmla="*/ 2147483647 h 14"/>
                    <a:gd name="T28" fmla="*/ 0 w 42"/>
                    <a:gd name="T29" fmla="*/ 2147483647 h 14"/>
                    <a:gd name="T30" fmla="*/ 0 w 42"/>
                    <a:gd name="T31" fmla="*/ 2147483647 h 14"/>
                    <a:gd name="T32" fmla="*/ 0 w 42"/>
                    <a:gd name="T33" fmla="*/ 2147483647 h 14"/>
                    <a:gd name="T34" fmla="*/ 2147483647 w 42"/>
                    <a:gd name="T35" fmla="*/ 2147483647 h 14"/>
                    <a:gd name="T36" fmla="*/ 2147483647 w 42"/>
                    <a:gd name="T37" fmla="*/ 2147483647 h 14"/>
                    <a:gd name="T38" fmla="*/ 2147483647 w 42"/>
                    <a:gd name="T39" fmla="*/ 2147483647 h 14"/>
                    <a:gd name="T40" fmla="*/ 2147483647 w 42"/>
                    <a:gd name="T41" fmla="*/ 2147483647 h 14"/>
                    <a:gd name="T42" fmla="*/ 2147483647 w 42"/>
                    <a:gd name="T43" fmla="*/ 2147483647 h 14"/>
                    <a:gd name="T44" fmla="*/ 2147483647 w 42"/>
                    <a:gd name="T45" fmla="*/ 2147483647 h 14"/>
                    <a:gd name="T46" fmla="*/ 2147483647 w 42"/>
                    <a:gd name="T47" fmla="*/ 2147483647 h 14"/>
                    <a:gd name="T48" fmla="*/ 2147483647 w 42"/>
                    <a:gd name="T49" fmla="*/ 2147483647 h 14"/>
                    <a:gd name="T50" fmla="*/ 2147483647 w 42"/>
                    <a:gd name="T51" fmla="*/ 2147483647 h 1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42"/>
                    <a:gd name="T79" fmla="*/ 0 h 14"/>
                    <a:gd name="T80" fmla="*/ 42 w 42"/>
                    <a:gd name="T81" fmla="*/ 14 h 1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42" h="14">
                      <a:moveTo>
                        <a:pt x="40" y="8"/>
                      </a:moveTo>
                      <a:lnTo>
                        <a:pt x="42" y="6"/>
                      </a:lnTo>
                      <a:lnTo>
                        <a:pt x="42" y="4"/>
                      </a:lnTo>
                      <a:lnTo>
                        <a:pt x="42" y="3"/>
                      </a:lnTo>
                      <a:lnTo>
                        <a:pt x="40" y="1"/>
                      </a:lnTo>
                      <a:lnTo>
                        <a:pt x="38" y="0"/>
                      </a:lnTo>
                      <a:lnTo>
                        <a:pt x="34" y="1"/>
                      </a:lnTo>
                      <a:lnTo>
                        <a:pt x="29" y="2"/>
                      </a:lnTo>
                      <a:lnTo>
                        <a:pt x="25" y="3"/>
                      </a:lnTo>
                      <a:lnTo>
                        <a:pt x="23" y="2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" y="9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2" y="14"/>
                      </a:lnTo>
                      <a:lnTo>
                        <a:pt x="10" y="13"/>
                      </a:lnTo>
                      <a:lnTo>
                        <a:pt x="19" y="12"/>
                      </a:lnTo>
                      <a:lnTo>
                        <a:pt x="26" y="10"/>
                      </a:lnTo>
                      <a:lnTo>
                        <a:pt x="30" y="10"/>
                      </a:lnTo>
                      <a:lnTo>
                        <a:pt x="34" y="12"/>
                      </a:lnTo>
                      <a:lnTo>
                        <a:pt x="35" y="12"/>
                      </a:lnTo>
                      <a:lnTo>
                        <a:pt x="36" y="10"/>
                      </a:lnTo>
                      <a:lnTo>
                        <a:pt x="40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917">
                  <a:extLst>
                    <a:ext uri="{FF2B5EF4-FFF2-40B4-BE49-F238E27FC236}">
                      <a16:creationId xmlns:a16="http://schemas.microsoft.com/office/drawing/2014/main" id="{EC8B6C02-8247-AA45-A585-974E32BB76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5345" y="1956075"/>
                  <a:ext cx="32557" cy="20718"/>
                </a:xfrm>
                <a:custGeom>
                  <a:avLst/>
                  <a:gdLst>
                    <a:gd name="T0" fmla="*/ 2147483647 w 23"/>
                    <a:gd name="T1" fmla="*/ 2147483647 h 14"/>
                    <a:gd name="T2" fmla="*/ 2147483647 w 23"/>
                    <a:gd name="T3" fmla="*/ 2147483647 h 14"/>
                    <a:gd name="T4" fmla="*/ 2147483647 w 23"/>
                    <a:gd name="T5" fmla="*/ 2147483647 h 14"/>
                    <a:gd name="T6" fmla="*/ 2147483647 w 23"/>
                    <a:gd name="T7" fmla="*/ 2147483647 h 14"/>
                    <a:gd name="T8" fmla="*/ 2147483647 w 23"/>
                    <a:gd name="T9" fmla="*/ 2147483647 h 14"/>
                    <a:gd name="T10" fmla="*/ 2147483647 w 23"/>
                    <a:gd name="T11" fmla="*/ 2147483647 h 14"/>
                    <a:gd name="T12" fmla="*/ 2147483647 w 23"/>
                    <a:gd name="T13" fmla="*/ 2147483647 h 14"/>
                    <a:gd name="T14" fmla="*/ 2147483647 w 23"/>
                    <a:gd name="T15" fmla="*/ 2147483647 h 14"/>
                    <a:gd name="T16" fmla="*/ 2147483647 w 23"/>
                    <a:gd name="T17" fmla="*/ 2147483647 h 14"/>
                    <a:gd name="T18" fmla="*/ 2147483647 w 23"/>
                    <a:gd name="T19" fmla="*/ 0 h 14"/>
                    <a:gd name="T20" fmla="*/ 2147483647 w 23"/>
                    <a:gd name="T21" fmla="*/ 0 h 14"/>
                    <a:gd name="T22" fmla="*/ 2147483647 w 23"/>
                    <a:gd name="T23" fmla="*/ 0 h 14"/>
                    <a:gd name="T24" fmla="*/ 2147483647 w 23"/>
                    <a:gd name="T25" fmla="*/ 2147483647 h 14"/>
                    <a:gd name="T26" fmla="*/ 2147483647 w 23"/>
                    <a:gd name="T27" fmla="*/ 2147483647 h 14"/>
                    <a:gd name="T28" fmla="*/ 0 w 23"/>
                    <a:gd name="T29" fmla="*/ 2147483647 h 14"/>
                    <a:gd name="T30" fmla="*/ 2147483647 w 23"/>
                    <a:gd name="T31" fmla="*/ 2147483647 h 14"/>
                    <a:gd name="T32" fmla="*/ 2147483647 w 23"/>
                    <a:gd name="T33" fmla="*/ 2147483647 h 14"/>
                    <a:gd name="T34" fmla="*/ 2147483647 w 23"/>
                    <a:gd name="T35" fmla="*/ 2147483647 h 14"/>
                    <a:gd name="T36" fmla="*/ 2147483647 w 23"/>
                    <a:gd name="T37" fmla="*/ 2147483647 h 14"/>
                    <a:gd name="T38" fmla="*/ 2147483647 w 23"/>
                    <a:gd name="T39" fmla="*/ 2147483647 h 14"/>
                    <a:gd name="T40" fmla="*/ 2147483647 w 23"/>
                    <a:gd name="T41" fmla="*/ 2147483647 h 14"/>
                    <a:gd name="T42" fmla="*/ 2147483647 w 23"/>
                    <a:gd name="T43" fmla="*/ 2147483647 h 14"/>
                    <a:gd name="T44" fmla="*/ 2147483647 w 23"/>
                    <a:gd name="T45" fmla="*/ 2147483647 h 14"/>
                    <a:gd name="T46" fmla="*/ 2147483647 w 23"/>
                    <a:gd name="T47" fmla="*/ 2147483647 h 1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3"/>
                    <a:gd name="T73" fmla="*/ 0 h 14"/>
                    <a:gd name="T74" fmla="*/ 23 w 23"/>
                    <a:gd name="T75" fmla="*/ 14 h 14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3" h="14">
                      <a:moveTo>
                        <a:pt x="17" y="14"/>
                      </a:moveTo>
                      <a:lnTo>
                        <a:pt x="17" y="14"/>
                      </a:lnTo>
                      <a:lnTo>
                        <a:pt x="19" y="13"/>
                      </a:lnTo>
                      <a:lnTo>
                        <a:pt x="22" y="12"/>
                      </a:lnTo>
                      <a:lnTo>
                        <a:pt x="23" y="10"/>
                      </a:lnTo>
                      <a:lnTo>
                        <a:pt x="22" y="8"/>
                      </a:lnTo>
                      <a:lnTo>
                        <a:pt x="15" y="5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1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4" y="10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2" y="14"/>
                      </a:lnTo>
                      <a:lnTo>
                        <a:pt x="17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4" name="Freeform 918">
                  <a:extLst>
                    <a:ext uri="{FF2B5EF4-FFF2-40B4-BE49-F238E27FC236}">
                      <a16:creationId xmlns:a16="http://schemas.microsoft.com/office/drawing/2014/main" id="{8B60B1A1-AF5B-B341-A309-86571F0A71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9557" y="1951636"/>
                  <a:ext cx="56235" cy="20718"/>
                </a:xfrm>
                <a:custGeom>
                  <a:avLst/>
                  <a:gdLst>
                    <a:gd name="T0" fmla="*/ 2147483647 w 42"/>
                    <a:gd name="T1" fmla="*/ 2147483647 h 14"/>
                    <a:gd name="T2" fmla="*/ 2147483647 w 42"/>
                    <a:gd name="T3" fmla="*/ 2147483647 h 14"/>
                    <a:gd name="T4" fmla="*/ 2147483647 w 42"/>
                    <a:gd name="T5" fmla="*/ 2147483647 h 14"/>
                    <a:gd name="T6" fmla="*/ 2147483647 w 42"/>
                    <a:gd name="T7" fmla="*/ 2147483647 h 14"/>
                    <a:gd name="T8" fmla="*/ 2147483647 w 42"/>
                    <a:gd name="T9" fmla="*/ 2147483647 h 14"/>
                    <a:gd name="T10" fmla="*/ 2147483647 w 42"/>
                    <a:gd name="T11" fmla="*/ 2147483647 h 14"/>
                    <a:gd name="T12" fmla="*/ 2147483647 w 42"/>
                    <a:gd name="T13" fmla="*/ 2147483647 h 14"/>
                    <a:gd name="T14" fmla="*/ 2147483647 w 42"/>
                    <a:gd name="T15" fmla="*/ 0 h 14"/>
                    <a:gd name="T16" fmla="*/ 2147483647 w 42"/>
                    <a:gd name="T17" fmla="*/ 2147483647 h 14"/>
                    <a:gd name="T18" fmla="*/ 2147483647 w 42"/>
                    <a:gd name="T19" fmla="*/ 2147483647 h 14"/>
                    <a:gd name="T20" fmla="*/ 2147483647 w 42"/>
                    <a:gd name="T21" fmla="*/ 2147483647 h 14"/>
                    <a:gd name="T22" fmla="*/ 2147483647 w 42"/>
                    <a:gd name="T23" fmla="*/ 2147483647 h 14"/>
                    <a:gd name="T24" fmla="*/ 2147483647 w 42"/>
                    <a:gd name="T25" fmla="*/ 2147483647 h 14"/>
                    <a:gd name="T26" fmla="*/ 2147483647 w 42"/>
                    <a:gd name="T27" fmla="*/ 2147483647 h 14"/>
                    <a:gd name="T28" fmla="*/ 2147483647 w 42"/>
                    <a:gd name="T29" fmla="*/ 0 h 14"/>
                    <a:gd name="T30" fmla="*/ 2147483647 w 42"/>
                    <a:gd name="T31" fmla="*/ 0 h 14"/>
                    <a:gd name="T32" fmla="*/ 2147483647 w 42"/>
                    <a:gd name="T33" fmla="*/ 0 h 14"/>
                    <a:gd name="T34" fmla="*/ 2147483647 w 42"/>
                    <a:gd name="T35" fmla="*/ 2147483647 h 14"/>
                    <a:gd name="T36" fmla="*/ 2147483647 w 42"/>
                    <a:gd name="T37" fmla="*/ 2147483647 h 14"/>
                    <a:gd name="T38" fmla="*/ 0 w 42"/>
                    <a:gd name="T39" fmla="*/ 2147483647 h 14"/>
                    <a:gd name="T40" fmla="*/ 0 w 42"/>
                    <a:gd name="T41" fmla="*/ 2147483647 h 14"/>
                    <a:gd name="T42" fmla="*/ 0 w 42"/>
                    <a:gd name="T43" fmla="*/ 2147483647 h 14"/>
                    <a:gd name="T44" fmla="*/ 2147483647 w 42"/>
                    <a:gd name="T45" fmla="*/ 2147483647 h 14"/>
                    <a:gd name="T46" fmla="*/ 2147483647 w 42"/>
                    <a:gd name="T47" fmla="*/ 2147483647 h 14"/>
                    <a:gd name="T48" fmla="*/ 2147483647 w 42"/>
                    <a:gd name="T49" fmla="*/ 2147483647 h 14"/>
                    <a:gd name="T50" fmla="*/ 2147483647 w 42"/>
                    <a:gd name="T51" fmla="*/ 2147483647 h 14"/>
                    <a:gd name="T52" fmla="*/ 2147483647 w 42"/>
                    <a:gd name="T53" fmla="*/ 2147483647 h 14"/>
                    <a:gd name="T54" fmla="*/ 2147483647 w 42"/>
                    <a:gd name="T55" fmla="*/ 2147483647 h 14"/>
                    <a:gd name="T56" fmla="*/ 2147483647 w 42"/>
                    <a:gd name="T57" fmla="*/ 2147483647 h 14"/>
                    <a:gd name="T58" fmla="*/ 2147483647 w 42"/>
                    <a:gd name="T59" fmla="*/ 2147483647 h 14"/>
                    <a:gd name="T60" fmla="*/ 2147483647 w 42"/>
                    <a:gd name="T61" fmla="*/ 2147483647 h 14"/>
                    <a:gd name="T62" fmla="*/ 2147483647 w 42"/>
                    <a:gd name="T63" fmla="*/ 2147483647 h 14"/>
                    <a:gd name="T64" fmla="*/ 2147483647 w 42"/>
                    <a:gd name="T65" fmla="*/ 2147483647 h 14"/>
                    <a:gd name="T66" fmla="*/ 2147483647 w 42"/>
                    <a:gd name="T67" fmla="*/ 2147483647 h 14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42"/>
                    <a:gd name="T103" fmla="*/ 0 h 14"/>
                    <a:gd name="T104" fmla="*/ 42 w 42"/>
                    <a:gd name="T105" fmla="*/ 14 h 14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42" h="14">
                      <a:moveTo>
                        <a:pt x="41" y="8"/>
                      </a:moveTo>
                      <a:lnTo>
                        <a:pt x="41" y="8"/>
                      </a:lnTo>
                      <a:lnTo>
                        <a:pt x="42" y="5"/>
                      </a:lnTo>
                      <a:lnTo>
                        <a:pt x="42" y="4"/>
                      </a:lnTo>
                      <a:lnTo>
                        <a:pt x="42" y="3"/>
                      </a:lnTo>
                      <a:lnTo>
                        <a:pt x="41" y="1"/>
                      </a:lnTo>
                      <a:lnTo>
                        <a:pt x="38" y="0"/>
                      </a:lnTo>
                      <a:lnTo>
                        <a:pt x="35" y="1"/>
                      </a:lnTo>
                      <a:lnTo>
                        <a:pt x="30" y="2"/>
                      </a:lnTo>
                      <a:lnTo>
                        <a:pt x="26" y="3"/>
                      </a:lnTo>
                      <a:lnTo>
                        <a:pt x="23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2" y="9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3" y="14"/>
                      </a:lnTo>
                      <a:lnTo>
                        <a:pt x="11" y="13"/>
                      </a:lnTo>
                      <a:lnTo>
                        <a:pt x="19" y="11"/>
                      </a:lnTo>
                      <a:lnTo>
                        <a:pt x="27" y="10"/>
                      </a:lnTo>
                      <a:lnTo>
                        <a:pt x="31" y="10"/>
                      </a:lnTo>
                      <a:lnTo>
                        <a:pt x="35" y="11"/>
                      </a:lnTo>
                      <a:lnTo>
                        <a:pt x="36" y="11"/>
                      </a:lnTo>
                      <a:lnTo>
                        <a:pt x="37" y="10"/>
                      </a:lnTo>
                      <a:lnTo>
                        <a:pt x="41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919">
                  <a:extLst>
                    <a:ext uri="{FF2B5EF4-FFF2-40B4-BE49-F238E27FC236}">
                      <a16:creationId xmlns:a16="http://schemas.microsoft.com/office/drawing/2014/main" id="{C315344E-E1A7-134B-BE9C-F5B60E2D41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5563" y="1833242"/>
                  <a:ext cx="23678" cy="29598"/>
                </a:xfrm>
                <a:custGeom>
                  <a:avLst/>
                  <a:gdLst>
                    <a:gd name="T0" fmla="*/ 2147483647 w 18"/>
                    <a:gd name="T1" fmla="*/ 2147483647 h 20"/>
                    <a:gd name="T2" fmla="*/ 2147483647 w 18"/>
                    <a:gd name="T3" fmla="*/ 2147483647 h 20"/>
                    <a:gd name="T4" fmla="*/ 0 w 18"/>
                    <a:gd name="T5" fmla="*/ 2147483647 h 20"/>
                    <a:gd name="T6" fmla="*/ 0 w 18"/>
                    <a:gd name="T7" fmla="*/ 2147483647 h 20"/>
                    <a:gd name="T8" fmla="*/ 2147483647 w 18"/>
                    <a:gd name="T9" fmla="*/ 0 h 20"/>
                    <a:gd name="T10" fmla="*/ 2147483647 w 18"/>
                    <a:gd name="T11" fmla="*/ 0 h 20"/>
                    <a:gd name="T12" fmla="*/ 2147483647 w 18"/>
                    <a:gd name="T13" fmla="*/ 0 h 20"/>
                    <a:gd name="T14" fmla="*/ 2147483647 w 18"/>
                    <a:gd name="T15" fmla="*/ 2147483647 h 20"/>
                    <a:gd name="T16" fmla="*/ 2147483647 w 18"/>
                    <a:gd name="T17" fmla="*/ 2147483647 h 20"/>
                    <a:gd name="T18" fmla="*/ 2147483647 w 18"/>
                    <a:gd name="T19" fmla="*/ 2147483647 h 20"/>
                    <a:gd name="T20" fmla="*/ 2147483647 w 18"/>
                    <a:gd name="T21" fmla="*/ 2147483647 h 20"/>
                    <a:gd name="T22" fmla="*/ 2147483647 w 18"/>
                    <a:gd name="T23" fmla="*/ 2147483647 h 20"/>
                    <a:gd name="T24" fmla="*/ 2147483647 w 18"/>
                    <a:gd name="T25" fmla="*/ 2147483647 h 20"/>
                    <a:gd name="T26" fmla="*/ 2147483647 w 18"/>
                    <a:gd name="T27" fmla="*/ 2147483647 h 20"/>
                    <a:gd name="T28" fmla="*/ 2147483647 w 18"/>
                    <a:gd name="T29" fmla="*/ 2147483647 h 20"/>
                    <a:gd name="T30" fmla="*/ 2147483647 w 18"/>
                    <a:gd name="T31" fmla="*/ 2147483647 h 20"/>
                    <a:gd name="T32" fmla="*/ 2147483647 w 18"/>
                    <a:gd name="T33" fmla="*/ 2147483647 h 2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"/>
                    <a:gd name="T52" fmla="*/ 0 h 20"/>
                    <a:gd name="T53" fmla="*/ 18 w 18"/>
                    <a:gd name="T54" fmla="*/ 20 h 2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" h="20">
                      <a:moveTo>
                        <a:pt x="2" y="10"/>
                      </a:move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9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6" y="7"/>
                      </a:lnTo>
                      <a:lnTo>
                        <a:pt x="18" y="13"/>
                      </a:lnTo>
                      <a:lnTo>
                        <a:pt x="16" y="17"/>
                      </a:lnTo>
                      <a:lnTo>
                        <a:pt x="14" y="19"/>
                      </a:lnTo>
                      <a:lnTo>
                        <a:pt x="11" y="19"/>
                      </a:lnTo>
                      <a:lnTo>
                        <a:pt x="10" y="20"/>
                      </a:lnTo>
                      <a:lnTo>
                        <a:pt x="7" y="19"/>
                      </a:lnTo>
                      <a:lnTo>
                        <a:pt x="6" y="17"/>
                      </a:ln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920">
                  <a:extLst>
                    <a:ext uri="{FF2B5EF4-FFF2-40B4-BE49-F238E27FC236}">
                      <a16:creationId xmlns:a16="http://schemas.microsoft.com/office/drawing/2014/main" id="{66EC2497-4529-C245-BB9C-68EA9BF4D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330" y="1947192"/>
                  <a:ext cx="42917" cy="26638"/>
                </a:xfrm>
                <a:custGeom>
                  <a:avLst/>
                  <a:gdLst>
                    <a:gd name="T0" fmla="*/ 2147483647 w 31"/>
                    <a:gd name="T1" fmla="*/ 2147483647 h 18"/>
                    <a:gd name="T2" fmla="*/ 2147483647 w 31"/>
                    <a:gd name="T3" fmla="*/ 2147483647 h 18"/>
                    <a:gd name="T4" fmla="*/ 2147483647 w 31"/>
                    <a:gd name="T5" fmla="*/ 2147483647 h 18"/>
                    <a:gd name="T6" fmla="*/ 2147483647 w 31"/>
                    <a:gd name="T7" fmla="*/ 2147483647 h 18"/>
                    <a:gd name="T8" fmla="*/ 0 w 31"/>
                    <a:gd name="T9" fmla="*/ 2147483647 h 18"/>
                    <a:gd name="T10" fmla="*/ 0 w 31"/>
                    <a:gd name="T11" fmla="*/ 2147483647 h 18"/>
                    <a:gd name="T12" fmla="*/ 2147483647 w 31"/>
                    <a:gd name="T13" fmla="*/ 2147483647 h 18"/>
                    <a:gd name="T14" fmla="*/ 2147483647 w 31"/>
                    <a:gd name="T15" fmla="*/ 2147483647 h 18"/>
                    <a:gd name="T16" fmla="*/ 2147483647 w 31"/>
                    <a:gd name="T17" fmla="*/ 2147483647 h 18"/>
                    <a:gd name="T18" fmla="*/ 2147483647 w 31"/>
                    <a:gd name="T19" fmla="*/ 0 h 18"/>
                    <a:gd name="T20" fmla="*/ 2147483647 w 31"/>
                    <a:gd name="T21" fmla="*/ 2147483647 h 18"/>
                    <a:gd name="T22" fmla="*/ 2147483647 w 31"/>
                    <a:gd name="T23" fmla="*/ 2147483647 h 18"/>
                    <a:gd name="T24" fmla="*/ 2147483647 w 31"/>
                    <a:gd name="T25" fmla="*/ 2147483647 h 18"/>
                    <a:gd name="T26" fmla="*/ 2147483647 w 31"/>
                    <a:gd name="T27" fmla="*/ 2147483647 h 18"/>
                    <a:gd name="T28" fmla="*/ 2147483647 w 31"/>
                    <a:gd name="T29" fmla="*/ 2147483647 h 18"/>
                    <a:gd name="T30" fmla="*/ 2147483647 w 31"/>
                    <a:gd name="T31" fmla="*/ 2147483647 h 18"/>
                    <a:gd name="T32" fmla="*/ 2147483647 w 31"/>
                    <a:gd name="T33" fmla="*/ 2147483647 h 18"/>
                    <a:gd name="T34" fmla="*/ 2147483647 w 31"/>
                    <a:gd name="T35" fmla="*/ 2147483647 h 18"/>
                    <a:gd name="T36" fmla="*/ 2147483647 w 31"/>
                    <a:gd name="T37" fmla="*/ 2147483647 h 1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31"/>
                    <a:gd name="T58" fmla="*/ 0 h 18"/>
                    <a:gd name="T59" fmla="*/ 31 w 31"/>
                    <a:gd name="T60" fmla="*/ 18 h 1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31" h="18">
                      <a:moveTo>
                        <a:pt x="16" y="18"/>
                      </a:moveTo>
                      <a:lnTo>
                        <a:pt x="11" y="18"/>
                      </a:lnTo>
                      <a:lnTo>
                        <a:pt x="7" y="17"/>
                      </a:lnTo>
                      <a:lnTo>
                        <a:pt x="3" y="14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2" y="5"/>
                      </a:lnTo>
                      <a:lnTo>
                        <a:pt x="3" y="3"/>
                      </a:lnTo>
                      <a:lnTo>
                        <a:pt x="6" y="1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5"/>
                      </a:lnTo>
                      <a:lnTo>
                        <a:pt x="30" y="10"/>
                      </a:lnTo>
                      <a:lnTo>
                        <a:pt x="31" y="12"/>
                      </a:lnTo>
                      <a:lnTo>
                        <a:pt x="31" y="14"/>
                      </a:lnTo>
                      <a:lnTo>
                        <a:pt x="30" y="16"/>
                      </a:lnTo>
                      <a:lnTo>
                        <a:pt x="27" y="17"/>
                      </a:lnTo>
                      <a:lnTo>
                        <a:pt x="22" y="18"/>
                      </a:lnTo>
                      <a:lnTo>
                        <a:pt x="1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921">
                  <a:extLst>
                    <a:ext uri="{FF2B5EF4-FFF2-40B4-BE49-F238E27FC236}">
                      <a16:creationId xmlns:a16="http://schemas.microsoft.com/office/drawing/2014/main" id="{B50B5191-C4D7-5141-BA55-4928AD5E78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082" y="1831761"/>
                  <a:ext cx="23678" cy="29598"/>
                </a:xfrm>
                <a:custGeom>
                  <a:avLst/>
                  <a:gdLst>
                    <a:gd name="T0" fmla="*/ 2147483647 w 17"/>
                    <a:gd name="T1" fmla="*/ 2147483647 h 20"/>
                    <a:gd name="T2" fmla="*/ 2147483647 w 17"/>
                    <a:gd name="T3" fmla="*/ 2147483647 h 20"/>
                    <a:gd name="T4" fmla="*/ 2147483647 w 17"/>
                    <a:gd name="T5" fmla="*/ 2147483647 h 20"/>
                    <a:gd name="T6" fmla="*/ 0 w 17"/>
                    <a:gd name="T7" fmla="*/ 2147483647 h 20"/>
                    <a:gd name="T8" fmla="*/ 0 w 17"/>
                    <a:gd name="T9" fmla="*/ 2147483647 h 20"/>
                    <a:gd name="T10" fmla="*/ 2147483647 w 17"/>
                    <a:gd name="T11" fmla="*/ 0 h 20"/>
                    <a:gd name="T12" fmla="*/ 2147483647 w 17"/>
                    <a:gd name="T13" fmla="*/ 0 h 20"/>
                    <a:gd name="T14" fmla="*/ 2147483647 w 17"/>
                    <a:gd name="T15" fmla="*/ 0 h 20"/>
                    <a:gd name="T16" fmla="*/ 2147483647 w 17"/>
                    <a:gd name="T17" fmla="*/ 0 h 20"/>
                    <a:gd name="T18" fmla="*/ 2147483647 w 17"/>
                    <a:gd name="T19" fmla="*/ 2147483647 h 20"/>
                    <a:gd name="T20" fmla="*/ 2147483647 w 17"/>
                    <a:gd name="T21" fmla="*/ 2147483647 h 20"/>
                    <a:gd name="T22" fmla="*/ 2147483647 w 17"/>
                    <a:gd name="T23" fmla="*/ 2147483647 h 20"/>
                    <a:gd name="T24" fmla="*/ 2147483647 w 17"/>
                    <a:gd name="T25" fmla="*/ 2147483647 h 20"/>
                    <a:gd name="T26" fmla="*/ 2147483647 w 17"/>
                    <a:gd name="T27" fmla="*/ 2147483647 h 20"/>
                    <a:gd name="T28" fmla="*/ 2147483647 w 17"/>
                    <a:gd name="T29" fmla="*/ 2147483647 h 20"/>
                    <a:gd name="T30" fmla="*/ 2147483647 w 17"/>
                    <a:gd name="T31" fmla="*/ 2147483647 h 20"/>
                    <a:gd name="T32" fmla="*/ 2147483647 w 17"/>
                    <a:gd name="T33" fmla="*/ 2147483647 h 20"/>
                    <a:gd name="T34" fmla="*/ 2147483647 w 17"/>
                    <a:gd name="T35" fmla="*/ 2147483647 h 20"/>
                    <a:gd name="T36" fmla="*/ 2147483647 w 17"/>
                    <a:gd name="T37" fmla="*/ 2147483647 h 20"/>
                    <a:gd name="T38" fmla="*/ 2147483647 w 17"/>
                    <a:gd name="T39" fmla="*/ 2147483647 h 20"/>
                    <a:gd name="T40" fmla="*/ 2147483647 w 17"/>
                    <a:gd name="T41" fmla="*/ 2147483647 h 20"/>
                    <a:gd name="T42" fmla="*/ 2147483647 w 17"/>
                    <a:gd name="T43" fmla="*/ 2147483647 h 2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7"/>
                    <a:gd name="T67" fmla="*/ 0 h 20"/>
                    <a:gd name="T68" fmla="*/ 17 w 17"/>
                    <a:gd name="T69" fmla="*/ 20 h 2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7" h="20">
                      <a:moveTo>
                        <a:pt x="2" y="9"/>
                      </a:moveTo>
                      <a:lnTo>
                        <a:pt x="2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3" y="2"/>
                      </a:lnTo>
                      <a:lnTo>
                        <a:pt x="16" y="7"/>
                      </a:lnTo>
                      <a:lnTo>
                        <a:pt x="17" y="13"/>
                      </a:lnTo>
                      <a:lnTo>
                        <a:pt x="16" y="16"/>
                      </a:lnTo>
                      <a:lnTo>
                        <a:pt x="13" y="19"/>
                      </a:lnTo>
                      <a:lnTo>
                        <a:pt x="11" y="19"/>
                      </a:lnTo>
                      <a:lnTo>
                        <a:pt x="10" y="20"/>
                      </a:lnTo>
                      <a:lnTo>
                        <a:pt x="7" y="19"/>
                      </a:lnTo>
                      <a:lnTo>
                        <a:pt x="6" y="16"/>
                      </a:lnTo>
                      <a:lnTo>
                        <a:pt x="2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8" name="Freeform 922">
                  <a:extLst>
                    <a:ext uri="{FF2B5EF4-FFF2-40B4-BE49-F238E27FC236}">
                      <a16:creationId xmlns:a16="http://schemas.microsoft.com/office/drawing/2014/main" id="{812EBAA2-C389-2544-9A2C-6CCE047D0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0851" y="1945716"/>
                  <a:ext cx="42916" cy="26638"/>
                </a:xfrm>
                <a:custGeom>
                  <a:avLst/>
                  <a:gdLst>
                    <a:gd name="T0" fmla="*/ 2147483647 w 31"/>
                    <a:gd name="T1" fmla="*/ 2147483647 h 18"/>
                    <a:gd name="T2" fmla="*/ 2147483647 w 31"/>
                    <a:gd name="T3" fmla="*/ 2147483647 h 18"/>
                    <a:gd name="T4" fmla="*/ 2147483647 w 31"/>
                    <a:gd name="T5" fmla="*/ 2147483647 h 18"/>
                    <a:gd name="T6" fmla="*/ 2147483647 w 31"/>
                    <a:gd name="T7" fmla="*/ 2147483647 h 18"/>
                    <a:gd name="T8" fmla="*/ 2147483647 w 31"/>
                    <a:gd name="T9" fmla="*/ 2147483647 h 18"/>
                    <a:gd name="T10" fmla="*/ 0 w 31"/>
                    <a:gd name="T11" fmla="*/ 2147483647 h 18"/>
                    <a:gd name="T12" fmla="*/ 0 w 31"/>
                    <a:gd name="T13" fmla="*/ 2147483647 h 18"/>
                    <a:gd name="T14" fmla="*/ 0 w 31"/>
                    <a:gd name="T15" fmla="*/ 2147483647 h 18"/>
                    <a:gd name="T16" fmla="*/ 2147483647 w 31"/>
                    <a:gd name="T17" fmla="*/ 2147483647 h 18"/>
                    <a:gd name="T18" fmla="*/ 2147483647 w 31"/>
                    <a:gd name="T19" fmla="*/ 2147483647 h 18"/>
                    <a:gd name="T20" fmla="*/ 2147483647 w 31"/>
                    <a:gd name="T21" fmla="*/ 2147483647 h 18"/>
                    <a:gd name="T22" fmla="*/ 2147483647 w 31"/>
                    <a:gd name="T23" fmla="*/ 2147483647 h 18"/>
                    <a:gd name="T24" fmla="*/ 2147483647 w 31"/>
                    <a:gd name="T25" fmla="*/ 0 h 18"/>
                    <a:gd name="T26" fmla="*/ 2147483647 w 31"/>
                    <a:gd name="T27" fmla="*/ 2147483647 h 18"/>
                    <a:gd name="T28" fmla="*/ 2147483647 w 31"/>
                    <a:gd name="T29" fmla="*/ 2147483647 h 18"/>
                    <a:gd name="T30" fmla="*/ 2147483647 w 31"/>
                    <a:gd name="T31" fmla="*/ 2147483647 h 18"/>
                    <a:gd name="T32" fmla="*/ 2147483647 w 31"/>
                    <a:gd name="T33" fmla="*/ 2147483647 h 18"/>
                    <a:gd name="T34" fmla="*/ 2147483647 w 31"/>
                    <a:gd name="T35" fmla="*/ 2147483647 h 18"/>
                    <a:gd name="T36" fmla="*/ 2147483647 w 31"/>
                    <a:gd name="T37" fmla="*/ 2147483647 h 18"/>
                    <a:gd name="T38" fmla="*/ 2147483647 w 31"/>
                    <a:gd name="T39" fmla="*/ 2147483647 h 18"/>
                    <a:gd name="T40" fmla="*/ 2147483647 w 31"/>
                    <a:gd name="T41" fmla="*/ 2147483647 h 18"/>
                    <a:gd name="T42" fmla="*/ 2147483647 w 31"/>
                    <a:gd name="T43" fmla="*/ 2147483647 h 18"/>
                    <a:gd name="T44" fmla="*/ 2147483647 w 31"/>
                    <a:gd name="T45" fmla="*/ 2147483647 h 18"/>
                    <a:gd name="T46" fmla="*/ 2147483647 w 31"/>
                    <a:gd name="T47" fmla="*/ 2147483647 h 1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1"/>
                    <a:gd name="T73" fmla="*/ 0 h 18"/>
                    <a:gd name="T74" fmla="*/ 31 w 31"/>
                    <a:gd name="T75" fmla="*/ 18 h 1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1" h="18">
                      <a:moveTo>
                        <a:pt x="15" y="18"/>
                      </a:moveTo>
                      <a:lnTo>
                        <a:pt x="15" y="18"/>
                      </a:lnTo>
                      <a:lnTo>
                        <a:pt x="10" y="18"/>
                      </a:lnTo>
                      <a:lnTo>
                        <a:pt x="7" y="17"/>
                      </a:lnTo>
                      <a:lnTo>
                        <a:pt x="3" y="14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3" y="2"/>
                      </a:lnTo>
                      <a:lnTo>
                        <a:pt x="5" y="1"/>
                      </a:lnTo>
                      <a:lnTo>
                        <a:pt x="13" y="0"/>
                      </a:lnTo>
                      <a:lnTo>
                        <a:pt x="19" y="1"/>
                      </a:lnTo>
                      <a:lnTo>
                        <a:pt x="26" y="5"/>
                      </a:lnTo>
                      <a:lnTo>
                        <a:pt x="29" y="9"/>
                      </a:lnTo>
                      <a:lnTo>
                        <a:pt x="31" y="12"/>
                      </a:lnTo>
                      <a:lnTo>
                        <a:pt x="31" y="14"/>
                      </a:lnTo>
                      <a:lnTo>
                        <a:pt x="29" y="15"/>
                      </a:lnTo>
                      <a:lnTo>
                        <a:pt x="27" y="17"/>
                      </a:lnTo>
                      <a:lnTo>
                        <a:pt x="22" y="18"/>
                      </a:lnTo>
                      <a:lnTo>
                        <a:pt x="15" y="1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923">
                  <a:extLst>
                    <a:ext uri="{FF2B5EF4-FFF2-40B4-BE49-F238E27FC236}">
                      <a16:creationId xmlns:a16="http://schemas.microsoft.com/office/drawing/2014/main" id="{0EC368E4-6206-BD40-86ED-5AC4B4D752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842" y="2046349"/>
                  <a:ext cx="20718" cy="20718"/>
                </a:xfrm>
                <a:custGeom>
                  <a:avLst/>
                  <a:gdLst>
                    <a:gd name="T0" fmla="*/ 2147483647 w 15"/>
                    <a:gd name="T1" fmla="*/ 2147483647 h 14"/>
                    <a:gd name="T2" fmla="*/ 2147483647 w 15"/>
                    <a:gd name="T3" fmla="*/ 2147483647 h 14"/>
                    <a:gd name="T4" fmla="*/ 2147483647 w 15"/>
                    <a:gd name="T5" fmla="*/ 2147483647 h 14"/>
                    <a:gd name="T6" fmla="*/ 2147483647 w 15"/>
                    <a:gd name="T7" fmla="*/ 2147483647 h 14"/>
                    <a:gd name="T8" fmla="*/ 2147483647 w 15"/>
                    <a:gd name="T9" fmla="*/ 2147483647 h 14"/>
                    <a:gd name="T10" fmla="*/ 2147483647 w 15"/>
                    <a:gd name="T11" fmla="*/ 2147483647 h 14"/>
                    <a:gd name="T12" fmla="*/ 0 w 15"/>
                    <a:gd name="T13" fmla="*/ 2147483647 h 14"/>
                    <a:gd name="T14" fmla="*/ 0 w 15"/>
                    <a:gd name="T15" fmla="*/ 2147483647 h 14"/>
                    <a:gd name="T16" fmla="*/ 2147483647 w 15"/>
                    <a:gd name="T17" fmla="*/ 2147483647 h 14"/>
                    <a:gd name="T18" fmla="*/ 2147483647 w 15"/>
                    <a:gd name="T19" fmla="*/ 2147483647 h 14"/>
                    <a:gd name="T20" fmla="*/ 2147483647 w 15"/>
                    <a:gd name="T21" fmla="*/ 0 h 14"/>
                    <a:gd name="T22" fmla="*/ 2147483647 w 15"/>
                    <a:gd name="T23" fmla="*/ 0 h 14"/>
                    <a:gd name="T24" fmla="*/ 2147483647 w 15"/>
                    <a:gd name="T25" fmla="*/ 2147483647 h 14"/>
                    <a:gd name="T26" fmla="*/ 2147483647 w 15"/>
                    <a:gd name="T27" fmla="*/ 2147483647 h 14"/>
                    <a:gd name="T28" fmla="*/ 2147483647 w 15"/>
                    <a:gd name="T29" fmla="*/ 2147483647 h 1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5"/>
                    <a:gd name="T46" fmla="*/ 0 h 14"/>
                    <a:gd name="T47" fmla="*/ 15 w 15"/>
                    <a:gd name="T48" fmla="*/ 14 h 1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5" h="14">
                      <a:moveTo>
                        <a:pt x="12" y="9"/>
                      </a:moveTo>
                      <a:lnTo>
                        <a:pt x="10" y="13"/>
                      </a:lnTo>
                      <a:lnTo>
                        <a:pt x="9" y="14"/>
                      </a:lnTo>
                      <a:lnTo>
                        <a:pt x="8" y="14"/>
                      </a:lnTo>
                      <a:lnTo>
                        <a:pt x="5" y="14"/>
                      </a:lnTo>
                      <a:lnTo>
                        <a:pt x="1" y="13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1" y="4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13" y="0"/>
                      </a:lnTo>
                      <a:lnTo>
                        <a:pt x="15" y="2"/>
                      </a:lnTo>
                      <a:lnTo>
                        <a:pt x="15" y="4"/>
                      </a:lnTo>
                      <a:lnTo>
                        <a:pt x="12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Freeform 924">
                  <a:extLst>
                    <a:ext uri="{FF2B5EF4-FFF2-40B4-BE49-F238E27FC236}">
                      <a16:creationId xmlns:a16="http://schemas.microsoft.com/office/drawing/2014/main" id="{8A1AA3B9-A4E5-9A45-A7A4-BEE92F0FFC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455" y="2040426"/>
                  <a:ext cx="20718" cy="17758"/>
                </a:xfrm>
                <a:custGeom>
                  <a:avLst/>
                  <a:gdLst>
                    <a:gd name="T0" fmla="*/ 2147483647 w 16"/>
                    <a:gd name="T1" fmla="*/ 2147483647 h 12"/>
                    <a:gd name="T2" fmla="*/ 2147483647 w 16"/>
                    <a:gd name="T3" fmla="*/ 2147483647 h 12"/>
                    <a:gd name="T4" fmla="*/ 2147483647 w 16"/>
                    <a:gd name="T5" fmla="*/ 2147483647 h 12"/>
                    <a:gd name="T6" fmla="*/ 2147483647 w 16"/>
                    <a:gd name="T7" fmla="*/ 2147483647 h 12"/>
                    <a:gd name="T8" fmla="*/ 2147483647 w 16"/>
                    <a:gd name="T9" fmla="*/ 2147483647 h 12"/>
                    <a:gd name="T10" fmla="*/ 2147483647 w 16"/>
                    <a:gd name="T11" fmla="*/ 2147483647 h 12"/>
                    <a:gd name="T12" fmla="*/ 0 w 16"/>
                    <a:gd name="T13" fmla="*/ 2147483647 h 12"/>
                    <a:gd name="T14" fmla="*/ 0 w 16"/>
                    <a:gd name="T15" fmla="*/ 2147483647 h 12"/>
                    <a:gd name="T16" fmla="*/ 2147483647 w 16"/>
                    <a:gd name="T17" fmla="*/ 2147483647 h 12"/>
                    <a:gd name="T18" fmla="*/ 2147483647 w 16"/>
                    <a:gd name="T19" fmla="*/ 2147483647 h 12"/>
                    <a:gd name="T20" fmla="*/ 2147483647 w 16"/>
                    <a:gd name="T21" fmla="*/ 0 h 12"/>
                    <a:gd name="T22" fmla="*/ 2147483647 w 16"/>
                    <a:gd name="T23" fmla="*/ 0 h 12"/>
                    <a:gd name="T24" fmla="*/ 2147483647 w 16"/>
                    <a:gd name="T25" fmla="*/ 0 h 12"/>
                    <a:gd name="T26" fmla="*/ 2147483647 w 16"/>
                    <a:gd name="T27" fmla="*/ 0 h 12"/>
                    <a:gd name="T28" fmla="*/ 2147483647 w 16"/>
                    <a:gd name="T29" fmla="*/ 2147483647 h 12"/>
                    <a:gd name="T30" fmla="*/ 2147483647 w 16"/>
                    <a:gd name="T31" fmla="*/ 2147483647 h 12"/>
                    <a:gd name="T32" fmla="*/ 2147483647 w 16"/>
                    <a:gd name="T33" fmla="*/ 2147483647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6"/>
                    <a:gd name="T52" fmla="*/ 0 h 12"/>
                    <a:gd name="T53" fmla="*/ 16 w 16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6" h="12">
                      <a:moveTo>
                        <a:pt x="10" y="8"/>
                      </a:moveTo>
                      <a:lnTo>
                        <a:pt x="9" y="9"/>
                      </a:lnTo>
                      <a:lnTo>
                        <a:pt x="7" y="11"/>
                      </a:lnTo>
                      <a:lnTo>
                        <a:pt x="6" y="12"/>
                      </a:lnTo>
                      <a:lnTo>
                        <a:pt x="4" y="11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6" y="1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5" y="0"/>
                      </a:lnTo>
                      <a:lnTo>
                        <a:pt x="16" y="0"/>
                      </a:lnTo>
                      <a:lnTo>
                        <a:pt x="14" y="2"/>
                      </a:lnTo>
                      <a:lnTo>
                        <a:pt x="11" y="6"/>
                      </a:lnTo>
                      <a:lnTo>
                        <a:pt x="10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1" name="Freeform 925">
                  <a:extLst>
                    <a:ext uri="{FF2B5EF4-FFF2-40B4-BE49-F238E27FC236}">
                      <a16:creationId xmlns:a16="http://schemas.microsoft.com/office/drawing/2014/main" id="{C911C3A2-39E6-124D-BDD5-DFA15BA55C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7362" y="2043387"/>
                  <a:ext cx="20718" cy="22198"/>
                </a:xfrm>
                <a:custGeom>
                  <a:avLst/>
                  <a:gdLst>
                    <a:gd name="T0" fmla="*/ 2147483647 w 15"/>
                    <a:gd name="T1" fmla="*/ 2147483647 h 15"/>
                    <a:gd name="T2" fmla="*/ 2147483647 w 15"/>
                    <a:gd name="T3" fmla="*/ 2147483647 h 15"/>
                    <a:gd name="T4" fmla="*/ 2147483647 w 15"/>
                    <a:gd name="T5" fmla="*/ 2147483647 h 15"/>
                    <a:gd name="T6" fmla="*/ 2147483647 w 15"/>
                    <a:gd name="T7" fmla="*/ 2147483647 h 15"/>
                    <a:gd name="T8" fmla="*/ 2147483647 w 15"/>
                    <a:gd name="T9" fmla="*/ 2147483647 h 15"/>
                    <a:gd name="T10" fmla="*/ 2147483647 w 15"/>
                    <a:gd name="T11" fmla="*/ 2147483647 h 15"/>
                    <a:gd name="T12" fmla="*/ 2147483647 w 15"/>
                    <a:gd name="T13" fmla="*/ 2147483647 h 15"/>
                    <a:gd name="T14" fmla="*/ 2147483647 w 15"/>
                    <a:gd name="T15" fmla="*/ 2147483647 h 15"/>
                    <a:gd name="T16" fmla="*/ 0 w 15"/>
                    <a:gd name="T17" fmla="*/ 2147483647 h 15"/>
                    <a:gd name="T18" fmla="*/ 0 w 15"/>
                    <a:gd name="T19" fmla="*/ 2147483647 h 15"/>
                    <a:gd name="T20" fmla="*/ 0 w 15"/>
                    <a:gd name="T21" fmla="*/ 2147483647 h 15"/>
                    <a:gd name="T22" fmla="*/ 2147483647 w 15"/>
                    <a:gd name="T23" fmla="*/ 2147483647 h 15"/>
                    <a:gd name="T24" fmla="*/ 2147483647 w 15"/>
                    <a:gd name="T25" fmla="*/ 2147483647 h 15"/>
                    <a:gd name="T26" fmla="*/ 2147483647 w 15"/>
                    <a:gd name="T27" fmla="*/ 0 h 15"/>
                    <a:gd name="T28" fmla="*/ 2147483647 w 15"/>
                    <a:gd name="T29" fmla="*/ 0 h 15"/>
                    <a:gd name="T30" fmla="*/ 2147483647 w 15"/>
                    <a:gd name="T31" fmla="*/ 0 h 15"/>
                    <a:gd name="T32" fmla="*/ 2147483647 w 15"/>
                    <a:gd name="T33" fmla="*/ 2147483647 h 15"/>
                    <a:gd name="T34" fmla="*/ 2147483647 w 15"/>
                    <a:gd name="T35" fmla="*/ 2147483647 h 15"/>
                    <a:gd name="T36" fmla="*/ 2147483647 w 15"/>
                    <a:gd name="T37" fmla="*/ 2147483647 h 15"/>
                    <a:gd name="T38" fmla="*/ 2147483647 w 15"/>
                    <a:gd name="T39" fmla="*/ 2147483647 h 1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15"/>
                    <a:gd name="T62" fmla="*/ 15 w 15"/>
                    <a:gd name="T63" fmla="*/ 15 h 1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15">
                      <a:moveTo>
                        <a:pt x="11" y="10"/>
                      </a:moveTo>
                      <a:lnTo>
                        <a:pt x="11" y="10"/>
                      </a:lnTo>
                      <a:lnTo>
                        <a:pt x="10" y="13"/>
                      </a:lnTo>
                      <a:lnTo>
                        <a:pt x="9" y="15"/>
                      </a:lnTo>
                      <a:lnTo>
                        <a:pt x="8" y="15"/>
                      </a:lnTo>
                      <a:lnTo>
                        <a:pt x="5" y="15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1" y="5"/>
                      </a:lnTo>
                      <a:lnTo>
                        <a:pt x="5" y="3"/>
                      </a:lnTo>
                      <a:lnTo>
                        <a:pt x="9" y="0"/>
                      </a:lnTo>
                      <a:lnTo>
                        <a:pt x="13" y="0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1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2" name="Freeform 926">
                  <a:extLst>
                    <a:ext uri="{FF2B5EF4-FFF2-40B4-BE49-F238E27FC236}">
                      <a16:creationId xmlns:a16="http://schemas.microsoft.com/office/drawing/2014/main" id="{E90A15B9-9FFC-7247-92C6-0BBD7049E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975" y="2038947"/>
                  <a:ext cx="20718" cy="17758"/>
                </a:xfrm>
                <a:custGeom>
                  <a:avLst/>
                  <a:gdLst>
                    <a:gd name="T0" fmla="*/ 2147483647 w 16"/>
                    <a:gd name="T1" fmla="*/ 2147483647 h 12"/>
                    <a:gd name="T2" fmla="*/ 2147483647 w 16"/>
                    <a:gd name="T3" fmla="*/ 2147483647 h 12"/>
                    <a:gd name="T4" fmla="*/ 2147483647 w 16"/>
                    <a:gd name="T5" fmla="*/ 2147483647 h 12"/>
                    <a:gd name="T6" fmla="*/ 2147483647 w 16"/>
                    <a:gd name="T7" fmla="*/ 2147483647 h 12"/>
                    <a:gd name="T8" fmla="*/ 2147483647 w 16"/>
                    <a:gd name="T9" fmla="*/ 2147483647 h 12"/>
                    <a:gd name="T10" fmla="*/ 2147483647 w 16"/>
                    <a:gd name="T11" fmla="*/ 2147483647 h 12"/>
                    <a:gd name="T12" fmla="*/ 2147483647 w 16"/>
                    <a:gd name="T13" fmla="*/ 2147483647 h 12"/>
                    <a:gd name="T14" fmla="*/ 2147483647 w 16"/>
                    <a:gd name="T15" fmla="*/ 2147483647 h 12"/>
                    <a:gd name="T16" fmla="*/ 0 w 16"/>
                    <a:gd name="T17" fmla="*/ 2147483647 h 12"/>
                    <a:gd name="T18" fmla="*/ 0 w 16"/>
                    <a:gd name="T19" fmla="*/ 2147483647 h 12"/>
                    <a:gd name="T20" fmla="*/ 0 w 16"/>
                    <a:gd name="T21" fmla="*/ 2147483647 h 12"/>
                    <a:gd name="T22" fmla="*/ 2147483647 w 16"/>
                    <a:gd name="T23" fmla="*/ 2147483647 h 12"/>
                    <a:gd name="T24" fmla="*/ 2147483647 w 16"/>
                    <a:gd name="T25" fmla="*/ 2147483647 h 12"/>
                    <a:gd name="T26" fmla="*/ 2147483647 w 16"/>
                    <a:gd name="T27" fmla="*/ 0 h 12"/>
                    <a:gd name="T28" fmla="*/ 2147483647 w 16"/>
                    <a:gd name="T29" fmla="*/ 0 h 12"/>
                    <a:gd name="T30" fmla="*/ 2147483647 w 16"/>
                    <a:gd name="T31" fmla="*/ 0 h 12"/>
                    <a:gd name="T32" fmla="*/ 2147483647 w 16"/>
                    <a:gd name="T33" fmla="*/ 0 h 12"/>
                    <a:gd name="T34" fmla="*/ 2147483647 w 16"/>
                    <a:gd name="T35" fmla="*/ 0 h 12"/>
                    <a:gd name="T36" fmla="*/ 2147483647 w 16"/>
                    <a:gd name="T37" fmla="*/ 2147483647 h 12"/>
                    <a:gd name="T38" fmla="*/ 2147483647 w 16"/>
                    <a:gd name="T39" fmla="*/ 2147483647 h 12"/>
                    <a:gd name="T40" fmla="*/ 2147483647 w 16"/>
                    <a:gd name="T41" fmla="*/ 2147483647 h 12"/>
                    <a:gd name="T42" fmla="*/ 2147483647 w 16"/>
                    <a:gd name="T43" fmla="*/ 2147483647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6"/>
                    <a:gd name="T67" fmla="*/ 0 h 12"/>
                    <a:gd name="T68" fmla="*/ 16 w 16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6" h="12">
                      <a:moveTo>
                        <a:pt x="10" y="8"/>
                      </a:moveTo>
                      <a:lnTo>
                        <a:pt x="10" y="8"/>
                      </a:lnTo>
                      <a:lnTo>
                        <a:pt x="8" y="9"/>
                      </a:lnTo>
                      <a:lnTo>
                        <a:pt x="7" y="10"/>
                      </a:lnTo>
                      <a:lnTo>
                        <a:pt x="6" y="12"/>
                      </a:lnTo>
                      <a:lnTo>
                        <a:pt x="3" y="10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3"/>
                      </a:lnTo>
                      <a:lnTo>
                        <a:pt x="6" y="1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5" y="0"/>
                      </a:lnTo>
                      <a:lnTo>
                        <a:pt x="16" y="0"/>
                      </a:lnTo>
                      <a:lnTo>
                        <a:pt x="14" y="2"/>
                      </a:lnTo>
                      <a:lnTo>
                        <a:pt x="11" y="6"/>
                      </a:lnTo>
                      <a:lnTo>
                        <a:pt x="10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927">
                  <a:extLst>
                    <a:ext uri="{FF2B5EF4-FFF2-40B4-BE49-F238E27FC236}">
                      <a16:creationId xmlns:a16="http://schemas.microsoft.com/office/drawing/2014/main" id="{9EA2A6EA-CA3D-C64B-BA27-47848701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5335" y="2006388"/>
                  <a:ext cx="34037" cy="25158"/>
                </a:xfrm>
                <a:custGeom>
                  <a:avLst/>
                  <a:gdLst>
                    <a:gd name="T0" fmla="*/ 2147483647 w 25"/>
                    <a:gd name="T1" fmla="*/ 2147483647 h 17"/>
                    <a:gd name="T2" fmla="*/ 2147483647 w 25"/>
                    <a:gd name="T3" fmla="*/ 2147483647 h 17"/>
                    <a:gd name="T4" fmla="*/ 2147483647 w 25"/>
                    <a:gd name="T5" fmla="*/ 2147483647 h 17"/>
                    <a:gd name="T6" fmla="*/ 2147483647 w 25"/>
                    <a:gd name="T7" fmla="*/ 2147483647 h 17"/>
                    <a:gd name="T8" fmla="*/ 0 w 25"/>
                    <a:gd name="T9" fmla="*/ 2147483647 h 17"/>
                    <a:gd name="T10" fmla="*/ 0 w 25"/>
                    <a:gd name="T11" fmla="*/ 2147483647 h 17"/>
                    <a:gd name="T12" fmla="*/ 0 w 25"/>
                    <a:gd name="T13" fmla="*/ 2147483647 h 17"/>
                    <a:gd name="T14" fmla="*/ 2147483647 w 25"/>
                    <a:gd name="T15" fmla="*/ 2147483647 h 17"/>
                    <a:gd name="T16" fmla="*/ 2147483647 w 25"/>
                    <a:gd name="T17" fmla="*/ 2147483647 h 17"/>
                    <a:gd name="T18" fmla="*/ 2147483647 w 25"/>
                    <a:gd name="T19" fmla="*/ 2147483647 h 17"/>
                    <a:gd name="T20" fmla="*/ 2147483647 w 25"/>
                    <a:gd name="T21" fmla="*/ 0 h 17"/>
                    <a:gd name="T22" fmla="*/ 2147483647 w 25"/>
                    <a:gd name="T23" fmla="*/ 2147483647 h 17"/>
                    <a:gd name="T24" fmla="*/ 2147483647 w 25"/>
                    <a:gd name="T25" fmla="*/ 2147483647 h 17"/>
                    <a:gd name="T26" fmla="*/ 2147483647 w 25"/>
                    <a:gd name="T27" fmla="*/ 2147483647 h 17"/>
                    <a:gd name="T28" fmla="*/ 2147483647 w 25"/>
                    <a:gd name="T29" fmla="*/ 2147483647 h 17"/>
                    <a:gd name="T30" fmla="*/ 2147483647 w 25"/>
                    <a:gd name="T31" fmla="*/ 2147483647 h 17"/>
                    <a:gd name="T32" fmla="*/ 2147483647 w 25"/>
                    <a:gd name="T33" fmla="*/ 2147483647 h 1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5"/>
                    <a:gd name="T52" fmla="*/ 0 h 17"/>
                    <a:gd name="T53" fmla="*/ 25 w 25"/>
                    <a:gd name="T54" fmla="*/ 17 h 1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5" h="17">
                      <a:moveTo>
                        <a:pt x="12" y="13"/>
                      </a:moveTo>
                      <a:lnTo>
                        <a:pt x="7" y="17"/>
                      </a:lnTo>
                      <a:lnTo>
                        <a:pt x="5" y="17"/>
                      </a:lnTo>
                      <a:lnTo>
                        <a:pt x="2" y="16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1" y="8"/>
                      </a:lnTo>
                      <a:lnTo>
                        <a:pt x="6" y="4"/>
                      </a:lnTo>
                      <a:lnTo>
                        <a:pt x="11" y="2"/>
                      </a:lnTo>
                      <a:lnTo>
                        <a:pt x="17" y="0"/>
                      </a:lnTo>
                      <a:lnTo>
                        <a:pt x="22" y="2"/>
                      </a:lnTo>
                      <a:lnTo>
                        <a:pt x="25" y="4"/>
                      </a:lnTo>
                      <a:lnTo>
                        <a:pt x="25" y="5"/>
                      </a:lnTo>
                      <a:lnTo>
                        <a:pt x="25" y="8"/>
                      </a:lnTo>
                      <a:lnTo>
                        <a:pt x="22" y="9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928">
                  <a:extLst>
                    <a:ext uri="{FF2B5EF4-FFF2-40B4-BE49-F238E27FC236}">
                      <a16:creationId xmlns:a16="http://schemas.microsoft.com/office/drawing/2014/main" id="{22FFCBED-C6B9-E745-B5D9-EC81683CCF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4974" y="1982713"/>
                  <a:ext cx="23678" cy="26638"/>
                </a:xfrm>
                <a:custGeom>
                  <a:avLst/>
                  <a:gdLst>
                    <a:gd name="T0" fmla="*/ 2147483647 w 18"/>
                    <a:gd name="T1" fmla="*/ 2147483647 h 18"/>
                    <a:gd name="T2" fmla="*/ 2147483647 w 18"/>
                    <a:gd name="T3" fmla="*/ 2147483647 h 18"/>
                    <a:gd name="T4" fmla="*/ 2147483647 w 18"/>
                    <a:gd name="T5" fmla="*/ 2147483647 h 18"/>
                    <a:gd name="T6" fmla="*/ 2147483647 w 18"/>
                    <a:gd name="T7" fmla="*/ 2147483647 h 18"/>
                    <a:gd name="T8" fmla="*/ 2147483647 w 18"/>
                    <a:gd name="T9" fmla="*/ 2147483647 h 18"/>
                    <a:gd name="T10" fmla="*/ 0 w 18"/>
                    <a:gd name="T11" fmla="*/ 2147483647 h 18"/>
                    <a:gd name="T12" fmla="*/ 2147483647 w 18"/>
                    <a:gd name="T13" fmla="*/ 2147483647 h 18"/>
                    <a:gd name="T14" fmla="*/ 2147483647 w 18"/>
                    <a:gd name="T15" fmla="*/ 2147483647 h 18"/>
                    <a:gd name="T16" fmla="*/ 2147483647 w 18"/>
                    <a:gd name="T17" fmla="*/ 2147483647 h 18"/>
                    <a:gd name="T18" fmla="*/ 2147483647 w 18"/>
                    <a:gd name="T19" fmla="*/ 0 h 18"/>
                    <a:gd name="T20" fmla="*/ 2147483647 w 18"/>
                    <a:gd name="T21" fmla="*/ 2147483647 h 18"/>
                    <a:gd name="T22" fmla="*/ 2147483647 w 18"/>
                    <a:gd name="T23" fmla="*/ 2147483647 h 18"/>
                    <a:gd name="T24" fmla="*/ 2147483647 w 18"/>
                    <a:gd name="T25" fmla="*/ 2147483647 h 18"/>
                    <a:gd name="T26" fmla="*/ 2147483647 w 18"/>
                    <a:gd name="T27" fmla="*/ 2147483647 h 18"/>
                    <a:gd name="T28" fmla="*/ 2147483647 w 18"/>
                    <a:gd name="T29" fmla="*/ 2147483647 h 18"/>
                    <a:gd name="T30" fmla="*/ 2147483647 w 18"/>
                    <a:gd name="T31" fmla="*/ 2147483647 h 18"/>
                    <a:gd name="T32" fmla="*/ 2147483647 w 18"/>
                    <a:gd name="T33" fmla="*/ 2147483647 h 18"/>
                    <a:gd name="T34" fmla="*/ 2147483647 w 18"/>
                    <a:gd name="T35" fmla="*/ 2147483647 h 18"/>
                    <a:gd name="T36" fmla="*/ 2147483647 w 18"/>
                    <a:gd name="T37" fmla="*/ 2147483647 h 1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"/>
                    <a:gd name="T58" fmla="*/ 0 h 18"/>
                    <a:gd name="T59" fmla="*/ 18 w 18"/>
                    <a:gd name="T60" fmla="*/ 18 h 1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" h="18">
                      <a:moveTo>
                        <a:pt x="10" y="16"/>
                      </a:moveTo>
                      <a:lnTo>
                        <a:pt x="8" y="18"/>
                      </a:lnTo>
                      <a:lnTo>
                        <a:pt x="5" y="16"/>
                      </a:lnTo>
                      <a:lnTo>
                        <a:pt x="2" y="15"/>
                      </a:lnTo>
                      <a:lnTo>
                        <a:pt x="1" y="13"/>
                      </a:lnTo>
                      <a:lnTo>
                        <a:pt x="0" y="9"/>
                      </a:lnTo>
                      <a:lnTo>
                        <a:pt x="1" y="7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1" y="1"/>
                      </a:lnTo>
                      <a:lnTo>
                        <a:pt x="14" y="2"/>
                      </a:lnTo>
                      <a:lnTo>
                        <a:pt x="15" y="3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6" y="11"/>
                      </a:lnTo>
                      <a:lnTo>
                        <a:pt x="15" y="13"/>
                      </a:lnTo>
                      <a:lnTo>
                        <a:pt x="14" y="15"/>
                      </a:lnTo>
                      <a:lnTo>
                        <a:pt x="10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929">
                  <a:extLst>
                    <a:ext uri="{FF2B5EF4-FFF2-40B4-BE49-F238E27FC236}">
                      <a16:creationId xmlns:a16="http://schemas.microsoft.com/office/drawing/2014/main" id="{1D5E9471-AE00-F647-8E0A-88D87764E5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374" y="2004911"/>
                  <a:ext cx="35517" cy="25157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w 26"/>
                    <a:gd name="T13" fmla="*/ 2147483647 h 17"/>
                    <a:gd name="T14" fmla="*/ 0 w 26"/>
                    <a:gd name="T15" fmla="*/ 2147483647 h 17"/>
                    <a:gd name="T16" fmla="*/ 0 w 26"/>
                    <a:gd name="T17" fmla="*/ 2147483647 h 17"/>
                    <a:gd name="T18" fmla="*/ 2147483647 w 26"/>
                    <a:gd name="T19" fmla="*/ 2147483647 h 17"/>
                    <a:gd name="T20" fmla="*/ 2147483647 w 26"/>
                    <a:gd name="T21" fmla="*/ 2147483647 h 17"/>
                    <a:gd name="T22" fmla="*/ 2147483647 w 26"/>
                    <a:gd name="T23" fmla="*/ 2147483647 h 17"/>
                    <a:gd name="T24" fmla="*/ 2147483647 w 26"/>
                    <a:gd name="T25" fmla="*/ 2147483647 h 17"/>
                    <a:gd name="T26" fmla="*/ 2147483647 w 26"/>
                    <a:gd name="T27" fmla="*/ 0 h 17"/>
                    <a:gd name="T28" fmla="*/ 2147483647 w 26"/>
                    <a:gd name="T29" fmla="*/ 2147483647 h 17"/>
                    <a:gd name="T30" fmla="*/ 2147483647 w 26"/>
                    <a:gd name="T31" fmla="*/ 2147483647 h 17"/>
                    <a:gd name="T32" fmla="*/ 2147483647 w 26"/>
                    <a:gd name="T33" fmla="*/ 2147483647 h 17"/>
                    <a:gd name="T34" fmla="*/ 2147483647 w 26"/>
                    <a:gd name="T35" fmla="*/ 2147483647 h 17"/>
                    <a:gd name="T36" fmla="*/ 2147483647 w 26"/>
                    <a:gd name="T37" fmla="*/ 2147483647 h 17"/>
                    <a:gd name="T38" fmla="*/ 2147483647 w 26"/>
                    <a:gd name="T39" fmla="*/ 2147483647 h 17"/>
                    <a:gd name="T40" fmla="*/ 2147483647 w 26"/>
                    <a:gd name="T41" fmla="*/ 2147483647 h 17"/>
                    <a:gd name="T42" fmla="*/ 2147483647 w 26"/>
                    <a:gd name="T43" fmla="*/ 2147483647 h 17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6"/>
                    <a:gd name="T67" fmla="*/ 0 h 17"/>
                    <a:gd name="T68" fmla="*/ 26 w 26"/>
                    <a:gd name="T69" fmla="*/ 17 h 17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6" h="17">
                      <a:moveTo>
                        <a:pt x="13" y="13"/>
                      </a:moveTo>
                      <a:lnTo>
                        <a:pt x="13" y="13"/>
                      </a:lnTo>
                      <a:lnTo>
                        <a:pt x="8" y="17"/>
                      </a:lnTo>
                      <a:lnTo>
                        <a:pt x="5" y="17"/>
                      </a:lnTo>
                      <a:lnTo>
                        <a:pt x="3" y="16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7"/>
                      </a:lnTo>
                      <a:lnTo>
                        <a:pt x="7" y="4"/>
                      </a:lnTo>
                      <a:lnTo>
                        <a:pt x="12" y="1"/>
                      </a:lnTo>
                      <a:lnTo>
                        <a:pt x="18" y="0"/>
                      </a:lnTo>
                      <a:lnTo>
                        <a:pt x="23" y="1"/>
                      </a:lnTo>
                      <a:lnTo>
                        <a:pt x="26" y="4"/>
                      </a:lnTo>
                      <a:lnTo>
                        <a:pt x="26" y="5"/>
                      </a:lnTo>
                      <a:lnTo>
                        <a:pt x="26" y="7"/>
                      </a:lnTo>
                      <a:lnTo>
                        <a:pt x="23" y="9"/>
                      </a:lnTo>
                      <a:lnTo>
                        <a:pt x="13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6" name="Freeform 930">
                  <a:extLst>
                    <a:ext uri="{FF2B5EF4-FFF2-40B4-BE49-F238E27FC236}">
                      <a16:creationId xmlns:a16="http://schemas.microsoft.com/office/drawing/2014/main" id="{1D23D77E-21FC-F547-AC56-64BC0BFA6E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3496" y="1981233"/>
                  <a:ext cx="22198" cy="25157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2147483647 h 17"/>
                    <a:gd name="T8" fmla="*/ 2147483647 w 17"/>
                    <a:gd name="T9" fmla="*/ 2147483647 h 17"/>
                    <a:gd name="T10" fmla="*/ 2147483647 w 17"/>
                    <a:gd name="T11" fmla="*/ 2147483647 h 17"/>
                    <a:gd name="T12" fmla="*/ 2147483647 w 17"/>
                    <a:gd name="T13" fmla="*/ 2147483647 h 17"/>
                    <a:gd name="T14" fmla="*/ 0 w 17"/>
                    <a:gd name="T15" fmla="*/ 2147483647 h 17"/>
                    <a:gd name="T16" fmla="*/ 2147483647 w 17"/>
                    <a:gd name="T17" fmla="*/ 2147483647 h 17"/>
                    <a:gd name="T18" fmla="*/ 2147483647 w 17"/>
                    <a:gd name="T19" fmla="*/ 2147483647 h 17"/>
                    <a:gd name="T20" fmla="*/ 2147483647 w 17"/>
                    <a:gd name="T21" fmla="*/ 2147483647 h 17"/>
                    <a:gd name="T22" fmla="*/ 2147483647 w 17"/>
                    <a:gd name="T23" fmla="*/ 2147483647 h 17"/>
                    <a:gd name="T24" fmla="*/ 2147483647 w 17"/>
                    <a:gd name="T25" fmla="*/ 0 h 17"/>
                    <a:gd name="T26" fmla="*/ 2147483647 w 17"/>
                    <a:gd name="T27" fmla="*/ 2147483647 h 17"/>
                    <a:gd name="T28" fmla="*/ 2147483647 w 17"/>
                    <a:gd name="T29" fmla="*/ 2147483647 h 17"/>
                    <a:gd name="T30" fmla="*/ 2147483647 w 17"/>
                    <a:gd name="T31" fmla="*/ 2147483647 h 17"/>
                    <a:gd name="T32" fmla="*/ 2147483647 w 17"/>
                    <a:gd name="T33" fmla="*/ 2147483647 h 17"/>
                    <a:gd name="T34" fmla="*/ 2147483647 w 17"/>
                    <a:gd name="T35" fmla="*/ 2147483647 h 17"/>
                    <a:gd name="T36" fmla="*/ 2147483647 w 17"/>
                    <a:gd name="T37" fmla="*/ 2147483647 h 17"/>
                    <a:gd name="T38" fmla="*/ 2147483647 w 17"/>
                    <a:gd name="T39" fmla="*/ 2147483647 h 17"/>
                    <a:gd name="T40" fmla="*/ 2147483647 w 17"/>
                    <a:gd name="T41" fmla="*/ 2147483647 h 17"/>
                    <a:gd name="T42" fmla="*/ 2147483647 w 17"/>
                    <a:gd name="T43" fmla="*/ 2147483647 h 17"/>
                    <a:gd name="T44" fmla="*/ 2147483647 w 17"/>
                    <a:gd name="T45" fmla="*/ 2147483647 h 17"/>
                    <a:gd name="T46" fmla="*/ 2147483647 w 17"/>
                    <a:gd name="T47" fmla="*/ 2147483647 h 17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7"/>
                    <a:gd name="T73" fmla="*/ 0 h 17"/>
                    <a:gd name="T74" fmla="*/ 17 w 17"/>
                    <a:gd name="T75" fmla="*/ 17 h 17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7" h="17">
                      <a:moveTo>
                        <a:pt x="10" y="16"/>
                      </a:moveTo>
                      <a:lnTo>
                        <a:pt x="10" y="16"/>
                      </a:lnTo>
                      <a:lnTo>
                        <a:pt x="7" y="17"/>
                      </a:lnTo>
                      <a:lnTo>
                        <a:pt x="5" y="16"/>
                      </a:lnTo>
                      <a:lnTo>
                        <a:pt x="2" y="15"/>
                      </a:lnTo>
                      <a:lnTo>
                        <a:pt x="1" y="13"/>
                      </a:lnTo>
                      <a:lnTo>
                        <a:pt x="0" y="9"/>
                      </a:lnTo>
                      <a:lnTo>
                        <a:pt x="1" y="7"/>
                      </a:lnTo>
                      <a:lnTo>
                        <a:pt x="2" y="3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4" y="2"/>
                      </a:lnTo>
                      <a:lnTo>
                        <a:pt x="15" y="3"/>
                      </a:lnTo>
                      <a:lnTo>
                        <a:pt x="16" y="6"/>
                      </a:lnTo>
                      <a:lnTo>
                        <a:pt x="17" y="8"/>
                      </a:lnTo>
                      <a:lnTo>
                        <a:pt x="16" y="10"/>
                      </a:lnTo>
                      <a:lnTo>
                        <a:pt x="15" y="13"/>
                      </a:lnTo>
                      <a:lnTo>
                        <a:pt x="14" y="15"/>
                      </a:lnTo>
                      <a:lnTo>
                        <a:pt x="10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931">
                  <a:extLst>
                    <a:ext uri="{FF2B5EF4-FFF2-40B4-BE49-F238E27FC236}">
                      <a16:creationId xmlns:a16="http://schemas.microsoft.com/office/drawing/2014/main" id="{9148E618-94C9-D843-8367-7AE6EDCEA5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1845" y="1896878"/>
                  <a:ext cx="79913" cy="60675"/>
                </a:xfrm>
                <a:custGeom>
                  <a:avLst/>
                  <a:gdLst>
                    <a:gd name="T0" fmla="*/ 2147483647 w 59"/>
                    <a:gd name="T1" fmla="*/ 2147483647 h 41"/>
                    <a:gd name="T2" fmla="*/ 2147483647 w 59"/>
                    <a:gd name="T3" fmla="*/ 2147483647 h 41"/>
                    <a:gd name="T4" fmla="*/ 2147483647 w 59"/>
                    <a:gd name="T5" fmla="*/ 2147483647 h 41"/>
                    <a:gd name="T6" fmla="*/ 2147483647 w 59"/>
                    <a:gd name="T7" fmla="*/ 2147483647 h 41"/>
                    <a:gd name="T8" fmla="*/ 2147483647 w 59"/>
                    <a:gd name="T9" fmla="*/ 2147483647 h 41"/>
                    <a:gd name="T10" fmla="*/ 2147483647 w 59"/>
                    <a:gd name="T11" fmla="*/ 2147483647 h 41"/>
                    <a:gd name="T12" fmla="*/ 2147483647 w 59"/>
                    <a:gd name="T13" fmla="*/ 0 h 41"/>
                    <a:gd name="T14" fmla="*/ 2147483647 w 59"/>
                    <a:gd name="T15" fmla="*/ 2147483647 h 41"/>
                    <a:gd name="T16" fmla="*/ 2147483647 w 59"/>
                    <a:gd name="T17" fmla="*/ 2147483647 h 41"/>
                    <a:gd name="T18" fmla="*/ 2147483647 w 59"/>
                    <a:gd name="T19" fmla="*/ 2147483647 h 41"/>
                    <a:gd name="T20" fmla="*/ 0 w 59"/>
                    <a:gd name="T21" fmla="*/ 2147483647 h 41"/>
                    <a:gd name="T22" fmla="*/ 0 w 59"/>
                    <a:gd name="T23" fmla="*/ 2147483647 h 41"/>
                    <a:gd name="T24" fmla="*/ 2147483647 w 59"/>
                    <a:gd name="T25" fmla="*/ 2147483647 h 41"/>
                    <a:gd name="T26" fmla="*/ 2147483647 w 59"/>
                    <a:gd name="T27" fmla="*/ 2147483647 h 41"/>
                    <a:gd name="T28" fmla="*/ 2147483647 w 59"/>
                    <a:gd name="T29" fmla="*/ 2147483647 h 41"/>
                    <a:gd name="T30" fmla="*/ 2147483647 w 59"/>
                    <a:gd name="T31" fmla="*/ 2147483647 h 41"/>
                    <a:gd name="T32" fmla="*/ 2147483647 w 59"/>
                    <a:gd name="T33" fmla="*/ 2147483647 h 41"/>
                    <a:gd name="T34" fmla="*/ 2147483647 w 59"/>
                    <a:gd name="T35" fmla="*/ 2147483647 h 41"/>
                    <a:gd name="T36" fmla="*/ 2147483647 w 59"/>
                    <a:gd name="T37" fmla="*/ 2147483647 h 41"/>
                    <a:gd name="T38" fmla="*/ 2147483647 w 59"/>
                    <a:gd name="T39" fmla="*/ 2147483647 h 41"/>
                    <a:gd name="T40" fmla="*/ 2147483647 w 59"/>
                    <a:gd name="T41" fmla="*/ 2147483647 h 41"/>
                    <a:gd name="T42" fmla="*/ 2147483647 w 59"/>
                    <a:gd name="T43" fmla="*/ 2147483647 h 41"/>
                    <a:gd name="T44" fmla="*/ 2147483647 w 59"/>
                    <a:gd name="T45" fmla="*/ 2147483647 h 41"/>
                    <a:gd name="T46" fmla="*/ 2147483647 w 59"/>
                    <a:gd name="T47" fmla="*/ 2147483647 h 41"/>
                    <a:gd name="T48" fmla="*/ 2147483647 w 59"/>
                    <a:gd name="T49" fmla="*/ 2147483647 h 41"/>
                    <a:gd name="T50" fmla="*/ 2147483647 w 59"/>
                    <a:gd name="T51" fmla="*/ 2147483647 h 41"/>
                    <a:gd name="T52" fmla="*/ 2147483647 w 59"/>
                    <a:gd name="T53" fmla="*/ 2147483647 h 41"/>
                    <a:gd name="T54" fmla="*/ 2147483647 w 59"/>
                    <a:gd name="T55" fmla="*/ 2147483647 h 41"/>
                    <a:gd name="T56" fmla="*/ 2147483647 w 59"/>
                    <a:gd name="T57" fmla="*/ 2147483647 h 41"/>
                    <a:gd name="T58" fmla="*/ 2147483647 w 59"/>
                    <a:gd name="T59" fmla="*/ 2147483647 h 41"/>
                    <a:gd name="T60" fmla="*/ 2147483647 w 59"/>
                    <a:gd name="T61" fmla="*/ 2147483647 h 41"/>
                    <a:gd name="T62" fmla="*/ 2147483647 w 59"/>
                    <a:gd name="T63" fmla="*/ 2147483647 h 41"/>
                    <a:gd name="T64" fmla="*/ 2147483647 w 59"/>
                    <a:gd name="T65" fmla="*/ 2147483647 h 41"/>
                    <a:gd name="T66" fmla="*/ 2147483647 w 59"/>
                    <a:gd name="T67" fmla="*/ 2147483647 h 41"/>
                    <a:gd name="T68" fmla="*/ 2147483647 w 59"/>
                    <a:gd name="T69" fmla="*/ 2147483647 h 41"/>
                    <a:gd name="T70" fmla="*/ 2147483647 w 59"/>
                    <a:gd name="T71" fmla="*/ 2147483647 h 41"/>
                    <a:gd name="T72" fmla="*/ 2147483647 w 59"/>
                    <a:gd name="T73" fmla="*/ 2147483647 h 41"/>
                    <a:gd name="T74" fmla="*/ 2147483647 w 59"/>
                    <a:gd name="T75" fmla="*/ 2147483647 h 41"/>
                    <a:gd name="T76" fmla="*/ 2147483647 w 59"/>
                    <a:gd name="T77" fmla="*/ 2147483647 h 41"/>
                    <a:gd name="T78" fmla="*/ 2147483647 w 59"/>
                    <a:gd name="T79" fmla="*/ 2147483647 h 41"/>
                    <a:gd name="T80" fmla="*/ 2147483647 w 59"/>
                    <a:gd name="T81" fmla="*/ 2147483647 h 41"/>
                    <a:gd name="T82" fmla="*/ 2147483647 w 59"/>
                    <a:gd name="T83" fmla="*/ 2147483647 h 41"/>
                    <a:gd name="T84" fmla="*/ 2147483647 w 59"/>
                    <a:gd name="T85" fmla="*/ 2147483647 h 4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9"/>
                    <a:gd name="T130" fmla="*/ 0 h 41"/>
                    <a:gd name="T131" fmla="*/ 59 w 59"/>
                    <a:gd name="T132" fmla="*/ 41 h 4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9" h="41">
                      <a:moveTo>
                        <a:pt x="44" y="13"/>
                      </a:moveTo>
                      <a:lnTo>
                        <a:pt x="37" y="10"/>
                      </a:lnTo>
                      <a:lnTo>
                        <a:pt x="32" y="7"/>
                      </a:lnTo>
                      <a:lnTo>
                        <a:pt x="23" y="6"/>
                      </a:lnTo>
                      <a:lnTo>
                        <a:pt x="20" y="5"/>
                      </a:lnTo>
                      <a:lnTo>
                        <a:pt x="14" y="2"/>
                      </a:lnTo>
                      <a:lnTo>
                        <a:pt x="12" y="0"/>
                      </a:lnTo>
                      <a:lnTo>
                        <a:pt x="7" y="1"/>
                      </a:lnTo>
                      <a:lnTo>
                        <a:pt x="4" y="2"/>
                      </a:lnTo>
                      <a:lnTo>
                        <a:pt x="2" y="5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2" y="19"/>
                      </a:lnTo>
                      <a:lnTo>
                        <a:pt x="6" y="21"/>
                      </a:lnTo>
                      <a:lnTo>
                        <a:pt x="8" y="25"/>
                      </a:lnTo>
                      <a:lnTo>
                        <a:pt x="9" y="28"/>
                      </a:lnTo>
                      <a:lnTo>
                        <a:pt x="9" y="31"/>
                      </a:lnTo>
                      <a:lnTo>
                        <a:pt x="11" y="34"/>
                      </a:lnTo>
                      <a:lnTo>
                        <a:pt x="13" y="38"/>
                      </a:lnTo>
                      <a:lnTo>
                        <a:pt x="17" y="39"/>
                      </a:lnTo>
                      <a:lnTo>
                        <a:pt x="21" y="40"/>
                      </a:lnTo>
                      <a:lnTo>
                        <a:pt x="25" y="41"/>
                      </a:lnTo>
                      <a:lnTo>
                        <a:pt x="30" y="41"/>
                      </a:lnTo>
                      <a:lnTo>
                        <a:pt x="34" y="40"/>
                      </a:lnTo>
                      <a:lnTo>
                        <a:pt x="37" y="38"/>
                      </a:lnTo>
                      <a:lnTo>
                        <a:pt x="39" y="38"/>
                      </a:lnTo>
                      <a:lnTo>
                        <a:pt x="40" y="38"/>
                      </a:lnTo>
                      <a:lnTo>
                        <a:pt x="44" y="40"/>
                      </a:lnTo>
                      <a:lnTo>
                        <a:pt x="45" y="40"/>
                      </a:lnTo>
                      <a:lnTo>
                        <a:pt x="46" y="38"/>
                      </a:lnTo>
                      <a:lnTo>
                        <a:pt x="47" y="35"/>
                      </a:lnTo>
                      <a:lnTo>
                        <a:pt x="53" y="33"/>
                      </a:lnTo>
                      <a:lnTo>
                        <a:pt x="56" y="32"/>
                      </a:lnTo>
                      <a:lnTo>
                        <a:pt x="58" y="31"/>
                      </a:lnTo>
                      <a:lnTo>
                        <a:pt x="59" y="28"/>
                      </a:lnTo>
                      <a:lnTo>
                        <a:pt x="59" y="25"/>
                      </a:lnTo>
                      <a:lnTo>
                        <a:pt x="56" y="21"/>
                      </a:lnTo>
                      <a:lnTo>
                        <a:pt x="55" y="16"/>
                      </a:lnTo>
                      <a:lnTo>
                        <a:pt x="56" y="13"/>
                      </a:lnTo>
                      <a:lnTo>
                        <a:pt x="53" y="12"/>
                      </a:lnTo>
                      <a:lnTo>
                        <a:pt x="47" y="13"/>
                      </a:lnTo>
                      <a:lnTo>
                        <a:pt x="46" y="14"/>
                      </a:lnTo>
                      <a:lnTo>
                        <a:pt x="44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932">
                  <a:extLst>
                    <a:ext uri="{FF2B5EF4-FFF2-40B4-BE49-F238E27FC236}">
                      <a16:creationId xmlns:a16="http://schemas.microsoft.com/office/drawing/2014/main" id="{5E3CA5B9-130E-2A4E-B656-3A484E45FD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4974" y="1848045"/>
                  <a:ext cx="153907" cy="109511"/>
                </a:xfrm>
                <a:custGeom>
                  <a:avLst/>
                  <a:gdLst>
                    <a:gd name="T0" fmla="*/ 2147483647 w 113"/>
                    <a:gd name="T1" fmla="*/ 2147483647 h 74"/>
                    <a:gd name="T2" fmla="*/ 2147483647 w 113"/>
                    <a:gd name="T3" fmla="*/ 2147483647 h 74"/>
                    <a:gd name="T4" fmla="*/ 2147483647 w 113"/>
                    <a:gd name="T5" fmla="*/ 2147483647 h 74"/>
                    <a:gd name="T6" fmla="*/ 2147483647 w 113"/>
                    <a:gd name="T7" fmla="*/ 2147483647 h 74"/>
                    <a:gd name="T8" fmla="*/ 2147483647 w 113"/>
                    <a:gd name="T9" fmla="*/ 0 h 74"/>
                    <a:gd name="T10" fmla="*/ 2147483647 w 113"/>
                    <a:gd name="T11" fmla="*/ 2147483647 h 74"/>
                    <a:gd name="T12" fmla="*/ 2147483647 w 113"/>
                    <a:gd name="T13" fmla="*/ 2147483647 h 74"/>
                    <a:gd name="T14" fmla="*/ 2147483647 w 113"/>
                    <a:gd name="T15" fmla="*/ 2147483647 h 74"/>
                    <a:gd name="T16" fmla="*/ 2147483647 w 113"/>
                    <a:gd name="T17" fmla="*/ 2147483647 h 74"/>
                    <a:gd name="T18" fmla="*/ 2147483647 w 113"/>
                    <a:gd name="T19" fmla="*/ 2147483647 h 74"/>
                    <a:gd name="T20" fmla="*/ 2147483647 w 113"/>
                    <a:gd name="T21" fmla="*/ 2147483647 h 74"/>
                    <a:gd name="T22" fmla="*/ 2147483647 w 113"/>
                    <a:gd name="T23" fmla="*/ 2147483647 h 74"/>
                    <a:gd name="T24" fmla="*/ 2147483647 w 113"/>
                    <a:gd name="T25" fmla="*/ 2147483647 h 74"/>
                    <a:gd name="T26" fmla="*/ 2147483647 w 113"/>
                    <a:gd name="T27" fmla="*/ 2147483647 h 74"/>
                    <a:gd name="T28" fmla="*/ 2147483647 w 113"/>
                    <a:gd name="T29" fmla="*/ 2147483647 h 74"/>
                    <a:gd name="T30" fmla="*/ 2147483647 w 113"/>
                    <a:gd name="T31" fmla="*/ 2147483647 h 74"/>
                    <a:gd name="T32" fmla="*/ 2147483647 w 113"/>
                    <a:gd name="T33" fmla="*/ 2147483647 h 74"/>
                    <a:gd name="T34" fmla="*/ 2147483647 w 113"/>
                    <a:gd name="T35" fmla="*/ 2147483647 h 74"/>
                    <a:gd name="T36" fmla="*/ 2147483647 w 113"/>
                    <a:gd name="T37" fmla="*/ 2147483647 h 74"/>
                    <a:gd name="T38" fmla="*/ 2147483647 w 113"/>
                    <a:gd name="T39" fmla="*/ 2147483647 h 74"/>
                    <a:gd name="T40" fmla="*/ 2147483647 w 113"/>
                    <a:gd name="T41" fmla="*/ 2147483647 h 74"/>
                    <a:gd name="T42" fmla="*/ 2147483647 w 113"/>
                    <a:gd name="T43" fmla="*/ 2147483647 h 74"/>
                    <a:gd name="T44" fmla="*/ 2147483647 w 113"/>
                    <a:gd name="T45" fmla="*/ 2147483647 h 74"/>
                    <a:gd name="T46" fmla="*/ 2147483647 w 113"/>
                    <a:gd name="T47" fmla="*/ 2147483647 h 74"/>
                    <a:gd name="T48" fmla="*/ 2147483647 w 113"/>
                    <a:gd name="T49" fmla="*/ 2147483647 h 74"/>
                    <a:gd name="T50" fmla="*/ 2147483647 w 113"/>
                    <a:gd name="T51" fmla="*/ 2147483647 h 74"/>
                    <a:gd name="T52" fmla="*/ 2147483647 w 113"/>
                    <a:gd name="T53" fmla="*/ 2147483647 h 74"/>
                    <a:gd name="T54" fmla="*/ 2147483647 w 113"/>
                    <a:gd name="T55" fmla="*/ 2147483647 h 74"/>
                    <a:gd name="T56" fmla="*/ 2147483647 w 113"/>
                    <a:gd name="T57" fmla="*/ 2147483647 h 74"/>
                    <a:gd name="T58" fmla="*/ 2147483647 w 113"/>
                    <a:gd name="T59" fmla="*/ 2147483647 h 74"/>
                    <a:gd name="T60" fmla="*/ 2147483647 w 113"/>
                    <a:gd name="T61" fmla="*/ 2147483647 h 74"/>
                    <a:gd name="T62" fmla="*/ 2147483647 w 113"/>
                    <a:gd name="T63" fmla="*/ 2147483647 h 74"/>
                    <a:gd name="T64" fmla="*/ 2147483647 w 113"/>
                    <a:gd name="T65" fmla="*/ 2147483647 h 74"/>
                    <a:gd name="T66" fmla="*/ 2147483647 w 113"/>
                    <a:gd name="T67" fmla="*/ 2147483647 h 74"/>
                    <a:gd name="T68" fmla="*/ 2147483647 w 113"/>
                    <a:gd name="T69" fmla="*/ 2147483647 h 74"/>
                    <a:gd name="T70" fmla="*/ 2147483647 w 113"/>
                    <a:gd name="T71" fmla="*/ 2147483647 h 74"/>
                    <a:gd name="T72" fmla="*/ 2147483647 w 113"/>
                    <a:gd name="T73" fmla="*/ 2147483647 h 74"/>
                    <a:gd name="T74" fmla="*/ 2147483647 w 113"/>
                    <a:gd name="T75" fmla="*/ 2147483647 h 74"/>
                    <a:gd name="T76" fmla="*/ 2147483647 w 113"/>
                    <a:gd name="T77" fmla="*/ 2147483647 h 74"/>
                    <a:gd name="T78" fmla="*/ 2147483647 w 113"/>
                    <a:gd name="T79" fmla="*/ 2147483647 h 74"/>
                    <a:gd name="T80" fmla="*/ 2147483647 w 113"/>
                    <a:gd name="T81" fmla="*/ 2147483647 h 74"/>
                    <a:gd name="T82" fmla="*/ 2147483647 w 113"/>
                    <a:gd name="T83" fmla="*/ 2147483647 h 74"/>
                    <a:gd name="T84" fmla="*/ 2147483647 w 113"/>
                    <a:gd name="T85" fmla="*/ 2147483647 h 74"/>
                    <a:gd name="T86" fmla="*/ 2147483647 w 113"/>
                    <a:gd name="T87" fmla="*/ 2147483647 h 74"/>
                    <a:gd name="T88" fmla="*/ 2147483647 w 113"/>
                    <a:gd name="T89" fmla="*/ 2147483647 h 74"/>
                    <a:gd name="T90" fmla="*/ 2147483647 w 113"/>
                    <a:gd name="T91" fmla="*/ 2147483647 h 74"/>
                    <a:gd name="T92" fmla="*/ 2147483647 w 113"/>
                    <a:gd name="T93" fmla="*/ 2147483647 h 74"/>
                    <a:gd name="T94" fmla="*/ 2147483647 w 113"/>
                    <a:gd name="T95" fmla="*/ 2147483647 h 74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13"/>
                    <a:gd name="T145" fmla="*/ 0 h 74"/>
                    <a:gd name="T146" fmla="*/ 113 w 113"/>
                    <a:gd name="T147" fmla="*/ 74 h 74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13" h="74">
                      <a:moveTo>
                        <a:pt x="47" y="17"/>
                      </a:moveTo>
                      <a:lnTo>
                        <a:pt x="44" y="17"/>
                      </a:lnTo>
                      <a:lnTo>
                        <a:pt x="42" y="17"/>
                      </a:lnTo>
                      <a:lnTo>
                        <a:pt x="37" y="15"/>
                      </a:lnTo>
                      <a:lnTo>
                        <a:pt x="32" y="13"/>
                      </a:lnTo>
                      <a:lnTo>
                        <a:pt x="27" y="10"/>
                      </a:lnTo>
                      <a:lnTo>
                        <a:pt x="20" y="7"/>
                      </a:lnTo>
                      <a:lnTo>
                        <a:pt x="15" y="2"/>
                      </a:lnTo>
                      <a:lnTo>
                        <a:pt x="13" y="1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8" y="4"/>
                      </a:lnTo>
                      <a:lnTo>
                        <a:pt x="8" y="5"/>
                      </a:lnTo>
                      <a:lnTo>
                        <a:pt x="4" y="8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4"/>
                      </a:lnTo>
                      <a:lnTo>
                        <a:pt x="1" y="19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6" y="27"/>
                      </a:lnTo>
                      <a:lnTo>
                        <a:pt x="10" y="28"/>
                      </a:lnTo>
                      <a:lnTo>
                        <a:pt x="22" y="27"/>
                      </a:lnTo>
                      <a:lnTo>
                        <a:pt x="20" y="32"/>
                      </a:lnTo>
                      <a:lnTo>
                        <a:pt x="22" y="33"/>
                      </a:lnTo>
                      <a:lnTo>
                        <a:pt x="23" y="35"/>
                      </a:lnTo>
                      <a:lnTo>
                        <a:pt x="23" y="36"/>
                      </a:lnTo>
                      <a:lnTo>
                        <a:pt x="22" y="38"/>
                      </a:lnTo>
                      <a:lnTo>
                        <a:pt x="18" y="36"/>
                      </a:lnTo>
                      <a:lnTo>
                        <a:pt x="13" y="36"/>
                      </a:lnTo>
                      <a:lnTo>
                        <a:pt x="11" y="36"/>
                      </a:lnTo>
                      <a:lnTo>
                        <a:pt x="10" y="38"/>
                      </a:lnTo>
                      <a:lnTo>
                        <a:pt x="10" y="40"/>
                      </a:lnTo>
                      <a:lnTo>
                        <a:pt x="10" y="42"/>
                      </a:lnTo>
                      <a:lnTo>
                        <a:pt x="14" y="46"/>
                      </a:lnTo>
                      <a:lnTo>
                        <a:pt x="18" y="49"/>
                      </a:lnTo>
                      <a:lnTo>
                        <a:pt x="22" y="52"/>
                      </a:lnTo>
                      <a:lnTo>
                        <a:pt x="23" y="52"/>
                      </a:lnTo>
                      <a:lnTo>
                        <a:pt x="25" y="52"/>
                      </a:lnTo>
                      <a:lnTo>
                        <a:pt x="30" y="48"/>
                      </a:lnTo>
                      <a:lnTo>
                        <a:pt x="35" y="47"/>
                      </a:lnTo>
                      <a:lnTo>
                        <a:pt x="41" y="46"/>
                      </a:lnTo>
                      <a:lnTo>
                        <a:pt x="43" y="47"/>
                      </a:lnTo>
                      <a:lnTo>
                        <a:pt x="46" y="49"/>
                      </a:lnTo>
                      <a:lnTo>
                        <a:pt x="47" y="48"/>
                      </a:lnTo>
                      <a:lnTo>
                        <a:pt x="48" y="47"/>
                      </a:lnTo>
                      <a:lnTo>
                        <a:pt x="49" y="48"/>
                      </a:lnTo>
                      <a:lnTo>
                        <a:pt x="52" y="51"/>
                      </a:lnTo>
                      <a:lnTo>
                        <a:pt x="56" y="52"/>
                      </a:lnTo>
                      <a:lnTo>
                        <a:pt x="62" y="49"/>
                      </a:lnTo>
                      <a:lnTo>
                        <a:pt x="65" y="49"/>
                      </a:lnTo>
                      <a:lnTo>
                        <a:pt x="67" y="51"/>
                      </a:lnTo>
                      <a:lnTo>
                        <a:pt x="70" y="52"/>
                      </a:lnTo>
                      <a:lnTo>
                        <a:pt x="71" y="55"/>
                      </a:lnTo>
                      <a:lnTo>
                        <a:pt x="74" y="66"/>
                      </a:lnTo>
                      <a:lnTo>
                        <a:pt x="76" y="67"/>
                      </a:lnTo>
                      <a:lnTo>
                        <a:pt x="81" y="66"/>
                      </a:lnTo>
                      <a:lnTo>
                        <a:pt x="85" y="65"/>
                      </a:lnTo>
                      <a:lnTo>
                        <a:pt x="89" y="64"/>
                      </a:lnTo>
                      <a:lnTo>
                        <a:pt x="93" y="65"/>
                      </a:lnTo>
                      <a:lnTo>
                        <a:pt x="99" y="72"/>
                      </a:lnTo>
                      <a:lnTo>
                        <a:pt x="104" y="74"/>
                      </a:lnTo>
                      <a:lnTo>
                        <a:pt x="107" y="74"/>
                      </a:lnTo>
                      <a:lnTo>
                        <a:pt x="109" y="73"/>
                      </a:lnTo>
                      <a:lnTo>
                        <a:pt x="112" y="71"/>
                      </a:lnTo>
                      <a:lnTo>
                        <a:pt x="113" y="70"/>
                      </a:lnTo>
                      <a:lnTo>
                        <a:pt x="112" y="68"/>
                      </a:lnTo>
                      <a:lnTo>
                        <a:pt x="107" y="67"/>
                      </a:lnTo>
                      <a:lnTo>
                        <a:pt x="104" y="65"/>
                      </a:lnTo>
                      <a:lnTo>
                        <a:pt x="103" y="61"/>
                      </a:lnTo>
                      <a:lnTo>
                        <a:pt x="102" y="58"/>
                      </a:lnTo>
                      <a:lnTo>
                        <a:pt x="103" y="49"/>
                      </a:lnTo>
                      <a:lnTo>
                        <a:pt x="103" y="46"/>
                      </a:lnTo>
                      <a:lnTo>
                        <a:pt x="103" y="42"/>
                      </a:lnTo>
                      <a:lnTo>
                        <a:pt x="100" y="39"/>
                      </a:lnTo>
                      <a:lnTo>
                        <a:pt x="96" y="36"/>
                      </a:lnTo>
                      <a:lnTo>
                        <a:pt x="93" y="34"/>
                      </a:lnTo>
                      <a:lnTo>
                        <a:pt x="89" y="30"/>
                      </a:lnTo>
                      <a:lnTo>
                        <a:pt x="88" y="29"/>
                      </a:lnTo>
                      <a:lnTo>
                        <a:pt x="85" y="29"/>
                      </a:lnTo>
                      <a:lnTo>
                        <a:pt x="81" y="32"/>
                      </a:lnTo>
                      <a:lnTo>
                        <a:pt x="77" y="32"/>
                      </a:lnTo>
                      <a:lnTo>
                        <a:pt x="75" y="30"/>
                      </a:lnTo>
                      <a:lnTo>
                        <a:pt x="71" y="27"/>
                      </a:lnTo>
                      <a:lnTo>
                        <a:pt x="70" y="27"/>
                      </a:lnTo>
                      <a:lnTo>
                        <a:pt x="69" y="28"/>
                      </a:lnTo>
                      <a:lnTo>
                        <a:pt x="67" y="29"/>
                      </a:lnTo>
                      <a:lnTo>
                        <a:pt x="65" y="29"/>
                      </a:lnTo>
                      <a:lnTo>
                        <a:pt x="62" y="27"/>
                      </a:lnTo>
                      <a:lnTo>
                        <a:pt x="61" y="24"/>
                      </a:lnTo>
                      <a:lnTo>
                        <a:pt x="58" y="19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1" y="16"/>
                      </a:lnTo>
                      <a:lnTo>
                        <a:pt x="44" y="17"/>
                      </a:lnTo>
                      <a:lnTo>
                        <a:pt x="47" y="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933">
                  <a:extLst>
                    <a:ext uri="{FF2B5EF4-FFF2-40B4-BE49-F238E27FC236}">
                      <a16:creationId xmlns:a16="http://schemas.microsoft.com/office/drawing/2014/main" id="{931FB601-317A-7E45-9267-B131E06165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365" y="1895402"/>
                  <a:ext cx="79913" cy="60674"/>
                </a:xfrm>
                <a:custGeom>
                  <a:avLst/>
                  <a:gdLst>
                    <a:gd name="T0" fmla="*/ 2147483647 w 59"/>
                    <a:gd name="T1" fmla="*/ 2147483647 h 41"/>
                    <a:gd name="T2" fmla="*/ 2147483647 w 59"/>
                    <a:gd name="T3" fmla="*/ 2147483647 h 41"/>
                    <a:gd name="T4" fmla="*/ 2147483647 w 59"/>
                    <a:gd name="T5" fmla="*/ 2147483647 h 41"/>
                    <a:gd name="T6" fmla="*/ 2147483647 w 59"/>
                    <a:gd name="T7" fmla="*/ 2147483647 h 41"/>
                    <a:gd name="T8" fmla="*/ 2147483647 w 59"/>
                    <a:gd name="T9" fmla="*/ 2147483647 h 41"/>
                    <a:gd name="T10" fmla="*/ 2147483647 w 59"/>
                    <a:gd name="T11" fmla="*/ 2147483647 h 41"/>
                    <a:gd name="T12" fmla="*/ 2147483647 w 59"/>
                    <a:gd name="T13" fmla="*/ 2147483647 h 41"/>
                    <a:gd name="T14" fmla="*/ 2147483647 w 59"/>
                    <a:gd name="T15" fmla="*/ 2147483647 h 41"/>
                    <a:gd name="T16" fmla="*/ 2147483647 w 59"/>
                    <a:gd name="T17" fmla="*/ 2147483647 h 41"/>
                    <a:gd name="T18" fmla="*/ 2147483647 w 59"/>
                    <a:gd name="T19" fmla="*/ 0 h 41"/>
                    <a:gd name="T20" fmla="*/ 2147483647 w 59"/>
                    <a:gd name="T21" fmla="*/ 2147483647 h 41"/>
                    <a:gd name="T22" fmla="*/ 2147483647 w 59"/>
                    <a:gd name="T23" fmla="*/ 2147483647 h 41"/>
                    <a:gd name="T24" fmla="*/ 2147483647 w 59"/>
                    <a:gd name="T25" fmla="*/ 2147483647 h 41"/>
                    <a:gd name="T26" fmla="*/ 2147483647 w 59"/>
                    <a:gd name="T27" fmla="*/ 2147483647 h 41"/>
                    <a:gd name="T28" fmla="*/ 0 w 59"/>
                    <a:gd name="T29" fmla="*/ 2147483647 h 41"/>
                    <a:gd name="T30" fmla="*/ 0 w 59"/>
                    <a:gd name="T31" fmla="*/ 2147483647 h 41"/>
                    <a:gd name="T32" fmla="*/ 2147483647 w 59"/>
                    <a:gd name="T33" fmla="*/ 2147483647 h 41"/>
                    <a:gd name="T34" fmla="*/ 2147483647 w 59"/>
                    <a:gd name="T35" fmla="*/ 2147483647 h 41"/>
                    <a:gd name="T36" fmla="*/ 2147483647 w 59"/>
                    <a:gd name="T37" fmla="*/ 2147483647 h 41"/>
                    <a:gd name="T38" fmla="*/ 2147483647 w 59"/>
                    <a:gd name="T39" fmla="*/ 2147483647 h 41"/>
                    <a:gd name="T40" fmla="*/ 2147483647 w 59"/>
                    <a:gd name="T41" fmla="*/ 2147483647 h 41"/>
                    <a:gd name="T42" fmla="*/ 2147483647 w 59"/>
                    <a:gd name="T43" fmla="*/ 2147483647 h 41"/>
                    <a:gd name="T44" fmla="*/ 2147483647 w 59"/>
                    <a:gd name="T45" fmla="*/ 2147483647 h 41"/>
                    <a:gd name="T46" fmla="*/ 2147483647 w 59"/>
                    <a:gd name="T47" fmla="*/ 2147483647 h 41"/>
                    <a:gd name="T48" fmla="*/ 2147483647 w 59"/>
                    <a:gd name="T49" fmla="*/ 2147483647 h 41"/>
                    <a:gd name="T50" fmla="*/ 2147483647 w 59"/>
                    <a:gd name="T51" fmla="*/ 2147483647 h 41"/>
                    <a:gd name="T52" fmla="*/ 2147483647 w 59"/>
                    <a:gd name="T53" fmla="*/ 2147483647 h 41"/>
                    <a:gd name="T54" fmla="*/ 2147483647 w 59"/>
                    <a:gd name="T55" fmla="*/ 2147483647 h 41"/>
                    <a:gd name="T56" fmla="*/ 2147483647 w 59"/>
                    <a:gd name="T57" fmla="*/ 2147483647 h 41"/>
                    <a:gd name="T58" fmla="*/ 2147483647 w 59"/>
                    <a:gd name="T59" fmla="*/ 2147483647 h 41"/>
                    <a:gd name="T60" fmla="*/ 2147483647 w 59"/>
                    <a:gd name="T61" fmla="*/ 2147483647 h 41"/>
                    <a:gd name="T62" fmla="*/ 2147483647 w 59"/>
                    <a:gd name="T63" fmla="*/ 2147483647 h 41"/>
                    <a:gd name="T64" fmla="*/ 2147483647 w 59"/>
                    <a:gd name="T65" fmla="*/ 2147483647 h 41"/>
                    <a:gd name="T66" fmla="*/ 2147483647 w 59"/>
                    <a:gd name="T67" fmla="*/ 2147483647 h 41"/>
                    <a:gd name="T68" fmla="*/ 2147483647 w 59"/>
                    <a:gd name="T69" fmla="*/ 2147483647 h 41"/>
                    <a:gd name="T70" fmla="*/ 2147483647 w 59"/>
                    <a:gd name="T71" fmla="*/ 2147483647 h 41"/>
                    <a:gd name="T72" fmla="*/ 2147483647 w 59"/>
                    <a:gd name="T73" fmla="*/ 2147483647 h 41"/>
                    <a:gd name="T74" fmla="*/ 2147483647 w 59"/>
                    <a:gd name="T75" fmla="*/ 2147483647 h 41"/>
                    <a:gd name="T76" fmla="*/ 2147483647 w 59"/>
                    <a:gd name="T77" fmla="*/ 2147483647 h 41"/>
                    <a:gd name="T78" fmla="*/ 2147483647 w 59"/>
                    <a:gd name="T79" fmla="*/ 2147483647 h 41"/>
                    <a:gd name="T80" fmla="*/ 2147483647 w 59"/>
                    <a:gd name="T81" fmla="*/ 2147483647 h 41"/>
                    <a:gd name="T82" fmla="*/ 2147483647 w 59"/>
                    <a:gd name="T83" fmla="*/ 2147483647 h 41"/>
                    <a:gd name="T84" fmla="*/ 2147483647 w 59"/>
                    <a:gd name="T85" fmla="*/ 2147483647 h 41"/>
                    <a:gd name="T86" fmla="*/ 2147483647 w 59"/>
                    <a:gd name="T87" fmla="*/ 2147483647 h 41"/>
                    <a:gd name="T88" fmla="*/ 2147483647 w 59"/>
                    <a:gd name="T89" fmla="*/ 2147483647 h 41"/>
                    <a:gd name="T90" fmla="*/ 2147483647 w 59"/>
                    <a:gd name="T91" fmla="*/ 2147483647 h 41"/>
                    <a:gd name="T92" fmla="*/ 2147483647 w 59"/>
                    <a:gd name="T93" fmla="*/ 2147483647 h 41"/>
                    <a:gd name="T94" fmla="*/ 2147483647 w 59"/>
                    <a:gd name="T95" fmla="*/ 2147483647 h 41"/>
                    <a:gd name="T96" fmla="*/ 2147483647 w 59"/>
                    <a:gd name="T97" fmla="*/ 2147483647 h 41"/>
                    <a:gd name="T98" fmla="*/ 2147483647 w 59"/>
                    <a:gd name="T99" fmla="*/ 2147483647 h 41"/>
                    <a:gd name="T100" fmla="*/ 2147483647 w 59"/>
                    <a:gd name="T101" fmla="*/ 2147483647 h 41"/>
                    <a:gd name="T102" fmla="*/ 2147483647 w 59"/>
                    <a:gd name="T103" fmla="*/ 2147483647 h 41"/>
                    <a:gd name="T104" fmla="*/ 2147483647 w 59"/>
                    <a:gd name="T105" fmla="*/ 2147483647 h 41"/>
                    <a:gd name="T106" fmla="*/ 2147483647 w 59"/>
                    <a:gd name="T107" fmla="*/ 2147483647 h 41"/>
                    <a:gd name="T108" fmla="*/ 2147483647 w 59"/>
                    <a:gd name="T109" fmla="*/ 2147483647 h 41"/>
                    <a:gd name="T110" fmla="*/ 2147483647 w 59"/>
                    <a:gd name="T111" fmla="*/ 2147483647 h 41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59"/>
                    <a:gd name="T169" fmla="*/ 0 h 41"/>
                    <a:gd name="T170" fmla="*/ 59 w 59"/>
                    <a:gd name="T171" fmla="*/ 41 h 41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59" h="41">
                      <a:moveTo>
                        <a:pt x="43" y="13"/>
                      </a:moveTo>
                      <a:lnTo>
                        <a:pt x="43" y="13"/>
                      </a:lnTo>
                      <a:lnTo>
                        <a:pt x="37" y="10"/>
                      </a:lnTo>
                      <a:lnTo>
                        <a:pt x="32" y="7"/>
                      </a:lnTo>
                      <a:lnTo>
                        <a:pt x="23" y="6"/>
                      </a:lnTo>
                      <a:lnTo>
                        <a:pt x="19" y="4"/>
                      </a:lnTo>
                      <a:lnTo>
                        <a:pt x="14" y="2"/>
                      </a:lnTo>
                      <a:lnTo>
                        <a:pt x="12" y="0"/>
                      </a:lnTo>
                      <a:lnTo>
                        <a:pt x="7" y="1"/>
                      </a:lnTo>
                      <a:lnTo>
                        <a:pt x="4" y="2"/>
                      </a:lnTo>
                      <a:lnTo>
                        <a:pt x="1" y="4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1" y="19"/>
                      </a:lnTo>
                      <a:lnTo>
                        <a:pt x="5" y="21"/>
                      </a:lnTo>
                      <a:lnTo>
                        <a:pt x="8" y="24"/>
                      </a:lnTo>
                      <a:lnTo>
                        <a:pt x="9" y="28"/>
                      </a:lnTo>
                      <a:lnTo>
                        <a:pt x="9" y="30"/>
                      </a:lnTo>
                      <a:lnTo>
                        <a:pt x="10" y="34"/>
                      </a:lnTo>
                      <a:lnTo>
                        <a:pt x="13" y="38"/>
                      </a:lnTo>
                      <a:lnTo>
                        <a:pt x="17" y="39"/>
                      </a:lnTo>
                      <a:lnTo>
                        <a:pt x="21" y="40"/>
                      </a:lnTo>
                      <a:lnTo>
                        <a:pt x="24" y="41"/>
                      </a:lnTo>
                      <a:lnTo>
                        <a:pt x="29" y="41"/>
                      </a:lnTo>
                      <a:lnTo>
                        <a:pt x="33" y="40"/>
                      </a:lnTo>
                      <a:lnTo>
                        <a:pt x="37" y="38"/>
                      </a:lnTo>
                      <a:lnTo>
                        <a:pt x="38" y="38"/>
                      </a:lnTo>
                      <a:lnTo>
                        <a:pt x="40" y="38"/>
                      </a:lnTo>
                      <a:lnTo>
                        <a:pt x="43" y="40"/>
                      </a:lnTo>
                      <a:lnTo>
                        <a:pt x="45" y="40"/>
                      </a:lnTo>
                      <a:lnTo>
                        <a:pt x="46" y="38"/>
                      </a:lnTo>
                      <a:lnTo>
                        <a:pt x="47" y="35"/>
                      </a:lnTo>
                      <a:lnTo>
                        <a:pt x="52" y="33"/>
                      </a:lnTo>
                      <a:lnTo>
                        <a:pt x="56" y="32"/>
                      </a:lnTo>
                      <a:lnTo>
                        <a:pt x="57" y="30"/>
                      </a:lnTo>
                      <a:lnTo>
                        <a:pt x="59" y="28"/>
                      </a:lnTo>
                      <a:lnTo>
                        <a:pt x="59" y="24"/>
                      </a:lnTo>
                      <a:lnTo>
                        <a:pt x="56" y="21"/>
                      </a:lnTo>
                      <a:lnTo>
                        <a:pt x="55" y="16"/>
                      </a:lnTo>
                      <a:lnTo>
                        <a:pt x="56" y="13"/>
                      </a:lnTo>
                      <a:lnTo>
                        <a:pt x="52" y="11"/>
                      </a:lnTo>
                      <a:lnTo>
                        <a:pt x="47" y="13"/>
                      </a:lnTo>
                      <a:lnTo>
                        <a:pt x="46" y="14"/>
                      </a:lnTo>
                      <a:lnTo>
                        <a:pt x="43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0" name="Freeform 934">
                  <a:extLst>
                    <a:ext uri="{FF2B5EF4-FFF2-40B4-BE49-F238E27FC236}">
                      <a16:creationId xmlns:a16="http://schemas.microsoft.com/office/drawing/2014/main" id="{3F64637C-BB39-7F4B-8372-8A89F050F6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3495" y="1845082"/>
                  <a:ext cx="153907" cy="110990"/>
                </a:xfrm>
                <a:custGeom>
                  <a:avLst/>
                  <a:gdLst>
                    <a:gd name="T0" fmla="*/ 2147483647 w 113"/>
                    <a:gd name="T1" fmla="*/ 2147483647 h 75"/>
                    <a:gd name="T2" fmla="*/ 2147483647 w 113"/>
                    <a:gd name="T3" fmla="*/ 2147483647 h 75"/>
                    <a:gd name="T4" fmla="*/ 2147483647 w 113"/>
                    <a:gd name="T5" fmla="*/ 2147483647 h 75"/>
                    <a:gd name="T6" fmla="*/ 2147483647 w 113"/>
                    <a:gd name="T7" fmla="*/ 2147483647 h 75"/>
                    <a:gd name="T8" fmla="*/ 2147483647 w 113"/>
                    <a:gd name="T9" fmla="*/ 2147483647 h 75"/>
                    <a:gd name="T10" fmla="*/ 2147483647 w 113"/>
                    <a:gd name="T11" fmla="*/ 2147483647 h 75"/>
                    <a:gd name="T12" fmla="*/ 2147483647 w 113"/>
                    <a:gd name="T13" fmla="*/ 2147483647 h 75"/>
                    <a:gd name="T14" fmla="*/ 2147483647 w 113"/>
                    <a:gd name="T15" fmla="*/ 2147483647 h 75"/>
                    <a:gd name="T16" fmla="*/ 2147483647 w 113"/>
                    <a:gd name="T17" fmla="*/ 2147483647 h 75"/>
                    <a:gd name="T18" fmla="*/ 2147483647 w 113"/>
                    <a:gd name="T19" fmla="*/ 2147483647 h 75"/>
                    <a:gd name="T20" fmla="*/ 0 w 113"/>
                    <a:gd name="T21" fmla="*/ 2147483647 h 75"/>
                    <a:gd name="T22" fmla="*/ 2147483647 w 113"/>
                    <a:gd name="T23" fmla="*/ 2147483647 h 75"/>
                    <a:gd name="T24" fmla="*/ 2147483647 w 113"/>
                    <a:gd name="T25" fmla="*/ 2147483647 h 75"/>
                    <a:gd name="T26" fmla="*/ 2147483647 w 113"/>
                    <a:gd name="T27" fmla="*/ 2147483647 h 75"/>
                    <a:gd name="T28" fmla="*/ 2147483647 w 113"/>
                    <a:gd name="T29" fmla="*/ 2147483647 h 75"/>
                    <a:gd name="T30" fmla="*/ 2147483647 w 113"/>
                    <a:gd name="T31" fmla="*/ 2147483647 h 75"/>
                    <a:gd name="T32" fmla="*/ 2147483647 w 113"/>
                    <a:gd name="T33" fmla="*/ 2147483647 h 75"/>
                    <a:gd name="T34" fmla="*/ 2147483647 w 113"/>
                    <a:gd name="T35" fmla="*/ 2147483647 h 75"/>
                    <a:gd name="T36" fmla="*/ 2147483647 w 113"/>
                    <a:gd name="T37" fmla="*/ 2147483647 h 75"/>
                    <a:gd name="T38" fmla="*/ 2147483647 w 113"/>
                    <a:gd name="T39" fmla="*/ 2147483647 h 75"/>
                    <a:gd name="T40" fmla="*/ 2147483647 w 113"/>
                    <a:gd name="T41" fmla="*/ 2147483647 h 75"/>
                    <a:gd name="T42" fmla="*/ 2147483647 w 113"/>
                    <a:gd name="T43" fmla="*/ 2147483647 h 75"/>
                    <a:gd name="T44" fmla="*/ 2147483647 w 113"/>
                    <a:gd name="T45" fmla="*/ 2147483647 h 75"/>
                    <a:gd name="T46" fmla="*/ 2147483647 w 113"/>
                    <a:gd name="T47" fmla="*/ 2147483647 h 75"/>
                    <a:gd name="T48" fmla="*/ 2147483647 w 113"/>
                    <a:gd name="T49" fmla="*/ 2147483647 h 75"/>
                    <a:gd name="T50" fmla="*/ 2147483647 w 113"/>
                    <a:gd name="T51" fmla="*/ 2147483647 h 75"/>
                    <a:gd name="T52" fmla="*/ 2147483647 w 113"/>
                    <a:gd name="T53" fmla="*/ 2147483647 h 75"/>
                    <a:gd name="T54" fmla="*/ 2147483647 w 113"/>
                    <a:gd name="T55" fmla="*/ 2147483647 h 75"/>
                    <a:gd name="T56" fmla="*/ 2147483647 w 113"/>
                    <a:gd name="T57" fmla="*/ 2147483647 h 75"/>
                    <a:gd name="T58" fmla="*/ 2147483647 w 113"/>
                    <a:gd name="T59" fmla="*/ 2147483647 h 75"/>
                    <a:gd name="T60" fmla="*/ 2147483647 w 113"/>
                    <a:gd name="T61" fmla="*/ 2147483647 h 75"/>
                    <a:gd name="T62" fmla="*/ 2147483647 w 113"/>
                    <a:gd name="T63" fmla="*/ 2147483647 h 75"/>
                    <a:gd name="T64" fmla="*/ 2147483647 w 113"/>
                    <a:gd name="T65" fmla="*/ 2147483647 h 75"/>
                    <a:gd name="T66" fmla="*/ 2147483647 w 113"/>
                    <a:gd name="T67" fmla="*/ 2147483647 h 75"/>
                    <a:gd name="T68" fmla="*/ 2147483647 w 113"/>
                    <a:gd name="T69" fmla="*/ 2147483647 h 75"/>
                    <a:gd name="T70" fmla="*/ 2147483647 w 113"/>
                    <a:gd name="T71" fmla="*/ 2147483647 h 75"/>
                    <a:gd name="T72" fmla="*/ 2147483647 w 113"/>
                    <a:gd name="T73" fmla="*/ 2147483647 h 75"/>
                    <a:gd name="T74" fmla="*/ 2147483647 w 113"/>
                    <a:gd name="T75" fmla="*/ 2147483647 h 75"/>
                    <a:gd name="T76" fmla="*/ 2147483647 w 113"/>
                    <a:gd name="T77" fmla="*/ 2147483647 h 75"/>
                    <a:gd name="T78" fmla="*/ 2147483647 w 113"/>
                    <a:gd name="T79" fmla="*/ 2147483647 h 75"/>
                    <a:gd name="T80" fmla="*/ 2147483647 w 113"/>
                    <a:gd name="T81" fmla="*/ 2147483647 h 75"/>
                    <a:gd name="T82" fmla="*/ 2147483647 w 113"/>
                    <a:gd name="T83" fmla="*/ 2147483647 h 75"/>
                    <a:gd name="T84" fmla="*/ 2147483647 w 113"/>
                    <a:gd name="T85" fmla="*/ 2147483647 h 75"/>
                    <a:gd name="T86" fmla="*/ 2147483647 w 113"/>
                    <a:gd name="T87" fmla="*/ 2147483647 h 75"/>
                    <a:gd name="T88" fmla="*/ 2147483647 w 113"/>
                    <a:gd name="T89" fmla="*/ 2147483647 h 75"/>
                    <a:gd name="T90" fmla="*/ 2147483647 w 113"/>
                    <a:gd name="T91" fmla="*/ 2147483647 h 75"/>
                    <a:gd name="T92" fmla="*/ 2147483647 w 113"/>
                    <a:gd name="T93" fmla="*/ 2147483647 h 75"/>
                    <a:gd name="T94" fmla="*/ 2147483647 w 113"/>
                    <a:gd name="T95" fmla="*/ 2147483647 h 75"/>
                    <a:gd name="T96" fmla="*/ 2147483647 w 113"/>
                    <a:gd name="T97" fmla="*/ 2147483647 h 75"/>
                    <a:gd name="T98" fmla="*/ 2147483647 w 113"/>
                    <a:gd name="T99" fmla="*/ 2147483647 h 75"/>
                    <a:gd name="T100" fmla="*/ 2147483647 w 113"/>
                    <a:gd name="T101" fmla="*/ 2147483647 h 75"/>
                    <a:gd name="T102" fmla="*/ 2147483647 w 113"/>
                    <a:gd name="T103" fmla="*/ 2147483647 h 75"/>
                    <a:gd name="T104" fmla="*/ 2147483647 w 113"/>
                    <a:gd name="T105" fmla="*/ 2147483647 h 75"/>
                    <a:gd name="T106" fmla="*/ 2147483647 w 113"/>
                    <a:gd name="T107" fmla="*/ 2147483647 h 75"/>
                    <a:gd name="T108" fmla="*/ 2147483647 w 113"/>
                    <a:gd name="T109" fmla="*/ 2147483647 h 75"/>
                    <a:gd name="T110" fmla="*/ 2147483647 w 113"/>
                    <a:gd name="T111" fmla="*/ 2147483647 h 75"/>
                    <a:gd name="T112" fmla="*/ 2147483647 w 113"/>
                    <a:gd name="T113" fmla="*/ 2147483647 h 75"/>
                    <a:gd name="T114" fmla="*/ 2147483647 w 113"/>
                    <a:gd name="T115" fmla="*/ 2147483647 h 75"/>
                    <a:gd name="T116" fmla="*/ 2147483647 w 113"/>
                    <a:gd name="T117" fmla="*/ 2147483647 h 75"/>
                    <a:gd name="T118" fmla="*/ 2147483647 w 113"/>
                    <a:gd name="T119" fmla="*/ 2147483647 h 75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13"/>
                    <a:gd name="T181" fmla="*/ 0 h 75"/>
                    <a:gd name="T182" fmla="*/ 113 w 113"/>
                    <a:gd name="T183" fmla="*/ 75 h 75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13" h="75">
                      <a:moveTo>
                        <a:pt x="47" y="18"/>
                      </a:moveTo>
                      <a:lnTo>
                        <a:pt x="47" y="18"/>
                      </a:lnTo>
                      <a:lnTo>
                        <a:pt x="44" y="18"/>
                      </a:lnTo>
                      <a:lnTo>
                        <a:pt x="42" y="18"/>
                      </a:lnTo>
                      <a:lnTo>
                        <a:pt x="36" y="16"/>
                      </a:lnTo>
                      <a:lnTo>
                        <a:pt x="31" y="13"/>
                      </a:lnTo>
                      <a:lnTo>
                        <a:pt x="26" y="11"/>
                      </a:lnTo>
                      <a:lnTo>
                        <a:pt x="20" y="7"/>
                      </a:lnTo>
                      <a:lnTo>
                        <a:pt x="15" y="3"/>
                      </a:lnTo>
                      <a:lnTo>
                        <a:pt x="12" y="2"/>
                      </a:lnTo>
                      <a:lnTo>
                        <a:pt x="10" y="0"/>
                      </a:lnTo>
                      <a:lnTo>
                        <a:pt x="9" y="2"/>
                      </a:lnTo>
                      <a:lnTo>
                        <a:pt x="7" y="5"/>
                      </a:lnTo>
                      <a:lnTo>
                        <a:pt x="7" y="6"/>
                      </a:lnTo>
                      <a:lnTo>
                        <a:pt x="3" y="9"/>
                      </a:lnTo>
                      <a:lnTo>
                        <a:pt x="2" y="10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1" y="19"/>
                      </a:lnTo>
                      <a:lnTo>
                        <a:pt x="2" y="25"/>
                      </a:lnTo>
                      <a:lnTo>
                        <a:pt x="3" y="26"/>
                      </a:lnTo>
                      <a:lnTo>
                        <a:pt x="6" y="28"/>
                      </a:lnTo>
                      <a:lnTo>
                        <a:pt x="10" y="29"/>
                      </a:lnTo>
                      <a:lnTo>
                        <a:pt x="21" y="28"/>
                      </a:lnTo>
                      <a:lnTo>
                        <a:pt x="20" y="32"/>
                      </a:lnTo>
                      <a:lnTo>
                        <a:pt x="21" y="34"/>
                      </a:lnTo>
                      <a:lnTo>
                        <a:pt x="23" y="36"/>
                      </a:lnTo>
                      <a:lnTo>
                        <a:pt x="23" y="37"/>
                      </a:lnTo>
                      <a:lnTo>
                        <a:pt x="21" y="38"/>
                      </a:lnTo>
                      <a:lnTo>
                        <a:pt x="17" y="37"/>
                      </a:lnTo>
                      <a:lnTo>
                        <a:pt x="12" y="37"/>
                      </a:lnTo>
                      <a:lnTo>
                        <a:pt x="11" y="37"/>
                      </a:lnTo>
                      <a:lnTo>
                        <a:pt x="10" y="38"/>
                      </a:lnTo>
                      <a:lnTo>
                        <a:pt x="10" y="41"/>
                      </a:lnTo>
                      <a:lnTo>
                        <a:pt x="10" y="43"/>
                      </a:lnTo>
                      <a:lnTo>
                        <a:pt x="14" y="47"/>
                      </a:lnTo>
                      <a:lnTo>
                        <a:pt x="17" y="50"/>
                      </a:lnTo>
                      <a:lnTo>
                        <a:pt x="21" y="53"/>
                      </a:lnTo>
                      <a:lnTo>
                        <a:pt x="23" y="53"/>
                      </a:lnTo>
                      <a:lnTo>
                        <a:pt x="25" y="53"/>
                      </a:lnTo>
                      <a:lnTo>
                        <a:pt x="30" y="49"/>
                      </a:lnTo>
                      <a:lnTo>
                        <a:pt x="35" y="48"/>
                      </a:lnTo>
                      <a:lnTo>
                        <a:pt x="40" y="47"/>
                      </a:lnTo>
                      <a:lnTo>
                        <a:pt x="43" y="48"/>
                      </a:lnTo>
                      <a:lnTo>
                        <a:pt x="45" y="50"/>
                      </a:lnTo>
                      <a:lnTo>
                        <a:pt x="47" y="49"/>
                      </a:lnTo>
                      <a:lnTo>
                        <a:pt x="48" y="48"/>
                      </a:lnTo>
                      <a:lnTo>
                        <a:pt x="49" y="49"/>
                      </a:lnTo>
                      <a:lnTo>
                        <a:pt x="52" y="51"/>
                      </a:lnTo>
                      <a:lnTo>
                        <a:pt x="56" y="53"/>
                      </a:lnTo>
                      <a:lnTo>
                        <a:pt x="62" y="50"/>
                      </a:lnTo>
                      <a:lnTo>
                        <a:pt x="64" y="50"/>
                      </a:lnTo>
                      <a:lnTo>
                        <a:pt x="67" y="51"/>
                      </a:lnTo>
                      <a:lnTo>
                        <a:pt x="70" y="53"/>
                      </a:lnTo>
                      <a:lnTo>
                        <a:pt x="71" y="56"/>
                      </a:lnTo>
                      <a:lnTo>
                        <a:pt x="73" y="67"/>
                      </a:lnTo>
                      <a:lnTo>
                        <a:pt x="76" y="68"/>
                      </a:lnTo>
                      <a:lnTo>
                        <a:pt x="81" y="67"/>
                      </a:lnTo>
                      <a:lnTo>
                        <a:pt x="85" y="66"/>
                      </a:lnTo>
                      <a:lnTo>
                        <a:pt x="89" y="64"/>
                      </a:lnTo>
                      <a:lnTo>
                        <a:pt x="92" y="66"/>
                      </a:lnTo>
                      <a:lnTo>
                        <a:pt x="99" y="73"/>
                      </a:lnTo>
                      <a:lnTo>
                        <a:pt x="104" y="75"/>
                      </a:lnTo>
                      <a:lnTo>
                        <a:pt x="106" y="75"/>
                      </a:lnTo>
                      <a:lnTo>
                        <a:pt x="109" y="74"/>
                      </a:lnTo>
                      <a:lnTo>
                        <a:pt x="111" y="72"/>
                      </a:lnTo>
                      <a:lnTo>
                        <a:pt x="113" y="70"/>
                      </a:lnTo>
                      <a:lnTo>
                        <a:pt x="111" y="69"/>
                      </a:lnTo>
                      <a:lnTo>
                        <a:pt x="106" y="68"/>
                      </a:lnTo>
                      <a:lnTo>
                        <a:pt x="104" y="66"/>
                      </a:lnTo>
                      <a:lnTo>
                        <a:pt x="103" y="62"/>
                      </a:lnTo>
                      <a:lnTo>
                        <a:pt x="101" y="58"/>
                      </a:lnTo>
                      <a:lnTo>
                        <a:pt x="103" y="50"/>
                      </a:lnTo>
                      <a:lnTo>
                        <a:pt x="103" y="47"/>
                      </a:lnTo>
                      <a:lnTo>
                        <a:pt x="103" y="43"/>
                      </a:lnTo>
                      <a:lnTo>
                        <a:pt x="100" y="40"/>
                      </a:lnTo>
                      <a:lnTo>
                        <a:pt x="96" y="37"/>
                      </a:lnTo>
                      <a:lnTo>
                        <a:pt x="92" y="35"/>
                      </a:lnTo>
                      <a:lnTo>
                        <a:pt x="89" y="31"/>
                      </a:lnTo>
                      <a:lnTo>
                        <a:pt x="87" y="30"/>
                      </a:lnTo>
                      <a:lnTo>
                        <a:pt x="85" y="30"/>
                      </a:lnTo>
                      <a:lnTo>
                        <a:pt x="81" y="32"/>
                      </a:lnTo>
                      <a:lnTo>
                        <a:pt x="77" y="32"/>
                      </a:lnTo>
                      <a:lnTo>
                        <a:pt x="75" y="31"/>
                      </a:lnTo>
                      <a:lnTo>
                        <a:pt x="71" y="28"/>
                      </a:lnTo>
                      <a:lnTo>
                        <a:pt x="70" y="28"/>
                      </a:lnTo>
                      <a:lnTo>
                        <a:pt x="68" y="29"/>
                      </a:lnTo>
                      <a:lnTo>
                        <a:pt x="67" y="30"/>
                      </a:lnTo>
                      <a:lnTo>
                        <a:pt x="64" y="30"/>
                      </a:lnTo>
                      <a:lnTo>
                        <a:pt x="62" y="28"/>
                      </a:lnTo>
                      <a:lnTo>
                        <a:pt x="61" y="25"/>
                      </a:lnTo>
                      <a:lnTo>
                        <a:pt x="58" y="19"/>
                      </a:lnTo>
                      <a:lnTo>
                        <a:pt x="57" y="18"/>
                      </a:lnTo>
                      <a:lnTo>
                        <a:pt x="54" y="17"/>
                      </a:lnTo>
                      <a:lnTo>
                        <a:pt x="50" y="17"/>
                      </a:lnTo>
                      <a:lnTo>
                        <a:pt x="44" y="18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935">
                  <a:extLst>
                    <a:ext uri="{FF2B5EF4-FFF2-40B4-BE49-F238E27FC236}">
                      <a16:creationId xmlns:a16="http://schemas.microsoft.com/office/drawing/2014/main" id="{5CDFE866-C87C-AB4C-B277-06F825CF51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3898" y="1926474"/>
                  <a:ext cx="29597" cy="48836"/>
                </a:xfrm>
                <a:custGeom>
                  <a:avLst/>
                  <a:gdLst>
                    <a:gd name="T0" fmla="*/ 2147483647 w 21"/>
                    <a:gd name="T1" fmla="*/ 2147483647 h 33"/>
                    <a:gd name="T2" fmla="*/ 2147483647 w 21"/>
                    <a:gd name="T3" fmla="*/ 2147483647 h 33"/>
                    <a:gd name="T4" fmla="*/ 2147483647 w 21"/>
                    <a:gd name="T5" fmla="*/ 2147483647 h 33"/>
                    <a:gd name="T6" fmla="*/ 2147483647 w 21"/>
                    <a:gd name="T7" fmla="*/ 2147483647 h 33"/>
                    <a:gd name="T8" fmla="*/ 2147483647 w 21"/>
                    <a:gd name="T9" fmla="*/ 2147483647 h 33"/>
                    <a:gd name="T10" fmla="*/ 2147483647 w 21"/>
                    <a:gd name="T11" fmla="*/ 2147483647 h 33"/>
                    <a:gd name="T12" fmla="*/ 2147483647 w 21"/>
                    <a:gd name="T13" fmla="*/ 2147483647 h 33"/>
                    <a:gd name="T14" fmla="*/ 2147483647 w 21"/>
                    <a:gd name="T15" fmla="*/ 2147483647 h 33"/>
                    <a:gd name="T16" fmla="*/ 2147483647 w 21"/>
                    <a:gd name="T17" fmla="*/ 2147483647 h 33"/>
                    <a:gd name="T18" fmla="*/ 2147483647 w 21"/>
                    <a:gd name="T19" fmla="*/ 2147483647 h 33"/>
                    <a:gd name="T20" fmla="*/ 0 w 21"/>
                    <a:gd name="T21" fmla="*/ 2147483647 h 33"/>
                    <a:gd name="T22" fmla="*/ 0 w 21"/>
                    <a:gd name="T23" fmla="*/ 2147483647 h 33"/>
                    <a:gd name="T24" fmla="*/ 2147483647 w 21"/>
                    <a:gd name="T25" fmla="*/ 2147483647 h 33"/>
                    <a:gd name="T26" fmla="*/ 2147483647 w 21"/>
                    <a:gd name="T27" fmla="*/ 2147483647 h 33"/>
                    <a:gd name="T28" fmla="*/ 2147483647 w 21"/>
                    <a:gd name="T29" fmla="*/ 0 h 33"/>
                    <a:gd name="T30" fmla="*/ 2147483647 w 21"/>
                    <a:gd name="T31" fmla="*/ 0 h 33"/>
                    <a:gd name="T32" fmla="*/ 2147483647 w 21"/>
                    <a:gd name="T33" fmla="*/ 0 h 33"/>
                    <a:gd name="T34" fmla="*/ 2147483647 w 21"/>
                    <a:gd name="T35" fmla="*/ 2147483647 h 33"/>
                    <a:gd name="T36" fmla="*/ 2147483647 w 21"/>
                    <a:gd name="T37" fmla="*/ 2147483647 h 33"/>
                    <a:gd name="T38" fmla="*/ 2147483647 w 21"/>
                    <a:gd name="T39" fmla="*/ 2147483647 h 33"/>
                    <a:gd name="T40" fmla="*/ 2147483647 w 21"/>
                    <a:gd name="T41" fmla="*/ 2147483647 h 33"/>
                    <a:gd name="T42" fmla="*/ 2147483647 w 21"/>
                    <a:gd name="T43" fmla="*/ 2147483647 h 3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1"/>
                    <a:gd name="T67" fmla="*/ 0 h 33"/>
                    <a:gd name="T68" fmla="*/ 21 w 21"/>
                    <a:gd name="T69" fmla="*/ 33 h 3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1" h="33">
                      <a:moveTo>
                        <a:pt x="16" y="14"/>
                      </a:moveTo>
                      <a:lnTo>
                        <a:pt x="19" y="17"/>
                      </a:lnTo>
                      <a:lnTo>
                        <a:pt x="21" y="19"/>
                      </a:lnTo>
                      <a:lnTo>
                        <a:pt x="21" y="24"/>
                      </a:lnTo>
                      <a:lnTo>
                        <a:pt x="19" y="30"/>
                      </a:lnTo>
                      <a:lnTo>
                        <a:pt x="16" y="32"/>
                      </a:lnTo>
                      <a:lnTo>
                        <a:pt x="14" y="33"/>
                      </a:lnTo>
                      <a:lnTo>
                        <a:pt x="12" y="32"/>
                      </a:lnTo>
                      <a:lnTo>
                        <a:pt x="5" y="27"/>
                      </a:lnTo>
                      <a:lnTo>
                        <a:pt x="2" y="19"/>
                      </a:lnTo>
                      <a:lnTo>
                        <a:pt x="0" y="15"/>
                      </a:lnTo>
                      <a:lnTo>
                        <a:pt x="0" y="11"/>
                      </a:lnTo>
                      <a:lnTo>
                        <a:pt x="2" y="6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1" y="1"/>
                      </a:lnTo>
                      <a:lnTo>
                        <a:pt x="12" y="3"/>
                      </a:lnTo>
                      <a:lnTo>
                        <a:pt x="13" y="11"/>
                      </a:lnTo>
                      <a:lnTo>
                        <a:pt x="14" y="12"/>
                      </a:lnTo>
                      <a:lnTo>
                        <a:pt x="16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936">
                  <a:extLst>
                    <a:ext uri="{FF2B5EF4-FFF2-40B4-BE49-F238E27FC236}">
                      <a16:creationId xmlns:a16="http://schemas.microsoft.com/office/drawing/2014/main" id="{CB70776C-67CB-F346-9231-5B3CAD5EBB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518" y="1904277"/>
                  <a:ext cx="31077" cy="35517"/>
                </a:xfrm>
                <a:custGeom>
                  <a:avLst/>
                  <a:gdLst>
                    <a:gd name="T0" fmla="*/ 2147483647 w 22"/>
                    <a:gd name="T1" fmla="*/ 2147483647 h 24"/>
                    <a:gd name="T2" fmla="*/ 2147483647 w 22"/>
                    <a:gd name="T3" fmla="*/ 2147483647 h 24"/>
                    <a:gd name="T4" fmla="*/ 2147483647 w 22"/>
                    <a:gd name="T5" fmla="*/ 2147483647 h 24"/>
                    <a:gd name="T6" fmla="*/ 2147483647 w 22"/>
                    <a:gd name="T7" fmla="*/ 2147483647 h 24"/>
                    <a:gd name="T8" fmla="*/ 2147483647 w 22"/>
                    <a:gd name="T9" fmla="*/ 2147483647 h 24"/>
                    <a:gd name="T10" fmla="*/ 2147483647 w 22"/>
                    <a:gd name="T11" fmla="*/ 2147483647 h 24"/>
                    <a:gd name="T12" fmla="*/ 2147483647 w 22"/>
                    <a:gd name="T13" fmla="*/ 2147483647 h 24"/>
                    <a:gd name="T14" fmla="*/ 2147483647 w 22"/>
                    <a:gd name="T15" fmla="*/ 2147483647 h 24"/>
                    <a:gd name="T16" fmla="*/ 2147483647 w 22"/>
                    <a:gd name="T17" fmla="*/ 2147483647 h 24"/>
                    <a:gd name="T18" fmla="*/ 2147483647 w 22"/>
                    <a:gd name="T19" fmla="*/ 2147483647 h 24"/>
                    <a:gd name="T20" fmla="*/ 0 w 22"/>
                    <a:gd name="T21" fmla="*/ 2147483647 h 24"/>
                    <a:gd name="T22" fmla="*/ 2147483647 w 22"/>
                    <a:gd name="T23" fmla="*/ 2147483647 h 24"/>
                    <a:gd name="T24" fmla="*/ 2147483647 w 22"/>
                    <a:gd name="T25" fmla="*/ 2147483647 h 24"/>
                    <a:gd name="T26" fmla="*/ 2147483647 w 22"/>
                    <a:gd name="T27" fmla="*/ 2147483647 h 24"/>
                    <a:gd name="T28" fmla="*/ 2147483647 w 22"/>
                    <a:gd name="T29" fmla="*/ 0 h 24"/>
                    <a:gd name="T30" fmla="*/ 2147483647 w 22"/>
                    <a:gd name="T31" fmla="*/ 2147483647 h 24"/>
                    <a:gd name="T32" fmla="*/ 2147483647 w 22"/>
                    <a:gd name="T33" fmla="*/ 2147483647 h 24"/>
                    <a:gd name="T34" fmla="*/ 2147483647 w 22"/>
                    <a:gd name="T35" fmla="*/ 2147483647 h 24"/>
                    <a:gd name="T36" fmla="*/ 2147483647 w 22"/>
                    <a:gd name="T37" fmla="*/ 2147483647 h 24"/>
                    <a:gd name="T38" fmla="*/ 2147483647 w 22"/>
                    <a:gd name="T39" fmla="*/ 2147483647 h 2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2"/>
                    <a:gd name="T61" fmla="*/ 0 h 24"/>
                    <a:gd name="T62" fmla="*/ 22 w 22"/>
                    <a:gd name="T63" fmla="*/ 24 h 2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2" h="24">
                      <a:moveTo>
                        <a:pt x="19" y="9"/>
                      </a:moveTo>
                      <a:lnTo>
                        <a:pt x="22" y="11"/>
                      </a:lnTo>
                      <a:lnTo>
                        <a:pt x="22" y="15"/>
                      </a:lnTo>
                      <a:lnTo>
                        <a:pt x="21" y="18"/>
                      </a:lnTo>
                      <a:lnTo>
                        <a:pt x="18" y="21"/>
                      </a:lnTo>
                      <a:lnTo>
                        <a:pt x="14" y="23"/>
                      </a:lnTo>
                      <a:lnTo>
                        <a:pt x="9" y="24"/>
                      </a:lnTo>
                      <a:lnTo>
                        <a:pt x="5" y="23"/>
                      </a:lnTo>
                      <a:lnTo>
                        <a:pt x="4" y="22"/>
                      </a:lnTo>
                      <a:lnTo>
                        <a:pt x="3" y="21"/>
                      </a:lnTo>
                      <a:lnTo>
                        <a:pt x="0" y="14"/>
                      </a:lnTo>
                      <a:lnTo>
                        <a:pt x="2" y="7"/>
                      </a:lnTo>
                      <a:lnTo>
                        <a:pt x="3" y="3"/>
                      </a:lnTo>
                      <a:lnTo>
                        <a:pt x="5" y="1"/>
                      </a:lnTo>
                      <a:lnTo>
                        <a:pt x="8" y="0"/>
                      </a:lnTo>
                      <a:lnTo>
                        <a:pt x="13" y="1"/>
                      </a:lnTo>
                      <a:lnTo>
                        <a:pt x="16" y="2"/>
                      </a:lnTo>
                      <a:lnTo>
                        <a:pt x="17" y="4"/>
                      </a:lnTo>
                      <a:lnTo>
                        <a:pt x="18" y="7"/>
                      </a:lnTo>
                      <a:lnTo>
                        <a:pt x="19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937">
                  <a:extLst>
                    <a:ext uri="{FF2B5EF4-FFF2-40B4-BE49-F238E27FC236}">
                      <a16:creationId xmlns:a16="http://schemas.microsoft.com/office/drawing/2014/main" id="{F5E7938E-5817-B54B-A003-7AE8D9E8EB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421" y="1924997"/>
                  <a:ext cx="28118" cy="48835"/>
                </a:xfrm>
                <a:custGeom>
                  <a:avLst/>
                  <a:gdLst>
                    <a:gd name="T0" fmla="*/ 2147483647 w 20"/>
                    <a:gd name="T1" fmla="*/ 2147483647 h 33"/>
                    <a:gd name="T2" fmla="*/ 2147483647 w 20"/>
                    <a:gd name="T3" fmla="*/ 2147483647 h 33"/>
                    <a:gd name="T4" fmla="*/ 2147483647 w 20"/>
                    <a:gd name="T5" fmla="*/ 2147483647 h 33"/>
                    <a:gd name="T6" fmla="*/ 2147483647 w 20"/>
                    <a:gd name="T7" fmla="*/ 2147483647 h 33"/>
                    <a:gd name="T8" fmla="*/ 2147483647 w 20"/>
                    <a:gd name="T9" fmla="*/ 2147483647 h 33"/>
                    <a:gd name="T10" fmla="*/ 2147483647 w 20"/>
                    <a:gd name="T11" fmla="*/ 2147483647 h 33"/>
                    <a:gd name="T12" fmla="*/ 2147483647 w 20"/>
                    <a:gd name="T13" fmla="*/ 2147483647 h 33"/>
                    <a:gd name="T14" fmla="*/ 2147483647 w 20"/>
                    <a:gd name="T15" fmla="*/ 2147483647 h 33"/>
                    <a:gd name="T16" fmla="*/ 2147483647 w 20"/>
                    <a:gd name="T17" fmla="*/ 2147483647 h 33"/>
                    <a:gd name="T18" fmla="*/ 2147483647 w 20"/>
                    <a:gd name="T19" fmla="*/ 2147483647 h 33"/>
                    <a:gd name="T20" fmla="*/ 2147483647 w 20"/>
                    <a:gd name="T21" fmla="*/ 2147483647 h 33"/>
                    <a:gd name="T22" fmla="*/ 2147483647 w 20"/>
                    <a:gd name="T23" fmla="*/ 2147483647 h 33"/>
                    <a:gd name="T24" fmla="*/ 2147483647 w 20"/>
                    <a:gd name="T25" fmla="*/ 2147483647 h 33"/>
                    <a:gd name="T26" fmla="*/ 0 w 20"/>
                    <a:gd name="T27" fmla="*/ 2147483647 h 33"/>
                    <a:gd name="T28" fmla="*/ 0 w 20"/>
                    <a:gd name="T29" fmla="*/ 2147483647 h 33"/>
                    <a:gd name="T30" fmla="*/ 2147483647 w 20"/>
                    <a:gd name="T31" fmla="*/ 2147483647 h 33"/>
                    <a:gd name="T32" fmla="*/ 2147483647 w 20"/>
                    <a:gd name="T33" fmla="*/ 2147483647 h 33"/>
                    <a:gd name="T34" fmla="*/ 2147483647 w 20"/>
                    <a:gd name="T35" fmla="*/ 2147483647 h 33"/>
                    <a:gd name="T36" fmla="*/ 2147483647 w 20"/>
                    <a:gd name="T37" fmla="*/ 0 h 33"/>
                    <a:gd name="T38" fmla="*/ 2147483647 w 20"/>
                    <a:gd name="T39" fmla="*/ 0 h 33"/>
                    <a:gd name="T40" fmla="*/ 2147483647 w 20"/>
                    <a:gd name="T41" fmla="*/ 0 h 33"/>
                    <a:gd name="T42" fmla="*/ 2147483647 w 20"/>
                    <a:gd name="T43" fmla="*/ 0 h 33"/>
                    <a:gd name="T44" fmla="*/ 2147483647 w 20"/>
                    <a:gd name="T45" fmla="*/ 2147483647 h 33"/>
                    <a:gd name="T46" fmla="*/ 2147483647 w 20"/>
                    <a:gd name="T47" fmla="*/ 2147483647 h 33"/>
                    <a:gd name="T48" fmla="*/ 2147483647 w 20"/>
                    <a:gd name="T49" fmla="*/ 2147483647 h 33"/>
                    <a:gd name="T50" fmla="*/ 2147483647 w 20"/>
                    <a:gd name="T51" fmla="*/ 2147483647 h 33"/>
                    <a:gd name="T52" fmla="*/ 2147483647 w 20"/>
                    <a:gd name="T53" fmla="*/ 2147483647 h 33"/>
                    <a:gd name="T54" fmla="*/ 2147483647 w 20"/>
                    <a:gd name="T55" fmla="*/ 2147483647 h 33"/>
                    <a:gd name="T56" fmla="*/ 2147483647 w 20"/>
                    <a:gd name="T57" fmla="*/ 2147483647 h 3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"/>
                    <a:gd name="T88" fmla="*/ 0 h 33"/>
                    <a:gd name="T89" fmla="*/ 20 w 20"/>
                    <a:gd name="T90" fmla="*/ 33 h 3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" h="33">
                      <a:moveTo>
                        <a:pt x="15" y="14"/>
                      </a:moveTo>
                      <a:lnTo>
                        <a:pt x="15" y="14"/>
                      </a:lnTo>
                      <a:lnTo>
                        <a:pt x="19" y="16"/>
                      </a:lnTo>
                      <a:lnTo>
                        <a:pt x="20" y="19"/>
                      </a:lnTo>
                      <a:lnTo>
                        <a:pt x="20" y="23"/>
                      </a:lnTo>
                      <a:lnTo>
                        <a:pt x="19" y="29"/>
                      </a:lnTo>
                      <a:lnTo>
                        <a:pt x="15" y="32"/>
                      </a:lnTo>
                      <a:lnTo>
                        <a:pt x="14" y="33"/>
                      </a:lnTo>
                      <a:lnTo>
                        <a:pt x="12" y="32"/>
                      </a:lnTo>
                      <a:lnTo>
                        <a:pt x="5" y="27"/>
                      </a:lnTo>
                      <a:lnTo>
                        <a:pt x="1" y="19"/>
                      </a:lnTo>
                      <a:lnTo>
                        <a:pt x="0" y="15"/>
                      </a:lnTo>
                      <a:lnTo>
                        <a:pt x="0" y="10"/>
                      </a:lnTo>
                      <a:lnTo>
                        <a:pt x="1" y="6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10" y="1"/>
                      </a:lnTo>
                      <a:lnTo>
                        <a:pt x="12" y="3"/>
                      </a:lnTo>
                      <a:lnTo>
                        <a:pt x="13" y="10"/>
                      </a:lnTo>
                      <a:lnTo>
                        <a:pt x="14" y="12"/>
                      </a:lnTo>
                      <a:lnTo>
                        <a:pt x="15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4" name="Freeform 938">
                  <a:extLst>
                    <a:ext uri="{FF2B5EF4-FFF2-40B4-BE49-F238E27FC236}">
                      <a16:creationId xmlns:a16="http://schemas.microsoft.com/office/drawing/2014/main" id="{9A115758-814F-AB41-A2CA-61A4800B49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0034" y="1901321"/>
                  <a:ext cx="31078" cy="36996"/>
                </a:xfrm>
                <a:custGeom>
                  <a:avLst/>
                  <a:gdLst>
                    <a:gd name="T0" fmla="*/ 2147483647 w 22"/>
                    <a:gd name="T1" fmla="*/ 2147483647 h 25"/>
                    <a:gd name="T2" fmla="*/ 2147483647 w 22"/>
                    <a:gd name="T3" fmla="*/ 2147483647 h 25"/>
                    <a:gd name="T4" fmla="*/ 2147483647 w 22"/>
                    <a:gd name="T5" fmla="*/ 2147483647 h 25"/>
                    <a:gd name="T6" fmla="*/ 2147483647 w 22"/>
                    <a:gd name="T7" fmla="*/ 2147483647 h 25"/>
                    <a:gd name="T8" fmla="*/ 2147483647 w 22"/>
                    <a:gd name="T9" fmla="*/ 2147483647 h 25"/>
                    <a:gd name="T10" fmla="*/ 2147483647 w 22"/>
                    <a:gd name="T11" fmla="*/ 2147483647 h 25"/>
                    <a:gd name="T12" fmla="*/ 2147483647 w 22"/>
                    <a:gd name="T13" fmla="*/ 2147483647 h 25"/>
                    <a:gd name="T14" fmla="*/ 2147483647 w 22"/>
                    <a:gd name="T15" fmla="*/ 2147483647 h 25"/>
                    <a:gd name="T16" fmla="*/ 2147483647 w 22"/>
                    <a:gd name="T17" fmla="*/ 2147483647 h 25"/>
                    <a:gd name="T18" fmla="*/ 2147483647 w 22"/>
                    <a:gd name="T19" fmla="*/ 2147483647 h 25"/>
                    <a:gd name="T20" fmla="*/ 2147483647 w 22"/>
                    <a:gd name="T21" fmla="*/ 2147483647 h 25"/>
                    <a:gd name="T22" fmla="*/ 2147483647 w 22"/>
                    <a:gd name="T23" fmla="*/ 2147483647 h 25"/>
                    <a:gd name="T24" fmla="*/ 2147483647 w 22"/>
                    <a:gd name="T25" fmla="*/ 2147483647 h 25"/>
                    <a:gd name="T26" fmla="*/ 0 w 22"/>
                    <a:gd name="T27" fmla="*/ 2147483647 h 25"/>
                    <a:gd name="T28" fmla="*/ 2147483647 w 22"/>
                    <a:gd name="T29" fmla="*/ 2147483647 h 25"/>
                    <a:gd name="T30" fmla="*/ 2147483647 w 22"/>
                    <a:gd name="T31" fmla="*/ 2147483647 h 25"/>
                    <a:gd name="T32" fmla="*/ 2147483647 w 22"/>
                    <a:gd name="T33" fmla="*/ 2147483647 h 25"/>
                    <a:gd name="T34" fmla="*/ 2147483647 w 22"/>
                    <a:gd name="T35" fmla="*/ 0 h 25"/>
                    <a:gd name="T36" fmla="*/ 2147483647 w 22"/>
                    <a:gd name="T37" fmla="*/ 2147483647 h 25"/>
                    <a:gd name="T38" fmla="*/ 2147483647 w 22"/>
                    <a:gd name="T39" fmla="*/ 2147483647 h 25"/>
                    <a:gd name="T40" fmla="*/ 2147483647 w 22"/>
                    <a:gd name="T41" fmla="*/ 2147483647 h 25"/>
                    <a:gd name="T42" fmla="*/ 2147483647 w 22"/>
                    <a:gd name="T43" fmla="*/ 2147483647 h 25"/>
                    <a:gd name="T44" fmla="*/ 2147483647 w 22"/>
                    <a:gd name="T45" fmla="*/ 2147483647 h 25"/>
                    <a:gd name="T46" fmla="*/ 2147483647 w 22"/>
                    <a:gd name="T47" fmla="*/ 2147483647 h 25"/>
                    <a:gd name="T48" fmla="*/ 2147483647 w 22"/>
                    <a:gd name="T49" fmla="*/ 2147483647 h 25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2"/>
                    <a:gd name="T76" fmla="*/ 0 h 25"/>
                    <a:gd name="T77" fmla="*/ 22 w 22"/>
                    <a:gd name="T78" fmla="*/ 25 h 25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2" h="25">
                      <a:moveTo>
                        <a:pt x="19" y="10"/>
                      </a:moveTo>
                      <a:lnTo>
                        <a:pt x="19" y="10"/>
                      </a:lnTo>
                      <a:lnTo>
                        <a:pt x="22" y="12"/>
                      </a:lnTo>
                      <a:lnTo>
                        <a:pt x="22" y="16"/>
                      </a:lnTo>
                      <a:lnTo>
                        <a:pt x="20" y="19"/>
                      </a:lnTo>
                      <a:lnTo>
                        <a:pt x="18" y="22"/>
                      </a:lnTo>
                      <a:lnTo>
                        <a:pt x="14" y="24"/>
                      </a:lnTo>
                      <a:lnTo>
                        <a:pt x="9" y="25"/>
                      </a:lnTo>
                      <a:lnTo>
                        <a:pt x="5" y="24"/>
                      </a:lnTo>
                      <a:lnTo>
                        <a:pt x="4" y="23"/>
                      </a:lnTo>
                      <a:lnTo>
                        <a:pt x="3" y="22"/>
                      </a:lnTo>
                      <a:lnTo>
                        <a:pt x="0" y="15"/>
                      </a:lnTo>
                      <a:lnTo>
                        <a:pt x="1" y="7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13" y="2"/>
                      </a:lnTo>
                      <a:lnTo>
                        <a:pt x="15" y="3"/>
                      </a:lnTo>
                      <a:lnTo>
                        <a:pt x="17" y="5"/>
                      </a:lnTo>
                      <a:lnTo>
                        <a:pt x="18" y="7"/>
                      </a:lnTo>
                      <a:lnTo>
                        <a:pt x="19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5" name="Freeform 939">
                  <a:extLst>
                    <a:ext uri="{FF2B5EF4-FFF2-40B4-BE49-F238E27FC236}">
                      <a16:creationId xmlns:a16="http://schemas.microsoft.com/office/drawing/2014/main" id="{6FE5B729-1A4A-F145-BF0B-B90B2072B7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3309" y="1868761"/>
                  <a:ext cx="94712" cy="42916"/>
                </a:xfrm>
                <a:custGeom>
                  <a:avLst/>
                  <a:gdLst>
                    <a:gd name="T0" fmla="*/ 2147483647 w 69"/>
                    <a:gd name="T1" fmla="*/ 2147483647 h 29"/>
                    <a:gd name="T2" fmla="*/ 2147483647 w 69"/>
                    <a:gd name="T3" fmla="*/ 2147483647 h 29"/>
                    <a:gd name="T4" fmla="*/ 2147483647 w 69"/>
                    <a:gd name="T5" fmla="*/ 2147483647 h 29"/>
                    <a:gd name="T6" fmla="*/ 2147483647 w 69"/>
                    <a:gd name="T7" fmla="*/ 2147483647 h 29"/>
                    <a:gd name="T8" fmla="*/ 2147483647 w 69"/>
                    <a:gd name="T9" fmla="*/ 2147483647 h 29"/>
                    <a:gd name="T10" fmla="*/ 2147483647 w 69"/>
                    <a:gd name="T11" fmla="*/ 2147483647 h 29"/>
                    <a:gd name="T12" fmla="*/ 2147483647 w 69"/>
                    <a:gd name="T13" fmla="*/ 2147483647 h 29"/>
                    <a:gd name="T14" fmla="*/ 2147483647 w 69"/>
                    <a:gd name="T15" fmla="*/ 0 h 29"/>
                    <a:gd name="T16" fmla="*/ 2147483647 w 69"/>
                    <a:gd name="T17" fmla="*/ 0 h 29"/>
                    <a:gd name="T18" fmla="*/ 2147483647 w 69"/>
                    <a:gd name="T19" fmla="*/ 2147483647 h 29"/>
                    <a:gd name="T20" fmla="*/ 2147483647 w 69"/>
                    <a:gd name="T21" fmla="*/ 2147483647 h 29"/>
                    <a:gd name="T22" fmla="*/ 2147483647 w 69"/>
                    <a:gd name="T23" fmla="*/ 2147483647 h 29"/>
                    <a:gd name="T24" fmla="*/ 2147483647 w 69"/>
                    <a:gd name="T25" fmla="*/ 2147483647 h 29"/>
                    <a:gd name="T26" fmla="*/ 2147483647 w 69"/>
                    <a:gd name="T27" fmla="*/ 2147483647 h 29"/>
                    <a:gd name="T28" fmla="*/ 2147483647 w 69"/>
                    <a:gd name="T29" fmla="*/ 2147483647 h 29"/>
                    <a:gd name="T30" fmla="*/ 2147483647 w 69"/>
                    <a:gd name="T31" fmla="*/ 2147483647 h 29"/>
                    <a:gd name="T32" fmla="*/ 0 w 69"/>
                    <a:gd name="T33" fmla="*/ 2147483647 h 29"/>
                    <a:gd name="T34" fmla="*/ 0 w 69"/>
                    <a:gd name="T35" fmla="*/ 2147483647 h 29"/>
                    <a:gd name="T36" fmla="*/ 2147483647 w 69"/>
                    <a:gd name="T37" fmla="*/ 2147483647 h 29"/>
                    <a:gd name="T38" fmla="*/ 2147483647 w 69"/>
                    <a:gd name="T39" fmla="*/ 2147483647 h 29"/>
                    <a:gd name="T40" fmla="*/ 2147483647 w 69"/>
                    <a:gd name="T41" fmla="*/ 2147483647 h 29"/>
                    <a:gd name="T42" fmla="*/ 2147483647 w 69"/>
                    <a:gd name="T43" fmla="*/ 2147483647 h 29"/>
                    <a:gd name="T44" fmla="*/ 2147483647 w 69"/>
                    <a:gd name="T45" fmla="*/ 2147483647 h 29"/>
                    <a:gd name="T46" fmla="*/ 2147483647 w 69"/>
                    <a:gd name="T47" fmla="*/ 2147483647 h 29"/>
                    <a:gd name="T48" fmla="*/ 2147483647 w 69"/>
                    <a:gd name="T49" fmla="*/ 2147483647 h 29"/>
                    <a:gd name="T50" fmla="*/ 2147483647 w 69"/>
                    <a:gd name="T51" fmla="*/ 2147483647 h 29"/>
                    <a:gd name="T52" fmla="*/ 2147483647 w 69"/>
                    <a:gd name="T53" fmla="*/ 2147483647 h 29"/>
                    <a:gd name="T54" fmla="*/ 2147483647 w 69"/>
                    <a:gd name="T55" fmla="*/ 2147483647 h 29"/>
                    <a:gd name="T56" fmla="*/ 2147483647 w 69"/>
                    <a:gd name="T57" fmla="*/ 2147483647 h 29"/>
                    <a:gd name="T58" fmla="*/ 2147483647 w 69"/>
                    <a:gd name="T59" fmla="*/ 2147483647 h 29"/>
                    <a:gd name="T60" fmla="*/ 2147483647 w 69"/>
                    <a:gd name="T61" fmla="*/ 2147483647 h 29"/>
                    <a:gd name="T62" fmla="*/ 2147483647 w 69"/>
                    <a:gd name="T63" fmla="*/ 2147483647 h 29"/>
                    <a:gd name="T64" fmla="*/ 2147483647 w 69"/>
                    <a:gd name="T65" fmla="*/ 2147483647 h 29"/>
                    <a:gd name="T66" fmla="*/ 2147483647 w 69"/>
                    <a:gd name="T67" fmla="*/ 2147483647 h 29"/>
                    <a:gd name="T68" fmla="*/ 2147483647 w 69"/>
                    <a:gd name="T69" fmla="*/ 2147483647 h 29"/>
                    <a:gd name="T70" fmla="*/ 2147483647 w 69"/>
                    <a:gd name="T71" fmla="*/ 2147483647 h 29"/>
                    <a:gd name="T72" fmla="*/ 2147483647 w 69"/>
                    <a:gd name="T73" fmla="*/ 2147483647 h 29"/>
                    <a:gd name="T74" fmla="*/ 2147483647 w 69"/>
                    <a:gd name="T75" fmla="*/ 2147483647 h 29"/>
                    <a:gd name="T76" fmla="*/ 2147483647 w 69"/>
                    <a:gd name="T77" fmla="*/ 2147483647 h 29"/>
                    <a:gd name="T78" fmla="*/ 2147483647 w 69"/>
                    <a:gd name="T79" fmla="*/ 2147483647 h 29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69"/>
                    <a:gd name="T121" fmla="*/ 0 h 29"/>
                    <a:gd name="T122" fmla="*/ 69 w 69"/>
                    <a:gd name="T123" fmla="*/ 29 h 29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69" h="29">
                      <a:moveTo>
                        <a:pt x="68" y="22"/>
                      </a:moveTo>
                      <a:lnTo>
                        <a:pt x="69" y="18"/>
                      </a:lnTo>
                      <a:lnTo>
                        <a:pt x="69" y="15"/>
                      </a:lnTo>
                      <a:lnTo>
                        <a:pt x="68" y="14"/>
                      </a:lnTo>
                      <a:lnTo>
                        <a:pt x="59" y="9"/>
                      </a:lnTo>
                      <a:lnTo>
                        <a:pt x="54" y="6"/>
                      </a:lnTo>
                      <a:lnTo>
                        <a:pt x="50" y="2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42" y="1"/>
                      </a:lnTo>
                      <a:lnTo>
                        <a:pt x="39" y="5"/>
                      </a:lnTo>
                      <a:lnTo>
                        <a:pt x="36" y="6"/>
                      </a:lnTo>
                      <a:lnTo>
                        <a:pt x="28" y="7"/>
                      </a:lnTo>
                      <a:lnTo>
                        <a:pt x="22" y="8"/>
                      </a:lnTo>
                      <a:lnTo>
                        <a:pt x="16" y="12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2" y="24"/>
                      </a:lnTo>
                      <a:lnTo>
                        <a:pt x="4" y="24"/>
                      </a:lnTo>
                      <a:lnTo>
                        <a:pt x="11" y="20"/>
                      </a:lnTo>
                      <a:lnTo>
                        <a:pt x="14" y="19"/>
                      </a:lnTo>
                      <a:lnTo>
                        <a:pt x="18" y="21"/>
                      </a:lnTo>
                      <a:lnTo>
                        <a:pt x="21" y="25"/>
                      </a:lnTo>
                      <a:lnTo>
                        <a:pt x="22" y="26"/>
                      </a:lnTo>
                      <a:lnTo>
                        <a:pt x="23" y="27"/>
                      </a:lnTo>
                      <a:lnTo>
                        <a:pt x="27" y="27"/>
                      </a:lnTo>
                      <a:lnTo>
                        <a:pt x="30" y="26"/>
                      </a:lnTo>
                      <a:lnTo>
                        <a:pt x="35" y="21"/>
                      </a:lnTo>
                      <a:lnTo>
                        <a:pt x="36" y="21"/>
                      </a:lnTo>
                      <a:lnTo>
                        <a:pt x="37" y="21"/>
                      </a:lnTo>
                      <a:lnTo>
                        <a:pt x="40" y="24"/>
                      </a:lnTo>
                      <a:lnTo>
                        <a:pt x="44" y="26"/>
                      </a:lnTo>
                      <a:lnTo>
                        <a:pt x="47" y="26"/>
                      </a:lnTo>
                      <a:lnTo>
                        <a:pt x="51" y="26"/>
                      </a:lnTo>
                      <a:lnTo>
                        <a:pt x="55" y="26"/>
                      </a:lnTo>
                      <a:lnTo>
                        <a:pt x="59" y="27"/>
                      </a:lnTo>
                      <a:lnTo>
                        <a:pt x="65" y="29"/>
                      </a:lnTo>
                      <a:lnTo>
                        <a:pt x="67" y="26"/>
                      </a:lnTo>
                      <a:lnTo>
                        <a:pt x="68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6" name="Freeform 940">
                  <a:extLst>
                    <a:ext uri="{FF2B5EF4-FFF2-40B4-BE49-F238E27FC236}">
                      <a16:creationId xmlns:a16="http://schemas.microsoft.com/office/drawing/2014/main" id="{83C5FDE2-DACC-D541-983A-1AB79CBC94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0353" y="1920556"/>
                  <a:ext cx="68074" cy="41436"/>
                </a:xfrm>
                <a:custGeom>
                  <a:avLst/>
                  <a:gdLst>
                    <a:gd name="T0" fmla="*/ 2147483647 w 49"/>
                    <a:gd name="T1" fmla="*/ 2147483647 h 28"/>
                    <a:gd name="T2" fmla="*/ 2147483647 w 49"/>
                    <a:gd name="T3" fmla="*/ 2147483647 h 28"/>
                    <a:gd name="T4" fmla="*/ 2147483647 w 49"/>
                    <a:gd name="T5" fmla="*/ 2147483647 h 28"/>
                    <a:gd name="T6" fmla="*/ 2147483647 w 49"/>
                    <a:gd name="T7" fmla="*/ 2147483647 h 28"/>
                    <a:gd name="T8" fmla="*/ 2147483647 w 49"/>
                    <a:gd name="T9" fmla="*/ 2147483647 h 28"/>
                    <a:gd name="T10" fmla="*/ 2147483647 w 49"/>
                    <a:gd name="T11" fmla="*/ 2147483647 h 28"/>
                    <a:gd name="T12" fmla="*/ 2147483647 w 49"/>
                    <a:gd name="T13" fmla="*/ 2147483647 h 28"/>
                    <a:gd name="T14" fmla="*/ 2147483647 w 49"/>
                    <a:gd name="T15" fmla="*/ 2147483647 h 28"/>
                    <a:gd name="T16" fmla="*/ 2147483647 w 49"/>
                    <a:gd name="T17" fmla="*/ 2147483647 h 28"/>
                    <a:gd name="T18" fmla="*/ 2147483647 w 49"/>
                    <a:gd name="T19" fmla="*/ 2147483647 h 28"/>
                    <a:gd name="T20" fmla="*/ 2147483647 w 49"/>
                    <a:gd name="T21" fmla="*/ 2147483647 h 28"/>
                    <a:gd name="T22" fmla="*/ 2147483647 w 49"/>
                    <a:gd name="T23" fmla="*/ 2147483647 h 28"/>
                    <a:gd name="T24" fmla="*/ 2147483647 w 49"/>
                    <a:gd name="T25" fmla="*/ 2147483647 h 28"/>
                    <a:gd name="T26" fmla="*/ 2147483647 w 49"/>
                    <a:gd name="T27" fmla="*/ 2147483647 h 28"/>
                    <a:gd name="T28" fmla="*/ 2147483647 w 49"/>
                    <a:gd name="T29" fmla="*/ 0 h 28"/>
                    <a:gd name="T30" fmla="*/ 2147483647 w 49"/>
                    <a:gd name="T31" fmla="*/ 0 h 28"/>
                    <a:gd name="T32" fmla="*/ 2147483647 w 49"/>
                    <a:gd name="T33" fmla="*/ 2147483647 h 28"/>
                    <a:gd name="T34" fmla="*/ 2147483647 w 49"/>
                    <a:gd name="T35" fmla="*/ 2147483647 h 28"/>
                    <a:gd name="T36" fmla="*/ 2147483647 w 49"/>
                    <a:gd name="T37" fmla="*/ 0 h 28"/>
                    <a:gd name="T38" fmla="*/ 2147483647 w 49"/>
                    <a:gd name="T39" fmla="*/ 0 h 28"/>
                    <a:gd name="T40" fmla="*/ 2147483647 w 49"/>
                    <a:gd name="T41" fmla="*/ 0 h 28"/>
                    <a:gd name="T42" fmla="*/ 2147483647 w 49"/>
                    <a:gd name="T43" fmla="*/ 2147483647 h 28"/>
                    <a:gd name="T44" fmla="*/ 2147483647 w 49"/>
                    <a:gd name="T45" fmla="*/ 2147483647 h 28"/>
                    <a:gd name="T46" fmla="*/ 0 w 49"/>
                    <a:gd name="T47" fmla="*/ 2147483647 h 28"/>
                    <a:gd name="T48" fmla="*/ 0 w 49"/>
                    <a:gd name="T49" fmla="*/ 2147483647 h 28"/>
                    <a:gd name="T50" fmla="*/ 2147483647 w 49"/>
                    <a:gd name="T51" fmla="*/ 2147483647 h 28"/>
                    <a:gd name="T52" fmla="*/ 2147483647 w 49"/>
                    <a:gd name="T53" fmla="*/ 2147483647 h 28"/>
                    <a:gd name="T54" fmla="*/ 2147483647 w 49"/>
                    <a:gd name="T55" fmla="*/ 2147483647 h 28"/>
                    <a:gd name="T56" fmla="*/ 2147483647 w 49"/>
                    <a:gd name="T57" fmla="*/ 2147483647 h 28"/>
                    <a:gd name="T58" fmla="*/ 2147483647 w 49"/>
                    <a:gd name="T59" fmla="*/ 2147483647 h 28"/>
                    <a:gd name="T60" fmla="*/ 2147483647 w 49"/>
                    <a:gd name="T61" fmla="*/ 2147483647 h 28"/>
                    <a:gd name="T62" fmla="*/ 2147483647 w 49"/>
                    <a:gd name="T63" fmla="*/ 2147483647 h 28"/>
                    <a:gd name="T64" fmla="*/ 2147483647 w 49"/>
                    <a:gd name="T65" fmla="*/ 2147483647 h 28"/>
                    <a:gd name="T66" fmla="*/ 2147483647 w 49"/>
                    <a:gd name="T67" fmla="*/ 2147483647 h 28"/>
                    <a:gd name="T68" fmla="*/ 2147483647 w 49"/>
                    <a:gd name="T69" fmla="*/ 2147483647 h 2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49"/>
                    <a:gd name="T106" fmla="*/ 0 h 28"/>
                    <a:gd name="T107" fmla="*/ 49 w 49"/>
                    <a:gd name="T108" fmla="*/ 28 h 28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49" h="28">
                      <a:moveTo>
                        <a:pt x="44" y="24"/>
                      </a:moveTo>
                      <a:lnTo>
                        <a:pt x="47" y="22"/>
                      </a:lnTo>
                      <a:lnTo>
                        <a:pt x="47" y="21"/>
                      </a:lnTo>
                      <a:lnTo>
                        <a:pt x="47" y="17"/>
                      </a:lnTo>
                      <a:lnTo>
                        <a:pt x="44" y="12"/>
                      </a:lnTo>
                      <a:lnTo>
                        <a:pt x="42" y="10"/>
                      </a:lnTo>
                      <a:lnTo>
                        <a:pt x="42" y="9"/>
                      </a:lnTo>
                      <a:lnTo>
                        <a:pt x="42" y="7"/>
                      </a:lnTo>
                      <a:lnTo>
                        <a:pt x="44" y="7"/>
                      </a:lnTo>
                      <a:lnTo>
                        <a:pt x="47" y="7"/>
                      </a:lnTo>
                      <a:lnTo>
                        <a:pt x="48" y="7"/>
                      </a:lnTo>
                      <a:lnTo>
                        <a:pt x="49" y="6"/>
                      </a:lnTo>
                      <a:lnTo>
                        <a:pt x="48" y="3"/>
                      </a:lnTo>
                      <a:lnTo>
                        <a:pt x="46" y="2"/>
                      </a:lnTo>
                      <a:lnTo>
                        <a:pt x="42" y="0"/>
                      </a:lnTo>
                      <a:lnTo>
                        <a:pt x="38" y="0"/>
                      </a:lnTo>
                      <a:lnTo>
                        <a:pt x="33" y="2"/>
                      </a:lnTo>
                      <a:lnTo>
                        <a:pt x="28" y="3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4" y="2"/>
                      </a:lnTo>
                      <a:lnTo>
                        <a:pt x="1" y="4"/>
                      </a:lnTo>
                      <a:lnTo>
                        <a:pt x="0" y="7"/>
                      </a:lnTo>
                      <a:lnTo>
                        <a:pt x="0" y="18"/>
                      </a:lnTo>
                      <a:lnTo>
                        <a:pt x="2" y="23"/>
                      </a:lnTo>
                      <a:lnTo>
                        <a:pt x="4" y="26"/>
                      </a:lnTo>
                      <a:lnTo>
                        <a:pt x="6" y="28"/>
                      </a:lnTo>
                      <a:lnTo>
                        <a:pt x="9" y="28"/>
                      </a:lnTo>
                      <a:lnTo>
                        <a:pt x="14" y="26"/>
                      </a:lnTo>
                      <a:lnTo>
                        <a:pt x="20" y="25"/>
                      </a:lnTo>
                      <a:lnTo>
                        <a:pt x="28" y="25"/>
                      </a:lnTo>
                      <a:lnTo>
                        <a:pt x="42" y="28"/>
                      </a:lnTo>
                      <a:lnTo>
                        <a:pt x="43" y="26"/>
                      </a:lnTo>
                      <a:lnTo>
                        <a:pt x="44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7" name="Freeform 941">
                  <a:extLst>
                    <a:ext uri="{FF2B5EF4-FFF2-40B4-BE49-F238E27FC236}">
                      <a16:creationId xmlns:a16="http://schemas.microsoft.com/office/drawing/2014/main" id="{2EE457DE-BAC4-E94D-825A-C7C0597339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1830" y="1867278"/>
                  <a:ext cx="94712" cy="42918"/>
                </a:xfrm>
                <a:custGeom>
                  <a:avLst/>
                  <a:gdLst>
                    <a:gd name="T0" fmla="*/ 2147483647 w 69"/>
                    <a:gd name="T1" fmla="*/ 2147483647 h 29"/>
                    <a:gd name="T2" fmla="*/ 2147483647 w 69"/>
                    <a:gd name="T3" fmla="*/ 2147483647 h 29"/>
                    <a:gd name="T4" fmla="*/ 2147483647 w 69"/>
                    <a:gd name="T5" fmla="*/ 2147483647 h 29"/>
                    <a:gd name="T6" fmla="*/ 2147483647 w 69"/>
                    <a:gd name="T7" fmla="*/ 2147483647 h 29"/>
                    <a:gd name="T8" fmla="*/ 2147483647 w 69"/>
                    <a:gd name="T9" fmla="*/ 2147483647 h 29"/>
                    <a:gd name="T10" fmla="*/ 2147483647 w 69"/>
                    <a:gd name="T11" fmla="*/ 2147483647 h 29"/>
                    <a:gd name="T12" fmla="*/ 2147483647 w 69"/>
                    <a:gd name="T13" fmla="*/ 2147483647 h 29"/>
                    <a:gd name="T14" fmla="*/ 2147483647 w 69"/>
                    <a:gd name="T15" fmla="*/ 2147483647 h 29"/>
                    <a:gd name="T16" fmla="*/ 2147483647 w 69"/>
                    <a:gd name="T17" fmla="*/ 2147483647 h 29"/>
                    <a:gd name="T18" fmla="*/ 2147483647 w 69"/>
                    <a:gd name="T19" fmla="*/ 2147483647 h 29"/>
                    <a:gd name="T20" fmla="*/ 2147483647 w 69"/>
                    <a:gd name="T21" fmla="*/ 0 h 29"/>
                    <a:gd name="T22" fmla="*/ 2147483647 w 69"/>
                    <a:gd name="T23" fmla="*/ 0 h 29"/>
                    <a:gd name="T24" fmla="*/ 2147483647 w 69"/>
                    <a:gd name="T25" fmla="*/ 2147483647 h 29"/>
                    <a:gd name="T26" fmla="*/ 2147483647 w 69"/>
                    <a:gd name="T27" fmla="*/ 2147483647 h 29"/>
                    <a:gd name="T28" fmla="*/ 2147483647 w 69"/>
                    <a:gd name="T29" fmla="*/ 2147483647 h 29"/>
                    <a:gd name="T30" fmla="*/ 2147483647 w 69"/>
                    <a:gd name="T31" fmla="*/ 2147483647 h 29"/>
                    <a:gd name="T32" fmla="*/ 2147483647 w 69"/>
                    <a:gd name="T33" fmla="*/ 2147483647 h 29"/>
                    <a:gd name="T34" fmla="*/ 2147483647 w 69"/>
                    <a:gd name="T35" fmla="*/ 2147483647 h 29"/>
                    <a:gd name="T36" fmla="*/ 2147483647 w 69"/>
                    <a:gd name="T37" fmla="*/ 2147483647 h 29"/>
                    <a:gd name="T38" fmla="*/ 2147483647 w 69"/>
                    <a:gd name="T39" fmla="*/ 2147483647 h 29"/>
                    <a:gd name="T40" fmla="*/ 2147483647 w 69"/>
                    <a:gd name="T41" fmla="*/ 2147483647 h 29"/>
                    <a:gd name="T42" fmla="*/ 2147483647 w 69"/>
                    <a:gd name="T43" fmla="*/ 2147483647 h 29"/>
                    <a:gd name="T44" fmla="*/ 0 w 69"/>
                    <a:gd name="T45" fmla="*/ 2147483647 h 29"/>
                    <a:gd name="T46" fmla="*/ 0 w 69"/>
                    <a:gd name="T47" fmla="*/ 2147483647 h 29"/>
                    <a:gd name="T48" fmla="*/ 2147483647 w 69"/>
                    <a:gd name="T49" fmla="*/ 2147483647 h 29"/>
                    <a:gd name="T50" fmla="*/ 2147483647 w 69"/>
                    <a:gd name="T51" fmla="*/ 2147483647 h 29"/>
                    <a:gd name="T52" fmla="*/ 2147483647 w 69"/>
                    <a:gd name="T53" fmla="*/ 2147483647 h 29"/>
                    <a:gd name="T54" fmla="*/ 2147483647 w 69"/>
                    <a:gd name="T55" fmla="*/ 2147483647 h 29"/>
                    <a:gd name="T56" fmla="*/ 2147483647 w 69"/>
                    <a:gd name="T57" fmla="*/ 2147483647 h 29"/>
                    <a:gd name="T58" fmla="*/ 2147483647 w 69"/>
                    <a:gd name="T59" fmla="*/ 2147483647 h 29"/>
                    <a:gd name="T60" fmla="*/ 2147483647 w 69"/>
                    <a:gd name="T61" fmla="*/ 2147483647 h 29"/>
                    <a:gd name="T62" fmla="*/ 2147483647 w 69"/>
                    <a:gd name="T63" fmla="*/ 2147483647 h 29"/>
                    <a:gd name="T64" fmla="*/ 2147483647 w 69"/>
                    <a:gd name="T65" fmla="*/ 2147483647 h 29"/>
                    <a:gd name="T66" fmla="*/ 2147483647 w 69"/>
                    <a:gd name="T67" fmla="*/ 2147483647 h 29"/>
                    <a:gd name="T68" fmla="*/ 2147483647 w 69"/>
                    <a:gd name="T69" fmla="*/ 2147483647 h 29"/>
                    <a:gd name="T70" fmla="*/ 2147483647 w 69"/>
                    <a:gd name="T71" fmla="*/ 2147483647 h 29"/>
                    <a:gd name="T72" fmla="*/ 2147483647 w 69"/>
                    <a:gd name="T73" fmla="*/ 2147483647 h 29"/>
                    <a:gd name="T74" fmla="*/ 2147483647 w 69"/>
                    <a:gd name="T75" fmla="*/ 2147483647 h 29"/>
                    <a:gd name="T76" fmla="*/ 2147483647 w 69"/>
                    <a:gd name="T77" fmla="*/ 2147483647 h 29"/>
                    <a:gd name="T78" fmla="*/ 2147483647 w 69"/>
                    <a:gd name="T79" fmla="*/ 2147483647 h 29"/>
                    <a:gd name="T80" fmla="*/ 2147483647 w 69"/>
                    <a:gd name="T81" fmla="*/ 2147483647 h 29"/>
                    <a:gd name="T82" fmla="*/ 2147483647 w 69"/>
                    <a:gd name="T83" fmla="*/ 2147483647 h 29"/>
                    <a:gd name="T84" fmla="*/ 2147483647 w 69"/>
                    <a:gd name="T85" fmla="*/ 2147483647 h 29"/>
                    <a:gd name="T86" fmla="*/ 2147483647 w 69"/>
                    <a:gd name="T87" fmla="*/ 2147483647 h 29"/>
                    <a:gd name="T88" fmla="*/ 2147483647 w 69"/>
                    <a:gd name="T89" fmla="*/ 2147483647 h 29"/>
                    <a:gd name="T90" fmla="*/ 2147483647 w 69"/>
                    <a:gd name="T91" fmla="*/ 2147483647 h 29"/>
                    <a:gd name="T92" fmla="*/ 2147483647 w 69"/>
                    <a:gd name="T93" fmla="*/ 2147483647 h 29"/>
                    <a:gd name="T94" fmla="*/ 2147483647 w 69"/>
                    <a:gd name="T95" fmla="*/ 2147483647 h 29"/>
                    <a:gd name="T96" fmla="*/ 2147483647 w 69"/>
                    <a:gd name="T97" fmla="*/ 2147483647 h 29"/>
                    <a:gd name="T98" fmla="*/ 2147483647 w 69"/>
                    <a:gd name="T99" fmla="*/ 2147483647 h 29"/>
                    <a:gd name="T100" fmla="*/ 2147483647 w 69"/>
                    <a:gd name="T101" fmla="*/ 2147483647 h 29"/>
                    <a:gd name="T102" fmla="*/ 2147483647 w 69"/>
                    <a:gd name="T103" fmla="*/ 2147483647 h 29"/>
                    <a:gd name="T104" fmla="*/ 2147483647 w 69"/>
                    <a:gd name="T105" fmla="*/ 2147483647 h 29"/>
                    <a:gd name="T106" fmla="*/ 2147483647 w 69"/>
                    <a:gd name="T107" fmla="*/ 2147483647 h 29"/>
                    <a:gd name="T108" fmla="*/ 2147483647 w 69"/>
                    <a:gd name="T109" fmla="*/ 2147483647 h 29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9"/>
                    <a:gd name="T166" fmla="*/ 0 h 29"/>
                    <a:gd name="T167" fmla="*/ 69 w 69"/>
                    <a:gd name="T168" fmla="*/ 29 h 29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9" h="29">
                      <a:moveTo>
                        <a:pt x="68" y="22"/>
                      </a:moveTo>
                      <a:lnTo>
                        <a:pt x="68" y="22"/>
                      </a:lnTo>
                      <a:lnTo>
                        <a:pt x="69" y="17"/>
                      </a:lnTo>
                      <a:lnTo>
                        <a:pt x="69" y="15"/>
                      </a:lnTo>
                      <a:lnTo>
                        <a:pt x="68" y="14"/>
                      </a:lnTo>
                      <a:lnTo>
                        <a:pt x="59" y="9"/>
                      </a:lnTo>
                      <a:lnTo>
                        <a:pt x="54" y="6"/>
                      </a:lnTo>
                      <a:lnTo>
                        <a:pt x="50" y="2"/>
                      </a:lnTo>
                      <a:lnTo>
                        <a:pt x="46" y="0"/>
                      </a:lnTo>
                      <a:lnTo>
                        <a:pt x="43" y="0"/>
                      </a:lnTo>
                      <a:lnTo>
                        <a:pt x="42" y="1"/>
                      </a:lnTo>
                      <a:lnTo>
                        <a:pt x="38" y="4"/>
                      </a:lnTo>
                      <a:lnTo>
                        <a:pt x="36" y="6"/>
                      </a:lnTo>
                      <a:lnTo>
                        <a:pt x="28" y="7"/>
                      </a:lnTo>
                      <a:lnTo>
                        <a:pt x="22" y="8"/>
                      </a:lnTo>
                      <a:lnTo>
                        <a:pt x="15" y="11"/>
                      </a:lnTo>
                      <a:lnTo>
                        <a:pt x="3" y="17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1" y="23"/>
                      </a:lnTo>
                      <a:lnTo>
                        <a:pt x="4" y="23"/>
                      </a:lnTo>
                      <a:lnTo>
                        <a:pt x="10" y="20"/>
                      </a:lnTo>
                      <a:lnTo>
                        <a:pt x="14" y="19"/>
                      </a:lnTo>
                      <a:lnTo>
                        <a:pt x="18" y="21"/>
                      </a:lnTo>
                      <a:lnTo>
                        <a:pt x="21" y="25"/>
                      </a:lnTo>
                      <a:lnTo>
                        <a:pt x="22" y="26"/>
                      </a:lnTo>
                      <a:lnTo>
                        <a:pt x="23" y="27"/>
                      </a:lnTo>
                      <a:lnTo>
                        <a:pt x="27" y="27"/>
                      </a:lnTo>
                      <a:lnTo>
                        <a:pt x="29" y="26"/>
                      </a:lnTo>
                      <a:lnTo>
                        <a:pt x="35" y="21"/>
                      </a:lnTo>
                      <a:lnTo>
                        <a:pt x="36" y="21"/>
                      </a:lnTo>
                      <a:lnTo>
                        <a:pt x="37" y="21"/>
                      </a:lnTo>
                      <a:lnTo>
                        <a:pt x="40" y="23"/>
                      </a:lnTo>
                      <a:lnTo>
                        <a:pt x="43" y="26"/>
                      </a:lnTo>
                      <a:lnTo>
                        <a:pt x="47" y="26"/>
                      </a:lnTo>
                      <a:lnTo>
                        <a:pt x="51" y="26"/>
                      </a:lnTo>
                      <a:lnTo>
                        <a:pt x="55" y="26"/>
                      </a:lnTo>
                      <a:lnTo>
                        <a:pt x="59" y="27"/>
                      </a:lnTo>
                      <a:lnTo>
                        <a:pt x="65" y="29"/>
                      </a:lnTo>
                      <a:lnTo>
                        <a:pt x="66" y="26"/>
                      </a:lnTo>
                      <a:lnTo>
                        <a:pt x="68" y="2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8" name="Freeform 942">
                  <a:extLst>
                    <a:ext uri="{FF2B5EF4-FFF2-40B4-BE49-F238E27FC236}">
                      <a16:creationId xmlns:a16="http://schemas.microsoft.com/office/drawing/2014/main" id="{A8127C0D-0B08-C24F-96FD-BA60D423CB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0350" y="1919075"/>
                  <a:ext cx="66595" cy="39956"/>
                </a:xfrm>
                <a:custGeom>
                  <a:avLst/>
                  <a:gdLst>
                    <a:gd name="T0" fmla="*/ 2147483647 w 49"/>
                    <a:gd name="T1" fmla="*/ 2147483647 h 27"/>
                    <a:gd name="T2" fmla="*/ 2147483647 w 49"/>
                    <a:gd name="T3" fmla="*/ 2147483647 h 27"/>
                    <a:gd name="T4" fmla="*/ 2147483647 w 49"/>
                    <a:gd name="T5" fmla="*/ 2147483647 h 27"/>
                    <a:gd name="T6" fmla="*/ 2147483647 w 49"/>
                    <a:gd name="T7" fmla="*/ 2147483647 h 27"/>
                    <a:gd name="T8" fmla="*/ 2147483647 w 49"/>
                    <a:gd name="T9" fmla="*/ 2147483647 h 27"/>
                    <a:gd name="T10" fmla="*/ 2147483647 w 49"/>
                    <a:gd name="T11" fmla="*/ 2147483647 h 27"/>
                    <a:gd name="T12" fmla="*/ 2147483647 w 49"/>
                    <a:gd name="T13" fmla="*/ 2147483647 h 27"/>
                    <a:gd name="T14" fmla="*/ 2147483647 w 49"/>
                    <a:gd name="T15" fmla="*/ 2147483647 h 27"/>
                    <a:gd name="T16" fmla="*/ 2147483647 w 49"/>
                    <a:gd name="T17" fmla="*/ 2147483647 h 27"/>
                    <a:gd name="T18" fmla="*/ 2147483647 w 49"/>
                    <a:gd name="T19" fmla="*/ 2147483647 h 27"/>
                    <a:gd name="T20" fmla="*/ 2147483647 w 49"/>
                    <a:gd name="T21" fmla="*/ 2147483647 h 27"/>
                    <a:gd name="T22" fmla="*/ 2147483647 w 49"/>
                    <a:gd name="T23" fmla="*/ 2147483647 h 27"/>
                    <a:gd name="T24" fmla="*/ 2147483647 w 49"/>
                    <a:gd name="T25" fmla="*/ 2147483647 h 27"/>
                    <a:gd name="T26" fmla="*/ 2147483647 w 49"/>
                    <a:gd name="T27" fmla="*/ 2147483647 h 27"/>
                    <a:gd name="T28" fmla="*/ 2147483647 w 49"/>
                    <a:gd name="T29" fmla="*/ 2147483647 h 27"/>
                    <a:gd name="T30" fmla="*/ 2147483647 w 49"/>
                    <a:gd name="T31" fmla="*/ 2147483647 h 27"/>
                    <a:gd name="T32" fmla="*/ 2147483647 w 49"/>
                    <a:gd name="T33" fmla="*/ 2147483647 h 27"/>
                    <a:gd name="T34" fmla="*/ 2147483647 w 49"/>
                    <a:gd name="T35" fmla="*/ 2147483647 h 27"/>
                    <a:gd name="T36" fmla="*/ 2147483647 w 49"/>
                    <a:gd name="T37" fmla="*/ 0 h 27"/>
                    <a:gd name="T38" fmla="*/ 2147483647 w 49"/>
                    <a:gd name="T39" fmla="*/ 0 h 27"/>
                    <a:gd name="T40" fmla="*/ 2147483647 w 49"/>
                    <a:gd name="T41" fmla="*/ 0 h 27"/>
                    <a:gd name="T42" fmla="*/ 2147483647 w 49"/>
                    <a:gd name="T43" fmla="*/ 2147483647 h 27"/>
                    <a:gd name="T44" fmla="*/ 2147483647 w 49"/>
                    <a:gd name="T45" fmla="*/ 2147483647 h 27"/>
                    <a:gd name="T46" fmla="*/ 2147483647 w 49"/>
                    <a:gd name="T47" fmla="*/ 2147483647 h 27"/>
                    <a:gd name="T48" fmla="*/ 2147483647 w 49"/>
                    <a:gd name="T49" fmla="*/ 0 h 27"/>
                    <a:gd name="T50" fmla="*/ 2147483647 w 49"/>
                    <a:gd name="T51" fmla="*/ 0 h 27"/>
                    <a:gd name="T52" fmla="*/ 2147483647 w 49"/>
                    <a:gd name="T53" fmla="*/ 0 h 27"/>
                    <a:gd name="T54" fmla="*/ 2147483647 w 49"/>
                    <a:gd name="T55" fmla="*/ 2147483647 h 27"/>
                    <a:gd name="T56" fmla="*/ 2147483647 w 49"/>
                    <a:gd name="T57" fmla="*/ 2147483647 h 27"/>
                    <a:gd name="T58" fmla="*/ 0 w 49"/>
                    <a:gd name="T59" fmla="*/ 2147483647 h 27"/>
                    <a:gd name="T60" fmla="*/ 0 w 49"/>
                    <a:gd name="T61" fmla="*/ 2147483647 h 27"/>
                    <a:gd name="T62" fmla="*/ 0 w 49"/>
                    <a:gd name="T63" fmla="*/ 2147483647 h 27"/>
                    <a:gd name="T64" fmla="*/ 2147483647 w 49"/>
                    <a:gd name="T65" fmla="*/ 2147483647 h 27"/>
                    <a:gd name="T66" fmla="*/ 2147483647 w 49"/>
                    <a:gd name="T67" fmla="*/ 2147483647 h 27"/>
                    <a:gd name="T68" fmla="*/ 2147483647 w 49"/>
                    <a:gd name="T69" fmla="*/ 2147483647 h 27"/>
                    <a:gd name="T70" fmla="*/ 2147483647 w 49"/>
                    <a:gd name="T71" fmla="*/ 2147483647 h 27"/>
                    <a:gd name="T72" fmla="*/ 2147483647 w 49"/>
                    <a:gd name="T73" fmla="*/ 2147483647 h 27"/>
                    <a:gd name="T74" fmla="*/ 2147483647 w 49"/>
                    <a:gd name="T75" fmla="*/ 2147483647 h 27"/>
                    <a:gd name="T76" fmla="*/ 2147483647 w 49"/>
                    <a:gd name="T77" fmla="*/ 2147483647 h 27"/>
                    <a:gd name="T78" fmla="*/ 2147483647 w 49"/>
                    <a:gd name="T79" fmla="*/ 2147483647 h 27"/>
                    <a:gd name="T80" fmla="*/ 2147483647 w 49"/>
                    <a:gd name="T81" fmla="*/ 2147483647 h 27"/>
                    <a:gd name="T82" fmla="*/ 2147483647 w 49"/>
                    <a:gd name="T83" fmla="*/ 2147483647 h 27"/>
                    <a:gd name="T84" fmla="*/ 2147483647 w 49"/>
                    <a:gd name="T85" fmla="*/ 2147483647 h 27"/>
                    <a:gd name="T86" fmla="*/ 2147483647 w 49"/>
                    <a:gd name="T87" fmla="*/ 2147483647 h 27"/>
                    <a:gd name="T88" fmla="*/ 2147483647 w 49"/>
                    <a:gd name="T89" fmla="*/ 2147483647 h 27"/>
                    <a:gd name="T90" fmla="*/ 2147483647 w 49"/>
                    <a:gd name="T91" fmla="*/ 2147483647 h 2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9"/>
                    <a:gd name="T139" fmla="*/ 0 h 27"/>
                    <a:gd name="T140" fmla="*/ 49 w 49"/>
                    <a:gd name="T141" fmla="*/ 27 h 27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9" h="27">
                      <a:moveTo>
                        <a:pt x="44" y="24"/>
                      </a:moveTo>
                      <a:lnTo>
                        <a:pt x="44" y="24"/>
                      </a:lnTo>
                      <a:lnTo>
                        <a:pt x="47" y="22"/>
                      </a:lnTo>
                      <a:lnTo>
                        <a:pt x="47" y="20"/>
                      </a:lnTo>
                      <a:lnTo>
                        <a:pt x="47" y="17"/>
                      </a:lnTo>
                      <a:lnTo>
                        <a:pt x="44" y="12"/>
                      </a:lnTo>
                      <a:lnTo>
                        <a:pt x="42" y="10"/>
                      </a:lnTo>
                      <a:lnTo>
                        <a:pt x="42" y="8"/>
                      </a:lnTo>
                      <a:lnTo>
                        <a:pt x="42" y="7"/>
                      </a:lnTo>
                      <a:lnTo>
                        <a:pt x="44" y="7"/>
                      </a:lnTo>
                      <a:lnTo>
                        <a:pt x="47" y="7"/>
                      </a:lnTo>
                      <a:lnTo>
                        <a:pt x="48" y="7"/>
                      </a:lnTo>
                      <a:lnTo>
                        <a:pt x="49" y="6"/>
                      </a:lnTo>
                      <a:lnTo>
                        <a:pt x="48" y="3"/>
                      </a:lnTo>
                      <a:lnTo>
                        <a:pt x="45" y="1"/>
                      </a:lnTo>
                      <a:lnTo>
                        <a:pt x="42" y="0"/>
                      </a:lnTo>
                      <a:lnTo>
                        <a:pt x="38" y="0"/>
                      </a:lnTo>
                      <a:lnTo>
                        <a:pt x="33" y="1"/>
                      </a:lnTo>
                      <a:lnTo>
                        <a:pt x="28" y="3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6" y="0"/>
                      </a:lnTo>
                      <a:lnTo>
                        <a:pt x="3" y="1"/>
                      </a:lnTo>
                      <a:lnTo>
                        <a:pt x="1" y="4"/>
                      </a:lnTo>
                      <a:lnTo>
                        <a:pt x="0" y="7"/>
                      </a:lnTo>
                      <a:lnTo>
                        <a:pt x="0" y="18"/>
                      </a:lnTo>
                      <a:lnTo>
                        <a:pt x="2" y="23"/>
                      </a:lnTo>
                      <a:lnTo>
                        <a:pt x="3" y="26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4" y="26"/>
                      </a:lnTo>
                      <a:lnTo>
                        <a:pt x="20" y="25"/>
                      </a:lnTo>
                      <a:lnTo>
                        <a:pt x="28" y="25"/>
                      </a:lnTo>
                      <a:lnTo>
                        <a:pt x="42" y="27"/>
                      </a:lnTo>
                      <a:lnTo>
                        <a:pt x="43" y="26"/>
                      </a:lnTo>
                      <a:lnTo>
                        <a:pt x="44" y="2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9" name="Freeform 943">
                  <a:extLst>
                    <a:ext uri="{FF2B5EF4-FFF2-40B4-BE49-F238E27FC236}">
                      <a16:creationId xmlns:a16="http://schemas.microsoft.com/office/drawing/2014/main" id="{349AAD35-1A48-724F-B318-DE6425416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4975" y="2059664"/>
                  <a:ext cx="26637" cy="31078"/>
                </a:xfrm>
                <a:custGeom>
                  <a:avLst/>
                  <a:gdLst>
                    <a:gd name="T0" fmla="*/ 2147483647 w 20"/>
                    <a:gd name="T1" fmla="*/ 2147483647 h 21"/>
                    <a:gd name="T2" fmla="*/ 2147483647 w 20"/>
                    <a:gd name="T3" fmla="*/ 2147483647 h 21"/>
                    <a:gd name="T4" fmla="*/ 2147483647 w 20"/>
                    <a:gd name="T5" fmla="*/ 0 h 21"/>
                    <a:gd name="T6" fmla="*/ 2147483647 w 20"/>
                    <a:gd name="T7" fmla="*/ 0 h 21"/>
                    <a:gd name="T8" fmla="*/ 2147483647 w 20"/>
                    <a:gd name="T9" fmla="*/ 2147483647 h 21"/>
                    <a:gd name="T10" fmla="*/ 2147483647 w 20"/>
                    <a:gd name="T11" fmla="*/ 2147483647 h 21"/>
                    <a:gd name="T12" fmla="*/ 2147483647 w 20"/>
                    <a:gd name="T13" fmla="*/ 2147483647 h 21"/>
                    <a:gd name="T14" fmla="*/ 0 w 20"/>
                    <a:gd name="T15" fmla="*/ 2147483647 h 21"/>
                    <a:gd name="T16" fmla="*/ 0 w 20"/>
                    <a:gd name="T17" fmla="*/ 2147483647 h 21"/>
                    <a:gd name="T18" fmla="*/ 0 w 20"/>
                    <a:gd name="T19" fmla="*/ 2147483647 h 21"/>
                    <a:gd name="T20" fmla="*/ 2147483647 w 20"/>
                    <a:gd name="T21" fmla="*/ 2147483647 h 21"/>
                    <a:gd name="T22" fmla="*/ 2147483647 w 20"/>
                    <a:gd name="T23" fmla="*/ 2147483647 h 21"/>
                    <a:gd name="T24" fmla="*/ 2147483647 w 20"/>
                    <a:gd name="T25" fmla="*/ 2147483647 h 21"/>
                    <a:gd name="T26" fmla="*/ 2147483647 w 20"/>
                    <a:gd name="T27" fmla="*/ 2147483647 h 21"/>
                    <a:gd name="T28" fmla="*/ 2147483647 w 20"/>
                    <a:gd name="T29" fmla="*/ 2147483647 h 21"/>
                    <a:gd name="T30" fmla="*/ 2147483647 w 20"/>
                    <a:gd name="T31" fmla="*/ 2147483647 h 21"/>
                    <a:gd name="T32" fmla="*/ 2147483647 w 20"/>
                    <a:gd name="T33" fmla="*/ 2147483647 h 2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"/>
                    <a:gd name="T52" fmla="*/ 0 h 21"/>
                    <a:gd name="T53" fmla="*/ 20 w 20"/>
                    <a:gd name="T54" fmla="*/ 21 h 2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" h="21">
                      <a:moveTo>
                        <a:pt x="16" y="7"/>
                      </a:move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2" y="6"/>
                      </a:lnTo>
                      <a:lnTo>
                        <a:pt x="1" y="12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1" y="21"/>
                      </a:lnTo>
                      <a:lnTo>
                        <a:pt x="2" y="21"/>
                      </a:lnTo>
                      <a:lnTo>
                        <a:pt x="18" y="17"/>
                      </a:lnTo>
                      <a:lnTo>
                        <a:pt x="20" y="15"/>
                      </a:lnTo>
                      <a:lnTo>
                        <a:pt x="20" y="13"/>
                      </a:lnTo>
                      <a:lnTo>
                        <a:pt x="19" y="10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0" name="Freeform 944">
                  <a:extLst>
                    <a:ext uri="{FF2B5EF4-FFF2-40B4-BE49-F238E27FC236}">
                      <a16:creationId xmlns:a16="http://schemas.microsoft.com/office/drawing/2014/main" id="{7713F69E-4D7C-DD46-A40A-9754D53810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9560" y="2040427"/>
                  <a:ext cx="68074" cy="56235"/>
                </a:xfrm>
                <a:custGeom>
                  <a:avLst/>
                  <a:gdLst>
                    <a:gd name="T0" fmla="*/ 2147483647 w 50"/>
                    <a:gd name="T1" fmla="*/ 2147483647 h 38"/>
                    <a:gd name="T2" fmla="*/ 2147483647 w 50"/>
                    <a:gd name="T3" fmla="*/ 2147483647 h 38"/>
                    <a:gd name="T4" fmla="*/ 2147483647 w 50"/>
                    <a:gd name="T5" fmla="*/ 2147483647 h 38"/>
                    <a:gd name="T6" fmla="*/ 2147483647 w 50"/>
                    <a:gd name="T7" fmla="*/ 2147483647 h 38"/>
                    <a:gd name="T8" fmla="*/ 2147483647 w 50"/>
                    <a:gd name="T9" fmla="*/ 0 h 38"/>
                    <a:gd name="T10" fmla="*/ 2147483647 w 50"/>
                    <a:gd name="T11" fmla="*/ 2147483647 h 38"/>
                    <a:gd name="T12" fmla="*/ 2147483647 w 50"/>
                    <a:gd name="T13" fmla="*/ 2147483647 h 38"/>
                    <a:gd name="T14" fmla="*/ 2147483647 w 50"/>
                    <a:gd name="T15" fmla="*/ 2147483647 h 38"/>
                    <a:gd name="T16" fmla="*/ 2147483647 w 50"/>
                    <a:gd name="T17" fmla="*/ 2147483647 h 38"/>
                    <a:gd name="T18" fmla="*/ 2147483647 w 50"/>
                    <a:gd name="T19" fmla="*/ 2147483647 h 38"/>
                    <a:gd name="T20" fmla="*/ 2147483647 w 50"/>
                    <a:gd name="T21" fmla="*/ 2147483647 h 38"/>
                    <a:gd name="T22" fmla="*/ 2147483647 w 50"/>
                    <a:gd name="T23" fmla="*/ 2147483647 h 38"/>
                    <a:gd name="T24" fmla="*/ 0 w 50"/>
                    <a:gd name="T25" fmla="*/ 2147483647 h 38"/>
                    <a:gd name="T26" fmla="*/ 2147483647 w 50"/>
                    <a:gd name="T27" fmla="*/ 2147483647 h 38"/>
                    <a:gd name="T28" fmla="*/ 2147483647 w 50"/>
                    <a:gd name="T29" fmla="*/ 2147483647 h 38"/>
                    <a:gd name="T30" fmla="*/ 2147483647 w 50"/>
                    <a:gd name="T31" fmla="*/ 2147483647 h 38"/>
                    <a:gd name="T32" fmla="*/ 2147483647 w 50"/>
                    <a:gd name="T33" fmla="*/ 2147483647 h 38"/>
                    <a:gd name="T34" fmla="*/ 2147483647 w 50"/>
                    <a:gd name="T35" fmla="*/ 2147483647 h 38"/>
                    <a:gd name="T36" fmla="*/ 2147483647 w 50"/>
                    <a:gd name="T37" fmla="*/ 2147483647 h 38"/>
                    <a:gd name="T38" fmla="*/ 2147483647 w 50"/>
                    <a:gd name="T39" fmla="*/ 2147483647 h 38"/>
                    <a:gd name="T40" fmla="*/ 2147483647 w 50"/>
                    <a:gd name="T41" fmla="*/ 2147483647 h 38"/>
                    <a:gd name="T42" fmla="*/ 2147483647 w 50"/>
                    <a:gd name="T43" fmla="*/ 2147483647 h 38"/>
                    <a:gd name="T44" fmla="*/ 2147483647 w 50"/>
                    <a:gd name="T45" fmla="*/ 2147483647 h 38"/>
                    <a:gd name="T46" fmla="*/ 2147483647 w 50"/>
                    <a:gd name="T47" fmla="*/ 2147483647 h 38"/>
                    <a:gd name="T48" fmla="*/ 2147483647 w 50"/>
                    <a:gd name="T49" fmla="*/ 2147483647 h 38"/>
                    <a:gd name="T50" fmla="*/ 2147483647 w 50"/>
                    <a:gd name="T51" fmla="*/ 2147483647 h 38"/>
                    <a:gd name="T52" fmla="*/ 2147483647 w 50"/>
                    <a:gd name="T53" fmla="*/ 2147483647 h 38"/>
                    <a:gd name="T54" fmla="*/ 2147483647 w 50"/>
                    <a:gd name="T55" fmla="*/ 2147483647 h 38"/>
                    <a:gd name="T56" fmla="*/ 2147483647 w 50"/>
                    <a:gd name="T57" fmla="*/ 2147483647 h 38"/>
                    <a:gd name="T58" fmla="*/ 2147483647 w 50"/>
                    <a:gd name="T59" fmla="*/ 2147483647 h 38"/>
                    <a:gd name="T60" fmla="*/ 2147483647 w 50"/>
                    <a:gd name="T61" fmla="*/ 2147483647 h 38"/>
                    <a:gd name="T62" fmla="*/ 2147483647 w 50"/>
                    <a:gd name="T63" fmla="*/ 2147483647 h 38"/>
                    <a:gd name="T64" fmla="*/ 2147483647 w 50"/>
                    <a:gd name="T65" fmla="*/ 2147483647 h 38"/>
                    <a:gd name="T66" fmla="*/ 2147483647 w 50"/>
                    <a:gd name="T67" fmla="*/ 2147483647 h 3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50"/>
                    <a:gd name="T103" fmla="*/ 0 h 38"/>
                    <a:gd name="T104" fmla="*/ 50 w 50"/>
                    <a:gd name="T105" fmla="*/ 38 h 3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50" h="38">
                      <a:moveTo>
                        <a:pt x="35" y="12"/>
                      </a:moveTo>
                      <a:lnTo>
                        <a:pt x="30" y="6"/>
                      </a:lnTo>
                      <a:lnTo>
                        <a:pt x="27" y="2"/>
                      </a:lnTo>
                      <a:lnTo>
                        <a:pt x="23" y="1"/>
                      </a:lnTo>
                      <a:lnTo>
                        <a:pt x="19" y="0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3" y="5"/>
                      </a:lnTo>
                      <a:lnTo>
                        <a:pt x="12" y="9"/>
                      </a:lnTo>
                      <a:lnTo>
                        <a:pt x="9" y="13"/>
                      </a:lnTo>
                      <a:lnTo>
                        <a:pt x="3" y="21"/>
                      </a:lnTo>
                      <a:lnTo>
                        <a:pt x="2" y="24"/>
                      </a:lnTo>
                      <a:lnTo>
                        <a:pt x="0" y="27"/>
                      </a:lnTo>
                      <a:lnTo>
                        <a:pt x="2" y="30"/>
                      </a:lnTo>
                      <a:lnTo>
                        <a:pt x="4" y="31"/>
                      </a:lnTo>
                      <a:lnTo>
                        <a:pt x="12" y="32"/>
                      </a:lnTo>
                      <a:lnTo>
                        <a:pt x="16" y="32"/>
                      </a:lnTo>
                      <a:lnTo>
                        <a:pt x="19" y="33"/>
                      </a:lnTo>
                      <a:lnTo>
                        <a:pt x="21" y="33"/>
                      </a:lnTo>
                      <a:lnTo>
                        <a:pt x="22" y="33"/>
                      </a:lnTo>
                      <a:lnTo>
                        <a:pt x="25" y="32"/>
                      </a:lnTo>
                      <a:lnTo>
                        <a:pt x="26" y="32"/>
                      </a:lnTo>
                      <a:lnTo>
                        <a:pt x="32" y="36"/>
                      </a:lnTo>
                      <a:lnTo>
                        <a:pt x="40" y="38"/>
                      </a:lnTo>
                      <a:lnTo>
                        <a:pt x="44" y="38"/>
                      </a:lnTo>
                      <a:lnTo>
                        <a:pt x="46" y="37"/>
                      </a:lnTo>
                      <a:lnTo>
                        <a:pt x="49" y="36"/>
                      </a:lnTo>
                      <a:lnTo>
                        <a:pt x="50" y="33"/>
                      </a:lnTo>
                      <a:lnTo>
                        <a:pt x="49" y="28"/>
                      </a:lnTo>
                      <a:lnTo>
                        <a:pt x="47" y="25"/>
                      </a:lnTo>
                      <a:lnTo>
                        <a:pt x="42" y="17"/>
                      </a:lnTo>
                      <a:lnTo>
                        <a:pt x="41" y="15"/>
                      </a:lnTo>
                      <a:lnTo>
                        <a:pt x="38" y="14"/>
                      </a:ln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1" name="Freeform 945">
                  <a:extLst>
                    <a:ext uri="{FF2B5EF4-FFF2-40B4-BE49-F238E27FC236}">
                      <a16:creationId xmlns:a16="http://schemas.microsoft.com/office/drawing/2014/main" id="{36729736-77CA-CA4B-95A6-ABEC02B1B6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3496" y="2058187"/>
                  <a:ext cx="26637" cy="31077"/>
                </a:xfrm>
                <a:custGeom>
                  <a:avLst/>
                  <a:gdLst>
                    <a:gd name="T0" fmla="*/ 2147483647 w 20"/>
                    <a:gd name="T1" fmla="*/ 2147483647 h 21"/>
                    <a:gd name="T2" fmla="*/ 2147483647 w 20"/>
                    <a:gd name="T3" fmla="*/ 2147483647 h 21"/>
                    <a:gd name="T4" fmla="*/ 2147483647 w 20"/>
                    <a:gd name="T5" fmla="*/ 2147483647 h 21"/>
                    <a:gd name="T6" fmla="*/ 2147483647 w 20"/>
                    <a:gd name="T7" fmla="*/ 0 h 21"/>
                    <a:gd name="T8" fmla="*/ 2147483647 w 20"/>
                    <a:gd name="T9" fmla="*/ 0 h 21"/>
                    <a:gd name="T10" fmla="*/ 2147483647 w 20"/>
                    <a:gd name="T11" fmla="*/ 2147483647 h 21"/>
                    <a:gd name="T12" fmla="*/ 2147483647 w 20"/>
                    <a:gd name="T13" fmla="*/ 2147483647 h 21"/>
                    <a:gd name="T14" fmla="*/ 2147483647 w 20"/>
                    <a:gd name="T15" fmla="*/ 2147483647 h 21"/>
                    <a:gd name="T16" fmla="*/ 2147483647 w 20"/>
                    <a:gd name="T17" fmla="*/ 2147483647 h 21"/>
                    <a:gd name="T18" fmla="*/ 2147483647 w 20"/>
                    <a:gd name="T19" fmla="*/ 2147483647 h 21"/>
                    <a:gd name="T20" fmla="*/ 2147483647 w 20"/>
                    <a:gd name="T21" fmla="*/ 2147483647 h 21"/>
                    <a:gd name="T22" fmla="*/ 2147483647 w 20"/>
                    <a:gd name="T23" fmla="*/ 2147483647 h 21"/>
                    <a:gd name="T24" fmla="*/ 0 w 20"/>
                    <a:gd name="T25" fmla="*/ 2147483647 h 21"/>
                    <a:gd name="T26" fmla="*/ 0 w 20"/>
                    <a:gd name="T27" fmla="*/ 2147483647 h 21"/>
                    <a:gd name="T28" fmla="*/ 0 w 20"/>
                    <a:gd name="T29" fmla="*/ 2147483647 h 21"/>
                    <a:gd name="T30" fmla="*/ 2147483647 w 20"/>
                    <a:gd name="T31" fmla="*/ 2147483647 h 21"/>
                    <a:gd name="T32" fmla="*/ 2147483647 w 20"/>
                    <a:gd name="T33" fmla="*/ 2147483647 h 21"/>
                    <a:gd name="T34" fmla="*/ 2147483647 w 20"/>
                    <a:gd name="T35" fmla="*/ 2147483647 h 21"/>
                    <a:gd name="T36" fmla="*/ 2147483647 w 20"/>
                    <a:gd name="T37" fmla="*/ 2147483647 h 21"/>
                    <a:gd name="T38" fmla="*/ 2147483647 w 20"/>
                    <a:gd name="T39" fmla="*/ 2147483647 h 21"/>
                    <a:gd name="T40" fmla="*/ 2147483647 w 20"/>
                    <a:gd name="T41" fmla="*/ 2147483647 h 21"/>
                    <a:gd name="T42" fmla="*/ 2147483647 w 20"/>
                    <a:gd name="T43" fmla="*/ 2147483647 h 21"/>
                    <a:gd name="T44" fmla="*/ 2147483647 w 20"/>
                    <a:gd name="T45" fmla="*/ 2147483647 h 21"/>
                    <a:gd name="T46" fmla="*/ 2147483647 w 20"/>
                    <a:gd name="T47" fmla="*/ 2147483647 h 21"/>
                    <a:gd name="T48" fmla="*/ 2147483647 w 20"/>
                    <a:gd name="T49" fmla="*/ 2147483647 h 2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"/>
                    <a:gd name="T76" fmla="*/ 0 h 21"/>
                    <a:gd name="T77" fmla="*/ 20 w 20"/>
                    <a:gd name="T78" fmla="*/ 21 h 2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" h="21">
                      <a:moveTo>
                        <a:pt x="16" y="7"/>
                      </a:moveTo>
                      <a:lnTo>
                        <a:pt x="16" y="7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2" y="6"/>
                      </a:lnTo>
                      <a:lnTo>
                        <a:pt x="1" y="12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1" y="21"/>
                      </a:lnTo>
                      <a:lnTo>
                        <a:pt x="2" y="21"/>
                      </a:lnTo>
                      <a:lnTo>
                        <a:pt x="17" y="16"/>
                      </a:lnTo>
                      <a:lnTo>
                        <a:pt x="20" y="15"/>
                      </a:lnTo>
                      <a:lnTo>
                        <a:pt x="20" y="13"/>
                      </a:lnTo>
                      <a:lnTo>
                        <a:pt x="19" y="9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2" name="Freeform 946">
                  <a:extLst>
                    <a:ext uri="{FF2B5EF4-FFF2-40B4-BE49-F238E27FC236}">
                      <a16:creationId xmlns:a16="http://schemas.microsoft.com/office/drawing/2014/main" id="{F36C44C5-E9AF-814E-A12A-72BF520175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8080" y="2038948"/>
                  <a:ext cx="68074" cy="56235"/>
                </a:xfrm>
                <a:custGeom>
                  <a:avLst/>
                  <a:gdLst>
                    <a:gd name="T0" fmla="*/ 2147483647 w 50"/>
                    <a:gd name="T1" fmla="*/ 2147483647 h 38"/>
                    <a:gd name="T2" fmla="*/ 2147483647 w 50"/>
                    <a:gd name="T3" fmla="*/ 2147483647 h 38"/>
                    <a:gd name="T4" fmla="*/ 2147483647 w 50"/>
                    <a:gd name="T5" fmla="*/ 2147483647 h 38"/>
                    <a:gd name="T6" fmla="*/ 2147483647 w 50"/>
                    <a:gd name="T7" fmla="*/ 2147483647 h 38"/>
                    <a:gd name="T8" fmla="*/ 2147483647 w 50"/>
                    <a:gd name="T9" fmla="*/ 2147483647 h 38"/>
                    <a:gd name="T10" fmla="*/ 2147483647 w 50"/>
                    <a:gd name="T11" fmla="*/ 2147483647 h 38"/>
                    <a:gd name="T12" fmla="*/ 2147483647 w 50"/>
                    <a:gd name="T13" fmla="*/ 0 h 38"/>
                    <a:gd name="T14" fmla="*/ 2147483647 w 50"/>
                    <a:gd name="T15" fmla="*/ 2147483647 h 38"/>
                    <a:gd name="T16" fmla="*/ 2147483647 w 50"/>
                    <a:gd name="T17" fmla="*/ 2147483647 h 38"/>
                    <a:gd name="T18" fmla="*/ 2147483647 w 50"/>
                    <a:gd name="T19" fmla="*/ 2147483647 h 38"/>
                    <a:gd name="T20" fmla="*/ 2147483647 w 50"/>
                    <a:gd name="T21" fmla="*/ 2147483647 h 38"/>
                    <a:gd name="T22" fmla="*/ 2147483647 w 50"/>
                    <a:gd name="T23" fmla="*/ 2147483647 h 38"/>
                    <a:gd name="T24" fmla="*/ 2147483647 w 50"/>
                    <a:gd name="T25" fmla="*/ 2147483647 h 38"/>
                    <a:gd name="T26" fmla="*/ 2147483647 w 50"/>
                    <a:gd name="T27" fmla="*/ 2147483647 h 38"/>
                    <a:gd name="T28" fmla="*/ 2147483647 w 50"/>
                    <a:gd name="T29" fmla="*/ 2147483647 h 38"/>
                    <a:gd name="T30" fmla="*/ 2147483647 w 50"/>
                    <a:gd name="T31" fmla="*/ 2147483647 h 38"/>
                    <a:gd name="T32" fmla="*/ 0 w 50"/>
                    <a:gd name="T33" fmla="*/ 2147483647 h 38"/>
                    <a:gd name="T34" fmla="*/ 2147483647 w 50"/>
                    <a:gd name="T35" fmla="*/ 2147483647 h 38"/>
                    <a:gd name="T36" fmla="*/ 2147483647 w 50"/>
                    <a:gd name="T37" fmla="*/ 2147483647 h 38"/>
                    <a:gd name="T38" fmla="*/ 2147483647 w 50"/>
                    <a:gd name="T39" fmla="*/ 2147483647 h 38"/>
                    <a:gd name="T40" fmla="*/ 2147483647 w 50"/>
                    <a:gd name="T41" fmla="*/ 2147483647 h 38"/>
                    <a:gd name="T42" fmla="*/ 2147483647 w 50"/>
                    <a:gd name="T43" fmla="*/ 2147483647 h 38"/>
                    <a:gd name="T44" fmla="*/ 2147483647 w 50"/>
                    <a:gd name="T45" fmla="*/ 2147483647 h 38"/>
                    <a:gd name="T46" fmla="*/ 2147483647 w 50"/>
                    <a:gd name="T47" fmla="*/ 2147483647 h 38"/>
                    <a:gd name="T48" fmla="*/ 2147483647 w 50"/>
                    <a:gd name="T49" fmla="*/ 2147483647 h 38"/>
                    <a:gd name="T50" fmla="*/ 2147483647 w 50"/>
                    <a:gd name="T51" fmla="*/ 2147483647 h 38"/>
                    <a:gd name="T52" fmla="*/ 2147483647 w 50"/>
                    <a:gd name="T53" fmla="*/ 2147483647 h 38"/>
                    <a:gd name="T54" fmla="*/ 2147483647 w 50"/>
                    <a:gd name="T55" fmla="*/ 2147483647 h 38"/>
                    <a:gd name="T56" fmla="*/ 2147483647 w 50"/>
                    <a:gd name="T57" fmla="*/ 2147483647 h 38"/>
                    <a:gd name="T58" fmla="*/ 2147483647 w 50"/>
                    <a:gd name="T59" fmla="*/ 2147483647 h 38"/>
                    <a:gd name="T60" fmla="*/ 2147483647 w 50"/>
                    <a:gd name="T61" fmla="*/ 2147483647 h 38"/>
                    <a:gd name="T62" fmla="*/ 2147483647 w 50"/>
                    <a:gd name="T63" fmla="*/ 2147483647 h 38"/>
                    <a:gd name="T64" fmla="*/ 2147483647 w 50"/>
                    <a:gd name="T65" fmla="*/ 2147483647 h 38"/>
                    <a:gd name="T66" fmla="*/ 2147483647 w 50"/>
                    <a:gd name="T67" fmla="*/ 2147483647 h 38"/>
                    <a:gd name="T68" fmla="*/ 2147483647 w 50"/>
                    <a:gd name="T69" fmla="*/ 2147483647 h 38"/>
                    <a:gd name="T70" fmla="*/ 2147483647 w 50"/>
                    <a:gd name="T71" fmla="*/ 2147483647 h 38"/>
                    <a:gd name="T72" fmla="*/ 2147483647 w 50"/>
                    <a:gd name="T73" fmla="*/ 2147483647 h 38"/>
                    <a:gd name="T74" fmla="*/ 2147483647 w 50"/>
                    <a:gd name="T75" fmla="*/ 2147483647 h 38"/>
                    <a:gd name="T76" fmla="*/ 2147483647 w 50"/>
                    <a:gd name="T77" fmla="*/ 2147483647 h 38"/>
                    <a:gd name="T78" fmla="*/ 2147483647 w 50"/>
                    <a:gd name="T79" fmla="*/ 2147483647 h 38"/>
                    <a:gd name="T80" fmla="*/ 2147483647 w 50"/>
                    <a:gd name="T81" fmla="*/ 2147483647 h 38"/>
                    <a:gd name="T82" fmla="*/ 2147483647 w 50"/>
                    <a:gd name="T83" fmla="*/ 2147483647 h 38"/>
                    <a:gd name="T84" fmla="*/ 2147483647 w 50"/>
                    <a:gd name="T85" fmla="*/ 2147483647 h 38"/>
                    <a:gd name="T86" fmla="*/ 2147483647 w 50"/>
                    <a:gd name="T87" fmla="*/ 2147483647 h 3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50"/>
                    <a:gd name="T133" fmla="*/ 0 h 38"/>
                    <a:gd name="T134" fmla="*/ 50 w 50"/>
                    <a:gd name="T135" fmla="*/ 38 h 3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50" h="38">
                      <a:moveTo>
                        <a:pt x="34" y="12"/>
                      </a:moveTo>
                      <a:lnTo>
                        <a:pt x="34" y="12"/>
                      </a:lnTo>
                      <a:lnTo>
                        <a:pt x="29" y="6"/>
                      </a:lnTo>
                      <a:lnTo>
                        <a:pt x="27" y="2"/>
                      </a:lnTo>
                      <a:lnTo>
                        <a:pt x="23" y="1"/>
                      </a:lnTo>
                      <a:lnTo>
                        <a:pt x="19" y="0"/>
                      </a:lnTo>
                      <a:lnTo>
                        <a:pt x="17" y="1"/>
                      </a:lnTo>
                      <a:lnTo>
                        <a:pt x="14" y="2"/>
                      </a:lnTo>
                      <a:lnTo>
                        <a:pt x="13" y="5"/>
                      </a:lnTo>
                      <a:lnTo>
                        <a:pt x="12" y="9"/>
                      </a:lnTo>
                      <a:lnTo>
                        <a:pt x="9" y="13"/>
                      </a:lnTo>
                      <a:lnTo>
                        <a:pt x="3" y="21"/>
                      </a:lnTo>
                      <a:lnTo>
                        <a:pt x="1" y="24"/>
                      </a:lnTo>
                      <a:lnTo>
                        <a:pt x="0" y="27"/>
                      </a:lnTo>
                      <a:lnTo>
                        <a:pt x="1" y="29"/>
                      </a:lnTo>
                      <a:lnTo>
                        <a:pt x="4" y="31"/>
                      </a:lnTo>
                      <a:lnTo>
                        <a:pt x="12" y="32"/>
                      </a:lnTo>
                      <a:lnTo>
                        <a:pt x="15" y="32"/>
                      </a:lnTo>
                      <a:lnTo>
                        <a:pt x="19" y="33"/>
                      </a:lnTo>
                      <a:lnTo>
                        <a:pt x="20" y="33"/>
                      </a:lnTo>
                      <a:lnTo>
                        <a:pt x="22" y="33"/>
                      </a:lnTo>
                      <a:lnTo>
                        <a:pt x="24" y="32"/>
                      </a:lnTo>
                      <a:lnTo>
                        <a:pt x="26" y="32"/>
                      </a:lnTo>
                      <a:lnTo>
                        <a:pt x="32" y="35"/>
                      </a:lnTo>
                      <a:lnTo>
                        <a:pt x="39" y="38"/>
                      </a:lnTo>
                      <a:lnTo>
                        <a:pt x="43" y="38"/>
                      </a:lnTo>
                      <a:lnTo>
                        <a:pt x="46" y="37"/>
                      </a:lnTo>
                      <a:lnTo>
                        <a:pt x="48" y="35"/>
                      </a:lnTo>
                      <a:lnTo>
                        <a:pt x="50" y="33"/>
                      </a:lnTo>
                      <a:lnTo>
                        <a:pt x="48" y="28"/>
                      </a:lnTo>
                      <a:lnTo>
                        <a:pt x="47" y="25"/>
                      </a:lnTo>
                      <a:lnTo>
                        <a:pt x="42" y="16"/>
                      </a:lnTo>
                      <a:lnTo>
                        <a:pt x="41" y="15"/>
                      </a:lnTo>
                      <a:lnTo>
                        <a:pt x="38" y="14"/>
                      </a:lnTo>
                      <a:lnTo>
                        <a:pt x="34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3" name="Freeform 947">
                  <a:extLst>
                    <a:ext uri="{FF2B5EF4-FFF2-40B4-BE49-F238E27FC236}">
                      <a16:creationId xmlns:a16="http://schemas.microsoft.com/office/drawing/2014/main" id="{5025EBBC-13AD-B047-9171-F77EEA019A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8079" y="1978274"/>
                  <a:ext cx="395126" cy="131708"/>
                </a:xfrm>
                <a:custGeom>
                  <a:avLst/>
                  <a:gdLst>
                    <a:gd name="T0" fmla="*/ 2147483647 w 290"/>
                    <a:gd name="T1" fmla="*/ 2147483647 h 89"/>
                    <a:gd name="T2" fmla="*/ 2147483647 w 290"/>
                    <a:gd name="T3" fmla="*/ 2147483647 h 89"/>
                    <a:gd name="T4" fmla="*/ 2147483647 w 290"/>
                    <a:gd name="T5" fmla="*/ 2147483647 h 89"/>
                    <a:gd name="T6" fmla="*/ 2147483647 w 290"/>
                    <a:gd name="T7" fmla="*/ 2147483647 h 89"/>
                    <a:gd name="T8" fmla="*/ 2147483647 w 290"/>
                    <a:gd name="T9" fmla="*/ 2147483647 h 89"/>
                    <a:gd name="T10" fmla="*/ 2147483647 w 290"/>
                    <a:gd name="T11" fmla="*/ 2147483647 h 89"/>
                    <a:gd name="T12" fmla="*/ 2147483647 w 290"/>
                    <a:gd name="T13" fmla="*/ 2147483647 h 89"/>
                    <a:gd name="T14" fmla="*/ 2147483647 w 290"/>
                    <a:gd name="T15" fmla="*/ 2147483647 h 89"/>
                    <a:gd name="T16" fmla="*/ 2147483647 w 290"/>
                    <a:gd name="T17" fmla="*/ 2147483647 h 89"/>
                    <a:gd name="T18" fmla="*/ 2147483647 w 290"/>
                    <a:gd name="T19" fmla="*/ 2147483647 h 89"/>
                    <a:gd name="T20" fmla="*/ 2147483647 w 290"/>
                    <a:gd name="T21" fmla="*/ 2147483647 h 89"/>
                    <a:gd name="T22" fmla="*/ 2147483647 w 290"/>
                    <a:gd name="T23" fmla="*/ 2147483647 h 89"/>
                    <a:gd name="T24" fmla="*/ 2147483647 w 290"/>
                    <a:gd name="T25" fmla="*/ 2147483647 h 89"/>
                    <a:gd name="T26" fmla="*/ 2147483647 w 290"/>
                    <a:gd name="T27" fmla="*/ 2147483647 h 89"/>
                    <a:gd name="T28" fmla="*/ 2147483647 w 290"/>
                    <a:gd name="T29" fmla="*/ 2147483647 h 89"/>
                    <a:gd name="T30" fmla="*/ 2147483647 w 290"/>
                    <a:gd name="T31" fmla="*/ 2147483647 h 89"/>
                    <a:gd name="T32" fmla="*/ 2147483647 w 290"/>
                    <a:gd name="T33" fmla="*/ 2147483647 h 89"/>
                    <a:gd name="T34" fmla="*/ 2147483647 w 290"/>
                    <a:gd name="T35" fmla="*/ 2147483647 h 89"/>
                    <a:gd name="T36" fmla="*/ 2147483647 w 290"/>
                    <a:gd name="T37" fmla="*/ 2147483647 h 89"/>
                    <a:gd name="T38" fmla="*/ 2147483647 w 290"/>
                    <a:gd name="T39" fmla="*/ 2147483647 h 89"/>
                    <a:gd name="T40" fmla="*/ 2147483647 w 290"/>
                    <a:gd name="T41" fmla="*/ 2147483647 h 89"/>
                    <a:gd name="T42" fmla="*/ 2147483647 w 290"/>
                    <a:gd name="T43" fmla="*/ 2147483647 h 89"/>
                    <a:gd name="T44" fmla="*/ 2147483647 w 290"/>
                    <a:gd name="T45" fmla="*/ 2147483647 h 89"/>
                    <a:gd name="T46" fmla="*/ 2147483647 w 290"/>
                    <a:gd name="T47" fmla="*/ 2147483647 h 89"/>
                    <a:gd name="T48" fmla="*/ 2147483647 w 290"/>
                    <a:gd name="T49" fmla="*/ 2147483647 h 89"/>
                    <a:gd name="T50" fmla="*/ 2147483647 w 290"/>
                    <a:gd name="T51" fmla="*/ 2147483647 h 89"/>
                    <a:gd name="T52" fmla="*/ 2147483647 w 290"/>
                    <a:gd name="T53" fmla="*/ 2147483647 h 89"/>
                    <a:gd name="T54" fmla="*/ 2147483647 w 290"/>
                    <a:gd name="T55" fmla="*/ 2147483647 h 89"/>
                    <a:gd name="T56" fmla="*/ 2147483647 w 290"/>
                    <a:gd name="T57" fmla="*/ 2147483647 h 89"/>
                    <a:gd name="T58" fmla="*/ 2147483647 w 290"/>
                    <a:gd name="T59" fmla="*/ 2147483647 h 89"/>
                    <a:gd name="T60" fmla="*/ 2147483647 w 290"/>
                    <a:gd name="T61" fmla="*/ 2147483647 h 89"/>
                    <a:gd name="T62" fmla="*/ 2147483647 w 290"/>
                    <a:gd name="T63" fmla="*/ 2147483647 h 89"/>
                    <a:gd name="T64" fmla="*/ 2147483647 w 290"/>
                    <a:gd name="T65" fmla="*/ 2147483647 h 89"/>
                    <a:gd name="T66" fmla="*/ 2147483647 w 290"/>
                    <a:gd name="T67" fmla="*/ 2147483647 h 89"/>
                    <a:gd name="T68" fmla="*/ 2147483647 w 290"/>
                    <a:gd name="T69" fmla="*/ 2147483647 h 89"/>
                    <a:gd name="T70" fmla="*/ 2147483647 w 290"/>
                    <a:gd name="T71" fmla="*/ 2147483647 h 89"/>
                    <a:gd name="T72" fmla="*/ 2147483647 w 290"/>
                    <a:gd name="T73" fmla="*/ 2147483647 h 89"/>
                    <a:gd name="T74" fmla="*/ 2147483647 w 290"/>
                    <a:gd name="T75" fmla="*/ 2147483647 h 89"/>
                    <a:gd name="T76" fmla="*/ 2147483647 w 290"/>
                    <a:gd name="T77" fmla="*/ 2147483647 h 89"/>
                    <a:gd name="T78" fmla="*/ 2147483647 w 290"/>
                    <a:gd name="T79" fmla="*/ 2147483647 h 89"/>
                    <a:gd name="T80" fmla="*/ 2147483647 w 290"/>
                    <a:gd name="T81" fmla="*/ 2147483647 h 89"/>
                    <a:gd name="T82" fmla="*/ 2147483647 w 290"/>
                    <a:gd name="T83" fmla="*/ 2147483647 h 89"/>
                    <a:gd name="T84" fmla="*/ 2147483647 w 290"/>
                    <a:gd name="T85" fmla="*/ 2147483647 h 89"/>
                    <a:gd name="T86" fmla="*/ 2147483647 w 290"/>
                    <a:gd name="T87" fmla="*/ 2147483647 h 89"/>
                    <a:gd name="T88" fmla="*/ 2147483647 w 290"/>
                    <a:gd name="T89" fmla="*/ 2147483647 h 89"/>
                    <a:gd name="T90" fmla="*/ 2147483647 w 290"/>
                    <a:gd name="T91" fmla="*/ 2147483647 h 89"/>
                    <a:gd name="T92" fmla="*/ 2147483647 w 290"/>
                    <a:gd name="T93" fmla="*/ 2147483647 h 89"/>
                    <a:gd name="T94" fmla="*/ 2147483647 w 290"/>
                    <a:gd name="T95" fmla="*/ 2147483647 h 89"/>
                    <a:gd name="T96" fmla="*/ 2147483647 w 290"/>
                    <a:gd name="T97" fmla="*/ 2147483647 h 89"/>
                    <a:gd name="T98" fmla="*/ 2147483647 w 290"/>
                    <a:gd name="T99" fmla="*/ 2147483647 h 89"/>
                    <a:gd name="T100" fmla="*/ 2147483647 w 290"/>
                    <a:gd name="T101" fmla="*/ 2147483647 h 89"/>
                    <a:gd name="T102" fmla="*/ 2147483647 w 290"/>
                    <a:gd name="T103" fmla="*/ 2147483647 h 89"/>
                    <a:gd name="T104" fmla="*/ 2147483647 w 290"/>
                    <a:gd name="T105" fmla="*/ 2147483647 h 89"/>
                    <a:gd name="T106" fmla="*/ 2147483647 w 290"/>
                    <a:gd name="T107" fmla="*/ 2147483647 h 89"/>
                    <a:gd name="T108" fmla="*/ 2147483647 w 290"/>
                    <a:gd name="T109" fmla="*/ 2147483647 h 89"/>
                    <a:gd name="T110" fmla="*/ 2147483647 w 290"/>
                    <a:gd name="T111" fmla="*/ 2147483647 h 89"/>
                    <a:gd name="T112" fmla="*/ 2147483647 w 290"/>
                    <a:gd name="T113" fmla="*/ 2147483647 h 89"/>
                    <a:gd name="T114" fmla="*/ 2147483647 w 290"/>
                    <a:gd name="T115" fmla="*/ 2147483647 h 89"/>
                    <a:gd name="T116" fmla="*/ 2147483647 w 290"/>
                    <a:gd name="T117" fmla="*/ 2147483647 h 89"/>
                    <a:gd name="T118" fmla="*/ 2147483647 w 290"/>
                    <a:gd name="T119" fmla="*/ 2147483647 h 89"/>
                    <a:gd name="T120" fmla="*/ 2147483647 w 290"/>
                    <a:gd name="T121" fmla="*/ 2147483647 h 89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90"/>
                    <a:gd name="T184" fmla="*/ 0 h 89"/>
                    <a:gd name="T185" fmla="*/ 290 w 290"/>
                    <a:gd name="T186" fmla="*/ 89 h 89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90" h="89">
                      <a:moveTo>
                        <a:pt x="76" y="41"/>
                      </a:moveTo>
                      <a:lnTo>
                        <a:pt x="76" y="42"/>
                      </a:lnTo>
                      <a:lnTo>
                        <a:pt x="78" y="43"/>
                      </a:lnTo>
                      <a:lnTo>
                        <a:pt x="79" y="46"/>
                      </a:lnTo>
                      <a:lnTo>
                        <a:pt x="79" y="47"/>
                      </a:lnTo>
                      <a:lnTo>
                        <a:pt x="79" y="54"/>
                      </a:lnTo>
                      <a:lnTo>
                        <a:pt x="79" y="56"/>
                      </a:lnTo>
                      <a:lnTo>
                        <a:pt x="80" y="59"/>
                      </a:lnTo>
                      <a:lnTo>
                        <a:pt x="84" y="61"/>
                      </a:lnTo>
                      <a:lnTo>
                        <a:pt x="85" y="65"/>
                      </a:lnTo>
                      <a:lnTo>
                        <a:pt x="85" y="70"/>
                      </a:lnTo>
                      <a:lnTo>
                        <a:pt x="85" y="74"/>
                      </a:lnTo>
                      <a:lnTo>
                        <a:pt x="86" y="78"/>
                      </a:lnTo>
                      <a:lnTo>
                        <a:pt x="89" y="79"/>
                      </a:lnTo>
                      <a:lnTo>
                        <a:pt x="93" y="80"/>
                      </a:lnTo>
                      <a:lnTo>
                        <a:pt x="99" y="78"/>
                      </a:lnTo>
                      <a:lnTo>
                        <a:pt x="102" y="79"/>
                      </a:lnTo>
                      <a:lnTo>
                        <a:pt x="104" y="80"/>
                      </a:lnTo>
                      <a:lnTo>
                        <a:pt x="108" y="82"/>
                      </a:lnTo>
                      <a:lnTo>
                        <a:pt x="111" y="82"/>
                      </a:lnTo>
                      <a:lnTo>
                        <a:pt x="113" y="81"/>
                      </a:lnTo>
                      <a:lnTo>
                        <a:pt x="114" y="80"/>
                      </a:lnTo>
                      <a:lnTo>
                        <a:pt x="121" y="79"/>
                      </a:lnTo>
                      <a:lnTo>
                        <a:pt x="126" y="75"/>
                      </a:lnTo>
                      <a:lnTo>
                        <a:pt x="128" y="72"/>
                      </a:lnTo>
                      <a:lnTo>
                        <a:pt x="131" y="66"/>
                      </a:lnTo>
                      <a:lnTo>
                        <a:pt x="132" y="65"/>
                      </a:lnTo>
                      <a:lnTo>
                        <a:pt x="133" y="65"/>
                      </a:lnTo>
                      <a:lnTo>
                        <a:pt x="136" y="65"/>
                      </a:lnTo>
                      <a:lnTo>
                        <a:pt x="137" y="66"/>
                      </a:lnTo>
                      <a:lnTo>
                        <a:pt x="139" y="67"/>
                      </a:lnTo>
                      <a:lnTo>
                        <a:pt x="139" y="70"/>
                      </a:lnTo>
                      <a:lnTo>
                        <a:pt x="136" y="74"/>
                      </a:lnTo>
                      <a:lnTo>
                        <a:pt x="135" y="76"/>
                      </a:lnTo>
                      <a:lnTo>
                        <a:pt x="135" y="78"/>
                      </a:lnTo>
                      <a:lnTo>
                        <a:pt x="136" y="81"/>
                      </a:lnTo>
                      <a:lnTo>
                        <a:pt x="140" y="83"/>
                      </a:lnTo>
                      <a:lnTo>
                        <a:pt x="144" y="85"/>
                      </a:lnTo>
                      <a:lnTo>
                        <a:pt x="147" y="85"/>
                      </a:lnTo>
                      <a:lnTo>
                        <a:pt x="147" y="87"/>
                      </a:lnTo>
                      <a:lnTo>
                        <a:pt x="149" y="87"/>
                      </a:lnTo>
                      <a:lnTo>
                        <a:pt x="151" y="87"/>
                      </a:lnTo>
                      <a:lnTo>
                        <a:pt x="150" y="87"/>
                      </a:lnTo>
                      <a:lnTo>
                        <a:pt x="154" y="87"/>
                      </a:lnTo>
                      <a:lnTo>
                        <a:pt x="158" y="86"/>
                      </a:lnTo>
                      <a:lnTo>
                        <a:pt x="160" y="85"/>
                      </a:lnTo>
                      <a:lnTo>
                        <a:pt x="164" y="86"/>
                      </a:lnTo>
                      <a:lnTo>
                        <a:pt x="173" y="87"/>
                      </a:lnTo>
                      <a:lnTo>
                        <a:pt x="188" y="87"/>
                      </a:lnTo>
                      <a:lnTo>
                        <a:pt x="203" y="89"/>
                      </a:lnTo>
                      <a:lnTo>
                        <a:pt x="206" y="89"/>
                      </a:lnTo>
                      <a:lnTo>
                        <a:pt x="210" y="88"/>
                      </a:lnTo>
                      <a:lnTo>
                        <a:pt x="216" y="86"/>
                      </a:lnTo>
                      <a:lnTo>
                        <a:pt x="220" y="85"/>
                      </a:lnTo>
                      <a:lnTo>
                        <a:pt x="224" y="86"/>
                      </a:lnTo>
                      <a:lnTo>
                        <a:pt x="226" y="86"/>
                      </a:lnTo>
                      <a:lnTo>
                        <a:pt x="230" y="85"/>
                      </a:lnTo>
                      <a:lnTo>
                        <a:pt x="231" y="83"/>
                      </a:lnTo>
                      <a:lnTo>
                        <a:pt x="233" y="81"/>
                      </a:lnTo>
                      <a:lnTo>
                        <a:pt x="233" y="78"/>
                      </a:lnTo>
                      <a:lnTo>
                        <a:pt x="234" y="73"/>
                      </a:lnTo>
                      <a:lnTo>
                        <a:pt x="235" y="72"/>
                      </a:lnTo>
                      <a:lnTo>
                        <a:pt x="238" y="72"/>
                      </a:lnTo>
                      <a:lnTo>
                        <a:pt x="239" y="73"/>
                      </a:lnTo>
                      <a:lnTo>
                        <a:pt x="240" y="75"/>
                      </a:lnTo>
                      <a:lnTo>
                        <a:pt x="241" y="82"/>
                      </a:lnTo>
                      <a:lnTo>
                        <a:pt x="243" y="83"/>
                      </a:lnTo>
                      <a:lnTo>
                        <a:pt x="245" y="85"/>
                      </a:lnTo>
                      <a:lnTo>
                        <a:pt x="250" y="87"/>
                      </a:lnTo>
                      <a:lnTo>
                        <a:pt x="263" y="88"/>
                      </a:lnTo>
                      <a:lnTo>
                        <a:pt x="266" y="88"/>
                      </a:lnTo>
                      <a:lnTo>
                        <a:pt x="268" y="87"/>
                      </a:lnTo>
                      <a:lnTo>
                        <a:pt x="271" y="86"/>
                      </a:lnTo>
                      <a:lnTo>
                        <a:pt x="273" y="83"/>
                      </a:lnTo>
                      <a:lnTo>
                        <a:pt x="274" y="78"/>
                      </a:lnTo>
                      <a:lnTo>
                        <a:pt x="277" y="72"/>
                      </a:lnTo>
                      <a:lnTo>
                        <a:pt x="278" y="69"/>
                      </a:lnTo>
                      <a:lnTo>
                        <a:pt x="281" y="68"/>
                      </a:lnTo>
                      <a:lnTo>
                        <a:pt x="283" y="67"/>
                      </a:lnTo>
                      <a:lnTo>
                        <a:pt x="287" y="66"/>
                      </a:lnTo>
                      <a:lnTo>
                        <a:pt x="290" y="66"/>
                      </a:lnTo>
                      <a:lnTo>
                        <a:pt x="290" y="63"/>
                      </a:lnTo>
                      <a:lnTo>
                        <a:pt x="290" y="61"/>
                      </a:lnTo>
                      <a:lnTo>
                        <a:pt x="288" y="59"/>
                      </a:lnTo>
                      <a:lnTo>
                        <a:pt x="287" y="56"/>
                      </a:lnTo>
                      <a:lnTo>
                        <a:pt x="286" y="54"/>
                      </a:lnTo>
                      <a:lnTo>
                        <a:pt x="285" y="50"/>
                      </a:lnTo>
                      <a:lnTo>
                        <a:pt x="283" y="48"/>
                      </a:lnTo>
                      <a:lnTo>
                        <a:pt x="279" y="48"/>
                      </a:lnTo>
                      <a:lnTo>
                        <a:pt x="276" y="49"/>
                      </a:lnTo>
                      <a:lnTo>
                        <a:pt x="268" y="47"/>
                      </a:lnTo>
                      <a:lnTo>
                        <a:pt x="258" y="46"/>
                      </a:lnTo>
                      <a:lnTo>
                        <a:pt x="248" y="44"/>
                      </a:lnTo>
                      <a:lnTo>
                        <a:pt x="236" y="46"/>
                      </a:lnTo>
                      <a:lnTo>
                        <a:pt x="216" y="48"/>
                      </a:lnTo>
                      <a:lnTo>
                        <a:pt x="199" y="53"/>
                      </a:lnTo>
                      <a:lnTo>
                        <a:pt x="197" y="55"/>
                      </a:lnTo>
                      <a:lnTo>
                        <a:pt x="194" y="59"/>
                      </a:lnTo>
                      <a:lnTo>
                        <a:pt x="193" y="60"/>
                      </a:lnTo>
                      <a:lnTo>
                        <a:pt x="191" y="61"/>
                      </a:lnTo>
                      <a:lnTo>
                        <a:pt x="187" y="61"/>
                      </a:lnTo>
                      <a:lnTo>
                        <a:pt x="183" y="61"/>
                      </a:lnTo>
                      <a:lnTo>
                        <a:pt x="180" y="59"/>
                      </a:lnTo>
                      <a:lnTo>
                        <a:pt x="178" y="57"/>
                      </a:lnTo>
                      <a:lnTo>
                        <a:pt x="175" y="55"/>
                      </a:lnTo>
                      <a:lnTo>
                        <a:pt x="172" y="54"/>
                      </a:lnTo>
                      <a:lnTo>
                        <a:pt x="169" y="53"/>
                      </a:lnTo>
                      <a:lnTo>
                        <a:pt x="166" y="51"/>
                      </a:lnTo>
                      <a:lnTo>
                        <a:pt x="165" y="51"/>
                      </a:lnTo>
                      <a:lnTo>
                        <a:pt x="161" y="54"/>
                      </a:lnTo>
                      <a:lnTo>
                        <a:pt x="159" y="55"/>
                      </a:lnTo>
                      <a:lnTo>
                        <a:pt x="156" y="54"/>
                      </a:lnTo>
                      <a:lnTo>
                        <a:pt x="153" y="54"/>
                      </a:lnTo>
                      <a:lnTo>
                        <a:pt x="147" y="50"/>
                      </a:lnTo>
                      <a:lnTo>
                        <a:pt x="141" y="47"/>
                      </a:lnTo>
                      <a:lnTo>
                        <a:pt x="140" y="47"/>
                      </a:lnTo>
                      <a:lnTo>
                        <a:pt x="137" y="48"/>
                      </a:lnTo>
                      <a:lnTo>
                        <a:pt x="136" y="48"/>
                      </a:lnTo>
                      <a:lnTo>
                        <a:pt x="133" y="48"/>
                      </a:lnTo>
                      <a:lnTo>
                        <a:pt x="128" y="46"/>
                      </a:lnTo>
                      <a:lnTo>
                        <a:pt x="125" y="42"/>
                      </a:lnTo>
                      <a:lnTo>
                        <a:pt x="118" y="41"/>
                      </a:lnTo>
                      <a:lnTo>
                        <a:pt x="112" y="40"/>
                      </a:lnTo>
                      <a:lnTo>
                        <a:pt x="107" y="38"/>
                      </a:lnTo>
                      <a:lnTo>
                        <a:pt x="106" y="36"/>
                      </a:lnTo>
                      <a:lnTo>
                        <a:pt x="104" y="35"/>
                      </a:lnTo>
                      <a:lnTo>
                        <a:pt x="104" y="32"/>
                      </a:lnTo>
                      <a:lnTo>
                        <a:pt x="108" y="31"/>
                      </a:lnTo>
                      <a:lnTo>
                        <a:pt x="112" y="31"/>
                      </a:lnTo>
                      <a:lnTo>
                        <a:pt x="116" y="30"/>
                      </a:lnTo>
                      <a:lnTo>
                        <a:pt x="117" y="29"/>
                      </a:lnTo>
                      <a:lnTo>
                        <a:pt x="117" y="27"/>
                      </a:lnTo>
                      <a:lnTo>
                        <a:pt x="114" y="25"/>
                      </a:lnTo>
                      <a:lnTo>
                        <a:pt x="112" y="24"/>
                      </a:lnTo>
                      <a:lnTo>
                        <a:pt x="109" y="24"/>
                      </a:lnTo>
                      <a:lnTo>
                        <a:pt x="107" y="23"/>
                      </a:lnTo>
                      <a:lnTo>
                        <a:pt x="106" y="21"/>
                      </a:lnTo>
                      <a:lnTo>
                        <a:pt x="104" y="17"/>
                      </a:lnTo>
                      <a:lnTo>
                        <a:pt x="104" y="14"/>
                      </a:lnTo>
                      <a:lnTo>
                        <a:pt x="102" y="11"/>
                      </a:lnTo>
                      <a:lnTo>
                        <a:pt x="100" y="10"/>
                      </a:lnTo>
                      <a:lnTo>
                        <a:pt x="98" y="11"/>
                      </a:lnTo>
                      <a:lnTo>
                        <a:pt x="94" y="12"/>
                      </a:lnTo>
                      <a:lnTo>
                        <a:pt x="89" y="12"/>
                      </a:lnTo>
                      <a:lnTo>
                        <a:pt x="83" y="12"/>
                      </a:lnTo>
                      <a:lnTo>
                        <a:pt x="76" y="14"/>
                      </a:lnTo>
                      <a:lnTo>
                        <a:pt x="73" y="16"/>
                      </a:lnTo>
                      <a:lnTo>
                        <a:pt x="69" y="17"/>
                      </a:lnTo>
                      <a:lnTo>
                        <a:pt x="66" y="18"/>
                      </a:lnTo>
                      <a:lnTo>
                        <a:pt x="65" y="17"/>
                      </a:lnTo>
                      <a:lnTo>
                        <a:pt x="61" y="14"/>
                      </a:lnTo>
                      <a:lnTo>
                        <a:pt x="59" y="10"/>
                      </a:lnTo>
                      <a:lnTo>
                        <a:pt x="56" y="9"/>
                      </a:lnTo>
                      <a:lnTo>
                        <a:pt x="55" y="8"/>
                      </a:lnTo>
                      <a:lnTo>
                        <a:pt x="37" y="5"/>
                      </a:lnTo>
                      <a:lnTo>
                        <a:pt x="20" y="2"/>
                      </a:lnTo>
                      <a:lnTo>
                        <a:pt x="15" y="0"/>
                      </a:lnTo>
                      <a:lnTo>
                        <a:pt x="10" y="2"/>
                      </a:lnTo>
                      <a:lnTo>
                        <a:pt x="5" y="3"/>
                      </a:lnTo>
                      <a:lnTo>
                        <a:pt x="1" y="6"/>
                      </a:lnTo>
                      <a:lnTo>
                        <a:pt x="0" y="10"/>
                      </a:lnTo>
                      <a:lnTo>
                        <a:pt x="1" y="14"/>
                      </a:lnTo>
                      <a:lnTo>
                        <a:pt x="3" y="17"/>
                      </a:lnTo>
                      <a:lnTo>
                        <a:pt x="5" y="19"/>
                      </a:lnTo>
                      <a:lnTo>
                        <a:pt x="8" y="21"/>
                      </a:lnTo>
                      <a:lnTo>
                        <a:pt x="10" y="21"/>
                      </a:lnTo>
                      <a:lnTo>
                        <a:pt x="13" y="22"/>
                      </a:lnTo>
                      <a:lnTo>
                        <a:pt x="15" y="22"/>
                      </a:lnTo>
                      <a:lnTo>
                        <a:pt x="22" y="28"/>
                      </a:lnTo>
                      <a:lnTo>
                        <a:pt x="31" y="32"/>
                      </a:lnTo>
                      <a:lnTo>
                        <a:pt x="39" y="34"/>
                      </a:lnTo>
                      <a:lnTo>
                        <a:pt x="48" y="32"/>
                      </a:lnTo>
                      <a:lnTo>
                        <a:pt x="51" y="31"/>
                      </a:lnTo>
                      <a:lnTo>
                        <a:pt x="52" y="29"/>
                      </a:lnTo>
                      <a:lnTo>
                        <a:pt x="55" y="27"/>
                      </a:lnTo>
                      <a:lnTo>
                        <a:pt x="56" y="25"/>
                      </a:lnTo>
                      <a:lnTo>
                        <a:pt x="59" y="25"/>
                      </a:lnTo>
                      <a:lnTo>
                        <a:pt x="61" y="27"/>
                      </a:lnTo>
                      <a:lnTo>
                        <a:pt x="64" y="27"/>
                      </a:lnTo>
                      <a:lnTo>
                        <a:pt x="66" y="27"/>
                      </a:lnTo>
                      <a:lnTo>
                        <a:pt x="66" y="28"/>
                      </a:lnTo>
                      <a:lnTo>
                        <a:pt x="70" y="34"/>
                      </a:lnTo>
                      <a:lnTo>
                        <a:pt x="75" y="38"/>
                      </a:lnTo>
                      <a:lnTo>
                        <a:pt x="76" y="40"/>
                      </a:lnTo>
                      <a:lnTo>
                        <a:pt x="76" y="4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4" name="Freeform 948">
                  <a:extLst>
                    <a:ext uri="{FF2B5EF4-FFF2-40B4-BE49-F238E27FC236}">
                      <a16:creationId xmlns:a16="http://schemas.microsoft.com/office/drawing/2014/main" id="{C76ED680-4414-CB43-9656-9B19AFE50F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0092" y="1982709"/>
                  <a:ext cx="115430" cy="96192"/>
                </a:xfrm>
                <a:custGeom>
                  <a:avLst/>
                  <a:gdLst>
                    <a:gd name="T0" fmla="*/ 2147483647 w 84"/>
                    <a:gd name="T1" fmla="*/ 2147483647 h 65"/>
                    <a:gd name="T2" fmla="*/ 2147483647 w 84"/>
                    <a:gd name="T3" fmla="*/ 2147483647 h 65"/>
                    <a:gd name="T4" fmla="*/ 2147483647 w 84"/>
                    <a:gd name="T5" fmla="*/ 2147483647 h 65"/>
                    <a:gd name="T6" fmla="*/ 2147483647 w 84"/>
                    <a:gd name="T7" fmla="*/ 2147483647 h 65"/>
                    <a:gd name="T8" fmla="*/ 2147483647 w 84"/>
                    <a:gd name="T9" fmla="*/ 2147483647 h 65"/>
                    <a:gd name="T10" fmla="*/ 2147483647 w 84"/>
                    <a:gd name="T11" fmla="*/ 2147483647 h 65"/>
                    <a:gd name="T12" fmla="*/ 2147483647 w 84"/>
                    <a:gd name="T13" fmla="*/ 2147483647 h 65"/>
                    <a:gd name="T14" fmla="*/ 2147483647 w 84"/>
                    <a:gd name="T15" fmla="*/ 2147483647 h 65"/>
                    <a:gd name="T16" fmla="*/ 2147483647 w 84"/>
                    <a:gd name="T17" fmla="*/ 2147483647 h 65"/>
                    <a:gd name="T18" fmla="*/ 2147483647 w 84"/>
                    <a:gd name="T19" fmla="*/ 2147483647 h 65"/>
                    <a:gd name="T20" fmla="*/ 2147483647 w 84"/>
                    <a:gd name="T21" fmla="*/ 2147483647 h 65"/>
                    <a:gd name="T22" fmla="*/ 2147483647 w 84"/>
                    <a:gd name="T23" fmla="*/ 2147483647 h 65"/>
                    <a:gd name="T24" fmla="*/ 2147483647 w 84"/>
                    <a:gd name="T25" fmla="*/ 0 h 65"/>
                    <a:gd name="T26" fmla="*/ 2147483647 w 84"/>
                    <a:gd name="T27" fmla="*/ 0 h 65"/>
                    <a:gd name="T28" fmla="*/ 2147483647 w 84"/>
                    <a:gd name="T29" fmla="*/ 2147483647 h 65"/>
                    <a:gd name="T30" fmla="*/ 2147483647 w 84"/>
                    <a:gd name="T31" fmla="*/ 2147483647 h 65"/>
                    <a:gd name="T32" fmla="*/ 2147483647 w 84"/>
                    <a:gd name="T33" fmla="*/ 2147483647 h 65"/>
                    <a:gd name="T34" fmla="*/ 2147483647 w 84"/>
                    <a:gd name="T35" fmla="*/ 2147483647 h 65"/>
                    <a:gd name="T36" fmla="*/ 2147483647 w 84"/>
                    <a:gd name="T37" fmla="*/ 2147483647 h 65"/>
                    <a:gd name="T38" fmla="*/ 2147483647 w 84"/>
                    <a:gd name="T39" fmla="*/ 2147483647 h 65"/>
                    <a:gd name="T40" fmla="*/ 2147483647 w 84"/>
                    <a:gd name="T41" fmla="*/ 2147483647 h 65"/>
                    <a:gd name="T42" fmla="*/ 2147483647 w 84"/>
                    <a:gd name="T43" fmla="*/ 2147483647 h 65"/>
                    <a:gd name="T44" fmla="*/ 2147483647 w 84"/>
                    <a:gd name="T45" fmla="*/ 2147483647 h 65"/>
                    <a:gd name="T46" fmla="*/ 2147483647 w 84"/>
                    <a:gd name="T47" fmla="*/ 2147483647 h 65"/>
                    <a:gd name="T48" fmla="*/ 2147483647 w 84"/>
                    <a:gd name="T49" fmla="*/ 2147483647 h 65"/>
                    <a:gd name="T50" fmla="*/ 2147483647 w 84"/>
                    <a:gd name="T51" fmla="*/ 2147483647 h 65"/>
                    <a:gd name="T52" fmla="*/ 2147483647 w 84"/>
                    <a:gd name="T53" fmla="*/ 2147483647 h 65"/>
                    <a:gd name="T54" fmla="*/ 2147483647 w 84"/>
                    <a:gd name="T55" fmla="*/ 2147483647 h 65"/>
                    <a:gd name="T56" fmla="*/ 2147483647 w 84"/>
                    <a:gd name="T57" fmla="*/ 2147483647 h 65"/>
                    <a:gd name="T58" fmla="*/ 2147483647 w 84"/>
                    <a:gd name="T59" fmla="*/ 2147483647 h 65"/>
                    <a:gd name="T60" fmla="*/ 2147483647 w 84"/>
                    <a:gd name="T61" fmla="*/ 2147483647 h 65"/>
                    <a:gd name="T62" fmla="*/ 2147483647 w 84"/>
                    <a:gd name="T63" fmla="*/ 2147483647 h 65"/>
                    <a:gd name="T64" fmla="*/ 2147483647 w 84"/>
                    <a:gd name="T65" fmla="*/ 2147483647 h 65"/>
                    <a:gd name="T66" fmla="*/ 0 w 84"/>
                    <a:gd name="T67" fmla="*/ 2147483647 h 65"/>
                    <a:gd name="T68" fmla="*/ 2147483647 w 84"/>
                    <a:gd name="T69" fmla="*/ 2147483647 h 65"/>
                    <a:gd name="T70" fmla="*/ 2147483647 w 84"/>
                    <a:gd name="T71" fmla="*/ 2147483647 h 65"/>
                    <a:gd name="T72" fmla="*/ 2147483647 w 84"/>
                    <a:gd name="T73" fmla="*/ 2147483647 h 65"/>
                    <a:gd name="T74" fmla="*/ 2147483647 w 84"/>
                    <a:gd name="T75" fmla="*/ 2147483647 h 65"/>
                    <a:gd name="T76" fmla="*/ 2147483647 w 84"/>
                    <a:gd name="T77" fmla="*/ 2147483647 h 65"/>
                    <a:gd name="T78" fmla="*/ 2147483647 w 84"/>
                    <a:gd name="T79" fmla="*/ 2147483647 h 65"/>
                    <a:gd name="T80" fmla="*/ 2147483647 w 84"/>
                    <a:gd name="T81" fmla="*/ 2147483647 h 65"/>
                    <a:gd name="T82" fmla="*/ 2147483647 w 84"/>
                    <a:gd name="T83" fmla="*/ 2147483647 h 65"/>
                    <a:gd name="T84" fmla="*/ 2147483647 w 84"/>
                    <a:gd name="T85" fmla="*/ 2147483647 h 65"/>
                    <a:gd name="T86" fmla="*/ 2147483647 w 84"/>
                    <a:gd name="T87" fmla="*/ 2147483647 h 65"/>
                    <a:gd name="T88" fmla="*/ 2147483647 w 84"/>
                    <a:gd name="T89" fmla="*/ 2147483647 h 65"/>
                    <a:gd name="T90" fmla="*/ 2147483647 w 84"/>
                    <a:gd name="T91" fmla="*/ 2147483647 h 65"/>
                    <a:gd name="T92" fmla="*/ 2147483647 w 84"/>
                    <a:gd name="T93" fmla="*/ 2147483647 h 65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84"/>
                    <a:gd name="T142" fmla="*/ 0 h 65"/>
                    <a:gd name="T143" fmla="*/ 84 w 84"/>
                    <a:gd name="T144" fmla="*/ 65 h 65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84" h="65">
                      <a:moveTo>
                        <a:pt x="78" y="53"/>
                      </a:moveTo>
                      <a:lnTo>
                        <a:pt x="81" y="50"/>
                      </a:lnTo>
                      <a:lnTo>
                        <a:pt x="83" y="47"/>
                      </a:lnTo>
                      <a:lnTo>
                        <a:pt x="83" y="46"/>
                      </a:lnTo>
                      <a:lnTo>
                        <a:pt x="80" y="41"/>
                      </a:lnTo>
                      <a:lnTo>
                        <a:pt x="80" y="37"/>
                      </a:lnTo>
                      <a:lnTo>
                        <a:pt x="81" y="32"/>
                      </a:lnTo>
                      <a:lnTo>
                        <a:pt x="84" y="28"/>
                      </a:lnTo>
                      <a:lnTo>
                        <a:pt x="84" y="26"/>
                      </a:lnTo>
                      <a:lnTo>
                        <a:pt x="84" y="24"/>
                      </a:lnTo>
                      <a:lnTo>
                        <a:pt x="81" y="20"/>
                      </a:lnTo>
                      <a:lnTo>
                        <a:pt x="81" y="16"/>
                      </a:lnTo>
                      <a:lnTo>
                        <a:pt x="81" y="14"/>
                      </a:lnTo>
                      <a:lnTo>
                        <a:pt x="83" y="12"/>
                      </a:lnTo>
                      <a:lnTo>
                        <a:pt x="81" y="9"/>
                      </a:lnTo>
                      <a:lnTo>
                        <a:pt x="80" y="7"/>
                      </a:lnTo>
                      <a:lnTo>
                        <a:pt x="78" y="6"/>
                      </a:lnTo>
                      <a:lnTo>
                        <a:pt x="73" y="6"/>
                      </a:lnTo>
                      <a:lnTo>
                        <a:pt x="67" y="7"/>
                      </a:lnTo>
                      <a:lnTo>
                        <a:pt x="62" y="9"/>
                      </a:lnTo>
                      <a:lnTo>
                        <a:pt x="60" y="9"/>
                      </a:lnTo>
                      <a:lnTo>
                        <a:pt x="59" y="8"/>
                      </a:lnTo>
                      <a:lnTo>
                        <a:pt x="52" y="6"/>
                      </a:lnTo>
                      <a:lnTo>
                        <a:pt x="47" y="2"/>
                      </a:lnTo>
                      <a:lnTo>
                        <a:pt x="42" y="0"/>
                      </a:lnTo>
                      <a:lnTo>
                        <a:pt x="40" y="0"/>
                      </a:lnTo>
                      <a:lnTo>
                        <a:pt x="37" y="0"/>
                      </a:lnTo>
                      <a:lnTo>
                        <a:pt x="34" y="0"/>
                      </a:lnTo>
                      <a:lnTo>
                        <a:pt x="33" y="2"/>
                      </a:lnTo>
                      <a:lnTo>
                        <a:pt x="33" y="3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7" y="9"/>
                      </a:lnTo>
                      <a:lnTo>
                        <a:pt x="38" y="11"/>
                      </a:lnTo>
                      <a:lnTo>
                        <a:pt x="38" y="13"/>
                      </a:lnTo>
                      <a:lnTo>
                        <a:pt x="37" y="16"/>
                      </a:lnTo>
                      <a:lnTo>
                        <a:pt x="37" y="18"/>
                      </a:lnTo>
                      <a:lnTo>
                        <a:pt x="37" y="20"/>
                      </a:lnTo>
                      <a:lnTo>
                        <a:pt x="40" y="21"/>
                      </a:lnTo>
                      <a:lnTo>
                        <a:pt x="41" y="22"/>
                      </a:lnTo>
                      <a:lnTo>
                        <a:pt x="45" y="24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5" y="28"/>
                      </a:lnTo>
                      <a:lnTo>
                        <a:pt x="43" y="28"/>
                      </a:lnTo>
                      <a:lnTo>
                        <a:pt x="41" y="28"/>
                      </a:lnTo>
                      <a:lnTo>
                        <a:pt x="38" y="27"/>
                      </a:lnTo>
                      <a:lnTo>
                        <a:pt x="34" y="25"/>
                      </a:lnTo>
                      <a:lnTo>
                        <a:pt x="28" y="15"/>
                      </a:lnTo>
                      <a:lnTo>
                        <a:pt x="26" y="13"/>
                      </a:lnTo>
                      <a:lnTo>
                        <a:pt x="24" y="12"/>
                      </a:lnTo>
                      <a:lnTo>
                        <a:pt x="22" y="12"/>
                      </a:lnTo>
                      <a:lnTo>
                        <a:pt x="19" y="13"/>
                      </a:lnTo>
                      <a:lnTo>
                        <a:pt x="17" y="15"/>
                      </a:lnTo>
                      <a:lnTo>
                        <a:pt x="14" y="19"/>
                      </a:lnTo>
                      <a:lnTo>
                        <a:pt x="13" y="21"/>
                      </a:lnTo>
                      <a:lnTo>
                        <a:pt x="13" y="24"/>
                      </a:lnTo>
                      <a:lnTo>
                        <a:pt x="14" y="28"/>
                      </a:lnTo>
                      <a:lnTo>
                        <a:pt x="15" y="33"/>
                      </a:lnTo>
                      <a:lnTo>
                        <a:pt x="15" y="34"/>
                      </a:lnTo>
                      <a:lnTo>
                        <a:pt x="15" y="37"/>
                      </a:lnTo>
                      <a:lnTo>
                        <a:pt x="14" y="38"/>
                      </a:lnTo>
                      <a:lnTo>
                        <a:pt x="13" y="39"/>
                      </a:lnTo>
                      <a:lnTo>
                        <a:pt x="9" y="40"/>
                      </a:lnTo>
                      <a:lnTo>
                        <a:pt x="5" y="40"/>
                      </a:lnTo>
                      <a:lnTo>
                        <a:pt x="4" y="41"/>
                      </a:lnTo>
                      <a:lnTo>
                        <a:pt x="1" y="43"/>
                      </a:lnTo>
                      <a:lnTo>
                        <a:pt x="0" y="46"/>
                      </a:lnTo>
                      <a:lnTo>
                        <a:pt x="0" y="48"/>
                      </a:lnTo>
                      <a:lnTo>
                        <a:pt x="3" y="50"/>
                      </a:lnTo>
                      <a:lnTo>
                        <a:pt x="4" y="51"/>
                      </a:lnTo>
                      <a:lnTo>
                        <a:pt x="5" y="50"/>
                      </a:lnTo>
                      <a:lnTo>
                        <a:pt x="9" y="47"/>
                      </a:lnTo>
                      <a:lnTo>
                        <a:pt x="14" y="47"/>
                      </a:lnTo>
                      <a:lnTo>
                        <a:pt x="18" y="47"/>
                      </a:lnTo>
                      <a:lnTo>
                        <a:pt x="23" y="50"/>
                      </a:lnTo>
                      <a:lnTo>
                        <a:pt x="27" y="50"/>
                      </a:lnTo>
                      <a:lnTo>
                        <a:pt x="29" y="50"/>
                      </a:lnTo>
                      <a:lnTo>
                        <a:pt x="34" y="47"/>
                      </a:lnTo>
                      <a:lnTo>
                        <a:pt x="37" y="46"/>
                      </a:lnTo>
                      <a:lnTo>
                        <a:pt x="40" y="47"/>
                      </a:lnTo>
                      <a:lnTo>
                        <a:pt x="42" y="51"/>
                      </a:lnTo>
                      <a:lnTo>
                        <a:pt x="45" y="54"/>
                      </a:lnTo>
                      <a:lnTo>
                        <a:pt x="45" y="58"/>
                      </a:lnTo>
                      <a:lnTo>
                        <a:pt x="43" y="63"/>
                      </a:lnTo>
                      <a:lnTo>
                        <a:pt x="45" y="64"/>
                      </a:lnTo>
                      <a:lnTo>
                        <a:pt x="46" y="65"/>
                      </a:lnTo>
                      <a:lnTo>
                        <a:pt x="62" y="64"/>
                      </a:lnTo>
                      <a:lnTo>
                        <a:pt x="79" y="64"/>
                      </a:lnTo>
                      <a:lnTo>
                        <a:pt x="80" y="63"/>
                      </a:lnTo>
                      <a:lnTo>
                        <a:pt x="80" y="62"/>
                      </a:lnTo>
                      <a:lnTo>
                        <a:pt x="80" y="59"/>
                      </a:lnTo>
                      <a:lnTo>
                        <a:pt x="79" y="57"/>
                      </a:lnTo>
                      <a:lnTo>
                        <a:pt x="78" y="56"/>
                      </a:lnTo>
                      <a:lnTo>
                        <a:pt x="78" y="5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5" name="Freeform 949">
                  <a:extLst>
                    <a:ext uri="{FF2B5EF4-FFF2-40B4-BE49-F238E27FC236}">
                      <a16:creationId xmlns:a16="http://schemas.microsoft.com/office/drawing/2014/main" id="{75BDB144-C149-8640-B700-72F39506B6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6599" y="1976793"/>
                  <a:ext cx="395126" cy="131708"/>
                </a:xfrm>
                <a:custGeom>
                  <a:avLst/>
                  <a:gdLst>
                    <a:gd name="T0" fmla="*/ 2147483647 w 289"/>
                    <a:gd name="T1" fmla="*/ 2147483647 h 89"/>
                    <a:gd name="T2" fmla="*/ 2147483647 w 289"/>
                    <a:gd name="T3" fmla="*/ 2147483647 h 89"/>
                    <a:gd name="T4" fmla="*/ 2147483647 w 289"/>
                    <a:gd name="T5" fmla="*/ 2147483647 h 89"/>
                    <a:gd name="T6" fmla="*/ 2147483647 w 289"/>
                    <a:gd name="T7" fmla="*/ 2147483647 h 89"/>
                    <a:gd name="T8" fmla="*/ 2147483647 w 289"/>
                    <a:gd name="T9" fmla="*/ 2147483647 h 89"/>
                    <a:gd name="T10" fmla="*/ 2147483647 w 289"/>
                    <a:gd name="T11" fmla="*/ 2147483647 h 89"/>
                    <a:gd name="T12" fmla="*/ 2147483647 w 289"/>
                    <a:gd name="T13" fmla="*/ 2147483647 h 89"/>
                    <a:gd name="T14" fmla="*/ 2147483647 w 289"/>
                    <a:gd name="T15" fmla="*/ 2147483647 h 89"/>
                    <a:gd name="T16" fmla="*/ 2147483647 w 289"/>
                    <a:gd name="T17" fmla="*/ 2147483647 h 89"/>
                    <a:gd name="T18" fmla="*/ 2147483647 w 289"/>
                    <a:gd name="T19" fmla="*/ 2147483647 h 89"/>
                    <a:gd name="T20" fmla="*/ 2147483647 w 289"/>
                    <a:gd name="T21" fmla="*/ 2147483647 h 89"/>
                    <a:gd name="T22" fmla="*/ 2147483647 w 289"/>
                    <a:gd name="T23" fmla="*/ 2147483647 h 89"/>
                    <a:gd name="T24" fmla="*/ 2147483647 w 289"/>
                    <a:gd name="T25" fmla="*/ 2147483647 h 89"/>
                    <a:gd name="T26" fmla="*/ 2147483647 w 289"/>
                    <a:gd name="T27" fmla="*/ 2147483647 h 89"/>
                    <a:gd name="T28" fmla="*/ 2147483647 w 289"/>
                    <a:gd name="T29" fmla="*/ 2147483647 h 89"/>
                    <a:gd name="T30" fmla="*/ 2147483647 w 289"/>
                    <a:gd name="T31" fmla="*/ 2147483647 h 89"/>
                    <a:gd name="T32" fmla="*/ 2147483647 w 289"/>
                    <a:gd name="T33" fmla="*/ 2147483647 h 89"/>
                    <a:gd name="T34" fmla="*/ 2147483647 w 289"/>
                    <a:gd name="T35" fmla="*/ 2147483647 h 89"/>
                    <a:gd name="T36" fmla="*/ 2147483647 w 289"/>
                    <a:gd name="T37" fmla="*/ 2147483647 h 89"/>
                    <a:gd name="T38" fmla="*/ 2147483647 w 289"/>
                    <a:gd name="T39" fmla="*/ 2147483647 h 89"/>
                    <a:gd name="T40" fmla="*/ 2147483647 w 289"/>
                    <a:gd name="T41" fmla="*/ 2147483647 h 89"/>
                    <a:gd name="T42" fmla="*/ 2147483647 w 289"/>
                    <a:gd name="T43" fmla="*/ 2147483647 h 89"/>
                    <a:gd name="T44" fmla="*/ 2147483647 w 289"/>
                    <a:gd name="T45" fmla="*/ 2147483647 h 89"/>
                    <a:gd name="T46" fmla="*/ 2147483647 w 289"/>
                    <a:gd name="T47" fmla="*/ 2147483647 h 89"/>
                    <a:gd name="T48" fmla="*/ 2147483647 w 289"/>
                    <a:gd name="T49" fmla="*/ 2147483647 h 89"/>
                    <a:gd name="T50" fmla="*/ 2147483647 w 289"/>
                    <a:gd name="T51" fmla="*/ 2147483647 h 89"/>
                    <a:gd name="T52" fmla="*/ 2147483647 w 289"/>
                    <a:gd name="T53" fmla="*/ 2147483647 h 89"/>
                    <a:gd name="T54" fmla="*/ 2147483647 w 289"/>
                    <a:gd name="T55" fmla="*/ 2147483647 h 89"/>
                    <a:gd name="T56" fmla="*/ 2147483647 w 289"/>
                    <a:gd name="T57" fmla="*/ 2147483647 h 89"/>
                    <a:gd name="T58" fmla="*/ 2147483647 w 289"/>
                    <a:gd name="T59" fmla="*/ 2147483647 h 89"/>
                    <a:gd name="T60" fmla="*/ 2147483647 w 289"/>
                    <a:gd name="T61" fmla="*/ 2147483647 h 89"/>
                    <a:gd name="T62" fmla="*/ 2147483647 w 289"/>
                    <a:gd name="T63" fmla="*/ 2147483647 h 89"/>
                    <a:gd name="T64" fmla="*/ 2147483647 w 289"/>
                    <a:gd name="T65" fmla="*/ 2147483647 h 89"/>
                    <a:gd name="T66" fmla="*/ 2147483647 w 289"/>
                    <a:gd name="T67" fmla="*/ 2147483647 h 89"/>
                    <a:gd name="T68" fmla="*/ 2147483647 w 289"/>
                    <a:gd name="T69" fmla="*/ 2147483647 h 89"/>
                    <a:gd name="T70" fmla="*/ 2147483647 w 289"/>
                    <a:gd name="T71" fmla="*/ 2147483647 h 89"/>
                    <a:gd name="T72" fmla="*/ 2147483647 w 289"/>
                    <a:gd name="T73" fmla="*/ 2147483647 h 89"/>
                    <a:gd name="T74" fmla="*/ 2147483647 w 289"/>
                    <a:gd name="T75" fmla="*/ 2147483647 h 89"/>
                    <a:gd name="T76" fmla="*/ 2147483647 w 289"/>
                    <a:gd name="T77" fmla="*/ 2147483647 h 89"/>
                    <a:gd name="T78" fmla="*/ 2147483647 w 289"/>
                    <a:gd name="T79" fmla="*/ 2147483647 h 89"/>
                    <a:gd name="T80" fmla="*/ 2147483647 w 289"/>
                    <a:gd name="T81" fmla="*/ 2147483647 h 89"/>
                    <a:gd name="T82" fmla="*/ 2147483647 w 289"/>
                    <a:gd name="T83" fmla="*/ 2147483647 h 89"/>
                    <a:gd name="T84" fmla="*/ 2147483647 w 289"/>
                    <a:gd name="T85" fmla="*/ 2147483647 h 89"/>
                    <a:gd name="T86" fmla="*/ 2147483647 w 289"/>
                    <a:gd name="T87" fmla="*/ 2147483647 h 89"/>
                    <a:gd name="T88" fmla="*/ 2147483647 w 289"/>
                    <a:gd name="T89" fmla="*/ 2147483647 h 89"/>
                    <a:gd name="T90" fmla="*/ 2147483647 w 289"/>
                    <a:gd name="T91" fmla="*/ 2147483647 h 89"/>
                    <a:gd name="T92" fmla="*/ 2147483647 w 289"/>
                    <a:gd name="T93" fmla="*/ 2147483647 h 89"/>
                    <a:gd name="T94" fmla="*/ 2147483647 w 289"/>
                    <a:gd name="T95" fmla="*/ 2147483647 h 89"/>
                    <a:gd name="T96" fmla="*/ 2147483647 w 289"/>
                    <a:gd name="T97" fmla="*/ 2147483647 h 89"/>
                    <a:gd name="T98" fmla="*/ 2147483647 w 289"/>
                    <a:gd name="T99" fmla="*/ 2147483647 h 89"/>
                    <a:gd name="T100" fmla="*/ 2147483647 w 289"/>
                    <a:gd name="T101" fmla="*/ 2147483647 h 89"/>
                    <a:gd name="T102" fmla="*/ 2147483647 w 289"/>
                    <a:gd name="T103" fmla="*/ 2147483647 h 89"/>
                    <a:gd name="T104" fmla="*/ 2147483647 w 289"/>
                    <a:gd name="T105" fmla="*/ 2147483647 h 89"/>
                    <a:gd name="T106" fmla="*/ 2147483647 w 289"/>
                    <a:gd name="T107" fmla="*/ 2147483647 h 89"/>
                    <a:gd name="T108" fmla="*/ 2147483647 w 289"/>
                    <a:gd name="T109" fmla="*/ 2147483647 h 89"/>
                    <a:gd name="T110" fmla="*/ 2147483647 w 289"/>
                    <a:gd name="T111" fmla="*/ 2147483647 h 89"/>
                    <a:gd name="T112" fmla="*/ 2147483647 w 289"/>
                    <a:gd name="T113" fmla="*/ 2147483647 h 89"/>
                    <a:gd name="T114" fmla="*/ 2147483647 w 289"/>
                    <a:gd name="T115" fmla="*/ 2147483647 h 89"/>
                    <a:gd name="T116" fmla="*/ 2147483647 w 289"/>
                    <a:gd name="T117" fmla="*/ 2147483647 h 89"/>
                    <a:gd name="T118" fmla="*/ 2147483647 w 289"/>
                    <a:gd name="T119" fmla="*/ 2147483647 h 8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89"/>
                    <a:gd name="T181" fmla="*/ 0 h 89"/>
                    <a:gd name="T182" fmla="*/ 289 w 289"/>
                    <a:gd name="T183" fmla="*/ 89 h 8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89" h="89">
                      <a:moveTo>
                        <a:pt x="76" y="41"/>
                      </a:moveTo>
                      <a:lnTo>
                        <a:pt x="76" y="41"/>
                      </a:lnTo>
                      <a:lnTo>
                        <a:pt x="76" y="42"/>
                      </a:lnTo>
                      <a:lnTo>
                        <a:pt x="77" y="43"/>
                      </a:lnTo>
                      <a:lnTo>
                        <a:pt x="79" y="45"/>
                      </a:lnTo>
                      <a:lnTo>
                        <a:pt x="79" y="47"/>
                      </a:lnTo>
                      <a:lnTo>
                        <a:pt x="79" y="54"/>
                      </a:lnTo>
                      <a:lnTo>
                        <a:pt x="79" y="56"/>
                      </a:lnTo>
                      <a:lnTo>
                        <a:pt x="80" y="58"/>
                      </a:lnTo>
                      <a:lnTo>
                        <a:pt x="84" y="61"/>
                      </a:lnTo>
                      <a:lnTo>
                        <a:pt x="85" y="64"/>
                      </a:lnTo>
                      <a:lnTo>
                        <a:pt x="85" y="70"/>
                      </a:lnTo>
                      <a:lnTo>
                        <a:pt x="85" y="74"/>
                      </a:lnTo>
                      <a:lnTo>
                        <a:pt x="86" y="77"/>
                      </a:lnTo>
                      <a:lnTo>
                        <a:pt x="89" y="79"/>
                      </a:lnTo>
                      <a:lnTo>
                        <a:pt x="93" y="80"/>
                      </a:lnTo>
                      <a:lnTo>
                        <a:pt x="99" y="77"/>
                      </a:lnTo>
                      <a:lnTo>
                        <a:pt x="101" y="79"/>
                      </a:lnTo>
                      <a:lnTo>
                        <a:pt x="104" y="80"/>
                      </a:lnTo>
                      <a:lnTo>
                        <a:pt x="108" y="82"/>
                      </a:lnTo>
                      <a:lnTo>
                        <a:pt x="110" y="82"/>
                      </a:lnTo>
                      <a:lnTo>
                        <a:pt x="113" y="81"/>
                      </a:lnTo>
                      <a:lnTo>
                        <a:pt x="114" y="80"/>
                      </a:lnTo>
                      <a:lnTo>
                        <a:pt x="120" y="79"/>
                      </a:lnTo>
                      <a:lnTo>
                        <a:pt x="126" y="75"/>
                      </a:lnTo>
                      <a:lnTo>
                        <a:pt x="128" y="71"/>
                      </a:lnTo>
                      <a:lnTo>
                        <a:pt x="131" y="66"/>
                      </a:lnTo>
                      <a:lnTo>
                        <a:pt x="132" y="64"/>
                      </a:lnTo>
                      <a:lnTo>
                        <a:pt x="133" y="64"/>
                      </a:lnTo>
                      <a:lnTo>
                        <a:pt x="136" y="64"/>
                      </a:lnTo>
                      <a:lnTo>
                        <a:pt x="137" y="66"/>
                      </a:lnTo>
                      <a:lnTo>
                        <a:pt x="138" y="67"/>
                      </a:lnTo>
                      <a:lnTo>
                        <a:pt x="138" y="70"/>
                      </a:lnTo>
                      <a:lnTo>
                        <a:pt x="136" y="74"/>
                      </a:lnTo>
                      <a:lnTo>
                        <a:pt x="134" y="76"/>
                      </a:lnTo>
                      <a:lnTo>
                        <a:pt x="134" y="77"/>
                      </a:lnTo>
                      <a:lnTo>
                        <a:pt x="136" y="81"/>
                      </a:lnTo>
                      <a:lnTo>
                        <a:pt x="140" y="83"/>
                      </a:lnTo>
                      <a:lnTo>
                        <a:pt x="143" y="84"/>
                      </a:lnTo>
                      <a:lnTo>
                        <a:pt x="147" y="84"/>
                      </a:lnTo>
                      <a:lnTo>
                        <a:pt x="147" y="87"/>
                      </a:lnTo>
                      <a:lnTo>
                        <a:pt x="148" y="87"/>
                      </a:lnTo>
                      <a:lnTo>
                        <a:pt x="151" y="87"/>
                      </a:lnTo>
                      <a:lnTo>
                        <a:pt x="150" y="87"/>
                      </a:lnTo>
                      <a:lnTo>
                        <a:pt x="154" y="87"/>
                      </a:lnTo>
                      <a:lnTo>
                        <a:pt x="157" y="86"/>
                      </a:lnTo>
                      <a:lnTo>
                        <a:pt x="160" y="84"/>
                      </a:lnTo>
                      <a:lnTo>
                        <a:pt x="164" y="86"/>
                      </a:lnTo>
                      <a:lnTo>
                        <a:pt x="173" y="87"/>
                      </a:lnTo>
                      <a:lnTo>
                        <a:pt x="188" y="87"/>
                      </a:lnTo>
                      <a:lnTo>
                        <a:pt x="203" y="89"/>
                      </a:lnTo>
                      <a:lnTo>
                        <a:pt x="206" y="89"/>
                      </a:lnTo>
                      <a:lnTo>
                        <a:pt x="209" y="88"/>
                      </a:lnTo>
                      <a:lnTo>
                        <a:pt x="216" y="86"/>
                      </a:lnTo>
                      <a:lnTo>
                        <a:pt x="220" y="84"/>
                      </a:lnTo>
                      <a:lnTo>
                        <a:pt x="223" y="86"/>
                      </a:lnTo>
                      <a:lnTo>
                        <a:pt x="226" y="86"/>
                      </a:lnTo>
                      <a:lnTo>
                        <a:pt x="230" y="84"/>
                      </a:lnTo>
                      <a:lnTo>
                        <a:pt x="231" y="83"/>
                      </a:lnTo>
                      <a:lnTo>
                        <a:pt x="232" y="81"/>
                      </a:lnTo>
                      <a:lnTo>
                        <a:pt x="232" y="77"/>
                      </a:lnTo>
                      <a:lnTo>
                        <a:pt x="234" y="73"/>
                      </a:lnTo>
                      <a:lnTo>
                        <a:pt x="235" y="71"/>
                      </a:lnTo>
                      <a:lnTo>
                        <a:pt x="237" y="71"/>
                      </a:lnTo>
                      <a:lnTo>
                        <a:pt x="239" y="73"/>
                      </a:lnTo>
                      <a:lnTo>
                        <a:pt x="240" y="75"/>
                      </a:lnTo>
                      <a:lnTo>
                        <a:pt x="241" y="82"/>
                      </a:lnTo>
                      <a:lnTo>
                        <a:pt x="242" y="83"/>
                      </a:lnTo>
                      <a:lnTo>
                        <a:pt x="245" y="84"/>
                      </a:lnTo>
                      <a:lnTo>
                        <a:pt x="250" y="87"/>
                      </a:lnTo>
                      <a:lnTo>
                        <a:pt x="263" y="88"/>
                      </a:lnTo>
                      <a:lnTo>
                        <a:pt x="265" y="88"/>
                      </a:lnTo>
                      <a:lnTo>
                        <a:pt x="268" y="87"/>
                      </a:lnTo>
                      <a:lnTo>
                        <a:pt x="270" y="86"/>
                      </a:lnTo>
                      <a:lnTo>
                        <a:pt x="273" y="83"/>
                      </a:lnTo>
                      <a:lnTo>
                        <a:pt x="274" y="77"/>
                      </a:lnTo>
                      <a:lnTo>
                        <a:pt x="277" y="71"/>
                      </a:lnTo>
                      <a:lnTo>
                        <a:pt x="278" y="69"/>
                      </a:lnTo>
                      <a:lnTo>
                        <a:pt x="280" y="68"/>
                      </a:lnTo>
                      <a:lnTo>
                        <a:pt x="283" y="67"/>
                      </a:lnTo>
                      <a:lnTo>
                        <a:pt x="287" y="66"/>
                      </a:lnTo>
                      <a:lnTo>
                        <a:pt x="289" y="66"/>
                      </a:lnTo>
                      <a:lnTo>
                        <a:pt x="289" y="63"/>
                      </a:lnTo>
                      <a:lnTo>
                        <a:pt x="289" y="61"/>
                      </a:lnTo>
                      <a:lnTo>
                        <a:pt x="288" y="58"/>
                      </a:lnTo>
                      <a:lnTo>
                        <a:pt x="287" y="56"/>
                      </a:lnTo>
                      <a:lnTo>
                        <a:pt x="286" y="54"/>
                      </a:lnTo>
                      <a:lnTo>
                        <a:pt x="284" y="50"/>
                      </a:lnTo>
                      <a:lnTo>
                        <a:pt x="283" y="48"/>
                      </a:lnTo>
                      <a:lnTo>
                        <a:pt x="279" y="48"/>
                      </a:lnTo>
                      <a:lnTo>
                        <a:pt x="275" y="49"/>
                      </a:lnTo>
                      <a:lnTo>
                        <a:pt x="268" y="47"/>
                      </a:lnTo>
                      <a:lnTo>
                        <a:pt x="258" y="45"/>
                      </a:lnTo>
                      <a:lnTo>
                        <a:pt x="247" y="44"/>
                      </a:lnTo>
                      <a:lnTo>
                        <a:pt x="236" y="45"/>
                      </a:lnTo>
                      <a:lnTo>
                        <a:pt x="216" y="48"/>
                      </a:lnTo>
                      <a:lnTo>
                        <a:pt x="199" y="52"/>
                      </a:lnTo>
                      <a:lnTo>
                        <a:pt x="197" y="55"/>
                      </a:lnTo>
                      <a:lnTo>
                        <a:pt x="194" y="58"/>
                      </a:lnTo>
                      <a:lnTo>
                        <a:pt x="193" y="60"/>
                      </a:lnTo>
                      <a:lnTo>
                        <a:pt x="190" y="61"/>
                      </a:lnTo>
                      <a:lnTo>
                        <a:pt x="187" y="61"/>
                      </a:lnTo>
                      <a:lnTo>
                        <a:pt x="183" y="61"/>
                      </a:lnTo>
                      <a:lnTo>
                        <a:pt x="180" y="58"/>
                      </a:lnTo>
                      <a:lnTo>
                        <a:pt x="178" y="57"/>
                      </a:lnTo>
                      <a:lnTo>
                        <a:pt x="175" y="55"/>
                      </a:lnTo>
                      <a:lnTo>
                        <a:pt x="171" y="54"/>
                      </a:lnTo>
                      <a:lnTo>
                        <a:pt x="169" y="52"/>
                      </a:lnTo>
                      <a:lnTo>
                        <a:pt x="166" y="51"/>
                      </a:lnTo>
                      <a:lnTo>
                        <a:pt x="165" y="51"/>
                      </a:lnTo>
                      <a:lnTo>
                        <a:pt x="161" y="54"/>
                      </a:lnTo>
                      <a:lnTo>
                        <a:pt x="159" y="55"/>
                      </a:lnTo>
                      <a:lnTo>
                        <a:pt x="156" y="54"/>
                      </a:lnTo>
                      <a:lnTo>
                        <a:pt x="152" y="54"/>
                      </a:lnTo>
                      <a:lnTo>
                        <a:pt x="147" y="50"/>
                      </a:lnTo>
                      <a:lnTo>
                        <a:pt x="141" y="47"/>
                      </a:lnTo>
                      <a:lnTo>
                        <a:pt x="140" y="47"/>
                      </a:lnTo>
                      <a:lnTo>
                        <a:pt x="137" y="48"/>
                      </a:lnTo>
                      <a:lnTo>
                        <a:pt x="136" y="48"/>
                      </a:lnTo>
                      <a:lnTo>
                        <a:pt x="133" y="48"/>
                      </a:lnTo>
                      <a:lnTo>
                        <a:pt x="128" y="45"/>
                      </a:lnTo>
                      <a:lnTo>
                        <a:pt x="124" y="42"/>
                      </a:lnTo>
                      <a:lnTo>
                        <a:pt x="118" y="41"/>
                      </a:lnTo>
                      <a:lnTo>
                        <a:pt x="112" y="39"/>
                      </a:lnTo>
                      <a:lnTo>
                        <a:pt x="107" y="38"/>
                      </a:lnTo>
                      <a:lnTo>
                        <a:pt x="105" y="36"/>
                      </a:lnTo>
                      <a:lnTo>
                        <a:pt x="104" y="35"/>
                      </a:lnTo>
                      <a:lnTo>
                        <a:pt x="104" y="32"/>
                      </a:lnTo>
                      <a:lnTo>
                        <a:pt x="108" y="31"/>
                      </a:lnTo>
                      <a:lnTo>
                        <a:pt x="112" y="31"/>
                      </a:lnTo>
                      <a:lnTo>
                        <a:pt x="115" y="30"/>
                      </a:lnTo>
                      <a:lnTo>
                        <a:pt x="117" y="29"/>
                      </a:lnTo>
                      <a:lnTo>
                        <a:pt x="117" y="26"/>
                      </a:lnTo>
                      <a:lnTo>
                        <a:pt x="114" y="25"/>
                      </a:lnTo>
                      <a:lnTo>
                        <a:pt x="112" y="24"/>
                      </a:lnTo>
                      <a:lnTo>
                        <a:pt x="109" y="24"/>
                      </a:lnTo>
                      <a:lnTo>
                        <a:pt x="107" y="23"/>
                      </a:lnTo>
                      <a:lnTo>
                        <a:pt x="105" y="20"/>
                      </a:lnTo>
                      <a:lnTo>
                        <a:pt x="104" y="17"/>
                      </a:lnTo>
                      <a:lnTo>
                        <a:pt x="104" y="13"/>
                      </a:lnTo>
                      <a:lnTo>
                        <a:pt x="101" y="11"/>
                      </a:lnTo>
                      <a:lnTo>
                        <a:pt x="100" y="10"/>
                      </a:lnTo>
                      <a:lnTo>
                        <a:pt x="98" y="11"/>
                      </a:lnTo>
                      <a:lnTo>
                        <a:pt x="94" y="12"/>
                      </a:lnTo>
                      <a:lnTo>
                        <a:pt x="89" y="12"/>
                      </a:lnTo>
                      <a:lnTo>
                        <a:pt x="82" y="12"/>
                      </a:lnTo>
                      <a:lnTo>
                        <a:pt x="76" y="13"/>
                      </a:lnTo>
                      <a:lnTo>
                        <a:pt x="72" y="16"/>
                      </a:lnTo>
                      <a:lnTo>
                        <a:pt x="68" y="17"/>
                      </a:lnTo>
                      <a:lnTo>
                        <a:pt x="66" y="18"/>
                      </a:lnTo>
                      <a:lnTo>
                        <a:pt x="65" y="17"/>
                      </a:lnTo>
                      <a:lnTo>
                        <a:pt x="61" y="13"/>
                      </a:lnTo>
                      <a:lnTo>
                        <a:pt x="58" y="10"/>
                      </a:lnTo>
                      <a:lnTo>
                        <a:pt x="56" y="9"/>
                      </a:lnTo>
                      <a:lnTo>
                        <a:pt x="54" y="7"/>
                      </a:lnTo>
                      <a:lnTo>
                        <a:pt x="37" y="5"/>
                      </a:lnTo>
                      <a:lnTo>
                        <a:pt x="20" y="1"/>
                      </a:lnTo>
                      <a:lnTo>
                        <a:pt x="15" y="0"/>
                      </a:lnTo>
                      <a:lnTo>
                        <a:pt x="10" y="1"/>
                      </a:lnTo>
                      <a:lnTo>
                        <a:pt x="5" y="3"/>
                      </a:lnTo>
                      <a:lnTo>
                        <a:pt x="1" y="6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2" y="17"/>
                      </a:lnTo>
                      <a:lnTo>
                        <a:pt x="5" y="19"/>
                      </a:lnTo>
                      <a:lnTo>
                        <a:pt x="7" y="20"/>
                      </a:lnTo>
                      <a:lnTo>
                        <a:pt x="10" y="20"/>
                      </a:lnTo>
                      <a:lnTo>
                        <a:pt x="13" y="22"/>
                      </a:lnTo>
                      <a:lnTo>
                        <a:pt x="15" y="22"/>
                      </a:lnTo>
                      <a:lnTo>
                        <a:pt x="21" y="28"/>
                      </a:lnTo>
                      <a:lnTo>
                        <a:pt x="30" y="32"/>
                      </a:lnTo>
                      <a:lnTo>
                        <a:pt x="39" y="33"/>
                      </a:lnTo>
                      <a:lnTo>
                        <a:pt x="48" y="32"/>
                      </a:lnTo>
                      <a:lnTo>
                        <a:pt x="51" y="31"/>
                      </a:lnTo>
                      <a:lnTo>
                        <a:pt x="52" y="29"/>
                      </a:lnTo>
                      <a:lnTo>
                        <a:pt x="54" y="26"/>
                      </a:lnTo>
                      <a:lnTo>
                        <a:pt x="56" y="25"/>
                      </a:lnTo>
                      <a:lnTo>
                        <a:pt x="58" y="25"/>
                      </a:lnTo>
                      <a:lnTo>
                        <a:pt x="61" y="26"/>
                      </a:lnTo>
                      <a:lnTo>
                        <a:pt x="63" y="26"/>
                      </a:lnTo>
                      <a:lnTo>
                        <a:pt x="66" y="26"/>
                      </a:lnTo>
                      <a:lnTo>
                        <a:pt x="66" y="28"/>
                      </a:lnTo>
                      <a:lnTo>
                        <a:pt x="70" y="33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6" name="Freeform 950">
                  <a:extLst>
                    <a:ext uri="{FF2B5EF4-FFF2-40B4-BE49-F238E27FC236}">
                      <a16:creationId xmlns:a16="http://schemas.microsoft.com/office/drawing/2014/main" id="{3EF2D013-8E15-F147-80C2-395234F3E5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98611" y="1981231"/>
                  <a:ext cx="115430" cy="96191"/>
                </a:xfrm>
                <a:custGeom>
                  <a:avLst/>
                  <a:gdLst>
                    <a:gd name="T0" fmla="*/ 2147483647 w 84"/>
                    <a:gd name="T1" fmla="*/ 2147483647 h 65"/>
                    <a:gd name="T2" fmla="*/ 2147483647 w 84"/>
                    <a:gd name="T3" fmla="*/ 2147483647 h 65"/>
                    <a:gd name="T4" fmla="*/ 2147483647 w 84"/>
                    <a:gd name="T5" fmla="*/ 2147483647 h 65"/>
                    <a:gd name="T6" fmla="*/ 2147483647 w 84"/>
                    <a:gd name="T7" fmla="*/ 2147483647 h 65"/>
                    <a:gd name="T8" fmla="*/ 2147483647 w 84"/>
                    <a:gd name="T9" fmla="*/ 2147483647 h 65"/>
                    <a:gd name="T10" fmla="*/ 2147483647 w 84"/>
                    <a:gd name="T11" fmla="*/ 2147483647 h 65"/>
                    <a:gd name="T12" fmla="*/ 2147483647 w 84"/>
                    <a:gd name="T13" fmla="*/ 2147483647 h 65"/>
                    <a:gd name="T14" fmla="*/ 2147483647 w 84"/>
                    <a:gd name="T15" fmla="*/ 2147483647 h 65"/>
                    <a:gd name="T16" fmla="*/ 2147483647 w 84"/>
                    <a:gd name="T17" fmla="*/ 2147483647 h 65"/>
                    <a:gd name="T18" fmla="*/ 2147483647 w 84"/>
                    <a:gd name="T19" fmla="*/ 2147483647 h 65"/>
                    <a:gd name="T20" fmla="*/ 2147483647 w 84"/>
                    <a:gd name="T21" fmla="*/ 2147483647 h 65"/>
                    <a:gd name="T22" fmla="*/ 2147483647 w 84"/>
                    <a:gd name="T23" fmla="*/ 2147483647 h 65"/>
                    <a:gd name="T24" fmla="*/ 2147483647 w 84"/>
                    <a:gd name="T25" fmla="*/ 2147483647 h 65"/>
                    <a:gd name="T26" fmla="*/ 2147483647 w 84"/>
                    <a:gd name="T27" fmla="*/ 2147483647 h 65"/>
                    <a:gd name="T28" fmla="*/ 2147483647 w 84"/>
                    <a:gd name="T29" fmla="*/ 2147483647 h 65"/>
                    <a:gd name="T30" fmla="*/ 2147483647 w 84"/>
                    <a:gd name="T31" fmla="*/ 0 h 65"/>
                    <a:gd name="T32" fmla="*/ 2147483647 w 84"/>
                    <a:gd name="T33" fmla="*/ 0 h 65"/>
                    <a:gd name="T34" fmla="*/ 2147483647 w 84"/>
                    <a:gd name="T35" fmla="*/ 0 h 65"/>
                    <a:gd name="T36" fmla="*/ 2147483647 w 84"/>
                    <a:gd name="T37" fmla="*/ 2147483647 h 65"/>
                    <a:gd name="T38" fmla="*/ 2147483647 w 84"/>
                    <a:gd name="T39" fmla="*/ 2147483647 h 65"/>
                    <a:gd name="T40" fmla="*/ 2147483647 w 84"/>
                    <a:gd name="T41" fmla="*/ 2147483647 h 65"/>
                    <a:gd name="T42" fmla="*/ 2147483647 w 84"/>
                    <a:gd name="T43" fmla="*/ 2147483647 h 65"/>
                    <a:gd name="T44" fmla="*/ 2147483647 w 84"/>
                    <a:gd name="T45" fmla="*/ 2147483647 h 65"/>
                    <a:gd name="T46" fmla="*/ 2147483647 w 84"/>
                    <a:gd name="T47" fmla="*/ 2147483647 h 65"/>
                    <a:gd name="T48" fmla="*/ 2147483647 w 84"/>
                    <a:gd name="T49" fmla="*/ 2147483647 h 65"/>
                    <a:gd name="T50" fmla="*/ 2147483647 w 84"/>
                    <a:gd name="T51" fmla="*/ 2147483647 h 65"/>
                    <a:gd name="T52" fmla="*/ 2147483647 w 84"/>
                    <a:gd name="T53" fmla="*/ 2147483647 h 65"/>
                    <a:gd name="T54" fmla="*/ 2147483647 w 84"/>
                    <a:gd name="T55" fmla="*/ 2147483647 h 65"/>
                    <a:gd name="T56" fmla="*/ 2147483647 w 84"/>
                    <a:gd name="T57" fmla="*/ 2147483647 h 65"/>
                    <a:gd name="T58" fmla="*/ 2147483647 w 84"/>
                    <a:gd name="T59" fmla="*/ 2147483647 h 65"/>
                    <a:gd name="T60" fmla="*/ 2147483647 w 84"/>
                    <a:gd name="T61" fmla="*/ 2147483647 h 65"/>
                    <a:gd name="T62" fmla="*/ 2147483647 w 84"/>
                    <a:gd name="T63" fmla="*/ 2147483647 h 65"/>
                    <a:gd name="T64" fmla="*/ 2147483647 w 84"/>
                    <a:gd name="T65" fmla="*/ 2147483647 h 65"/>
                    <a:gd name="T66" fmla="*/ 2147483647 w 84"/>
                    <a:gd name="T67" fmla="*/ 2147483647 h 65"/>
                    <a:gd name="T68" fmla="*/ 2147483647 w 84"/>
                    <a:gd name="T69" fmla="*/ 2147483647 h 65"/>
                    <a:gd name="T70" fmla="*/ 2147483647 w 84"/>
                    <a:gd name="T71" fmla="*/ 2147483647 h 65"/>
                    <a:gd name="T72" fmla="*/ 2147483647 w 84"/>
                    <a:gd name="T73" fmla="*/ 2147483647 h 65"/>
                    <a:gd name="T74" fmla="*/ 2147483647 w 84"/>
                    <a:gd name="T75" fmla="*/ 2147483647 h 65"/>
                    <a:gd name="T76" fmla="*/ 2147483647 w 84"/>
                    <a:gd name="T77" fmla="*/ 2147483647 h 65"/>
                    <a:gd name="T78" fmla="*/ 2147483647 w 84"/>
                    <a:gd name="T79" fmla="*/ 2147483647 h 65"/>
                    <a:gd name="T80" fmla="*/ 2147483647 w 84"/>
                    <a:gd name="T81" fmla="*/ 2147483647 h 65"/>
                    <a:gd name="T82" fmla="*/ 2147483647 w 84"/>
                    <a:gd name="T83" fmla="*/ 2147483647 h 65"/>
                    <a:gd name="T84" fmla="*/ 0 w 84"/>
                    <a:gd name="T85" fmla="*/ 2147483647 h 65"/>
                    <a:gd name="T86" fmla="*/ 2147483647 w 84"/>
                    <a:gd name="T87" fmla="*/ 2147483647 h 65"/>
                    <a:gd name="T88" fmla="*/ 2147483647 w 84"/>
                    <a:gd name="T89" fmla="*/ 2147483647 h 65"/>
                    <a:gd name="T90" fmla="*/ 2147483647 w 84"/>
                    <a:gd name="T91" fmla="*/ 2147483647 h 65"/>
                    <a:gd name="T92" fmla="*/ 2147483647 w 84"/>
                    <a:gd name="T93" fmla="*/ 2147483647 h 65"/>
                    <a:gd name="T94" fmla="*/ 2147483647 w 84"/>
                    <a:gd name="T95" fmla="*/ 2147483647 h 65"/>
                    <a:gd name="T96" fmla="*/ 2147483647 w 84"/>
                    <a:gd name="T97" fmla="*/ 2147483647 h 65"/>
                    <a:gd name="T98" fmla="*/ 2147483647 w 84"/>
                    <a:gd name="T99" fmla="*/ 2147483647 h 65"/>
                    <a:gd name="T100" fmla="*/ 2147483647 w 84"/>
                    <a:gd name="T101" fmla="*/ 2147483647 h 65"/>
                    <a:gd name="T102" fmla="*/ 2147483647 w 84"/>
                    <a:gd name="T103" fmla="*/ 2147483647 h 65"/>
                    <a:gd name="T104" fmla="*/ 2147483647 w 84"/>
                    <a:gd name="T105" fmla="*/ 2147483647 h 65"/>
                    <a:gd name="T106" fmla="*/ 2147483647 w 84"/>
                    <a:gd name="T107" fmla="*/ 2147483647 h 65"/>
                    <a:gd name="T108" fmla="*/ 2147483647 w 84"/>
                    <a:gd name="T109" fmla="*/ 2147483647 h 65"/>
                    <a:gd name="T110" fmla="*/ 2147483647 w 84"/>
                    <a:gd name="T111" fmla="*/ 2147483647 h 65"/>
                    <a:gd name="T112" fmla="*/ 2147483647 w 84"/>
                    <a:gd name="T113" fmla="*/ 2147483647 h 65"/>
                    <a:gd name="T114" fmla="*/ 2147483647 w 84"/>
                    <a:gd name="T115" fmla="*/ 2147483647 h 65"/>
                    <a:gd name="T116" fmla="*/ 2147483647 w 84"/>
                    <a:gd name="T117" fmla="*/ 2147483647 h 65"/>
                    <a:gd name="T118" fmla="*/ 2147483647 w 84"/>
                    <a:gd name="T119" fmla="*/ 2147483647 h 65"/>
                    <a:gd name="T120" fmla="*/ 2147483647 w 84"/>
                    <a:gd name="T121" fmla="*/ 2147483647 h 6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4"/>
                    <a:gd name="T184" fmla="*/ 0 h 65"/>
                    <a:gd name="T185" fmla="*/ 84 w 84"/>
                    <a:gd name="T186" fmla="*/ 65 h 6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4" h="65">
                      <a:moveTo>
                        <a:pt x="77" y="53"/>
                      </a:moveTo>
                      <a:lnTo>
                        <a:pt x="77" y="53"/>
                      </a:lnTo>
                      <a:lnTo>
                        <a:pt x="81" y="49"/>
                      </a:lnTo>
                      <a:lnTo>
                        <a:pt x="82" y="47"/>
                      </a:lnTo>
                      <a:lnTo>
                        <a:pt x="82" y="46"/>
                      </a:lnTo>
                      <a:lnTo>
                        <a:pt x="80" y="41"/>
                      </a:lnTo>
                      <a:lnTo>
                        <a:pt x="80" y="36"/>
                      </a:lnTo>
                      <a:lnTo>
                        <a:pt x="81" y="32"/>
                      </a:lnTo>
                      <a:lnTo>
                        <a:pt x="84" y="28"/>
                      </a:lnTo>
                      <a:lnTo>
                        <a:pt x="84" y="26"/>
                      </a:lnTo>
                      <a:lnTo>
                        <a:pt x="84" y="23"/>
                      </a:lnTo>
                      <a:lnTo>
                        <a:pt x="81" y="20"/>
                      </a:lnTo>
                      <a:lnTo>
                        <a:pt x="81" y="16"/>
                      </a:lnTo>
                      <a:lnTo>
                        <a:pt x="81" y="14"/>
                      </a:lnTo>
                      <a:lnTo>
                        <a:pt x="82" y="12"/>
                      </a:lnTo>
                      <a:lnTo>
                        <a:pt x="81" y="9"/>
                      </a:lnTo>
                      <a:lnTo>
                        <a:pt x="80" y="7"/>
                      </a:lnTo>
                      <a:lnTo>
                        <a:pt x="77" y="6"/>
                      </a:lnTo>
                      <a:lnTo>
                        <a:pt x="72" y="6"/>
                      </a:lnTo>
                      <a:lnTo>
                        <a:pt x="67" y="7"/>
                      </a:lnTo>
                      <a:lnTo>
                        <a:pt x="62" y="9"/>
                      </a:lnTo>
                      <a:lnTo>
                        <a:pt x="60" y="9"/>
                      </a:lnTo>
                      <a:lnTo>
                        <a:pt x="58" y="8"/>
                      </a:lnTo>
                      <a:lnTo>
                        <a:pt x="52" y="6"/>
                      </a:lnTo>
                      <a:lnTo>
                        <a:pt x="47" y="2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7" y="0"/>
                      </a:lnTo>
                      <a:lnTo>
                        <a:pt x="34" y="0"/>
                      </a:lnTo>
                      <a:lnTo>
                        <a:pt x="33" y="2"/>
                      </a:lnTo>
                      <a:lnTo>
                        <a:pt x="33" y="3"/>
                      </a:lnTo>
                      <a:lnTo>
                        <a:pt x="33" y="6"/>
                      </a:lnTo>
                      <a:lnTo>
                        <a:pt x="34" y="8"/>
                      </a:lnTo>
                      <a:lnTo>
                        <a:pt x="37" y="9"/>
                      </a:lnTo>
                      <a:lnTo>
                        <a:pt x="38" y="10"/>
                      </a:lnTo>
                      <a:lnTo>
                        <a:pt x="38" y="13"/>
                      </a:lnTo>
                      <a:lnTo>
                        <a:pt x="37" y="16"/>
                      </a:lnTo>
                      <a:lnTo>
                        <a:pt x="37" y="17"/>
                      </a:lnTo>
                      <a:lnTo>
                        <a:pt x="37" y="20"/>
                      </a:lnTo>
                      <a:lnTo>
                        <a:pt x="39" y="21"/>
                      </a:lnTo>
                      <a:lnTo>
                        <a:pt x="41" y="22"/>
                      </a:lnTo>
                      <a:lnTo>
                        <a:pt x="44" y="23"/>
                      </a:lnTo>
                      <a:lnTo>
                        <a:pt x="46" y="25"/>
                      </a:lnTo>
                      <a:lnTo>
                        <a:pt x="46" y="27"/>
                      </a:lnTo>
                      <a:lnTo>
                        <a:pt x="44" y="28"/>
                      </a:lnTo>
                      <a:lnTo>
                        <a:pt x="43" y="28"/>
                      </a:lnTo>
                      <a:lnTo>
                        <a:pt x="41" y="28"/>
                      </a:lnTo>
                      <a:lnTo>
                        <a:pt x="38" y="27"/>
                      </a:lnTo>
                      <a:lnTo>
                        <a:pt x="34" y="25"/>
                      </a:lnTo>
                      <a:lnTo>
                        <a:pt x="28" y="15"/>
                      </a:lnTo>
                      <a:lnTo>
                        <a:pt x="25" y="13"/>
                      </a:lnTo>
                      <a:lnTo>
                        <a:pt x="24" y="12"/>
                      </a:lnTo>
                      <a:lnTo>
                        <a:pt x="22" y="12"/>
                      </a:lnTo>
                      <a:lnTo>
                        <a:pt x="19" y="13"/>
                      </a:lnTo>
                      <a:lnTo>
                        <a:pt x="16" y="15"/>
                      </a:lnTo>
                      <a:lnTo>
                        <a:pt x="14" y="19"/>
                      </a:lnTo>
                      <a:lnTo>
                        <a:pt x="13" y="21"/>
                      </a:lnTo>
                      <a:lnTo>
                        <a:pt x="13" y="23"/>
                      </a:lnTo>
                      <a:lnTo>
                        <a:pt x="14" y="28"/>
                      </a:lnTo>
                      <a:lnTo>
                        <a:pt x="15" y="33"/>
                      </a:lnTo>
                      <a:lnTo>
                        <a:pt x="15" y="34"/>
                      </a:lnTo>
                      <a:lnTo>
                        <a:pt x="15" y="36"/>
                      </a:lnTo>
                      <a:lnTo>
                        <a:pt x="14" y="38"/>
                      </a:lnTo>
                      <a:lnTo>
                        <a:pt x="13" y="39"/>
                      </a:lnTo>
                      <a:lnTo>
                        <a:pt x="9" y="40"/>
                      </a:lnTo>
                      <a:lnTo>
                        <a:pt x="5" y="40"/>
                      </a:lnTo>
                      <a:lnTo>
                        <a:pt x="4" y="41"/>
                      </a:lnTo>
                      <a:lnTo>
                        <a:pt x="1" y="42"/>
                      </a:lnTo>
                      <a:lnTo>
                        <a:pt x="0" y="46"/>
                      </a:lnTo>
                      <a:lnTo>
                        <a:pt x="0" y="48"/>
                      </a:lnTo>
                      <a:lnTo>
                        <a:pt x="2" y="49"/>
                      </a:lnTo>
                      <a:lnTo>
                        <a:pt x="4" y="51"/>
                      </a:lnTo>
                      <a:lnTo>
                        <a:pt x="5" y="49"/>
                      </a:lnTo>
                      <a:lnTo>
                        <a:pt x="9" y="47"/>
                      </a:lnTo>
                      <a:lnTo>
                        <a:pt x="14" y="47"/>
                      </a:lnTo>
                      <a:lnTo>
                        <a:pt x="18" y="47"/>
                      </a:lnTo>
                      <a:lnTo>
                        <a:pt x="23" y="49"/>
                      </a:lnTo>
                      <a:lnTo>
                        <a:pt x="27" y="49"/>
                      </a:lnTo>
                      <a:lnTo>
                        <a:pt x="29" y="49"/>
                      </a:lnTo>
                      <a:lnTo>
                        <a:pt x="34" y="47"/>
                      </a:lnTo>
                      <a:lnTo>
                        <a:pt x="37" y="46"/>
                      </a:lnTo>
                      <a:lnTo>
                        <a:pt x="39" y="47"/>
                      </a:lnTo>
                      <a:lnTo>
                        <a:pt x="42" y="51"/>
                      </a:lnTo>
                      <a:lnTo>
                        <a:pt x="44" y="54"/>
                      </a:lnTo>
                      <a:lnTo>
                        <a:pt x="44" y="58"/>
                      </a:lnTo>
                      <a:lnTo>
                        <a:pt x="43" y="63"/>
                      </a:lnTo>
                      <a:lnTo>
                        <a:pt x="44" y="64"/>
                      </a:lnTo>
                      <a:lnTo>
                        <a:pt x="46" y="65"/>
                      </a:lnTo>
                      <a:lnTo>
                        <a:pt x="62" y="64"/>
                      </a:lnTo>
                      <a:lnTo>
                        <a:pt x="79" y="64"/>
                      </a:lnTo>
                      <a:lnTo>
                        <a:pt x="80" y="63"/>
                      </a:lnTo>
                      <a:lnTo>
                        <a:pt x="80" y="61"/>
                      </a:lnTo>
                      <a:lnTo>
                        <a:pt x="80" y="59"/>
                      </a:lnTo>
                      <a:lnTo>
                        <a:pt x="79" y="57"/>
                      </a:lnTo>
                      <a:lnTo>
                        <a:pt x="77" y="55"/>
                      </a:lnTo>
                      <a:lnTo>
                        <a:pt x="77" y="5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7" name="Freeform 951">
                  <a:extLst>
                    <a:ext uri="{FF2B5EF4-FFF2-40B4-BE49-F238E27FC236}">
                      <a16:creationId xmlns:a16="http://schemas.microsoft.com/office/drawing/2014/main" id="{CF17FF16-E82E-0E46-A0C1-774EE2AABB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356" y="2108500"/>
                  <a:ext cx="128748" cy="108030"/>
                </a:xfrm>
                <a:custGeom>
                  <a:avLst/>
                  <a:gdLst>
                    <a:gd name="T0" fmla="*/ 2147483647 w 95"/>
                    <a:gd name="T1" fmla="*/ 2147483647 h 73"/>
                    <a:gd name="T2" fmla="*/ 2147483647 w 95"/>
                    <a:gd name="T3" fmla="*/ 2147483647 h 73"/>
                    <a:gd name="T4" fmla="*/ 2147483647 w 95"/>
                    <a:gd name="T5" fmla="*/ 2147483647 h 73"/>
                    <a:gd name="T6" fmla="*/ 2147483647 w 95"/>
                    <a:gd name="T7" fmla="*/ 2147483647 h 73"/>
                    <a:gd name="T8" fmla="*/ 2147483647 w 95"/>
                    <a:gd name="T9" fmla="*/ 2147483647 h 73"/>
                    <a:gd name="T10" fmla="*/ 2147483647 w 95"/>
                    <a:gd name="T11" fmla="*/ 2147483647 h 73"/>
                    <a:gd name="T12" fmla="*/ 2147483647 w 95"/>
                    <a:gd name="T13" fmla="*/ 2147483647 h 73"/>
                    <a:gd name="T14" fmla="*/ 2147483647 w 95"/>
                    <a:gd name="T15" fmla="*/ 2147483647 h 73"/>
                    <a:gd name="T16" fmla="*/ 2147483647 w 95"/>
                    <a:gd name="T17" fmla="*/ 2147483647 h 73"/>
                    <a:gd name="T18" fmla="*/ 2147483647 w 95"/>
                    <a:gd name="T19" fmla="*/ 2147483647 h 73"/>
                    <a:gd name="T20" fmla="*/ 2147483647 w 95"/>
                    <a:gd name="T21" fmla="*/ 2147483647 h 73"/>
                    <a:gd name="T22" fmla="*/ 2147483647 w 95"/>
                    <a:gd name="T23" fmla="*/ 2147483647 h 73"/>
                    <a:gd name="T24" fmla="*/ 2147483647 w 95"/>
                    <a:gd name="T25" fmla="*/ 2147483647 h 73"/>
                    <a:gd name="T26" fmla="*/ 2147483647 w 95"/>
                    <a:gd name="T27" fmla="*/ 2147483647 h 73"/>
                    <a:gd name="T28" fmla="*/ 2147483647 w 95"/>
                    <a:gd name="T29" fmla="*/ 2147483647 h 73"/>
                    <a:gd name="T30" fmla="*/ 0 w 95"/>
                    <a:gd name="T31" fmla="*/ 2147483647 h 73"/>
                    <a:gd name="T32" fmla="*/ 0 w 95"/>
                    <a:gd name="T33" fmla="*/ 2147483647 h 73"/>
                    <a:gd name="T34" fmla="*/ 2147483647 w 95"/>
                    <a:gd name="T35" fmla="*/ 2147483647 h 73"/>
                    <a:gd name="T36" fmla="*/ 2147483647 w 95"/>
                    <a:gd name="T37" fmla="*/ 2147483647 h 73"/>
                    <a:gd name="T38" fmla="*/ 2147483647 w 95"/>
                    <a:gd name="T39" fmla="*/ 2147483647 h 73"/>
                    <a:gd name="T40" fmla="*/ 2147483647 w 95"/>
                    <a:gd name="T41" fmla="*/ 2147483647 h 73"/>
                    <a:gd name="T42" fmla="*/ 2147483647 w 95"/>
                    <a:gd name="T43" fmla="*/ 2147483647 h 73"/>
                    <a:gd name="T44" fmla="*/ 2147483647 w 95"/>
                    <a:gd name="T45" fmla="*/ 2147483647 h 73"/>
                    <a:gd name="T46" fmla="*/ 2147483647 w 95"/>
                    <a:gd name="T47" fmla="*/ 2147483647 h 73"/>
                    <a:gd name="T48" fmla="*/ 2147483647 w 95"/>
                    <a:gd name="T49" fmla="*/ 2147483647 h 73"/>
                    <a:gd name="T50" fmla="*/ 2147483647 w 95"/>
                    <a:gd name="T51" fmla="*/ 2147483647 h 73"/>
                    <a:gd name="T52" fmla="*/ 2147483647 w 95"/>
                    <a:gd name="T53" fmla="*/ 2147483647 h 73"/>
                    <a:gd name="T54" fmla="*/ 2147483647 w 95"/>
                    <a:gd name="T55" fmla="*/ 2147483647 h 73"/>
                    <a:gd name="T56" fmla="*/ 2147483647 w 95"/>
                    <a:gd name="T57" fmla="*/ 2147483647 h 73"/>
                    <a:gd name="T58" fmla="*/ 2147483647 w 95"/>
                    <a:gd name="T59" fmla="*/ 2147483647 h 73"/>
                    <a:gd name="T60" fmla="*/ 2147483647 w 95"/>
                    <a:gd name="T61" fmla="*/ 2147483647 h 73"/>
                    <a:gd name="T62" fmla="*/ 2147483647 w 95"/>
                    <a:gd name="T63" fmla="*/ 2147483647 h 73"/>
                    <a:gd name="T64" fmla="*/ 2147483647 w 95"/>
                    <a:gd name="T65" fmla="*/ 2147483647 h 73"/>
                    <a:gd name="T66" fmla="*/ 2147483647 w 95"/>
                    <a:gd name="T67" fmla="*/ 2147483647 h 73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95"/>
                    <a:gd name="T103" fmla="*/ 0 h 73"/>
                    <a:gd name="T104" fmla="*/ 95 w 95"/>
                    <a:gd name="T105" fmla="*/ 73 h 73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95" h="73">
                      <a:moveTo>
                        <a:pt x="83" y="33"/>
                      </a:moveTo>
                      <a:lnTo>
                        <a:pt x="88" y="29"/>
                      </a:lnTo>
                      <a:lnTo>
                        <a:pt x="92" y="23"/>
                      </a:lnTo>
                      <a:lnTo>
                        <a:pt x="95" y="17"/>
                      </a:lnTo>
                      <a:lnTo>
                        <a:pt x="94" y="12"/>
                      </a:lnTo>
                      <a:lnTo>
                        <a:pt x="92" y="11"/>
                      </a:lnTo>
                      <a:lnTo>
                        <a:pt x="91" y="10"/>
                      </a:lnTo>
                      <a:lnTo>
                        <a:pt x="85" y="9"/>
                      </a:lnTo>
                      <a:lnTo>
                        <a:pt x="71" y="9"/>
                      </a:lnTo>
                      <a:lnTo>
                        <a:pt x="66" y="7"/>
                      </a:lnTo>
                      <a:lnTo>
                        <a:pt x="62" y="4"/>
                      </a:lnTo>
                      <a:lnTo>
                        <a:pt x="57" y="1"/>
                      </a:lnTo>
                      <a:lnTo>
                        <a:pt x="50" y="0"/>
                      </a:lnTo>
                      <a:lnTo>
                        <a:pt x="45" y="1"/>
                      </a:lnTo>
                      <a:lnTo>
                        <a:pt x="41" y="3"/>
                      </a:lnTo>
                      <a:lnTo>
                        <a:pt x="38" y="5"/>
                      </a:lnTo>
                      <a:lnTo>
                        <a:pt x="33" y="6"/>
                      </a:lnTo>
                      <a:lnTo>
                        <a:pt x="24" y="7"/>
                      </a:lnTo>
                      <a:lnTo>
                        <a:pt x="16" y="7"/>
                      </a:lnTo>
                      <a:lnTo>
                        <a:pt x="6" y="9"/>
                      </a:lnTo>
                      <a:lnTo>
                        <a:pt x="5" y="9"/>
                      </a:lnTo>
                      <a:lnTo>
                        <a:pt x="3" y="10"/>
                      </a:lnTo>
                      <a:lnTo>
                        <a:pt x="6" y="17"/>
                      </a:lnTo>
                      <a:lnTo>
                        <a:pt x="7" y="20"/>
                      </a:lnTo>
                      <a:lnTo>
                        <a:pt x="8" y="24"/>
                      </a:lnTo>
                      <a:lnTo>
                        <a:pt x="10" y="26"/>
                      </a:lnTo>
                      <a:lnTo>
                        <a:pt x="11" y="29"/>
                      </a:lnTo>
                      <a:lnTo>
                        <a:pt x="10" y="31"/>
                      </a:lnTo>
                      <a:lnTo>
                        <a:pt x="10" y="33"/>
                      </a:lnTo>
                      <a:lnTo>
                        <a:pt x="6" y="37"/>
                      </a:lnTo>
                      <a:lnTo>
                        <a:pt x="0" y="41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0" y="45"/>
                      </a:lnTo>
                      <a:lnTo>
                        <a:pt x="1" y="48"/>
                      </a:lnTo>
                      <a:lnTo>
                        <a:pt x="5" y="51"/>
                      </a:lnTo>
                      <a:lnTo>
                        <a:pt x="7" y="56"/>
                      </a:lnTo>
                      <a:lnTo>
                        <a:pt x="11" y="65"/>
                      </a:lnTo>
                      <a:lnTo>
                        <a:pt x="14" y="68"/>
                      </a:lnTo>
                      <a:lnTo>
                        <a:pt x="15" y="69"/>
                      </a:lnTo>
                      <a:lnTo>
                        <a:pt x="20" y="70"/>
                      </a:lnTo>
                      <a:lnTo>
                        <a:pt x="31" y="73"/>
                      </a:lnTo>
                      <a:lnTo>
                        <a:pt x="35" y="73"/>
                      </a:lnTo>
                      <a:lnTo>
                        <a:pt x="38" y="71"/>
                      </a:lnTo>
                      <a:lnTo>
                        <a:pt x="40" y="69"/>
                      </a:lnTo>
                      <a:lnTo>
                        <a:pt x="41" y="67"/>
                      </a:lnTo>
                      <a:lnTo>
                        <a:pt x="43" y="62"/>
                      </a:lnTo>
                      <a:lnTo>
                        <a:pt x="45" y="58"/>
                      </a:lnTo>
                      <a:lnTo>
                        <a:pt x="45" y="56"/>
                      </a:lnTo>
                      <a:lnTo>
                        <a:pt x="39" y="52"/>
                      </a:lnTo>
                      <a:lnTo>
                        <a:pt x="38" y="50"/>
                      </a:lnTo>
                      <a:lnTo>
                        <a:pt x="39" y="46"/>
                      </a:lnTo>
                      <a:lnTo>
                        <a:pt x="41" y="45"/>
                      </a:lnTo>
                      <a:lnTo>
                        <a:pt x="43" y="45"/>
                      </a:lnTo>
                      <a:lnTo>
                        <a:pt x="44" y="46"/>
                      </a:lnTo>
                      <a:lnTo>
                        <a:pt x="45" y="49"/>
                      </a:lnTo>
                      <a:lnTo>
                        <a:pt x="47" y="49"/>
                      </a:lnTo>
                      <a:lnTo>
                        <a:pt x="48" y="52"/>
                      </a:lnTo>
                      <a:lnTo>
                        <a:pt x="50" y="54"/>
                      </a:lnTo>
                      <a:lnTo>
                        <a:pt x="53" y="55"/>
                      </a:lnTo>
                      <a:lnTo>
                        <a:pt x="57" y="56"/>
                      </a:lnTo>
                      <a:lnTo>
                        <a:pt x="63" y="56"/>
                      </a:lnTo>
                      <a:lnTo>
                        <a:pt x="68" y="54"/>
                      </a:lnTo>
                      <a:lnTo>
                        <a:pt x="72" y="51"/>
                      </a:lnTo>
                      <a:lnTo>
                        <a:pt x="73" y="48"/>
                      </a:lnTo>
                      <a:lnTo>
                        <a:pt x="74" y="39"/>
                      </a:lnTo>
                      <a:lnTo>
                        <a:pt x="76" y="37"/>
                      </a:lnTo>
                      <a:lnTo>
                        <a:pt x="78" y="36"/>
                      </a:lnTo>
                      <a:lnTo>
                        <a:pt x="83" y="3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8" name="Freeform 952">
                  <a:extLst>
                    <a:ext uri="{FF2B5EF4-FFF2-40B4-BE49-F238E27FC236}">
                      <a16:creationId xmlns:a16="http://schemas.microsoft.com/office/drawing/2014/main" id="{10B4D94A-516F-4046-8502-3AE29C3C37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98609" y="2132177"/>
                  <a:ext cx="149467" cy="122829"/>
                </a:xfrm>
                <a:custGeom>
                  <a:avLst/>
                  <a:gdLst>
                    <a:gd name="T0" fmla="*/ 2147483647 w 109"/>
                    <a:gd name="T1" fmla="*/ 2147483647 h 83"/>
                    <a:gd name="T2" fmla="*/ 2147483647 w 109"/>
                    <a:gd name="T3" fmla="*/ 2147483647 h 83"/>
                    <a:gd name="T4" fmla="*/ 2147483647 w 109"/>
                    <a:gd name="T5" fmla="*/ 2147483647 h 83"/>
                    <a:gd name="T6" fmla="*/ 2147483647 w 109"/>
                    <a:gd name="T7" fmla="*/ 0 h 83"/>
                    <a:gd name="T8" fmla="*/ 2147483647 w 109"/>
                    <a:gd name="T9" fmla="*/ 2147483647 h 83"/>
                    <a:gd name="T10" fmla="*/ 2147483647 w 109"/>
                    <a:gd name="T11" fmla="*/ 2147483647 h 83"/>
                    <a:gd name="T12" fmla="*/ 2147483647 w 109"/>
                    <a:gd name="T13" fmla="*/ 2147483647 h 83"/>
                    <a:gd name="T14" fmla="*/ 2147483647 w 109"/>
                    <a:gd name="T15" fmla="*/ 2147483647 h 83"/>
                    <a:gd name="T16" fmla="*/ 2147483647 w 109"/>
                    <a:gd name="T17" fmla="*/ 2147483647 h 83"/>
                    <a:gd name="T18" fmla="*/ 2147483647 w 109"/>
                    <a:gd name="T19" fmla="*/ 2147483647 h 83"/>
                    <a:gd name="T20" fmla="*/ 2147483647 w 109"/>
                    <a:gd name="T21" fmla="*/ 2147483647 h 83"/>
                    <a:gd name="T22" fmla="*/ 2147483647 w 109"/>
                    <a:gd name="T23" fmla="*/ 2147483647 h 83"/>
                    <a:gd name="T24" fmla="*/ 2147483647 w 109"/>
                    <a:gd name="T25" fmla="*/ 2147483647 h 83"/>
                    <a:gd name="T26" fmla="*/ 2147483647 w 109"/>
                    <a:gd name="T27" fmla="*/ 2147483647 h 83"/>
                    <a:gd name="T28" fmla="*/ 2147483647 w 109"/>
                    <a:gd name="T29" fmla="*/ 2147483647 h 83"/>
                    <a:gd name="T30" fmla="*/ 2147483647 w 109"/>
                    <a:gd name="T31" fmla="*/ 2147483647 h 83"/>
                    <a:gd name="T32" fmla="*/ 2147483647 w 109"/>
                    <a:gd name="T33" fmla="*/ 2147483647 h 83"/>
                    <a:gd name="T34" fmla="*/ 2147483647 w 109"/>
                    <a:gd name="T35" fmla="*/ 2147483647 h 83"/>
                    <a:gd name="T36" fmla="*/ 2147483647 w 109"/>
                    <a:gd name="T37" fmla="*/ 2147483647 h 83"/>
                    <a:gd name="T38" fmla="*/ 2147483647 w 109"/>
                    <a:gd name="T39" fmla="*/ 2147483647 h 83"/>
                    <a:gd name="T40" fmla="*/ 2147483647 w 109"/>
                    <a:gd name="T41" fmla="*/ 2147483647 h 83"/>
                    <a:gd name="T42" fmla="*/ 2147483647 w 109"/>
                    <a:gd name="T43" fmla="*/ 2147483647 h 83"/>
                    <a:gd name="T44" fmla="*/ 2147483647 w 109"/>
                    <a:gd name="T45" fmla="*/ 2147483647 h 83"/>
                    <a:gd name="T46" fmla="*/ 2147483647 w 109"/>
                    <a:gd name="T47" fmla="*/ 2147483647 h 83"/>
                    <a:gd name="T48" fmla="*/ 2147483647 w 109"/>
                    <a:gd name="T49" fmla="*/ 2147483647 h 83"/>
                    <a:gd name="T50" fmla="*/ 2147483647 w 109"/>
                    <a:gd name="T51" fmla="*/ 2147483647 h 83"/>
                    <a:gd name="T52" fmla="*/ 2147483647 w 109"/>
                    <a:gd name="T53" fmla="*/ 2147483647 h 83"/>
                    <a:gd name="T54" fmla="*/ 2147483647 w 109"/>
                    <a:gd name="T55" fmla="*/ 2147483647 h 83"/>
                    <a:gd name="T56" fmla="*/ 2147483647 w 109"/>
                    <a:gd name="T57" fmla="*/ 2147483647 h 83"/>
                    <a:gd name="T58" fmla="*/ 2147483647 w 109"/>
                    <a:gd name="T59" fmla="*/ 2147483647 h 83"/>
                    <a:gd name="T60" fmla="*/ 2147483647 w 109"/>
                    <a:gd name="T61" fmla="*/ 2147483647 h 83"/>
                    <a:gd name="T62" fmla="*/ 2147483647 w 109"/>
                    <a:gd name="T63" fmla="*/ 2147483647 h 83"/>
                    <a:gd name="T64" fmla="*/ 2147483647 w 109"/>
                    <a:gd name="T65" fmla="*/ 2147483647 h 83"/>
                    <a:gd name="T66" fmla="*/ 2147483647 w 109"/>
                    <a:gd name="T67" fmla="*/ 2147483647 h 83"/>
                    <a:gd name="T68" fmla="*/ 2147483647 w 109"/>
                    <a:gd name="T69" fmla="*/ 2147483647 h 83"/>
                    <a:gd name="T70" fmla="*/ 2147483647 w 109"/>
                    <a:gd name="T71" fmla="*/ 2147483647 h 83"/>
                    <a:gd name="T72" fmla="*/ 2147483647 w 109"/>
                    <a:gd name="T73" fmla="*/ 2147483647 h 83"/>
                    <a:gd name="T74" fmla="*/ 2147483647 w 109"/>
                    <a:gd name="T75" fmla="*/ 2147483647 h 83"/>
                    <a:gd name="T76" fmla="*/ 2147483647 w 109"/>
                    <a:gd name="T77" fmla="*/ 2147483647 h 83"/>
                    <a:gd name="T78" fmla="*/ 2147483647 w 109"/>
                    <a:gd name="T79" fmla="*/ 2147483647 h 83"/>
                    <a:gd name="T80" fmla="*/ 2147483647 w 109"/>
                    <a:gd name="T81" fmla="*/ 2147483647 h 83"/>
                    <a:gd name="T82" fmla="*/ 2147483647 w 109"/>
                    <a:gd name="T83" fmla="*/ 2147483647 h 83"/>
                    <a:gd name="T84" fmla="*/ 2147483647 w 109"/>
                    <a:gd name="T85" fmla="*/ 2147483647 h 83"/>
                    <a:gd name="T86" fmla="*/ 2147483647 w 109"/>
                    <a:gd name="T87" fmla="*/ 2147483647 h 83"/>
                    <a:gd name="T88" fmla="*/ 2147483647 w 109"/>
                    <a:gd name="T89" fmla="*/ 2147483647 h 83"/>
                    <a:gd name="T90" fmla="*/ 2147483647 w 109"/>
                    <a:gd name="T91" fmla="*/ 2147483647 h 83"/>
                    <a:gd name="T92" fmla="*/ 2147483647 w 109"/>
                    <a:gd name="T93" fmla="*/ 2147483647 h 83"/>
                    <a:gd name="T94" fmla="*/ 2147483647 w 109"/>
                    <a:gd name="T95" fmla="*/ 2147483647 h 83"/>
                    <a:gd name="T96" fmla="*/ 2147483647 w 109"/>
                    <a:gd name="T97" fmla="*/ 2147483647 h 83"/>
                    <a:gd name="T98" fmla="*/ 2147483647 w 109"/>
                    <a:gd name="T99" fmla="*/ 2147483647 h 83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09"/>
                    <a:gd name="T151" fmla="*/ 0 h 83"/>
                    <a:gd name="T152" fmla="*/ 109 w 109"/>
                    <a:gd name="T153" fmla="*/ 83 h 83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09" h="83">
                      <a:moveTo>
                        <a:pt x="81" y="6"/>
                      </a:moveTo>
                      <a:lnTo>
                        <a:pt x="76" y="6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67" y="6"/>
                      </a:lnTo>
                      <a:lnTo>
                        <a:pt x="61" y="6"/>
                      </a:lnTo>
                      <a:lnTo>
                        <a:pt x="55" y="4"/>
                      </a:lnTo>
                      <a:lnTo>
                        <a:pt x="44" y="0"/>
                      </a:lnTo>
                      <a:lnTo>
                        <a:pt x="41" y="0"/>
                      </a:lnTo>
                      <a:lnTo>
                        <a:pt x="37" y="2"/>
                      </a:lnTo>
                      <a:lnTo>
                        <a:pt x="25" y="14"/>
                      </a:lnTo>
                      <a:lnTo>
                        <a:pt x="25" y="15"/>
                      </a:lnTo>
                      <a:lnTo>
                        <a:pt x="27" y="16"/>
                      </a:lnTo>
                      <a:lnTo>
                        <a:pt x="32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1" y="29"/>
                      </a:lnTo>
                      <a:lnTo>
                        <a:pt x="42" y="32"/>
                      </a:lnTo>
                      <a:lnTo>
                        <a:pt x="46" y="33"/>
                      </a:lnTo>
                      <a:lnTo>
                        <a:pt x="44" y="35"/>
                      </a:lnTo>
                      <a:lnTo>
                        <a:pt x="41" y="36"/>
                      </a:lnTo>
                      <a:lnTo>
                        <a:pt x="34" y="35"/>
                      </a:lnTo>
                      <a:lnTo>
                        <a:pt x="32" y="35"/>
                      </a:lnTo>
                      <a:lnTo>
                        <a:pt x="29" y="33"/>
                      </a:lnTo>
                      <a:lnTo>
                        <a:pt x="25" y="29"/>
                      </a:lnTo>
                      <a:lnTo>
                        <a:pt x="20" y="26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5" y="28"/>
                      </a:lnTo>
                      <a:lnTo>
                        <a:pt x="2" y="32"/>
                      </a:lnTo>
                      <a:lnTo>
                        <a:pt x="0" y="36"/>
                      </a:lnTo>
                      <a:lnTo>
                        <a:pt x="1" y="40"/>
                      </a:lnTo>
                      <a:lnTo>
                        <a:pt x="4" y="42"/>
                      </a:lnTo>
                      <a:lnTo>
                        <a:pt x="10" y="43"/>
                      </a:lnTo>
                      <a:lnTo>
                        <a:pt x="13" y="45"/>
                      </a:lnTo>
                      <a:lnTo>
                        <a:pt x="14" y="46"/>
                      </a:lnTo>
                      <a:lnTo>
                        <a:pt x="15" y="51"/>
                      </a:lnTo>
                      <a:lnTo>
                        <a:pt x="16" y="55"/>
                      </a:lnTo>
                      <a:lnTo>
                        <a:pt x="18" y="58"/>
                      </a:lnTo>
                      <a:lnTo>
                        <a:pt x="20" y="59"/>
                      </a:lnTo>
                      <a:lnTo>
                        <a:pt x="23" y="59"/>
                      </a:lnTo>
                      <a:lnTo>
                        <a:pt x="25" y="59"/>
                      </a:lnTo>
                      <a:lnTo>
                        <a:pt x="30" y="55"/>
                      </a:lnTo>
                      <a:lnTo>
                        <a:pt x="32" y="55"/>
                      </a:lnTo>
                      <a:lnTo>
                        <a:pt x="34" y="57"/>
                      </a:lnTo>
                      <a:lnTo>
                        <a:pt x="35" y="59"/>
                      </a:lnTo>
                      <a:lnTo>
                        <a:pt x="38" y="59"/>
                      </a:lnTo>
                      <a:lnTo>
                        <a:pt x="44" y="59"/>
                      </a:lnTo>
                      <a:lnTo>
                        <a:pt x="47" y="60"/>
                      </a:lnTo>
                      <a:lnTo>
                        <a:pt x="48" y="61"/>
                      </a:lnTo>
                      <a:lnTo>
                        <a:pt x="52" y="70"/>
                      </a:lnTo>
                      <a:lnTo>
                        <a:pt x="57" y="77"/>
                      </a:lnTo>
                      <a:lnTo>
                        <a:pt x="60" y="79"/>
                      </a:lnTo>
                      <a:lnTo>
                        <a:pt x="63" y="81"/>
                      </a:lnTo>
                      <a:lnTo>
                        <a:pt x="67" y="83"/>
                      </a:lnTo>
                      <a:lnTo>
                        <a:pt x="71" y="83"/>
                      </a:lnTo>
                      <a:lnTo>
                        <a:pt x="74" y="81"/>
                      </a:lnTo>
                      <a:lnTo>
                        <a:pt x="74" y="80"/>
                      </a:lnTo>
                      <a:lnTo>
                        <a:pt x="76" y="77"/>
                      </a:lnTo>
                      <a:lnTo>
                        <a:pt x="79" y="73"/>
                      </a:lnTo>
                      <a:lnTo>
                        <a:pt x="82" y="72"/>
                      </a:lnTo>
                      <a:lnTo>
                        <a:pt x="88" y="71"/>
                      </a:lnTo>
                      <a:lnTo>
                        <a:pt x="91" y="71"/>
                      </a:lnTo>
                      <a:lnTo>
                        <a:pt x="93" y="67"/>
                      </a:lnTo>
                      <a:lnTo>
                        <a:pt x="94" y="65"/>
                      </a:lnTo>
                      <a:lnTo>
                        <a:pt x="96" y="62"/>
                      </a:lnTo>
                      <a:lnTo>
                        <a:pt x="102" y="62"/>
                      </a:lnTo>
                      <a:lnTo>
                        <a:pt x="104" y="65"/>
                      </a:lnTo>
                      <a:lnTo>
                        <a:pt x="105" y="66"/>
                      </a:lnTo>
                      <a:lnTo>
                        <a:pt x="108" y="65"/>
                      </a:lnTo>
                      <a:lnTo>
                        <a:pt x="109" y="64"/>
                      </a:lnTo>
                      <a:lnTo>
                        <a:pt x="109" y="61"/>
                      </a:lnTo>
                      <a:lnTo>
                        <a:pt x="107" y="59"/>
                      </a:lnTo>
                      <a:lnTo>
                        <a:pt x="104" y="57"/>
                      </a:lnTo>
                      <a:lnTo>
                        <a:pt x="103" y="51"/>
                      </a:lnTo>
                      <a:lnTo>
                        <a:pt x="103" y="45"/>
                      </a:lnTo>
                      <a:lnTo>
                        <a:pt x="103" y="39"/>
                      </a:lnTo>
                      <a:lnTo>
                        <a:pt x="102" y="38"/>
                      </a:lnTo>
                      <a:lnTo>
                        <a:pt x="100" y="38"/>
                      </a:lnTo>
                      <a:lnTo>
                        <a:pt x="98" y="38"/>
                      </a:lnTo>
                      <a:lnTo>
                        <a:pt x="96" y="39"/>
                      </a:lnTo>
                      <a:lnTo>
                        <a:pt x="95" y="38"/>
                      </a:lnTo>
                      <a:lnTo>
                        <a:pt x="94" y="35"/>
                      </a:lnTo>
                      <a:lnTo>
                        <a:pt x="94" y="34"/>
                      </a:lnTo>
                      <a:lnTo>
                        <a:pt x="93" y="34"/>
                      </a:lnTo>
                      <a:lnTo>
                        <a:pt x="89" y="33"/>
                      </a:lnTo>
                      <a:lnTo>
                        <a:pt x="86" y="30"/>
                      </a:lnTo>
                      <a:lnTo>
                        <a:pt x="85" y="27"/>
                      </a:lnTo>
                      <a:lnTo>
                        <a:pt x="85" y="23"/>
                      </a:lnTo>
                      <a:lnTo>
                        <a:pt x="86" y="22"/>
                      </a:lnTo>
                      <a:lnTo>
                        <a:pt x="88" y="21"/>
                      </a:lnTo>
                      <a:lnTo>
                        <a:pt x="91" y="20"/>
                      </a:lnTo>
                      <a:lnTo>
                        <a:pt x="96" y="19"/>
                      </a:lnTo>
                      <a:lnTo>
                        <a:pt x="99" y="17"/>
                      </a:lnTo>
                      <a:lnTo>
                        <a:pt x="100" y="15"/>
                      </a:lnTo>
                      <a:lnTo>
                        <a:pt x="99" y="11"/>
                      </a:lnTo>
                      <a:lnTo>
                        <a:pt x="96" y="7"/>
                      </a:lnTo>
                      <a:lnTo>
                        <a:pt x="94" y="4"/>
                      </a:lnTo>
                      <a:lnTo>
                        <a:pt x="90" y="4"/>
                      </a:lnTo>
                      <a:lnTo>
                        <a:pt x="81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9" name="Freeform 953">
                  <a:extLst>
                    <a:ext uri="{FF2B5EF4-FFF2-40B4-BE49-F238E27FC236}">
                      <a16:creationId xmlns:a16="http://schemas.microsoft.com/office/drawing/2014/main" id="{FCD6EBA2-B630-5E49-ABBC-4BAFB14099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1399" y="2107019"/>
                  <a:ext cx="131708" cy="106551"/>
                </a:xfrm>
                <a:custGeom>
                  <a:avLst/>
                  <a:gdLst>
                    <a:gd name="T0" fmla="*/ 2147483647 w 96"/>
                    <a:gd name="T1" fmla="*/ 2147483647 h 72"/>
                    <a:gd name="T2" fmla="*/ 2147483647 w 96"/>
                    <a:gd name="T3" fmla="*/ 2147483647 h 72"/>
                    <a:gd name="T4" fmla="*/ 2147483647 w 96"/>
                    <a:gd name="T5" fmla="*/ 2147483647 h 72"/>
                    <a:gd name="T6" fmla="*/ 2147483647 w 96"/>
                    <a:gd name="T7" fmla="*/ 2147483647 h 72"/>
                    <a:gd name="T8" fmla="*/ 2147483647 w 96"/>
                    <a:gd name="T9" fmla="*/ 2147483647 h 72"/>
                    <a:gd name="T10" fmla="*/ 2147483647 w 96"/>
                    <a:gd name="T11" fmla="*/ 2147483647 h 72"/>
                    <a:gd name="T12" fmla="*/ 2147483647 w 96"/>
                    <a:gd name="T13" fmla="*/ 2147483647 h 72"/>
                    <a:gd name="T14" fmla="*/ 2147483647 w 96"/>
                    <a:gd name="T15" fmla="*/ 2147483647 h 72"/>
                    <a:gd name="T16" fmla="*/ 2147483647 w 96"/>
                    <a:gd name="T17" fmla="*/ 2147483647 h 72"/>
                    <a:gd name="T18" fmla="*/ 2147483647 w 96"/>
                    <a:gd name="T19" fmla="*/ 2147483647 h 72"/>
                    <a:gd name="T20" fmla="*/ 2147483647 w 96"/>
                    <a:gd name="T21" fmla="*/ 2147483647 h 72"/>
                    <a:gd name="T22" fmla="*/ 2147483647 w 96"/>
                    <a:gd name="T23" fmla="*/ 2147483647 h 72"/>
                    <a:gd name="T24" fmla="*/ 2147483647 w 96"/>
                    <a:gd name="T25" fmla="*/ 2147483647 h 72"/>
                    <a:gd name="T26" fmla="*/ 2147483647 w 96"/>
                    <a:gd name="T27" fmla="*/ 2147483647 h 72"/>
                    <a:gd name="T28" fmla="*/ 2147483647 w 96"/>
                    <a:gd name="T29" fmla="*/ 2147483647 h 72"/>
                    <a:gd name="T30" fmla="*/ 2147483647 w 96"/>
                    <a:gd name="T31" fmla="*/ 2147483647 h 72"/>
                    <a:gd name="T32" fmla="*/ 2147483647 w 96"/>
                    <a:gd name="T33" fmla="*/ 2147483647 h 72"/>
                    <a:gd name="T34" fmla="*/ 2147483647 w 96"/>
                    <a:gd name="T35" fmla="*/ 2147483647 h 72"/>
                    <a:gd name="T36" fmla="*/ 2147483647 w 96"/>
                    <a:gd name="T37" fmla="*/ 2147483647 h 72"/>
                    <a:gd name="T38" fmla="*/ 0 w 96"/>
                    <a:gd name="T39" fmla="*/ 2147483647 h 72"/>
                    <a:gd name="T40" fmla="*/ 0 w 96"/>
                    <a:gd name="T41" fmla="*/ 2147483647 h 72"/>
                    <a:gd name="T42" fmla="*/ 2147483647 w 96"/>
                    <a:gd name="T43" fmla="*/ 2147483647 h 72"/>
                    <a:gd name="T44" fmla="*/ 2147483647 w 96"/>
                    <a:gd name="T45" fmla="*/ 2147483647 h 72"/>
                    <a:gd name="T46" fmla="*/ 2147483647 w 96"/>
                    <a:gd name="T47" fmla="*/ 2147483647 h 72"/>
                    <a:gd name="T48" fmla="*/ 2147483647 w 96"/>
                    <a:gd name="T49" fmla="*/ 2147483647 h 72"/>
                    <a:gd name="T50" fmla="*/ 2147483647 w 96"/>
                    <a:gd name="T51" fmla="*/ 2147483647 h 72"/>
                    <a:gd name="T52" fmla="*/ 2147483647 w 96"/>
                    <a:gd name="T53" fmla="*/ 2147483647 h 72"/>
                    <a:gd name="T54" fmla="*/ 2147483647 w 96"/>
                    <a:gd name="T55" fmla="*/ 2147483647 h 72"/>
                    <a:gd name="T56" fmla="*/ 2147483647 w 96"/>
                    <a:gd name="T57" fmla="*/ 2147483647 h 72"/>
                    <a:gd name="T58" fmla="*/ 2147483647 w 96"/>
                    <a:gd name="T59" fmla="*/ 2147483647 h 72"/>
                    <a:gd name="T60" fmla="*/ 2147483647 w 96"/>
                    <a:gd name="T61" fmla="*/ 2147483647 h 72"/>
                    <a:gd name="T62" fmla="*/ 2147483647 w 96"/>
                    <a:gd name="T63" fmla="*/ 2147483647 h 72"/>
                    <a:gd name="T64" fmla="*/ 2147483647 w 96"/>
                    <a:gd name="T65" fmla="*/ 2147483647 h 72"/>
                    <a:gd name="T66" fmla="*/ 2147483647 w 96"/>
                    <a:gd name="T67" fmla="*/ 2147483647 h 72"/>
                    <a:gd name="T68" fmla="*/ 2147483647 w 96"/>
                    <a:gd name="T69" fmla="*/ 2147483647 h 72"/>
                    <a:gd name="T70" fmla="*/ 2147483647 w 96"/>
                    <a:gd name="T71" fmla="*/ 2147483647 h 72"/>
                    <a:gd name="T72" fmla="*/ 2147483647 w 96"/>
                    <a:gd name="T73" fmla="*/ 2147483647 h 72"/>
                    <a:gd name="T74" fmla="*/ 2147483647 w 96"/>
                    <a:gd name="T75" fmla="*/ 2147483647 h 72"/>
                    <a:gd name="T76" fmla="*/ 2147483647 w 96"/>
                    <a:gd name="T77" fmla="*/ 2147483647 h 72"/>
                    <a:gd name="T78" fmla="*/ 2147483647 w 96"/>
                    <a:gd name="T79" fmla="*/ 2147483647 h 72"/>
                    <a:gd name="T80" fmla="*/ 2147483647 w 96"/>
                    <a:gd name="T81" fmla="*/ 2147483647 h 72"/>
                    <a:gd name="T82" fmla="*/ 2147483647 w 96"/>
                    <a:gd name="T83" fmla="*/ 2147483647 h 72"/>
                    <a:gd name="T84" fmla="*/ 2147483647 w 96"/>
                    <a:gd name="T85" fmla="*/ 2147483647 h 72"/>
                    <a:gd name="T86" fmla="*/ 2147483647 w 96"/>
                    <a:gd name="T87" fmla="*/ 2147483647 h 72"/>
                    <a:gd name="T88" fmla="*/ 2147483647 w 96"/>
                    <a:gd name="T89" fmla="*/ 2147483647 h 7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96"/>
                    <a:gd name="T136" fmla="*/ 0 h 72"/>
                    <a:gd name="T137" fmla="*/ 96 w 96"/>
                    <a:gd name="T138" fmla="*/ 72 h 72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96" h="72">
                      <a:moveTo>
                        <a:pt x="84" y="33"/>
                      </a:moveTo>
                      <a:lnTo>
                        <a:pt x="84" y="33"/>
                      </a:lnTo>
                      <a:lnTo>
                        <a:pt x="89" y="28"/>
                      </a:lnTo>
                      <a:lnTo>
                        <a:pt x="93" y="23"/>
                      </a:lnTo>
                      <a:lnTo>
                        <a:pt x="96" y="17"/>
                      </a:lnTo>
                      <a:lnTo>
                        <a:pt x="94" y="12"/>
                      </a:lnTo>
                      <a:lnTo>
                        <a:pt x="93" y="11"/>
                      </a:lnTo>
                      <a:lnTo>
                        <a:pt x="92" y="10"/>
                      </a:lnTo>
                      <a:lnTo>
                        <a:pt x="85" y="8"/>
                      </a:lnTo>
                      <a:lnTo>
                        <a:pt x="71" y="8"/>
                      </a:lnTo>
                      <a:lnTo>
                        <a:pt x="66" y="7"/>
                      </a:lnTo>
                      <a:lnTo>
                        <a:pt x="63" y="4"/>
                      </a:lnTo>
                      <a:lnTo>
                        <a:pt x="57" y="1"/>
                      </a:lnTo>
                      <a:lnTo>
                        <a:pt x="51" y="0"/>
                      </a:lnTo>
                      <a:lnTo>
                        <a:pt x="46" y="1"/>
                      </a:lnTo>
                      <a:lnTo>
                        <a:pt x="42" y="2"/>
                      </a:lnTo>
                      <a:lnTo>
                        <a:pt x="38" y="5"/>
                      </a:lnTo>
                      <a:lnTo>
                        <a:pt x="33" y="6"/>
                      </a:lnTo>
                      <a:lnTo>
                        <a:pt x="24" y="7"/>
                      </a:lnTo>
                      <a:lnTo>
                        <a:pt x="17" y="7"/>
                      </a:lnTo>
                      <a:lnTo>
                        <a:pt x="7" y="8"/>
                      </a:lnTo>
                      <a:lnTo>
                        <a:pt x="5" y="8"/>
                      </a:lnTo>
                      <a:lnTo>
                        <a:pt x="4" y="10"/>
                      </a:lnTo>
                      <a:lnTo>
                        <a:pt x="7" y="17"/>
                      </a:lnTo>
                      <a:lnTo>
                        <a:pt x="8" y="20"/>
                      </a:lnTo>
                      <a:lnTo>
                        <a:pt x="9" y="24"/>
                      </a:lnTo>
                      <a:lnTo>
                        <a:pt x="10" y="26"/>
                      </a:lnTo>
                      <a:lnTo>
                        <a:pt x="12" y="28"/>
                      </a:lnTo>
                      <a:lnTo>
                        <a:pt x="10" y="31"/>
                      </a:lnTo>
                      <a:lnTo>
                        <a:pt x="10" y="33"/>
                      </a:lnTo>
                      <a:lnTo>
                        <a:pt x="7" y="37"/>
                      </a:lnTo>
                      <a:lnTo>
                        <a:pt x="0" y="40"/>
                      </a:lnTo>
                      <a:lnTo>
                        <a:pt x="0" y="42"/>
                      </a:lnTo>
                      <a:lnTo>
                        <a:pt x="0" y="44"/>
                      </a:lnTo>
                      <a:lnTo>
                        <a:pt x="0" y="45"/>
                      </a:lnTo>
                      <a:lnTo>
                        <a:pt x="2" y="47"/>
                      </a:lnTo>
                      <a:lnTo>
                        <a:pt x="5" y="51"/>
                      </a:lnTo>
                      <a:lnTo>
                        <a:pt x="8" y="56"/>
                      </a:lnTo>
                      <a:lnTo>
                        <a:pt x="12" y="65"/>
                      </a:lnTo>
                      <a:lnTo>
                        <a:pt x="14" y="68"/>
                      </a:lnTo>
                      <a:lnTo>
                        <a:pt x="16" y="69"/>
                      </a:lnTo>
                      <a:lnTo>
                        <a:pt x="21" y="70"/>
                      </a:lnTo>
                      <a:lnTo>
                        <a:pt x="32" y="72"/>
                      </a:lnTo>
                      <a:lnTo>
                        <a:pt x="36" y="72"/>
                      </a:lnTo>
                      <a:lnTo>
                        <a:pt x="38" y="71"/>
                      </a:lnTo>
                      <a:lnTo>
                        <a:pt x="41" y="69"/>
                      </a:lnTo>
                      <a:lnTo>
                        <a:pt x="42" y="66"/>
                      </a:lnTo>
                      <a:lnTo>
                        <a:pt x="43" y="62"/>
                      </a:lnTo>
                      <a:lnTo>
                        <a:pt x="46" y="58"/>
                      </a:lnTo>
                      <a:lnTo>
                        <a:pt x="46" y="56"/>
                      </a:lnTo>
                      <a:lnTo>
                        <a:pt x="40" y="52"/>
                      </a:lnTo>
                      <a:lnTo>
                        <a:pt x="38" y="50"/>
                      </a:lnTo>
                      <a:lnTo>
                        <a:pt x="40" y="46"/>
                      </a:lnTo>
                      <a:lnTo>
                        <a:pt x="42" y="45"/>
                      </a:lnTo>
                      <a:lnTo>
                        <a:pt x="43" y="45"/>
                      </a:lnTo>
                      <a:lnTo>
                        <a:pt x="45" y="46"/>
                      </a:lnTo>
                      <a:lnTo>
                        <a:pt x="46" y="49"/>
                      </a:lnTo>
                      <a:lnTo>
                        <a:pt x="47" y="49"/>
                      </a:lnTo>
                      <a:lnTo>
                        <a:pt x="49" y="52"/>
                      </a:lnTo>
                      <a:lnTo>
                        <a:pt x="51" y="53"/>
                      </a:lnTo>
                      <a:lnTo>
                        <a:pt x="54" y="55"/>
                      </a:lnTo>
                      <a:lnTo>
                        <a:pt x="57" y="56"/>
                      </a:lnTo>
                      <a:lnTo>
                        <a:pt x="64" y="56"/>
                      </a:lnTo>
                      <a:lnTo>
                        <a:pt x="69" y="53"/>
                      </a:lnTo>
                      <a:lnTo>
                        <a:pt x="73" y="51"/>
                      </a:lnTo>
                      <a:lnTo>
                        <a:pt x="74" y="47"/>
                      </a:lnTo>
                      <a:lnTo>
                        <a:pt x="75" y="39"/>
                      </a:lnTo>
                      <a:lnTo>
                        <a:pt x="76" y="37"/>
                      </a:lnTo>
                      <a:lnTo>
                        <a:pt x="79" y="36"/>
                      </a:lnTo>
                      <a:lnTo>
                        <a:pt x="84" y="3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0" name="Freeform 954">
                  <a:extLst>
                    <a:ext uri="{FF2B5EF4-FFF2-40B4-BE49-F238E27FC236}">
                      <a16:creationId xmlns:a16="http://schemas.microsoft.com/office/drawing/2014/main" id="{D4E521C1-7ABF-3C4D-AFD2-A8F2E35054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97129" y="2129217"/>
                  <a:ext cx="149468" cy="122829"/>
                </a:xfrm>
                <a:custGeom>
                  <a:avLst/>
                  <a:gdLst>
                    <a:gd name="T0" fmla="*/ 2147483647 w 109"/>
                    <a:gd name="T1" fmla="*/ 2147483647 h 83"/>
                    <a:gd name="T2" fmla="*/ 2147483647 w 109"/>
                    <a:gd name="T3" fmla="*/ 2147483647 h 83"/>
                    <a:gd name="T4" fmla="*/ 2147483647 w 109"/>
                    <a:gd name="T5" fmla="*/ 2147483647 h 83"/>
                    <a:gd name="T6" fmla="*/ 2147483647 w 109"/>
                    <a:gd name="T7" fmla="*/ 0 h 83"/>
                    <a:gd name="T8" fmla="*/ 2147483647 w 109"/>
                    <a:gd name="T9" fmla="*/ 2147483647 h 83"/>
                    <a:gd name="T10" fmla="*/ 2147483647 w 109"/>
                    <a:gd name="T11" fmla="*/ 2147483647 h 83"/>
                    <a:gd name="T12" fmla="*/ 2147483647 w 109"/>
                    <a:gd name="T13" fmla="*/ 2147483647 h 83"/>
                    <a:gd name="T14" fmla="*/ 2147483647 w 109"/>
                    <a:gd name="T15" fmla="*/ 2147483647 h 83"/>
                    <a:gd name="T16" fmla="*/ 2147483647 w 109"/>
                    <a:gd name="T17" fmla="*/ 2147483647 h 83"/>
                    <a:gd name="T18" fmla="*/ 2147483647 w 109"/>
                    <a:gd name="T19" fmla="*/ 2147483647 h 83"/>
                    <a:gd name="T20" fmla="*/ 2147483647 w 109"/>
                    <a:gd name="T21" fmla="*/ 2147483647 h 83"/>
                    <a:gd name="T22" fmla="*/ 2147483647 w 109"/>
                    <a:gd name="T23" fmla="*/ 2147483647 h 83"/>
                    <a:gd name="T24" fmla="*/ 2147483647 w 109"/>
                    <a:gd name="T25" fmla="*/ 2147483647 h 83"/>
                    <a:gd name="T26" fmla="*/ 2147483647 w 109"/>
                    <a:gd name="T27" fmla="*/ 2147483647 h 83"/>
                    <a:gd name="T28" fmla="*/ 2147483647 w 109"/>
                    <a:gd name="T29" fmla="*/ 2147483647 h 83"/>
                    <a:gd name="T30" fmla="*/ 2147483647 w 109"/>
                    <a:gd name="T31" fmla="*/ 2147483647 h 83"/>
                    <a:gd name="T32" fmla="*/ 2147483647 w 109"/>
                    <a:gd name="T33" fmla="*/ 2147483647 h 83"/>
                    <a:gd name="T34" fmla="*/ 2147483647 w 109"/>
                    <a:gd name="T35" fmla="*/ 2147483647 h 83"/>
                    <a:gd name="T36" fmla="*/ 2147483647 w 109"/>
                    <a:gd name="T37" fmla="*/ 2147483647 h 83"/>
                    <a:gd name="T38" fmla="*/ 2147483647 w 109"/>
                    <a:gd name="T39" fmla="*/ 2147483647 h 83"/>
                    <a:gd name="T40" fmla="*/ 2147483647 w 109"/>
                    <a:gd name="T41" fmla="*/ 2147483647 h 83"/>
                    <a:gd name="T42" fmla="*/ 2147483647 w 109"/>
                    <a:gd name="T43" fmla="*/ 2147483647 h 83"/>
                    <a:gd name="T44" fmla="*/ 2147483647 w 109"/>
                    <a:gd name="T45" fmla="*/ 2147483647 h 83"/>
                    <a:gd name="T46" fmla="*/ 2147483647 w 109"/>
                    <a:gd name="T47" fmla="*/ 2147483647 h 83"/>
                    <a:gd name="T48" fmla="*/ 2147483647 w 109"/>
                    <a:gd name="T49" fmla="*/ 2147483647 h 83"/>
                    <a:gd name="T50" fmla="*/ 2147483647 w 109"/>
                    <a:gd name="T51" fmla="*/ 2147483647 h 83"/>
                    <a:gd name="T52" fmla="*/ 2147483647 w 109"/>
                    <a:gd name="T53" fmla="*/ 2147483647 h 83"/>
                    <a:gd name="T54" fmla="*/ 2147483647 w 109"/>
                    <a:gd name="T55" fmla="*/ 2147483647 h 83"/>
                    <a:gd name="T56" fmla="*/ 2147483647 w 109"/>
                    <a:gd name="T57" fmla="*/ 2147483647 h 83"/>
                    <a:gd name="T58" fmla="*/ 2147483647 w 109"/>
                    <a:gd name="T59" fmla="*/ 2147483647 h 83"/>
                    <a:gd name="T60" fmla="*/ 2147483647 w 109"/>
                    <a:gd name="T61" fmla="*/ 2147483647 h 83"/>
                    <a:gd name="T62" fmla="*/ 2147483647 w 109"/>
                    <a:gd name="T63" fmla="*/ 2147483647 h 83"/>
                    <a:gd name="T64" fmla="*/ 2147483647 w 109"/>
                    <a:gd name="T65" fmla="*/ 2147483647 h 83"/>
                    <a:gd name="T66" fmla="*/ 2147483647 w 109"/>
                    <a:gd name="T67" fmla="*/ 2147483647 h 83"/>
                    <a:gd name="T68" fmla="*/ 2147483647 w 109"/>
                    <a:gd name="T69" fmla="*/ 2147483647 h 83"/>
                    <a:gd name="T70" fmla="*/ 2147483647 w 109"/>
                    <a:gd name="T71" fmla="*/ 2147483647 h 83"/>
                    <a:gd name="T72" fmla="*/ 2147483647 w 109"/>
                    <a:gd name="T73" fmla="*/ 2147483647 h 83"/>
                    <a:gd name="T74" fmla="*/ 2147483647 w 109"/>
                    <a:gd name="T75" fmla="*/ 2147483647 h 83"/>
                    <a:gd name="T76" fmla="*/ 2147483647 w 109"/>
                    <a:gd name="T77" fmla="*/ 2147483647 h 83"/>
                    <a:gd name="T78" fmla="*/ 2147483647 w 109"/>
                    <a:gd name="T79" fmla="*/ 2147483647 h 83"/>
                    <a:gd name="T80" fmla="*/ 2147483647 w 109"/>
                    <a:gd name="T81" fmla="*/ 2147483647 h 83"/>
                    <a:gd name="T82" fmla="*/ 2147483647 w 109"/>
                    <a:gd name="T83" fmla="*/ 2147483647 h 83"/>
                    <a:gd name="T84" fmla="*/ 2147483647 w 109"/>
                    <a:gd name="T85" fmla="*/ 2147483647 h 8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9"/>
                    <a:gd name="T130" fmla="*/ 0 h 83"/>
                    <a:gd name="T131" fmla="*/ 109 w 109"/>
                    <a:gd name="T132" fmla="*/ 83 h 8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9" h="83">
                      <a:moveTo>
                        <a:pt x="81" y="6"/>
                      </a:moveTo>
                      <a:lnTo>
                        <a:pt x="81" y="6"/>
                      </a:lnTo>
                      <a:lnTo>
                        <a:pt x="76" y="6"/>
                      </a:lnTo>
                      <a:lnTo>
                        <a:pt x="73" y="8"/>
                      </a:lnTo>
                      <a:lnTo>
                        <a:pt x="71" y="8"/>
                      </a:lnTo>
                      <a:lnTo>
                        <a:pt x="67" y="6"/>
                      </a:lnTo>
                      <a:lnTo>
                        <a:pt x="61" y="6"/>
                      </a:lnTo>
                      <a:lnTo>
                        <a:pt x="54" y="5"/>
                      </a:lnTo>
                      <a:lnTo>
                        <a:pt x="44" y="0"/>
                      </a:lnTo>
                      <a:lnTo>
                        <a:pt x="40" y="0"/>
                      </a:lnTo>
                      <a:lnTo>
                        <a:pt x="36" y="3"/>
                      </a:lnTo>
                      <a:lnTo>
                        <a:pt x="25" y="15"/>
                      </a:lnTo>
                      <a:lnTo>
                        <a:pt x="25" y="16"/>
                      </a:lnTo>
                      <a:lnTo>
                        <a:pt x="26" y="17"/>
                      </a:lnTo>
                      <a:lnTo>
                        <a:pt x="31" y="18"/>
                      </a:lnTo>
                      <a:lnTo>
                        <a:pt x="36" y="22"/>
                      </a:lnTo>
                      <a:lnTo>
                        <a:pt x="39" y="25"/>
                      </a:lnTo>
                      <a:lnTo>
                        <a:pt x="40" y="30"/>
                      </a:lnTo>
                      <a:lnTo>
                        <a:pt x="42" y="32"/>
                      </a:lnTo>
                      <a:lnTo>
                        <a:pt x="45" y="34"/>
                      </a:lnTo>
                      <a:lnTo>
                        <a:pt x="44" y="36"/>
                      </a:lnTo>
                      <a:lnTo>
                        <a:pt x="40" y="37"/>
                      </a:lnTo>
                      <a:lnTo>
                        <a:pt x="34" y="36"/>
                      </a:lnTo>
                      <a:lnTo>
                        <a:pt x="31" y="36"/>
                      </a:lnTo>
                      <a:lnTo>
                        <a:pt x="29" y="34"/>
                      </a:lnTo>
                      <a:lnTo>
                        <a:pt x="25" y="30"/>
                      </a:lnTo>
                      <a:lnTo>
                        <a:pt x="20" y="27"/>
                      </a:lnTo>
                      <a:lnTo>
                        <a:pt x="14" y="24"/>
                      </a:lnTo>
                      <a:lnTo>
                        <a:pt x="9" y="25"/>
                      </a:lnTo>
                      <a:lnTo>
                        <a:pt x="5" y="29"/>
                      </a:lnTo>
                      <a:lnTo>
                        <a:pt x="2" y="32"/>
                      </a:lnTo>
                      <a:lnTo>
                        <a:pt x="0" y="37"/>
                      </a:lnTo>
                      <a:lnTo>
                        <a:pt x="1" y="41"/>
                      </a:lnTo>
                      <a:lnTo>
                        <a:pt x="3" y="43"/>
                      </a:lnTo>
                      <a:lnTo>
                        <a:pt x="10" y="44"/>
                      </a:lnTo>
                      <a:lnTo>
                        <a:pt x="12" y="45"/>
                      </a:lnTo>
                      <a:lnTo>
                        <a:pt x="14" y="47"/>
                      </a:lnTo>
                      <a:lnTo>
                        <a:pt x="15" y="51"/>
                      </a:lnTo>
                      <a:lnTo>
                        <a:pt x="16" y="56"/>
                      </a:lnTo>
                      <a:lnTo>
                        <a:pt x="17" y="59"/>
                      </a:lnTo>
                      <a:lnTo>
                        <a:pt x="20" y="60"/>
                      </a:lnTo>
                      <a:lnTo>
                        <a:pt x="23" y="60"/>
                      </a:lnTo>
                      <a:lnTo>
                        <a:pt x="25" y="60"/>
                      </a:lnTo>
                      <a:lnTo>
                        <a:pt x="30" y="56"/>
                      </a:lnTo>
                      <a:lnTo>
                        <a:pt x="31" y="56"/>
                      </a:lnTo>
                      <a:lnTo>
                        <a:pt x="34" y="57"/>
                      </a:lnTo>
                      <a:lnTo>
                        <a:pt x="35" y="60"/>
                      </a:lnTo>
                      <a:lnTo>
                        <a:pt x="38" y="60"/>
                      </a:lnTo>
                      <a:lnTo>
                        <a:pt x="44" y="60"/>
                      </a:lnTo>
                      <a:lnTo>
                        <a:pt x="47" y="61"/>
                      </a:lnTo>
                      <a:lnTo>
                        <a:pt x="48" y="62"/>
                      </a:lnTo>
                      <a:lnTo>
                        <a:pt x="52" y="70"/>
                      </a:lnTo>
                      <a:lnTo>
                        <a:pt x="57" y="78"/>
                      </a:lnTo>
                      <a:lnTo>
                        <a:pt x="59" y="80"/>
                      </a:lnTo>
                      <a:lnTo>
                        <a:pt x="63" y="82"/>
                      </a:lnTo>
                      <a:lnTo>
                        <a:pt x="67" y="83"/>
                      </a:lnTo>
                      <a:lnTo>
                        <a:pt x="71" y="83"/>
                      </a:lnTo>
                      <a:lnTo>
                        <a:pt x="73" y="82"/>
                      </a:lnTo>
                      <a:lnTo>
                        <a:pt x="73" y="81"/>
                      </a:lnTo>
                      <a:lnTo>
                        <a:pt x="76" y="78"/>
                      </a:lnTo>
                      <a:lnTo>
                        <a:pt x="78" y="74"/>
                      </a:lnTo>
                      <a:lnTo>
                        <a:pt x="82" y="73"/>
                      </a:lnTo>
                      <a:lnTo>
                        <a:pt x="87" y="72"/>
                      </a:lnTo>
                      <a:lnTo>
                        <a:pt x="91" y="72"/>
                      </a:lnTo>
                      <a:lnTo>
                        <a:pt x="92" y="68"/>
                      </a:lnTo>
                      <a:lnTo>
                        <a:pt x="94" y="66"/>
                      </a:lnTo>
                      <a:lnTo>
                        <a:pt x="96" y="63"/>
                      </a:lnTo>
                      <a:lnTo>
                        <a:pt x="101" y="63"/>
                      </a:lnTo>
                      <a:lnTo>
                        <a:pt x="104" y="66"/>
                      </a:lnTo>
                      <a:lnTo>
                        <a:pt x="105" y="67"/>
                      </a:lnTo>
                      <a:lnTo>
                        <a:pt x="108" y="66"/>
                      </a:lnTo>
                      <a:lnTo>
                        <a:pt x="109" y="64"/>
                      </a:lnTo>
                      <a:lnTo>
                        <a:pt x="109" y="62"/>
                      </a:lnTo>
                      <a:lnTo>
                        <a:pt x="106" y="60"/>
                      </a:lnTo>
                      <a:lnTo>
                        <a:pt x="104" y="57"/>
                      </a:lnTo>
                      <a:lnTo>
                        <a:pt x="103" y="51"/>
                      </a:lnTo>
                      <a:lnTo>
                        <a:pt x="103" y="45"/>
                      </a:lnTo>
                      <a:lnTo>
                        <a:pt x="103" y="40"/>
                      </a:lnTo>
                      <a:lnTo>
                        <a:pt x="101" y="38"/>
                      </a:lnTo>
                      <a:lnTo>
                        <a:pt x="100" y="38"/>
                      </a:lnTo>
                      <a:lnTo>
                        <a:pt x="97" y="38"/>
                      </a:lnTo>
                      <a:lnTo>
                        <a:pt x="96" y="40"/>
                      </a:lnTo>
                      <a:lnTo>
                        <a:pt x="95" y="38"/>
                      </a:lnTo>
                      <a:lnTo>
                        <a:pt x="94" y="36"/>
                      </a:lnTo>
                      <a:lnTo>
                        <a:pt x="94" y="35"/>
                      </a:lnTo>
                      <a:lnTo>
                        <a:pt x="92" y="35"/>
                      </a:lnTo>
                      <a:lnTo>
                        <a:pt x="89" y="34"/>
                      </a:lnTo>
                      <a:lnTo>
                        <a:pt x="86" y="31"/>
                      </a:lnTo>
                      <a:lnTo>
                        <a:pt x="85" y="28"/>
                      </a:lnTo>
                      <a:lnTo>
                        <a:pt x="85" y="24"/>
                      </a:lnTo>
                      <a:lnTo>
                        <a:pt x="86" y="23"/>
                      </a:lnTo>
                      <a:lnTo>
                        <a:pt x="87" y="22"/>
                      </a:lnTo>
                      <a:lnTo>
                        <a:pt x="91" y="21"/>
                      </a:lnTo>
                      <a:lnTo>
                        <a:pt x="96" y="19"/>
                      </a:lnTo>
                      <a:lnTo>
                        <a:pt x="99" y="18"/>
                      </a:lnTo>
                      <a:lnTo>
                        <a:pt x="100" y="16"/>
                      </a:lnTo>
                      <a:lnTo>
                        <a:pt x="99" y="12"/>
                      </a:lnTo>
                      <a:lnTo>
                        <a:pt x="96" y="8"/>
                      </a:lnTo>
                      <a:lnTo>
                        <a:pt x="94" y="5"/>
                      </a:lnTo>
                      <a:lnTo>
                        <a:pt x="90" y="5"/>
                      </a:lnTo>
                      <a:lnTo>
                        <a:pt x="8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1" name="Freeform 955">
                  <a:extLst>
                    <a:ext uri="{FF2B5EF4-FFF2-40B4-BE49-F238E27FC236}">
                      <a16:creationId xmlns:a16="http://schemas.microsoft.com/office/drawing/2014/main" id="{A54C4148-F793-624E-9D9B-9C562BE58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9643" y="2312725"/>
                  <a:ext cx="110990" cy="57714"/>
                </a:xfrm>
                <a:custGeom>
                  <a:avLst/>
                  <a:gdLst>
                    <a:gd name="T0" fmla="*/ 2147483647 w 81"/>
                    <a:gd name="T1" fmla="*/ 2147483647 h 39"/>
                    <a:gd name="T2" fmla="*/ 2147483647 w 81"/>
                    <a:gd name="T3" fmla="*/ 2147483647 h 39"/>
                    <a:gd name="T4" fmla="*/ 2147483647 w 81"/>
                    <a:gd name="T5" fmla="*/ 2147483647 h 39"/>
                    <a:gd name="T6" fmla="*/ 2147483647 w 81"/>
                    <a:gd name="T7" fmla="*/ 2147483647 h 39"/>
                    <a:gd name="T8" fmla="*/ 2147483647 w 81"/>
                    <a:gd name="T9" fmla="*/ 2147483647 h 39"/>
                    <a:gd name="T10" fmla="*/ 2147483647 w 81"/>
                    <a:gd name="T11" fmla="*/ 2147483647 h 39"/>
                    <a:gd name="T12" fmla="*/ 2147483647 w 81"/>
                    <a:gd name="T13" fmla="*/ 2147483647 h 39"/>
                    <a:gd name="T14" fmla="*/ 2147483647 w 81"/>
                    <a:gd name="T15" fmla="*/ 2147483647 h 39"/>
                    <a:gd name="T16" fmla="*/ 2147483647 w 81"/>
                    <a:gd name="T17" fmla="*/ 2147483647 h 39"/>
                    <a:gd name="T18" fmla="*/ 2147483647 w 81"/>
                    <a:gd name="T19" fmla="*/ 2147483647 h 39"/>
                    <a:gd name="T20" fmla="*/ 2147483647 w 81"/>
                    <a:gd name="T21" fmla="*/ 2147483647 h 39"/>
                    <a:gd name="T22" fmla="*/ 2147483647 w 81"/>
                    <a:gd name="T23" fmla="*/ 2147483647 h 39"/>
                    <a:gd name="T24" fmla="*/ 2147483647 w 81"/>
                    <a:gd name="T25" fmla="*/ 2147483647 h 39"/>
                    <a:gd name="T26" fmla="*/ 2147483647 w 81"/>
                    <a:gd name="T27" fmla="*/ 2147483647 h 39"/>
                    <a:gd name="T28" fmla="*/ 2147483647 w 81"/>
                    <a:gd name="T29" fmla="*/ 2147483647 h 39"/>
                    <a:gd name="T30" fmla="*/ 0 w 81"/>
                    <a:gd name="T31" fmla="*/ 2147483647 h 39"/>
                    <a:gd name="T32" fmla="*/ 0 w 81"/>
                    <a:gd name="T33" fmla="*/ 2147483647 h 39"/>
                    <a:gd name="T34" fmla="*/ 0 w 81"/>
                    <a:gd name="T35" fmla="*/ 2147483647 h 39"/>
                    <a:gd name="T36" fmla="*/ 2147483647 w 81"/>
                    <a:gd name="T37" fmla="*/ 2147483647 h 39"/>
                    <a:gd name="T38" fmla="*/ 2147483647 w 81"/>
                    <a:gd name="T39" fmla="*/ 2147483647 h 39"/>
                    <a:gd name="T40" fmla="*/ 2147483647 w 81"/>
                    <a:gd name="T41" fmla="*/ 2147483647 h 39"/>
                    <a:gd name="T42" fmla="*/ 2147483647 w 81"/>
                    <a:gd name="T43" fmla="*/ 2147483647 h 39"/>
                    <a:gd name="T44" fmla="*/ 2147483647 w 81"/>
                    <a:gd name="T45" fmla="*/ 2147483647 h 39"/>
                    <a:gd name="T46" fmla="*/ 2147483647 w 81"/>
                    <a:gd name="T47" fmla="*/ 2147483647 h 39"/>
                    <a:gd name="T48" fmla="*/ 2147483647 w 81"/>
                    <a:gd name="T49" fmla="*/ 2147483647 h 39"/>
                    <a:gd name="T50" fmla="*/ 2147483647 w 81"/>
                    <a:gd name="T51" fmla="*/ 2147483647 h 39"/>
                    <a:gd name="T52" fmla="*/ 2147483647 w 81"/>
                    <a:gd name="T53" fmla="*/ 2147483647 h 39"/>
                    <a:gd name="T54" fmla="*/ 2147483647 w 81"/>
                    <a:gd name="T55" fmla="*/ 0 h 39"/>
                    <a:gd name="T56" fmla="*/ 2147483647 w 81"/>
                    <a:gd name="T57" fmla="*/ 0 h 39"/>
                    <a:gd name="T58" fmla="*/ 2147483647 w 81"/>
                    <a:gd name="T59" fmla="*/ 2147483647 h 39"/>
                    <a:gd name="T60" fmla="*/ 2147483647 w 81"/>
                    <a:gd name="T61" fmla="*/ 2147483647 h 39"/>
                    <a:gd name="T62" fmla="*/ 2147483647 w 81"/>
                    <a:gd name="T63" fmla="*/ 2147483647 h 39"/>
                    <a:gd name="T64" fmla="*/ 2147483647 w 81"/>
                    <a:gd name="T65" fmla="*/ 2147483647 h 39"/>
                    <a:gd name="T66" fmla="*/ 2147483647 w 81"/>
                    <a:gd name="T67" fmla="*/ 2147483647 h 39"/>
                    <a:gd name="T68" fmla="*/ 2147483647 w 81"/>
                    <a:gd name="T69" fmla="*/ 2147483647 h 39"/>
                    <a:gd name="T70" fmla="*/ 2147483647 w 81"/>
                    <a:gd name="T71" fmla="*/ 2147483647 h 39"/>
                    <a:gd name="T72" fmla="*/ 2147483647 w 81"/>
                    <a:gd name="T73" fmla="*/ 2147483647 h 39"/>
                    <a:gd name="T74" fmla="*/ 2147483647 w 81"/>
                    <a:gd name="T75" fmla="*/ 2147483647 h 39"/>
                    <a:gd name="T76" fmla="*/ 2147483647 w 81"/>
                    <a:gd name="T77" fmla="*/ 2147483647 h 39"/>
                    <a:gd name="T78" fmla="*/ 2147483647 w 81"/>
                    <a:gd name="T79" fmla="*/ 2147483647 h 39"/>
                    <a:gd name="T80" fmla="*/ 2147483647 w 81"/>
                    <a:gd name="T81" fmla="*/ 2147483647 h 39"/>
                    <a:gd name="T82" fmla="*/ 2147483647 w 81"/>
                    <a:gd name="T83" fmla="*/ 2147483647 h 39"/>
                    <a:gd name="T84" fmla="*/ 2147483647 w 81"/>
                    <a:gd name="T85" fmla="*/ 2147483647 h 39"/>
                    <a:gd name="T86" fmla="*/ 2147483647 w 81"/>
                    <a:gd name="T87" fmla="*/ 2147483647 h 39"/>
                    <a:gd name="T88" fmla="*/ 2147483647 w 81"/>
                    <a:gd name="T89" fmla="*/ 2147483647 h 39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1"/>
                    <a:gd name="T136" fmla="*/ 0 h 39"/>
                    <a:gd name="T137" fmla="*/ 81 w 81"/>
                    <a:gd name="T138" fmla="*/ 39 h 39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1" h="39">
                      <a:moveTo>
                        <a:pt x="76" y="26"/>
                      </a:moveTo>
                      <a:lnTo>
                        <a:pt x="74" y="29"/>
                      </a:lnTo>
                      <a:lnTo>
                        <a:pt x="71" y="34"/>
                      </a:lnTo>
                      <a:lnTo>
                        <a:pt x="69" y="38"/>
                      </a:lnTo>
                      <a:lnTo>
                        <a:pt x="67" y="39"/>
                      </a:lnTo>
                      <a:lnTo>
                        <a:pt x="65" y="39"/>
                      </a:lnTo>
                      <a:lnTo>
                        <a:pt x="52" y="39"/>
                      </a:lnTo>
                      <a:lnTo>
                        <a:pt x="41" y="38"/>
                      </a:lnTo>
                      <a:lnTo>
                        <a:pt x="28" y="34"/>
                      </a:lnTo>
                      <a:lnTo>
                        <a:pt x="16" y="29"/>
                      </a:lnTo>
                      <a:lnTo>
                        <a:pt x="13" y="28"/>
                      </a:lnTo>
                      <a:lnTo>
                        <a:pt x="10" y="28"/>
                      </a:lnTo>
                      <a:lnTo>
                        <a:pt x="9" y="28"/>
                      </a:lnTo>
                      <a:lnTo>
                        <a:pt x="4" y="25"/>
                      </a:lnTo>
                      <a:lnTo>
                        <a:pt x="1" y="23"/>
                      </a:lnTo>
                      <a:lnTo>
                        <a:pt x="0" y="21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3" y="16"/>
                      </a:lnTo>
                      <a:lnTo>
                        <a:pt x="4" y="16"/>
                      </a:lnTo>
                      <a:lnTo>
                        <a:pt x="15" y="15"/>
                      </a:lnTo>
                      <a:lnTo>
                        <a:pt x="16" y="15"/>
                      </a:lnTo>
                      <a:lnTo>
                        <a:pt x="16" y="13"/>
                      </a:lnTo>
                      <a:lnTo>
                        <a:pt x="16" y="8"/>
                      </a:lnTo>
                      <a:lnTo>
                        <a:pt x="16" y="7"/>
                      </a:lnTo>
                      <a:lnTo>
                        <a:pt x="19" y="6"/>
                      </a:lnTo>
                      <a:lnTo>
                        <a:pt x="24" y="3"/>
                      </a:lnTo>
                      <a:lnTo>
                        <a:pt x="28" y="0"/>
                      </a:lnTo>
                      <a:lnTo>
                        <a:pt x="29" y="0"/>
                      </a:lnTo>
                      <a:lnTo>
                        <a:pt x="30" y="1"/>
                      </a:lnTo>
                      <a:lnTo>
                        <a:pt x="32" y="2"/>
                      </a:lnTo>
                      <a:lnTo>
                        <a:pt x="36" y="3"/>
                      </a:lnTo>
                      <a:lnTo>
                        <a:pt x="39" y="3"/>
                      </a:lnTo>
                      <a:lnTo>
                        <a:pt x="51" y="9"/>
                      </a:lnTo>
                      <a:lnTo>
                        <a:pt x="57" y="13"/>
                      </a:lnTo>
                      <a:lnTo>
                        <a:pt x="63" y="14"/>
                      </a:lnTo>
                      <a:lnTo>
                        <a:pt x="66" y="13"/>
                      </a:lnTo>
                      <a:lnTo>
                        <a:pt x="67" y="12"/>
                      </a:lnTo>
                      <a:lnTo>
                        <a:pt x="70" y="10"/>
                      </a:lnTo>
                      <a:lnTo>
                        <a:pt x="72" y="9"/>
                      </a:lnTo>
                      <a:lnTo>
                        <a:pt x="79" y="13"/>
                      </a:lnTo>
                      <a:lnTo>
                        <a:pt x="81" y="14"/>
                      </a:lnTo>
                      <a:lnTo>
                        <a:pt x="81" y="16"/>
                      </a:lnTo>
                      <a:lnTo>
                        <a:pt x="80" y="21"/>
                      </a:lnTo>
                      <a:lnTo>
                        <a:pt x="7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956">
                  <a:extLst>
                    <a:ext uri="{FF2B5EF4-FFF2-40B4-BE49-F238E27FC236}">
                      <a16:creationId xmlns:a16="http://schemas.microsoft.com/office/drawing/2014/main" id="{83520169-9B80-7B4E-9329-9B850BC734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2357" y="2370436"/>
                  <a:ext cx="20718" cy="19239"/>
                </a:xfrm>
                <a:custGeom>
                  <a:avLst/>
                  <a:gdLst>
                    <a:gd name="T0" fmla="*/ 2147483647 w 15"/>
                    <a:gd name="T1" fmla="*/ 2147483647 h 13"/>
                    <a:gd name="T2" fmla="*/ 2147483647 w 15"/>
                    <a:gd name="T3" fmla="*/ 2147483647 h 13"/>
                    <a:gd name="T4" fmla="*/ 2147483647 w 15"/>
                    <a:gd name="T5" fmla="*/ 2147483647 h 13"/>
                    <a:gd name="T6" fmla="*/ 2147483647 w 15"/>
                    <a:gd name="T7" fmla="*/ 0 h 13"/>
                    <a:gd name="T8" fmla="*/ 2147483647 w 15"/>
                    <a:gd name="T9" fmla="*/ 0 h 13"/>
                    <a:gd name="T10" fmla="*/ 2147483647 w 15"/>
                    <a:gd name="T11" fmla="*/ 2147483647 h 13"/>
                    <a:gd name="T12" fmla="*/ 2147483647 w 15"/>
                    <a:gd name="T13" fmla="*/ 2147483647 h 13"/>
                    <a:gd name="T14" fmla="*/ 0 w 15"/>
                    <a:gd name="T15" fmla="*/ 2147483647 h 13"/>
                    <a:gd name="T16" fmla="*/ 0 w 15"/>
                    <a:gd name="T17" fmla="*/ 2147483647 h 13"/>
                    <a:gd name="T18" fmla="*/ 2147483647 w 15"/>
                    <a:gd name="T19" fmla="*/ 2147483647 h 13"/>
                    <a:gd name="T20" fmla="*/ 2147483647 w 15"/>
                    <a:gd name="T21" fmla="*/ 2147483647 h 13"/>
                    <a:gd name="T22" fmla="*/ 2147483647 w 15"/>
                    <a:gd name="T23" fmla="*/ 2147483647 h 13"/>
                    <a:gd name="T24" fmla="*/ 2147483647 w 15"/>
                    <a:gd name="T25" fmla="*/ 2147483647 h 13"/>
                    <a:gd name="T26" fmla="*/ 2147483647 w 15"/>
                    <a:gd name="T27" fmla="*/ 2147483647 h 13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5"/>
                    <a:gd name="T43" fmla="*/ 0 h 13"/>
                    <a:gd name="T44" fmla="*/ 15 w 15"/>
                    <a:gd name="T45" fmla="*/ 13 h 13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5" h="13">
                      <a:moveTo>
                        <a:pt x="15" y="7"/>
                      </a:moveTo>
                      <a:lnTo>
                        <a:pt x="15" y="3"/>
                      </a:lnTo>
                      <a:lnTo>
                        <a:pt x="14" y="1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3" y="5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1" y="12"/>
                      </a:lnTo>
                      <a:lnTo>
                        <a:pt x="5" y="13"/>
                      </a:lnTo>
                      <a:lnTo>
                        <a:pt x="9" y="12"/>
                      </a:lnTo>
                      <a:lnTo>
                        <a:pt x="13" y="11"/>
                      </a:lnTo>
                      <a:lnTo>
                        <a:pt x="15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3" name="Freeform 957">
                  <a:extLst>
                    <a:ext uri="{FF2B5EF4-FFF2-40B4-BE49-F238E27FC236}">
                      <a16:creationId xmlns:a16="http://schemas.microsoft.com/office/drawing/2014/main" id="{4E2F3762-5BEE-8C4D-93FF-82ABE52566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8165" y="2311244"/>
                  <a:ext cx="110991" cy="57715"/>
                </a:xfrm>
                <a:custGeom>
                  <a:avLst/>
                  <a:gdLst>
                    <a:gd name="T0" fmla="*/ 2147483647 w 81"/>
                    <a:gd name="T1" fmla="*/ 2147483647 h 39"/>
                    <a:gd name="T2" fmla="*/ 2147483647 w 81"/>
                    <a:gd name="T3" fmla="*/ 2147483647 h 39"/>
                    <a:gd name="T4" fmla="*/ 2147483647 w 81"/>
                    <a:gd name="T5" fmla="*/ 2147483647 h 39"/>
                    <a:gd name="T6" fmla="*/ 2147483647 w 81"/>
                    <a:gd name="T7" fmla="*/ 2147483647 h 39"/>
                    <a:gd name="T8" fmla="*/ 2147483647 w 81"/>
                    <a:gd name="T9" fmla="*/ 2147483647 h 39"/>
                    <a:gd name="T10" fmla="*/ 2147483647 w 81"/>
                    <a:gd name="T11" fmla="*/ 2147483647 h 39"/>
                    <a:gd name="T12" fmla="*/ 2147483647 w 81"/>
                    <a:gd name="T13" fmla="*/ 2147483647 h 39"/>
                    <a:gd name="T14" fmla="*/ 2147483647 w 81"/>
                    <a:gd name="T15" fmla="*/ 2147483647 h 39"/>
                    <a:gd name="T16" fmla="*/ 2147483647 w 81"/>
                    <a:gd name="T17" fmla="*/ 2147483647 h 39"/>
                    <a:gd name="T18" fmla="*/ 2147483647 w 81"/>
                    <a:gd name="T19" fmla="*/ 2147483647 h 39"/>
                    <a:gd name="T20" fmla="*/ 2147483647 w 81"/>
                    <a:gd name="T21" fmla="*/ 2147483647 h 39"/>
                    <a:gd name="T22" fmla="*/ 2147483647 w 81"/>
                    <a:gd name="T23" fmla="*/ 2147483647 h 39"/>
                    <a:gd name="T24" fmla="*/ 2147483647 w 81"/>
                    <a:gd name="T25" fmla="*/ 2147483647 h 39"/>
                    <a:gd name="T26" fmla="*/ 2147483647 w 81"/>
                    <a:gd name="T27" fmla="*/ 2147483647 h 39"/>
                    <a:gd name="T28" fmla="*/ 2147483647 w 81"/>
                    <a:gd name="T29" fmla="*/ 2147483647 h 39"/>
                    <a:gd name="T30" fmla="*/ 2147483647 w 81"/>
                    <a:gd name="T31" fmla="*/ 2147483647 h 39"/>
                    <a:gd name="T32" fmla="*/ 2147483647 w 81"/>
                    <a:gd name="T33" fmla="*/ 2147483647 h 39"/>
                    <a:gd name="T34" fmla="*/ 2147483647 w 81"/>
                    <a:gd name="T35" fmla="*/ 2147483647 h 39"/>
                    <a:gd name="T36" fmla="*/ 2147483647 w 81"/>
                    <a:gd name="T37" fmla="*/ 2147483647 h 39"/>
                    <a:gd name="T38" fmla="*/ 0 w 81"/>
                    <a:gd name="T39" fmla="*/ 2147483647 h 39"/>
                    <a:gd name="T40" fmla="*/ 0 w 81"/>
                    <a:gd name="T41" fmla="*/ 2147483647 h 39"/>
                    <a:gd name="T42" fmla="*/ 0 w 81"/>
                    <a:gd name="T43" fmla="*/ 2147483647 h 39"/>
                    <a:gd name="T44" fmla="*/ 0 w 81"/>
                    <a:gd name="T45" fmla="*/ 2147483647 h 39"/>
                    <a:gd name="T46" fmla="*/ 2147483647 w 81"/>
                    <a:gd name="T47" fmla="*/ 2147483647 h 39"/>
                    <a:gd name="T48" fmla="*/ 2147483647 w 81"/>
                    <a:gd name="T49" fmla="*/ 2147483647 h 39"/>
                    <a:gd name="T50" fmla="*/ 2147483647 w 81"/>
                    <a:gd name="T51" fmla="*/ 2147483647 h 39"/>
                    <a:gd name="T52" fmla="*/ 2147483647 w 81"/>
                    <a:gd name="T53" fmla="*/ 2147483647 h 39"/>
                    <a:gd name="T54" fmla="*/ 2147483647 w 81"/>
                    <a:gd name="T55" fmla="*/ 2147483647 h 39"/>
                    <a:gd name="T56" fmla="*/ 2147483647 w 81"/>
                    <a:gd name="T57" fmla="*/ 2147483647 h 39"/>
                    <a:gd name="T58" fmla="*/ 2147483647 w 81"/>
                    <a:gd name="T59" fmla="*/ 2147483647 h 39"/>
                    <a:gd name="T60" fmla="*/ 2147483647 w 81"/>
                    <a:gd name="T61" fmla="*/ 2147483647 h 39"/>
                    <a:gd name="T62" fmla="*/ 2147483647 w 81"/>
                    <a:gd name="T63" fmla="*/ 2147483647 h 39"/>
                    <a:gd name="T64" fmla="*/ 2147483647 w 81"/>
                    <a:gd name="T65" fmla="*/ 2147483647 h 39"/>
                    <a:gd name="T66" fmla="*/ 2147483647 w 81"/>
                    <a:gd name="T67" fmla="*/ 2147483647 h 39"/>
                    <a:gd name="T68" fmla="*/ 2147483647 w 81"/>
                    <a:gd name="T69" fmla="*/ 2147483647 h 39"/>
                    <a:gd name="T70" fmla="*/ 2147483647 w 81"/>
                    <a:gd name="T71" fmla="*/ 0 h 39"/>
                    <a:gd name="T72" fmla="*/ 2147483647 w 81"/>
                    <a:gd name="T73" fmla="*/ 0 h 39"/>
                    <a:gd name="T74" fmla="*/ 2147483647 w 81"/>
                    <a:gd name="T75" fmla="*/ 0 h 39"/>
                    <a:gd name="T76" fmla="*/ 2147483647 w 81"/>
                    <a:gd name="T77" fmla="*/ 2147483647 h 39"/>
                    <a:gd name="T78" fmla="*/ 2147483647 w 81"/>
                    <a:gd name="T79" fmla="*/ 2147483647 h 39"/>
                    <a:gd name="T80" fmla="*/ 2147483647 w 81"/>
                    <a:gd name="T81" fmla="*/ 2147483647 h 39"/>
                    <a:gd name="T82" fmla="*/ 2147483647 w 81"/>
                    <a:gd name="T83" fmla="*/ 2147483647 h 39"/>
                    <a:gd name="T84" fmla="*/ 2147483647 w 81"/>
                    <a:gd name="T85" fmla="*/ 2147483647 h 39"/>
                    <a:gd name="T86" fmla="*/ 2147483647 w 81"/>
                    <a:gd name="T87" fmla="*/ 2147483647 h 39"/>
                    <a:gd name="T88" fmla="*/ 2147483647 w 81"/>
                    <a:gd name="T89" fmla="*/ 2147483647 h 39"/>
                    <a:gd name="T90" fmla="*/ 2147483647 w 81"/>
                    <a:gd name="T91" fmla="*/ 2147483647 h 39"/>
                    <a:gd name="T92" fmla="*/ 2147483647 w 81"/>
                    <a:gd name="T93" fmla="*/ 2147483647 h 39"/>
                    <a:gd name="T94" fmla="*/ 2147483647 w 81"/>
                    <a:gd name="T95" fmla="*/ 2147483647 h 39"/>
                    <a:gd name="T96" fmla="*/ 2147483647 w 81"/>
                    <a:gd name="T97" fmla="*/ 2147483647 h 39"/>
                    <a:gd name="T98" fmla="*/ 2147483647 w 81"/>
                    <a:gd name="T99" fmla="*/ 2147483647 h 39"/>
                    <a:gd name="T100" fmla="*/ 2147483647 w 81"/>
                    <a:gd name="T101" fmla="*/ 2147483647 h 39"/>
                    <a:gd name="T102" fmla="*/ 2147483647 w 81"/>
                    <a:gd name="T103" fmla="*/ 2147483647 h 39"/>
                    <a:gd name="T104" fmla="*/ 2147483647 w 81"/>
                    <a:gd name="T105" fmla="*/ 2147483647 h 39"/>
                    <a:gd name="T106" fmla="*/ 2147483647 w 81"/>
                    <a:gd name="T107" fmla="*/ 2147483647 h 39"/>
                    <a:gd name="T108" fmla="*/ 2147483647 w 81"/>
                    <a:gd name="T109" fmla="*/ 2147483647 h 39"/>
                    <a:gd name="T110" fmla="*/ 2147483647 w 81"/>
                    <a:gd name="T111" fmla="*/ 2147483647 h 39"/>
                    <a:gd name="T112" fmla="*/ 2147483647 w 81"/>
                    <a:gd name="T113" fmla="*/ 2147483647 h 39"/>
                    <a:gd name="T114" fmla="*/ 2147483647 w 81"/>
                    <a:gd name="T115" fmla="*/ 2147483647 h 39"/>
                    <a:gd name="T116" fmla="*/ 2147483647 w 81"/>
                    <a:gd name="T117" fmla="*/ 2147483647 h 3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81"/>
                    <a:gd name="T178" fmla="*/ 0 h 39"/>
                    <a:gd name="T179" fmla="*/ 81 w 81"/>
                    <a:gd name="T180" fmla="*/ 39 h 3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81" h="39">
                      <a:moveTo>
                        <a:pt x="76" y="26"/>
                      </a:moveTo>
                      <a:lnTo>
                        <a:pt x="76" y="26"/>
                      </a:lnTo>
                      <a:lnTo>
                        <a:pt x="73" y="29"/>
                      </a:lnTo>
                      <a:lnTo>
                        <a:pt x="71" y="34"/>
                      </a:lnTo>
                      <a:lnTo>
                        <a:pt x="68" y="37"/>
                      </a:lnTo>
                      <a:lnTo>
                        <a:pt x="67" y="39"/>
                      </a:lnTo>
                      <a:lnTo>
                        <a:pt x="64" y="39"/>
                      </a:lnTo>
                      <a:lnTo>
                        <a:pt x="52" y="39"/>
                      </a:lnTo>
                      <a:lnTo>
                        <a:pt x="40" y="37"/>
                      </a:lnTo>
                      <a:lnTo>
                        <a:pt x="28" y="34"/>
                      </a:lnTo>
                      <a:lnTo>
                        <a:pt x="16" y="29"/>
                      </a:lnTo>
                      <a:lnTo>
                        <a:pt x="12" y="28"/>
                      </a:lnTo>
                      <a:lnTo>
                        <a:pt x="10" y="28"/>
                      </a:lnTo>
                      <a:lnTo>
                        <a:pt x="9" y="28"/>
                      </a:lnTo>
                      <a:lnTo>
                        <a:pt x="4" y="24"/>
                      </a:lnTo>
                      <a:lnTo>
                        <a:pt x="1" y="23"/>
                      </a:lnTo>
                      <a:lnTo>
                        <a:pt x="0" y="21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2" y="16"/>
                      </a:lnTo>
                      <a:lnTo>
                        <a:pt x="4" y="16"/>
                      </a:lnTo>
                      <a:lnTo>
                        <a:pt x="15" y="15"/>
                      </a:lnTo>
                      <a:lnTo>
                        <a:pt x="16" y="15"/>
                      </a:lnTo>
                      <a:lnTo>
                        <a:pt x="16" y="13"/>
                      </a:lnTo>
                      <a:lnTo>
                        <a:pt x="16" y="8"/>
                      </a:lnTo>
                      <a:lnTo>
                        <a:pt x="16" y="7"/>
                      </a:lnTo>
                      <a:lnTo>
                        <a:pt x="19" y="5"/>
                      </a:lnTo>
                      <a:lnTo>
                        <a:pt x="24" y="3"/>
                      </a:lnTo>
                      <a:lnTo>
                        <a:pt x="28" y="0"/>
                      </a:lnTo>
                      <a:lnTo>
                        <a:pt x="29" y="0"/>
                      </a:lnTo>
                      <a:lnTo>
                        <a:pt x="30" y="1"/>
                      </a:lnTo>
                      <a:lnTo>
                        <a:pt x="31" y="2"/>
                      </a:lnTo>
                      <a:lnTo>
                        <a:pt x="35" y="3"/>
                      </a:lnTo>
                      <a:lnTo>
                        <a:pt x="39" y="3"/>
                      </a:lnTo>
                      <a:lnTo>
                        <a:pt x="51" y="9"/>
                      </a:lnTo>
                      <a:lnTo>
                        <a:pt x="57" y="13"/>
                      </a:lnTo>
                      <a:lnTo>
                        <a:pt x="63" y="14"/>
                      </a:lnTo>
                      <a:lnTo>
                        <a:pt x="66" y="13"/>
                      </a:lnTo>
                      <a:lnTo>
                        <a:pt x="67" y="11"/>
                      </a:lnTo>
                      <a:lnTo>
                        <a:pt x="70" y="10"/>
                      </a:lnTo>
                      <a:lnTo>
                        <a:pt x="72" y="9"/>
                      </a:lnTo>
                      <a:lnTo>
                        <a:pt x="78" y="13"/>
                      </a:lnTo>
                      <a:lnTo>
                        <a:pt x="81" y="14"/>
                      </a:lnTo>
                      <a:lnTo>
                        <a:pt x="81" y="16"/>
                      </a:lnTo>
                      <a:lnTo>
                        <a:pt x="80" y="21"/>
                      </a:lnTo>
                      <a:lnTo>
                        <a:pt x="76" y="2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4" name="Freeform 958">
                  <a:extLst>
                    <a:ext uri="{FF2B5EF4-FFF2-40B4-BE49-F238E27FC236}">
                      <a16:creationId xmlns:a16="http://schemas.microsoft.com/office/drawing/2014/main" id="{C3F73611-85CE-6A47-B9C3-9C27E82974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78" y="2368957"/>
                  <a:ext cx="20718" cy="19238"/>
                </a:xfrm>
                <a:custGeom>
                  <a:avLst/>
                  <a:gdLst>
                    <a:gd name="T0" fmla="*/ 2147483647 w 15"/>
                    <a:gd name="T1" fmla="*/ 2147483647 h 13"/>
                    <a:gd name="T2" fmla="*/ 2147483647 w 15"/>
                    <a:gd name="T3" fmla="*/ 2147483647 h 13"/>
                    <a:gd name="T4" fmla="*/ 2147483647 w 15"/>
                    <a:gd name="T5" fmla="*/ 2147483647 h 13"/>
                    <a:gd name="T6" fmla="*/ 2147483647 w 15"/>
                    <a:gd name="T7" fmla="*/ 2147483647 h 13"/>
                    <a:gd name="T8" fmla="*/ 2147483647 w 15"/>
                    <a:gd name="T9" fmla="*/ 2147483647 h 13"/>
                    <a:gd name="T10" fmla="*/ 2147483647 w 15"/>
                    <a:gd name="T11" fmla="*/ 0 h 13"/>
                    <a:gd name="T12" fmla="*/ 2147483647 w 15"/>
                    <a:gd name="T13" fmla="*/ 0 h 13"/>
                    <a:gd name="T14" fmla="*/ 2147483647 w 15"/>
                    <a:gd name="T15" fmla="*/ 2147483647 h 13"/>
                    <a:gd name="T16" fmla="*/ 2147483647 w 15"/>
                    <a:gd name="T17" fmla="*/ 2147483647 h 13"/>
                    <a:gd name="T18" fmla="*/ 0 w 15"/>
                    <a:gd name="T19" fmla="*/ 2147483647 h 13"/>
                    <a:gd name="T20" fmla="*/ 0 w 15"/>
                    <a:gd name="T21" fmla="*/ 2147483647 h 13"/>
                    <a:gd name="T22" fmla="*/ 0 w 15"/>
                    <a:gd name="T23" fmla="*/ 2147483647 h 13"/>
                    <a:gd name="T24" fmla="*/ 2147483647 w 15"/>
                    <a:gd name="T25" fmla="*/ 2147483647 h 13"/>
                    <a:gd name="T26" fmla="*/ 2147483647 w 15"/>
                    <a:gd name="T27" fmla="*/ 2147483647 h 13"/>
                    <a:gd name="T28" fmla="*/ 2147483647 w 15"/>
                    <a:gd name="T29" fmla="*/ 2147483647 h 13"/>
                    <a:gd name="T30" fmla="*/ 2147483647 w 15"/>
                    <a:gd name="T31" fmla="*/ 2147483647 h 13"/>
                    <a:gd name="T32" fmla="*/ 2147483647 w 15"/>
                    <a:gd name="T33" fmla="*/ 2147483647 h 13"/>
                    <a:gd name="T34" fmla="*/ 2147483647 w 15"/>
                    <a:gd name="T35" fmla="*/ 2147483647 h 13"/>
                    <a:gd name="T36" fmla="*/ 2147483647 w 15"/>
                    <a:gd name="T37" fmla="*/ 2147483647 h 13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"/>
                    <a:gd name="T58" fmla="*/ 0 h 13"/>
                    <a:gd name="T59" fmla="*/ 15 w 15"/>
                    <a:gd name="T60" fmla="*/ 13 h 13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" h="13">
                      <a:moveTo>
                        <a:pt x="15" y="7"/>
                      </a:moveTo>
                      <a:lnTo>
                        <a:pt x="15" y="7"/>
                      </a:lnTo>
                      <a:lnTo>
                        <a:pt x="15" y="3"/>
                      </a:lnTo>
                      <a:lnTo>
                        <a:pt x="14" y="1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2" y="4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5" y="13"/>
                      </a:lnTo>
                      <a:lnTo>
                        <a:pt x="9" y="12"/>
                      </a:lnTo>
                      <a:lnTo>
                        <a:pt x="12" y="10"/>
                      </a:lnTo>
                      <a:lnTo>
                        <a:pt x="15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Freeform 959">
                  <a:extLst>
                    <a:ext uri="{FF2B5EF4-FFF2-40B4-BE49-F238E27FC236}">
                      <a16:creationId xmlns:a16="http://schemas.microsoft.com/office/drawing/2014/main" id="{5ADC8D48-99DA-4E4C-9EBF-BC31C111C4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5001" y="2368957"/>
                  <a:ext cx="38477" cy="47356"/>
                </a:xfrm>
                <a:custGeom>
                  <a:avLst/>
                  <a:gdLst>
                    <a:gd name="T0" fmla="*/ 2147483647 w 28"/>
                    <a:gd name="T1" fmla="*/ 2147483647 h 32"/>
                    <a:gd name="T2" fmla="*/ 2147483647 w 28"/>
                    <a:gd name="T3" fmla="*/ 2147483647 h 32"/>
                    <a:gd name="T4" fmla="*/ 2147483647 w 28"/>
                    <a:gd name="T5" fmla="*/ 2147483647 h 32"/>
                    <a:gd name="T6" fmla="*/ 2147483647 w 28"/>
                    <a:gd name="T7" fmla="*/ 2147483647 h 32"/>
                    <a:gd name="T8" fmla="*/ 2147483647 w 28"/>
                    <a:gd name="T9" fmla="*/ 2147483647 h 32"/>
                    <a:gd name="T10" fmla="*/ 2147483647 w 28"/>
                    <a:gd name="T11" fmla="*/ 2147483647 h 32"/>
                    <a:gd name="T12" fmla="*/ 2147483647 w 28"/>
                    <a:gd name="T13" fmla="*/ 2147483647 h 32"/>
                    <a:gd name="T14" fmla="*/ 2147483647 w 28"/>
                    <a:gd name="T15" fmla="*/ 2147483647 h 32"/>
                    <a:gd name="T16" fmla="*/ 2147483647 w 28"/>
                    <a:gd name="T17" fmla="*/ 2147483647 h 32"/>
                    <a:gd name="T18" fmla="*/ 2147483647 w 28"/>
                    <a:gd name="T19" fmla="*/ 0 h 32"/>
                    <a:gd name="T20" fmla="*/ 2147483647 w 28"/>
                    <a:gd name="T21" fmla="*/ 0 h 32"/>
                    <a:gd name="T22" fmla="*/ 2147483647 w 28"/>
                    <a:gd name="T23" fmla="*/ 2147483647 h 32"/>
                    <a:gd name="T24" fmla="*/ 2147483647 w 28"/>
                    <a:gd name="T25" fmla="*/ 2147483647 h 32"/>
                    <a:gd name="T26" fmla="*/ 2147483647 w 28"/>
                    <a:gd name="T27" fmla="*/ 0 h 32"/>
                    <a:gd name="T28" fmla="*/ 2147483647 w 28"/>
                    <a:gd name="T29" fmla="*/ 2147483647 h 32"/>
                    <a:gd name="T30" fmla="*/ 2147483647 w 28"/>
                    <a:gd name="T31" fmla="*/ 2147483647 h 32"/>
                    <a:gd name="T32" fmla="*/ 2147483647 w 28"/>
                    <a:gd name="T33" fmla="*/ 2147483647 h 32"/>
                    <a:gd name="T34" fmla="*/ 0 w 28"/>
                    <a:gd name="T35" fmla="*/ 2147483647 h 32"/>
                    <a:gd name="T36" fmla="*/ 0 w 28"/>
                    <a:gd name="T37" fmla="*/ 2147483647 h 32"/>
                    <a:gd name="T38" fmla="*/ 2147483647 w 28"/>
                    <a:gd name="T39" fmla="*/ 2147483647 h 32"/>
                    <a:gd name="T40" fmla="*/ 2147483647 w 28"/>
                    <a:gd name="T41" fmla="*/ 2147483647 h 32"/>
                    <a:gd name="T42" fmla="*/ 2147483647 w 28"/>
                    <a:gd name="T43" fmla="*/ 2147483647 h 32"/>
                    <a:gd name="T44" fmla="*/ 2147483647 w 28"/>
                    <a:gd name="T45" fmla="*/ 2147483647 h 32"/>
                    <a:gd name="T46" fmla="*/ 2147483647 w 28"/>
                    <a:gd name="T47" fmla="*/ 2147483647 h 32"/>
                    <a:gd name="T48" fmla="*/ 2147483647 w 28"/>
                    <a:gd name="T49" fmla="*/ 2147483647 h 32"/>
                    <a:gd name="T50" fmla="*/ 2147483647 w 28"/>
                    <a:gd name="T51" fmla="*/ 2147483647 h 32"/>
                    <a:gd name="T52" fmla="*/ 2147483647 w 28"/>
                    <a:gd name="T53" fmla="*/ 2147483647 h 32"/>
                    <a:gd name="T54" fmla="*/ 2147483647 w 28"/>
                    <a:gd name="T55" fmla="*/ 2147483647 h 32"/>
                    <a:gd name="T56" fmla="*/ 2147483647 w 28"/>
                    <a:gd name="T57" fmla="*/ 2147483647 h 3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"/>
                    <a:gd name="T88" fmla="*/ 0 h 32"/>
                    <a:gd name="T89" fmla="*/ 28 w 28"/>
                    <a:gd name="T90" fmla="*/ 32 h 3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" h="32">
                      <a:moveTo>
                        <a:pt x="24" y="26"/>
                      </a:moveTo>
                      <a:lnTo>
                        <a:pt x="26" y="22"/>
                      </a:lnTo>
                      <a:lnTo>
                        <a:pt x="28" y="20"/>
                      </a:lnTo>
                      <a:lnTo>
                        <a:pt x="26" y="19"/>
                      </a:lnTo>
                      <a:lnTo>
                        <a:pt x="24" y="12"/>
                      </a:lnTo>
                      <a:lnTo>
                        <a:pt x="23" y="8"/>
                      </a:lnTo>
                      <a:lnTo>
                        <a:pt x="24" y="3"/>
                      </a:lnTo>
                      <a:lnTo>
                        <a:pt x="24" y="2"/>
                      </a:lnTo>
                      <a:lnTo>
                        <a:pt x="24" y="1"/>
                      </a:lnTo>
                      <a:lnTo>
                        <a:pt x="21" y="0"/>
                      </a:lnTo>
                      <a:lnTo>
                        <a:pt x="19" y="0"/>
                      </a:lnTo>
                      <a:lnTo>
                        <a:pt x="16" y="1"/>
                      </a:lnTo>
                      <a:lnTo>
                        <a:pt x="15" y="1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5" y="4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2"/>
                      </a:lnTo>
                      <a:lnTo>
                        <a:pt x="4" y="19"/>
                      </a:lnTo>
                      <a:lnTo>
                        <a:pt x="5" y="27"/>
                      </a:lnTo>
                      <a:lnTo>
                        <a:pt x="6" y="28"/>
                      </a:lnTo>
                      <a:lnTo>
                        <a:pt x="10" y="28"/>
                      </a:lnTo>
                      <a:lnTo>
                        <a:pt x="12" y="29"/>
                      </a:lnTo>
                      <a:lnTo>
                        <a:pt x="18" y="32"/>
                      </a:lnTo>
                      <a:lnTo>
                        <a:pt x="20" y="32"/>
                      </a:lnTo>
                      <a:lnTo>
                        <a:pt x="21" y="31"/>
                      </a:lnTo>
                      <a:lnTo>
                        <a:pt x="23" y="28"/>
                      </a:lnTo>
                      <a:lnTo>
                        <a:pt x="2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6" name="Freeform 960">
                  <a:extLst>
                    <a:ext uri="{FF2B5EF4-FFF2-40B4-BE49-F238E27FC236}">
                      <a16:creationId xmlns:a16="http://schemas.microsoft.com/office/drawing/2014/main" id="{616C1389-E1A4-ED4C-BA46-A1FA5E724A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9384" y="2127741"/>
                  <a:ext cx="673341" cy="519436"/>
                </a:xfrm>
                <a:custGeom>
                  <a:avLst/>
                  <a:gdLst>
                    <a:gd name="T0" fmla="*/ 2147483647 w 493"/>
                    <a:gd name="T1" fmla="*/ 2147483647 h 351"/>
                    <a:gd name="T2" fmla="*/ 2147483647 w 493"/>
                    <a:gd name="T3" fmla="*/ 2147483647 h 351"/>
                    <a:gd name="T4" fmla="*/ 2147483647 w 493"/>
                    <a:gd name="T5" fmla="*/ 2147483647 h 351"/>
                    <a:gd name="T6" fmla="*/ 2147483647 w 493"/>
                    <a:gd name="T7" fmla="*/ 2147483647 h 351"/>
                    <a:gd name="T8" fmla="*/ 2147483647 w 493"/>
                    <a:gd name="T9" fmla="*/ 2147483647 h 351"/>
                    <a:gd name="T10" fmla="*/ 2147483647 w 493"/>
                    <a:gd name="T11" fmla="*/ 2147483647 h 351"/>
                    <a:gd name="T12" fmla="*/ 2147483647 w 493"/>
                    <a:gd name="T13" fmla="*/ 2147483647 h 351"/>
                    <a:gd name="T14" fmla="*/ 2147483647 w 493"/>
                    <a:gd name="T15" fmla="*/ 2147483647 h 351"/>
                    <a:gd name="T16" fmla="*/ 2147483647 w 493"/>
                    <a:gd name="T17" fmla="*/ 2147483647 h 351"/>
                    <a:gd name="T18" fmla="*/ 2147483647 w 493"/>
                    <a:gd name="T19" fmla="*/ 2147483647 h 351"/>
                    <a:gd name="T20" fmla="*/ 2147483647 w 493"/>
                    <a:gd name="T21" fmla="*/ 2147483647 h 351"/>
                    <a:gd name="T22" fmla="*/ 2147483647 w 493"/>
                    <a:gd name="T23" fmla="*/ 2147483647 h 351"/>
                    <a:gd name="T24" fmla="*/ 2147483647 w 493"/>
                    <a:gd name="T25" fmla="*/ 2147483647 h 351"/>
                    <a:gd name="T26" fmla="*/ 2147483647 w 493"/>
                    <a:gd name="T27" fmla="*/ 2147483647 h 351"/>
                    <a:gd name="T28" fmla="*/ 2147483647 w 493"/>
                    <a:gd name="T29" fmla="*/ 2147483647 h 351"/>
                    <a:gd name="T30" fmla="*/ 2147483647 w 493"/>
                    <a:gd name="T31" fmla="*/ 2147483647 h 351"/>
                    <a:gd name="T32" fmla="*/ 2147483647 w 493"/>
                    <a:gd name="T33" fmla="*/ 2147483647 h 351"/>
                    <a:gd name="T34" fmla="*/ 2147483647 w 493"/>
                    <a:gd name="T35" fmla="*/ 2147483647 h 351"/>
                    <a:gd name="T36" fmla="*/ 2147483647 w 493"/>
                    <a:gd name="T37" fmla="*/ 2147483647 h 351"/>
                    <a:gd name="T38" fmla="*/ 2147483647 w 493"/>
                    <a:gd name="T39" fmla="*/ 2147483647 h 351"/>
                    <a:gd name="T40" fmla="*/ 2147483647 w 493"/>
                    <a:gd name="T41" fmla="*/ 2147483647 h 351"/>
                    <a:gd name="T42" fmla="*/ 2147483647 w 493"/>
                    <a:gd name="T43" fmla="*/ 2147483647 h 351"/>
                    <a:gd name="T44" fmla="*/ 2147483647 w 493"/>
                    <a:gd name="T45" fmla="*/ 2147483647 h 351"/>
                    <a:gd name="T46" fmla="*/ 2147483647 w 493"/>
                    <a:gd name="T47" fmla="*/ 2147483647 h 351"/>
                    <a:gd name="T48" fmla="*/ 2147483647 w 493"/>
                    <a:gd name="T49" fmla="*/ 2147483647 h 351"/>
                    <a:gd name="T50" fmla="*/ 2147483647 w 493"/>
                    <a:gd name="T51" fmla="*/ 2147483647 h 351"/>
                    <a:gd name="T52" fmla="*/ 2147483647 w 493"/>
                    <a:gd name="T53" fmla="*/ 2147483647 h 351"/>
                    <a:gd name="T54" fmla="*/ 2147483647 w 493"/>
                    <a:gd name="T55" fmla="*/ 2147483647 h 351"/>
                    <a:gd name="T56" fmla="*/ 2147483647 w 493"/>
                    <a:gd name="T57" fmla="*/ 2147483647 h 351"/>
                    <a:gd name="T58" fmla="*/ 0 w 493"/>
                    <a:gd name="T59" fmla="*/ 2147483647 h 351"/>
                    <a:gd name="T60" fmla="*/ 2147483647 w 493"/>
                    <a:gd name="T61" fmla="*/ 2147483647 h 351"/>
                    <a:gd name="T62" fmla="*/ 2147483647 w 493"/>
                    <a:gd name="T63" fmla="*/ 2147483647 h 351"/>
                    <a:gd name="T64" fmla="*/ 2147483647 w 493"/>
                    <a:gd name="T65" fmla="*/ 2147483647 h 351"/>
                    <a:gd name="T66" fmla="*/ 2147483647 w 493"/>
                    <a:gd name="T67" fmla="*/ 2147483647 h 351"/>
                    <a:gd name="T68" fmla="*/ 2147483647 w 493"/>
                    <a:gd name="T69" fmla="*/ 2147483647 h 351"/>
                    <a:gd name="T70" fmla="*/ 2147483647 w 493"/>
                    <a:gd name="T71" fmla="*/ 2147483647 h 351"/>
                    <a:gd name="T72" fmla="*/ 2147483647 w 493"/>
                    <a:gd name="T73" fmla="*/ 2147483647 h 351"/>
                    <a:gd name="T74" fmla="*/ 2147483647 w 493"/>
                    <a:gd name="T75" fmla="*/ 2147483647 h 351"/>
                    <a:gd name="T76" fmla="*/ 2147483647 w 493"/>
                    <a:gd name="T77" fmla="*/ 2147483647 h 351"/>
                    <a:gd name="T78" fmla="*/ 2147483647 w 493"/>
                    <a:gd name="T79" fmla="*/ 2147483647 h 351"/>
                    <a:gd name="T80" fmla="*/ 2147483647 w 493"/>
                    <a:gd name="T81" fmla="*/ 2147483647 h 351"/>
                    <a:gd name="T82" fmla="*/ 2147483647 w 493"/>
                    <a:gd name="T83" fmla="*/ 2147483647 h 351"/>
                    <a:gd name="T84" fmla="*/ 2147483647 w 493"/>
                    <a:gd name="T85" fmla="*/ 2147483647 h 351"/>
                    <a:gd name="T86" fmla="*/ 2147483647 w 493"/>
                    <a:gd name="T87" fmla="*/ 2147483647 h 351"/>
                    <a:gd name="T88" fmla="*/ 2147483647 w 493"/>
                    <a:gd name="T89" fmla="*/ 2147483647 h 351"/>
                    <a:gd name="T90" fmla="*/ 2147483647 w 493"/>
                    <a:gd name="T91" fmla="*/ 2147483647 h 351"/>
                    <a:gd name="T92" fmla="*/ 2147483647 w 493"/>
                    <a:gd name="T93" fmla="*/ 2147483647 h 351"/>
                    <a:gd name="T94" fmla="*/ 2147483647 w 493"/>
                    <a:gd name="T95" fmla="*/ 2147483647 h 351"/>
                    <a:gd name="T96" fmla="*/ 2147483647 w 493"/>
                    <a:gd name="T97" fmla="*/ 2147483647 h 351"/>
                    <a:gd name="T98" fmla="*/ 2147483647 w 493"/>
                    <a:gd name="T99" fmla="*/ 2147483647 h 351"/>
                    <a:gd name="T100" fmla="*/ 2147483647 w 493"/>
                    <a:gd name="T101" fmla="*/ 2147483647 h 351"/>
                    <a:gd name="T102" fmla="*/ 2147483647 w 493"/>
                    <a:gd name="T103" fmla="*/ 2147483647 h 351"/>
                    <a:gd name="T104" fmla="*/ 2147483647 w 493"/>
                    <a:gd name="T105" fmla="*/ 2147483647 h 351"/>
                    <a:gd name="T106" fmla="*/ 2147483647 w 493"/>
                    <a:gd name="T107" fmla="*/ 2147483647 h 351"/>
                    <a:gd name="T108" fmla="*/ 2147483647 w 493"/>
                    <a:gd name="T109" fmla="*/ 2147483647 h 351"/>
                    <a:gd name="T110" fmla="*/ 2147483647 w 493"/>
                    <a:gd name="T111" fmla="*/ 2147483647 h 351"/>
                    <a:gd name="T112" fmla="*/ 2147483647 w 493"/>
                    <a:gd name="T113" fmla="*/ 2147483647 h 351"/>
                    <a:gd name="T114" fmla="*/ 2147483647 w 493"/>
                    <a:gd name="T115" fmla="*/ 2147483647 h 351"/>
                    <a:gd name="T116" fmla="*/ 2147483647 w 493"/>
                    <a:gd name="T117" fmla="*/ 2147483647 h 351"/>
                    <a:gd name="T118" fmla="*/ 2147483647 w 493"/>
                    <a:gd name="T119" fmla="*/ 2147483647 h 351"/>
                    <a:gd name="T120" fmla="*/ 2147483647 w 493"/>
                    <a:gd name="T121" fmla="*/ 2147483647 h 351"/>
                    <a:gd name="T122" fmla="*/ 2147483647 w 493"/>
                    <a:gd name="T123" fmla="*/ 2147483647 h 35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493"/>
                    <a:gd name="T187" fmla="*/ 0 h 351"/>
                    <a:gd name="T188" fmla="*/ 493 w 493"/>
                    <a:gd name="T189" fmla="*/ 351 h 35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493" h="351">
                      <a:moveTo>
                        <a:pt x="441" y="306"/>
                      </a:moveTo>
                      <a:lnTo>
                        <a:pt x="436" y="298"/>
                      </a:lnTo>
                      <a:lnTo>
                        <a:pt x="432" y="295"/>
                      </a:lnTo>
                      <a:lnTo>
                        <a:pt x="428" y="293"/>
                      </a:lnTo>
                      <a:lnTo>
                        <a:pt x="427" y="292"/>
                      </a:lnTo>
                      <a:lnTo>
                        <a:pt x="426" y="292"/>
                      </a:lnTo>
                      <a:lnTo>
                        <a:pt x="424" y="292"/>
                      </a:lnTo>
                      <a:lnTo>
                        <a:pt x="423" y="294"/>
                      </a:lnTo>
                      <a:lnTo>
                        <a:pt x="424" y="297"/>
                      </a:lnTo>
                      <a:lnTo>
                        <a:pt x="426" y="299"/>
                      </a:lnTo>
                      <a:lnTo>
                        <a:pt x="427" y="300"/>
                      </a:lnTo>
                      <a:lnTo>
                        <a:pt x="428" y="303"/>
                      </a:lnTo>
                      <a:lnTo>
                        <a:pt x="429" y="306"/>
                      </a:lnTo>
                      <a:lnTo>
                        <a:pt x="431" y="310"/>
                      </a:lnTo>
                      <a:lnTo>
                        <a:pt x="435" y="317"/>
                      </a:lnTo>
                      <a:lnTo>
                        <a:pt x="435" y="319"/>
                      </a:lnTo>
                      <a:lnTo>
                        <a:pt x="433" y="323"/>
                      </a:lnTo>
                      <a:lnTo>
                        <a:pt x="432" y="325"/>
                      </a:lnTo>
                      <a:lnTo>
                        <a:pt x="431" y="329"/>
                      </a:lnTo>
                      <a:lnTo>
                        <a:pt x="431" y="330"/>
                      </a:lnTo>
                      <a:lnTo>
                        <a:pt x="428" y="331"/>
                      </a:lnTo>
                      <a:lnTo>
                        <a:pt x="427" y="330"/>
                      </a:lnTo>
                      <a:lnTo>
                        <a:pt x="424" y="330"/>
                      </a:lnTo>
                      <a:lnTo>
                        <a:pt x="422" y="325"/>
                      </a:lnTo>
                      <a:lnTo>
                        <a:pt x="421" y="322"/>
                      </a:lnTo>
                      <a:lnTo>
                        <a:pt x="418" y="317"/>
                      </a:lnTo>
                      <a:lnTo>
                        <a:pt x="415" y="313"/>
                      </a:lnTo>
                      <a:lnTo>
                        <a:pt x="413" y="312"/>
                      </a:lnTo>
                      <a:lnTo>
                        <a:pt x="412" y="312"/>
                      </a:lnTo>
                      <a:lnTo>
                        <a:pt x="407" y="314"/>
                      </a:lnTo>
                      <a:lnTo>
                        <a:pt x="405" y="314"/>
                      </a:lnTo>
                      <a:lnTo>
                        <a:pt x="399" y="307"/>
                      </a:lnTo>
                      <a:lnTo>
                        <a:pt x="391" y="303"/>
                      </a:lnTo>
                      <a:lnTo>
                        <a:pt x="384" y="299"/>
                      </a:lnTo>
                      <a:lnTo>
                        <a:pt x="375" y="297"/>
                      </a:lnTo>
                      <a:lnTo>
                        <a:pt x="374" y="295"/>
                      </a:lnTo>
                      <a:lnTo>
                        <a:pt x="372" y="294"/>
                      </a:lnTo>
                      <a:lnTo>
                        <a:pt x="370" y="293"/>
                      </a:lnTo>
                      <a:lnTo>
                        <a:pt x="368" y="292"/>
                      </a:lnTo>
                      <a:lnTo>
                        <a:pt x="365" y="294"/>
                      </a:lnTo>
                      <a:lnTo>
                        <a:pt x="365" y="295"/>
                      </a:lnTo>
                      <a:lnTo>
                        <a:pt x="366" y="297"/>
                      </a:lnTo>
                      <a:lnTo>
                        <a:pt x="368" y="300"/>
                      </a:lnTo>
                      <a:lnTo>
                        <a:pt x="371" y="303"/>
                      </a:lnTo>
                      <a:lnTo>
                        <a:pt x="372" y="306"/>
                      </a:lnTo>
                      <a:lnTo>
                        <a:pt x="374" y="311"/>
                      </a:lnTo>
                      <a:lnTo>
                        <a:pt x="374" y="312"/>
                      </a:lnTo>
                      <a:lnTo>
                        <a:pt x="375" y="313"/>
                      </a:lnTo>
                      <a:lnTo>
                        <a:pt x="377" y="314"/>
                      </a:lnTo>
                      <a:lnTo>
                        <a:pt x="381" y="314"/>
                      </a:lnTo>
                      <a:lnTo>
                        <a:pt x="382" y="317"/>
                      </a:lnTo>
                      <a:lnTo>
                        <a:pt x="385" y="319"/>
                      </a:lnTo>
                      <a:lnTo>
                        <a:pt x="386" y="322"/>
                      </a:lnTo>
                      <a:lnTo>
                        <a:pt x="391" y="324"/>
                      </a:lnTo>
                      <a:lnTo>
                        <a:pt x="398" y="326"/>
                      </a:lnTo>
                      <a:lnTo>
                        <a:pt x="403" y="329"/>
                      </a:lnTo>
                      <a:lnTo>
                        <a:pt x="405" y="332"/>
                      </a:lnTo>
                      <a:lnTo>
                        <a:pt x="410" y="336"/>
                      </a:lnTo>
                      <a:lnTo>
                        <a:pt x="413" y="342"/>
                      </a:lnTo>
                      <a:lnTo>
                        <a:pt x="414" y="344"/>
                      </a:lnTo>
                      <a:lnTo>
                        <a:pt x="414" y="346"/>
                      </a:lnTo>
                      <a:lnTo>
                        <a:pt x="414" y="349"/>
                      </a:lnTo>
                      <a:lnTo>
                        <a:pt x="412" y="351"/>
                      </a:lnTo>
                      <a:lnTo>
                        <a:pt x="410" y="350"/>
                      </a:lnTo>
                      <a:lnTo>
                        <a:pt x="410" y="349"/>
                      </a:lnTo>
                      <a:lnTo>
                        <a:pt x="410" y="346"/>
                      </a:lnTo>
                      <a:lnTo>
                        <a:pt x="409" y="345"/>
                      </a:lnTo>
                      <a:lnTo>
                        <a:pt x="407" y="345"/>
                      </a:lnTo>
                      <a:lnTo>
                        <a:pt x="403" y="345"/>
                      </a:lnTo>
                      <a:lnTo>
                        <a:pt x="400" y="345"/>
                      </a:lnTo>
                      <a:lnTo>
                        <a:pt x="399" y="344"/>
                      </a:lnTo>
                      <a:lnTo>
                        <a:pt x="394" y="339"/>
                      </a:lnTo>
                      <a:lnTo>
                        <a:pt x="391" y="337"/>
                      </a:lnTo>
                      <a:lnTo>
                        <a:pt x="389" y="336"/>
                      </a:lnTo>
                      <a:lnTo>
                        <a:pt x="386" y="336"/>
                      </a:lnTo>
                      <a:lnTo>
                        <a:pt x="385" y="336"/>
                      </a:lnTo>
                      <a:lnTo>
                        <a:pt x="382" y="336"/>
                      </a:lnTo>
                      <a:lnTo>
                        <a:pt x="380" y="336"/>
                      </a:lnTo>
                      <a:lnTo>
                        <a:pt x="377" y="333"/>
                      </a:lnTo>
                      <a:lnTo>
                        <a:pt x="375" y="331"/>
                      </a:lnTo>
                      <a:lnTo>
                        <a:pt x="371" y="331"/>
                      </a:lnTo>
                      <a:lnTo>
                        <a:pt x="368" y="332"/>
                      </a:lnTo>
                      <a:lnTo>
                        <a:pt x="365" y="333"/>
                      </a:lnTo>
                      <a:lnTo>
                        <a:pt x="362" y="333"/>
                      </a:lnTo>
                      <a:lnTo>
                        <a:pt x="356" y="330"/>
                      </a:lnTo>
                      <a:lnTo>
                        <a:pt x="352" y="327"/>
                      </a:lnTo>
                      <a:lnTo>
                        <a:pt x="349" y="325"/>
                      </a:lnTo>
                      <a:lnTo>
                        <a:pt x="348" y="324"/>
                      </a:lnTo>
                      <a:lnTo>
                        <a:pt x="346" y="324"/>
                      </a:lnTo>
                      <a:lnTo>
                        <a:pt x="333" y="323"/>
                      </a:lnTo>
                      <a:lnTo>
                        <a:pt x="332" y="322"/>
                      </a:lnTo>
                      <a:lnTo>
                        <a:pt x="329" y="319"/>
                      </a:lnTo>
                      <a:lnTo>
                        <a:pt x="328" y="317"/>
                      </a:lnTo>
                      <a:lnTo>
                        <a:pt x="325" y="316"/>
                      </a:lnTo>
                      <a:lnTo>
                        <a:pt x="321" y="314"/>
                      </a:lnTo>
                      <a:lnTo>
                        <a:pt x="316" y="313"/>
                      </a:lnTo>
                      <a:lnTo>
                        <a:pt x="314" y="313"/>
                      </a:lnTo>
                      <a:lnTo>
                        <a:pt x="313" y="311"/>
                      </a:lnTo>
                      <a:lnTo>
                        <a:pt x="313" y="310"/>
                      </a:lnTo>
                      <a:lnTo>
                        <a:pt x="314" y="307"/>
                      </a:lnTo>
                      <a:lnTo>
                        <a:pt x="319" y="305"/>
                      </a:lnTo>
                      <a:lnTo>
                        <a:pt x="321" y="303"/>
                      </a:lnTo>
                      <a:lnTo>
                        <a:pt x="320" y="301"/>
                      </a:lnTo>
                      <a:lnTo>
                        <a:pt x="315" y="299"/>
                      </a:lnTo>
                      <a:lnTo>
                        <a:pt x="310" y="295"/>
                      </a:lnTo>
                      <a:lnTo>
                        <a:pt x="308" y="294"/>
                      </a:lnTo>
                      <a:lnTo>
                        <a:pt x="305" y="295"/>
                      </a:lnTo>
                      <a:lnTo>
                        <a:pt x="302" y="299"/>
                      </a:lnTo>
                      <a:lnTo>
                        <a:pt x="301" y="299"/>
                      </a:lnTo>
                      <a:lnTo>
                        <a:pt x="299" y="299"/>
                      </a:lnTo>
                      <a:lnTo>
                        <a:pt x="296" y="298"/>
                      </a:lnTo>
                      <a:lnTo>
                        <a:pt x="294" y="297"/>
                      </a:lnTo>
                      <a:lnTo>
                        <a:pt x="291" y="292"/>
                      </a:lnTo>
                      <a:lnTo>
                        <a:pt x="288" y="285"/>
                      </a:lnTo>
                      <a:lnTo>
                        <a:pt x="285" y="279"/>
                      </a:lnTo>
                      <a:lnTo>
                        <a:pt x="282" y="276"/>
                      </a:lnTo>
                      <a:lnTo>
                        <a:pt x="278" y="274"/>
                      </a:lnTo>
                      <a:lnTo>
                        <a:pt x="275" y="273"/>
                      </a:lnTo>
                      <a:lnTo>
                        <a:pt x="271" y="274"/>
                      </a:lnTo>
                      <a:lnTo>
                        <a:pt x="268" y="273"/>
                      </a:lnTo>
                      <a:lnTo>
                        <a:pt x="267" y="272"/>
                      </a:lnTo>
                      <a:lnTo>
                        <a:pt x="264" y="266"/>
                      </a:lnTo>
                      <a:lnTo>
                        <a:pt x="263" y="266"/>
                      </a:lnTo>
                      <a:lnTo>
                        <a:pt x="255" y="269"/>
                      </a:lnTo>
                      <a:lnTo>
                        <a:pt x="249" y="272"/>
                      </a:lnTo>
                      <a:lnTo>
                        <a:pt x="239" y="274"/>
                      </a:lnTo>
                      <a:lnTo>
                        <a:pt x="234" y="274"/>
                      </a:lnTo>
                      <a:lnTo>
                        <a:pt x="229" y="273"/>
                      </a:lnTo>
                      <a:lnTo>
                        <a:pt x="226" y="273"/>
                      </a:lnTo>
                      <a:lnTo>
                        <a:pt x="225" y="275"/>
                      </a:lnTo>
                      <a:lnTo>
                        <a:pt x="225" y="281"/>
                      </a:lnTo>
                      <a:lnTo>
                        <a:pt x="224" y="282"/>
                      </a:lnTo>
                      <a:lnTo>
                        <a:pt x="219" y="282"/>
                      </a:lnTo>
                      <a:lnTo>
                        <a:pt x="215" y="281"/>
                      </a:lnTo>
                      <a:lnTo>
                        <a:pt x="207" y="275"/>
                      </a:lnTo>
                      <a:lnTo>
                        <a:pt x="202" y="271"/>
                      </a:lnTo>
                      <a:lnTo>
                        <a:pt x="200" y="263"/>
                      </a:lnTo>
                      <a:lnTo>
                        <a:pt x="198" y="261"/>
                      </a:lnTo>
                      <a:lnTo>
                        <a:pt x="198" y="259"/>
                      </a:lnTo>
                      <a:lnTo>
                        <a:pt x="200" y="255"/>
                      </a:lnTo>
                      <a:lnTo>
                        <a:pt x="201" y="254"/>
                      </a:lnTo>
                      <a:lnTo>
                        <a:pt x="206" y="249"/>
                      </a:lnTo>
                      <a:lnTo>
                        <a:pt x="212" y="247"/>
                      </a:lnTo>
                      <a:lnTo>
                        <a:pt x="211" y="244"/>
                      </a:lnTo>
                      <a:lnTo>
                        <a:pt x="208" y="242"/>
                      </a:lnTo>
                      <a:lnTo>
                        <a:pt x="206" y="240"/>
                      </a:lnTo>
                      <a:lnTo>
                        <a:pt x="203" y="239"/>
                      </a:lnTo>
                      <a:lnTo>
                        <a:pt x="202" y="237"/>
                      </a:lnTo>
                      <a:lnTo>
                        <a:pt x="203" y="235"/>
                      </a:lnTo>
                      <a:lnTo>
                        <a:pt x="205" y="234"/>
                      </a:lnTo>
                      <a:lnTo>
                        <a:pt x="206" y="233"/>
                      </a:lnTo>
                      <a:lnTo>
                        <a:pt x="210" y="233"/>
                      </a:lnTo>
                      <a:lnTo>
                        <a:pt x="214" y="234"/>
                      </a:lnTo>
                      <a:lnTo>
                        <a:pt x="217" y="236"/>
                      </a:lnTo>
                      <a:lnTo>
                        <a:pt x="221" y="241"/>
                      </a:lnTo>
                      <a:lnTo>
                        <a:pt x="226" y="244"/>
                      </a:lnTo>
                      <a:lnTo>
                        <a:pt x="231" y="246"/>
                      </a:lnTo>
                      <a:lnTo>
                        <a:pt x="239" y="246"/>
                      </a:lnTo>
                      <a:lnTo>
                        <a:pt x="247" y="244"/>
                      </a:lnTo>
                      <a:lnTo>
                        <a:pt x="255" y="244"/>
                      </a:lnTo>
                      <a:lnTo>
                        <a:pt x="259" y="244"/>
                      </a:lnTo>
                      <a:lnTo>
                        <a:pt x="263" y="243"/>
                      </a:lnTo>
                      <a:lnTo>
                        <a:pt x="266" y="241"/>
                      </a:lnTo>
                      <a:lnTo>
                        <a:pt x="267" y="239"/>
                      </a:lnTo>
                      <a:lnTo>
                        <a:pt x="266" y="236"/>
                      </a:lnTo>
                      <a:lnTo>
                        <a:pt x="263" y="234"/>
                      </a:lnTo>
                      <a:lnTo>
                        <a:pt x="259" y="230"/>
                      </a:lnTo>
                      <a:lnTo>
                        <a:pt x="257" y="227"/>
                      </a:lnTo>
                      <a:lnTo>
                        <a:pt x="254" y="224"/>
                      </a:lnTo>
                      <a:lnTo>
                        <a:pt x="252" y="222"/>
                      </a:lnTo>
                      <a:lnTo>
                        <a:pt x="250" y="221"/>
                      </a:lnTo>
                      <a:lnTo>
                        <a:pt x="250" y="220"/>
                      </a:lnTo>
                      <a:lnTo>
                        <a:pt x="259" y="214"/>
                      </a:lnTo>
                      <a:lnTo>
                        <a:pt x="263" y="210"/>
                      </a:lnTo>
                      <a:lnTo>
                        <a:pt x="267" y="207"/>
                      </a:lnTo>
                      <a:lnTo>
                        <a:pt x="269" y="205"/>
                      </a:lnTo>
                      <a:lnTo>
                        <a:pt x="271" y="205"/>
                      </a:lnTo>
                      <a:lnTo>
                        <a:pt x="275" y="208"/>
                      </a:lnTo>
                      <a:lnTo>
                        <a:pt x="278" y="208"/>
                      </a:lnTo>
                      <a:lnTo>
                        <a:pt x="282" y="209"/>
                      </a:lnTo>
                      <a:lnTo>
                        <a:pt x="286" y="210"/>
                      </a:lnTo>
                      <a:lnTo>
                        <a:pt x="288" y="211"/>
                      </a:lnTo>
                      <a:lnTo>
                        <a:pt x="292" y="212"/>
                      </a:lnTo>
                      <a:lnTo>
                        <a:pt x="300" y="212"/>
                      </a:lnTo>
                      <a:lnTo>
                        <a:pt x="302" y="214"/>
                      </a:lnTo>
                      <a:lnTo>
                        <a:pt x="304" y="215"/>
                      </a:lnTo>
                      <a:lnTo>
                        <a:pt x="304" y="218"/>
                      </a:lnTo>
                      <a:lnTo>
                        <a:pt x="305" y="222"/>
                      </a:lnTo>
                      <a:lnTo>
                        <a:pt x="305" y="223"/>
                      </a:lnTo>
                      <a:lnTo>
                        <a:pt x="306" y="223"/>
                      </a:lnTo>
                      <a:lnTo>
                        <a:pt x="311" y="223"/>
                      </a:lnTo>
                      <a:lnTo>
                        <a:pt x="316" y="222"/>
                      </a:lnTo>
                      <a:lnTo>
                        <a:pt x="320" y="220"/>
                      </a:lnTo>
                      <a:lnTo>
                        <a:pt x="325" y="217"/>
                      </a:lnTo>
                      <a:lnTo>
                        <a:pt x="330" y="216"/>
                      </a:lnTo>
                      <a:lnTo>
                        <a:pt x="335" y="214"/>
                      </a:lnTo>
                      <a:lnTo>
                        <a:pt x="339" y="210"/>
                      </a:lnTo>
                      <a:lnTo>
                        <a:pt x="339" y="208"/>
                      </a:lnTo>
                      <a:lnTo>
                        <a:pt x="338" y="207"/>
                      </a:lnTo>
                      <a:lnTo>
                        <a:pt x="329" y="201"/>
                      </a:lnTo>
                      <a:lnTo>
                        <a:pt x="324" y="199"/>
                      </a:lnTo>
                      <a:lnTo>
                        <a:pt x="319" y="198"/>
                      </a:lnTo>
                      <a:lnTo>
                        <a:pt x="316" y="197"/>
                      </a:lnTo>
                      <a:lnTo>
                        <a:pt x="314" y="196"/>
                      </a:lnTo>
                      <a:lnTo>
                        <a:pt x="310" y="191"/>
                      </a:lnTo>
                      <a:lnTo>
                        <a:pt x="306" y="186"/>
                      </a:lnTo>
                      <a:lnTo>
                        <a:pt x="302" y="183"/>
                      </a:lnTo>
                      <a:lnTo>
                        <a:pt x="301" y="183"/>
                      </a:lnTo>
                      <a:lnTo>
                        <a:pt x="299" y="183"/>
                      </a:lnTo>
                      <a:lnTo>
                        <a:pt x="295" y="185"/>
                      </a:lnTo>
                      <a:lnTo>
                        <a:pt x="295" y="188"/>
                      </a:lnTo>
                      <a:lnTo>
                        <a:pt x="296" y="190"/>
                      </a:lnTo>
                      <a:lnTo>
                        <a:pt x="297" y="194"/>
                      </a:lnTo>
                      <a:lnTo>
                        <a:pt x="297" y="196"/>
                      </a:lnTo>
                      <a:lnTo>
                        <a:pt x="296" y="199"/>
                      </a:lnTo>
                      <a:lnTo>
                        <a:pt x="292" y="201"/>
                      </a:lnTo>
                      <a:lnTo>
                        <a:pt x="282" y="199"/>
                      </a:lnTo>
                      <a:lnTo>
                        <a:pt x="271" y="198"/>
                      </a:lnTo>
                      <a:lnTo>
                        <a:pt x="268" y="198"/>
                      </a:lnTo>
                      <a:lnTo>
                        <a:pt x="267" y="196"/>
                      </a:lnTo>
                      <a:lnTo>
                        <a:pt x="266" y="194"/>
                      </a:lnTo>
                      <a:lnTo>
                        <a:pt x="267" y="191"/>
                      </a:lnTo>
                      <a:lnTo>
                        <a:pt x="271" y="186"/>
                      </a:lnTo>
                      <a:lnTo>
                        <a:pt x="272" y="182"/>
                      </a:lnTo>
                      <a:lnTo>
                        <a:pt x="272" y="177"/>
                      </a:lnTo>
                      <a:lnTo>
                        <a:pt x="271" y="173"/>
                      </a:lnTo>
                      <a:lnTo>
                        <a:pt x="268" y="169"/>
                      </a:lnTo>
                      <a:lnTo>
                        <a:pt x="264" y="165"/>
                      </a:lnTo>
                      <a:lnTo>
                        <a:pt x="257" y="159"/>
                      </a:lnTo>
                      <a:lnTo>
                        <a:pt x="254" y="157"/>
                      </a:lnTo>
                      <a:lnTo>
                        <a:pt x="253" y="154"/>
                      </a:lnTo>
                      <a:lnTo>
                        <a:pt x="250" y="153"/>
                      </a:lnTo>
                      <a:lnTo>
                        <a:pt x="248" y="153"/>
                      </a:lnTo>
                      <a:lnTo>
                        <a:pt x="245" y="153"/>
                      </a:lnTo>
                      <a:lnTo>
                        <a:pt x="244" y="153"/>
                      </a:lnTo>
                      <a:lnTo>
                        <a:pt x="244" y="151"/>
                      </a:lnTo>
                      <a:lnTo>
                        <a:pt x="244" y="150"/>
                      </a:lnTo>
                      <a:lnTo>
                        <a:pt x="247" y="146"/>
                      </a:lnTo>
                      <a:lnTo>
                        <a:pt x="247" y="145"/>
                      </a:lnTo>
                      <a:lnTo>
                        <a:pt x="240" y="146"/>
                      </a:lnTo>
                      <a:lnTo>
                        <a:pt x="235" y="147"/>
                      </a:lnTo>
                      <a:lnTo>
                        <a:pt x="229" y="150"/>
                      </a:lnTo>
                      <a:lnTo>
                        <a:pt x="224" y="153"/>
                      </a:lnTo>
                      <a:lnTo>
                        <a:pt x="222" y="153"/>
                      </a:lnTo>
                      <a:lnTo>
                        <a:pt x="220" y="153"/>
                      </a:lnTo>
                      <a:lnTo>
                        <a:pt x="219" y="152"/>
                      </a:lnTo>
                      <a:lnTo>
                        <a:pt x="219" y="150"/>
                      </a:lnTo>
                      <a:lnTo>
                        <a:pt x="224" y="145"/>
                      </a:lnTo>
                      <a:lnTo>
                        <a:pt x="225" y="143"/>
                      </a:lnTo>
                      <a:lnTo>
                        <a:pt x="224" y="141"/>
                      </a:lnTo>
                      <a:lnTo>
                        <a:pt x="222" y="140"/>
                      </a:lnTo>
                      <a:lnTo>
                        <a:pt x="217" y="139"/>
                      </a:lnTo>
                      <a:lnTo>
                        <a:pt x="212" y="137"/>
                      </a:lnTo>
                      <a:lnTo>
                        <a:pt x="208" y="134"/>
                      </a:lnTo>
                      <a:lnTo>
                        <a:pt x="206" y="131"/>
                      </a:lnTo>
                      <a:lnTo>
                        <a:pt x="201" y="122"/>
                      </a:lnTo>
                      <a:lnTo>
                        <a:pt x="197" y="114"/>
                      </a:lnTo>
                      <a:lnTo>
                        <a:pt x="196" y="113"/>
                      </a:lnTo>
                      <a:lnTo>
                        <a:pt x="193" y="112"/>
                      </a:lnTo>
                      <a:lnTo>
                        <a:pt x="187" y="111"/>
                      </a:lnTo>
                      <a:lnTo>
                        <a:pt x="183" y="107"/>
                      </a:lnTo>
                      <a:lnTo>
                        <a:pt x="181" y="103"/>
                      </a:lnTo>
                      <a:lnTo>
                        <a:pt x="178" y="100"/>
                      </a:lnTo>
                      <a:lnTo>
                        <a:pt x="177" y="100"/>
                      </a:lnTo>
                      <a:lnTo>
                        <a:pt x="174" y="101"/>
                      </a:lnTo>
                      <a:lnTo>
                        <a:pt x="173" y="103"/>
                      </a:lnTo>
                      <a:lnTo>
                        <a:pt x="173" y="106"/>
                      </a:lnTo>
                      <a:lnTo>
                        <a:pt x="175" y="111"/>
                      </a:lnTo>
                      <a:lnTo>
                        <a:pt x="179" y="115"/>
                      </a:lnTo>
                      <a:lnTo>
                        <a:pt x="182" y="120"/>
                      </a:lnTo>
                      <a:lnTo>
                        <a:pt x="182" y="122"/>
                      </a:lnTo>
                      <a:lnTo>
                        <a:pt x="181" y="124"/>
                      </a:lnTo>
                      <a:lnTo>
                        <a:pt x="175" y="124"/>
                      </a:lnTo>
                      <a:lnTo>
                        <a:pt x="168" y="122"/>
                      </a:lnTo>
                      <a:lnTo>
                        <a:pt x="165" y="122"/>
                      </a:lnTo>
                      <a:lnTo>
                        <a:pt x="163" y="124"/>
                      </a:lnTo>
                      <a:lnTo>
                        <a:pt x="160" y="126"/>
                      </a:lnTo>
                      <a:lnTo>
                        <a:pt x="158" y="128"/>
                      </a:lnTo>
                      <a:lnTo>
                        <a:pt x="154" y="128"/>
                      </a:lnTo>
                      <a:lnTo>
                        <a:pt x="151" y="128"/>
                      </a:lnTo>
                      <a:lnTo>
                        <a:pt x="149" y="127"/>
                      </a:lnTo>
                      <a:lnTo>
                        <a:pt x="148" y="125"/>
                      </a:lnTo>
                      <a:lnTo>
                        <a:pt x="144" y="121"/>
                      </a:lnTo>
                      <a:lnTo>
                        <a:pt x="140" y="120"/>
                      </a:lnTo>
                      <a:lnTo>
                        <a:pt x="136" y="119"/>
                      </a:lnTo>
                      <a:lnTo>
                        <a:pt x="132" y="120"/>
                      </a:lnTo>
                      <a:lnTo>
                        <a:pt x="130" y="122"/>
                      </a:lnTo>
                      <a:lnTo>
                        <a:pt x="127" y="124"/>
                      </a:lnTo>
                      <a:lnTo>
                        <a:pt x="121" y="124"/>
                      </a:lnTo>
                      <a:lnTo>
                        <a:pt x="115" y="121"/>
                      </a:lnTo>
                      <a:lnTo>
                        <a:pt x="108" y="119"/>
                      </a:lnTo>
                      <a:lnTo>
                        <a:pt x="102" y="118"/>
                      </a:lnTo>
                      <a:lnTo>
                        <a:pt x="97" y="115"/>
                      </a:lnTo>
                      <a:lnTo>
                        <a:pt x="93" y="115"/>
                      </a:lnTo>
                      <a:lnTo>
                        <a:pt x="83" y="111"/>
                      </a:lnTo>
                      <a:lnTo>
                        <a:pt x="80" y="111"/>
                      </a:lnTo>
                      <a:lnTo>
                        <a:pt x="78" y="112"/>
                      </a:lnTo>
                      <a:lnTo>
                        <a:pt x="74" y="115"/>
                      </a:lnTo>
                      <a:lnTo>
                        <a:pt x="69" y="118"/>
                      </a:lnTo>
                      <a:lnTo>
                        <a:pt x="65" y="116"/>
                      </a:lnTo>
                      <a:lnTo>
                        <a:pt x="60" y="114"/>
                      </a:lnTo>
                      <a:lnTo>
                        <a:pt x="51" y="108"/>
                      </a:lnTo>
                      <a:lnTo>
                        <a:pt x="46" y="105"/>
                      </a:lnTo>
                      <a:lnTo>
                        <a:pt x="42" y="102"/>
                      </a:lnTo>
                      <a:lnTo>
                        <a:pt x="37" y="101"/>
                      </a:lnTo>
                      <a:lnTo>
                        <a:pt x="33" y="102"/>
                      </a:lnTo>
                      <a:lnTo>
                        <a:pt x="28" y="102"/>
                      </a:lnTo>
                      <a:lnTo>
                        <a:pt x="23" y="100"/>
                      </a:lnTo>
                      <a:lnTo>
                        <a:pt x="15" y="94"/>
                      </a:lnTo>
                      <a:lnTo>
                        <a:pt x="12" y="92"/>
                      </a:lnTo>
                      <a:lnTo>
                        <a:pt x="7" y="89"/>
                      </a:lnTo>
                      <a:lnTo>
                        <a:pt x="4" y="88"/>
                      </a:lnTo>
                      <a:lnTo>
                        <a:pt x="3" y="86"/>
                      </a:lnTo>
                      <a:lnTo>
                        <a:pt x="1" y="83"/>
                      </a:lnTo>
                      <a:lnTo>
                        <a:pt x="1" y="80"/>
                      </a:lnTo>
                      <a:lnTo>
                        <a:pt x="12" y="82"/>
                      </a:lnTo>
                      <a:lnTo>
                        <a:pt x="22" y="83"/>
                      </a:lnTo>
                      <a:lnTo>
                        <a:pt x="31" y="82"/>
                      </a:lnTo>
                      <a:lnTo>
                        <a:pt x="41" y="80"/>
                      </a:lnTo>
                      <a:lnTo>
                        <a:pt x="36" y="75"/>
                      </a:lnTo>
                      <a:lnTo>
                        <a:pt x="32" y="74"/>
                      </a:lnTo>
                      <a:lnTo>
                        <a:pt x="29" y="73"/>
                      </a:lnTo>
                      <a:lnTo>
                        <a:pt x="22" y="74"/>
                      </a:lnTo>
                      <a:lnTo>
                        <a:pt x="14" y="75"/>
                      </a:lnTo>
                      <a:lnTo>
                        <a:pt x="8" y="73"/>
                      </a:lnTo>
                      <a:lnTo>
                        <a:pt x="5" y="71"/>
                      </a:lnTo>
                      <a:lnTo>
                        <a:pt x="3" y="69"/>
                      </a:lnTo>
                      <a:lnTo>
                        <a:pt x="1" y="65"/>
                      </a:lnTo>
                      <a:lnTo>
                        <a:pt x="0" y="62"/>
                      </a:lnTo>
                      <a:lnTo>
                        <a:pt x="0" y="55"/>
                      </a:lnTo>
                      <a:lnTo>
                        <a:pt x="3" y="48"/>
                      </a:lnTo>
                      <a:lnTo>
                        <a:pt x="7" y="41"/>
                      </a:lnTo>
                      <a:lnTo>
                        <a:pt x="7" y="37"/>
                      </a:lnTo>
                      <a:lnTo>
                        <a:pt x="5" y="35"/>
                      </a:lnTo>
                      <a:lnTo>
                        <a:pt x="5" y="32"/>
                      </a:lnTo>
                      <a:lnTo>
                        <a:pt x="5" y="30"/>
                      </a:lnTo>
                      <a:lnTo>
                        <a:pt x="10" y="23"/>
                      </a:lnTo>
                      <a:lnTo>
                        <a:pt x="13" y="18"/>
                      </a:lnTo>
                      <a:lnTo>
                        <a:pt x="14" y="14"/>
                      </a:lnTo>
                      <a:lnTo>
                        <a:pt x="17" y="12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8" y="10"/>
                      </a:lnTo>
                      <a:lnTo>
                        <a:pt x="32" y="10"/>
                      </a:lnTo>
                      <a:lnTo>
                        <a:pt x="37" y="9"/>
                      </a:lnTo>
                      <a:lnTo>
                        <a:pt x="50" y="3"/>
                      </a:lnTo>
                      <a:lnTo>
                        <a:pt x="56" y="1"/>
                      </a:lnTo>
                      <a:lnTo>
                        <a:pt x="62" y="0"/>
                      </a:lnTo>
                      <a:lnTo>
                        <a:pt x="69" y="0"/>
                      </a:lnTo>
                      <a:lnTo>
                        <a:pt x="75" y="1"/>
                      </a:lnTo>
                      <a:lnTo>
                        <a:pt x="80" y="4"/>
                      </a:lnTo>
                      <a:lnTo>
                        <a:pt x="85" y="6"/>
                      </a:lnTo>
                      <a:lnTo>
                        <a:pt x="87" y="7"/>
                      </a:lnTo>
                      <a:lnTo>
                        <a:pt x="85" y="9"/>
                      </a:lnTo>
                      <a:lnTo>
                        <a:pt x="83" y="11"/>
                      </a:lnTo>
                      <a:lnTo>
                        <a:pt x="78" y="13"/>
                      </a:lnTo>
                      <a:lnTo>
                        <a:pt x="74" y="17"/>
                      </a:lnTo>
                      <a:lnTo>
                        <a:pt x="73" y="20"/>
                      </a:lnTo>
                      <a:lnTo>
                        <a:pt x="73" y="24"/>
                      </a:lnTo>
                      <a:lnTo>
                        <a:pt x="74" y="26"/>
                      </a:lnTo>
                      <a:lnTo>
                        <a:pt x="73" y="29"/>
                      </a:lnTo>
                      <a:lnTo>
                        <a:pt x="70" y="35"/>
                      </a:lnTo>
                      <a:lnTo>
                        <a:pt x="69" y="39"/>
                      </a:lnTo>
                      <a:lnTo>
                        <a:pt x="70" y="44"/>
                      </a:lnTo>
                      <a:lnTo>
                        <a:pt x="74" y="48"/>
                      </a:lnTo>
                      <a:lnTo>
                        <a:pt x="71" y="52"/>
                      </a:lnTo>
                      <a:lnTo>
                        <a:pt x="71" y="54"/>
                      </a:lnTo>
                      <a:lnTo>
                        <a:pt x="71" y="56"/>
                      </a:lnTo>
                      <a:lnTo>
                        <a:pt x="71" y="63"/>
                      </a:lnTo>
                      <a:lnTo>
                        <a:pt x="74" y="69"/>
                      </a:lnTo>
                      <a:lnTo>
                        <a:pt x="76" y="75"/>
                      </a:lnTo>
                      <a:lnTo>
                        <a:pt x="79" y="75"/>
                      </a:lnTo>
                      <a:lnTo>
                        <a:pt x="81" y="75"/>
                      </a:lnTo>
                      <a:lnTo>
                        <a:pt x="83" y="74"/>
                      </a:lnTo>
                      <a:lnTo>
                        <a:pt x="84" y="73"/>
                      </a:lnTo>
                      <a:lnTo>
                        <a:pt x="84" y="65"/>
                      </a:lnTo>
                      <a:lnTo>
                        <a:pt x="84" y="58"/>
                      </a:lnTo>
                      <a:lnTo>
                        <a:pt x="84" y="55"/>
                      </a:lnTo>
                      <a:lnTo>
                        <a:pt x="85" y="52"/>
                      </a:lnTo>
                      <a:lnTo>
                        <a:pt x="88" y="51"/>
                      </a:lnTo>
                      <a:lnTo>
                        <a:pt x="90" y="52"/>
                      </a:lnTo>
                      <a:lnTo>
                        <a:pt x="93" y="52"/>
                      </a:lnTo>
                      <a:lnTo>
                        <a:pt x="94" y="51"/>
                      </a:lnTo>
                      <a:lnTo>
                        <a:pt x="89" y="39"/>
                      </a:lnTo>
                      <a:lnTo>
                        <a:pt x="88" y="33"/>
                      </a:lnTo>
                      <a:lnTo>
                        <a:pt x="88" y="28"/>
                      </a:lnTo>
                      <a:lnTo>
                        <a:pt x="90" y="24"/>
                      </a:lnTo>
                      <a:lnTo>
                        <a:pt x="94" y="22"/>
                      </a:lnTo>
                      <a:lnTo>
                        <a:pt x="102" y="18"/>
                      </a:lnTo>
                      <a:lnTo>
                        <a:pt x="102" y="17"/>
                      </a:lnTo>
                      <a:lnTo>
                        <a:pt x="103" y="14"/>
                      </a:lnTo>
                      <a:lnTo>
                        <a:pt x="103" y="11"/>
                      </a:lnTo>
                      <a:lnTo>
                        <a:pt x="107" y="9"/>
                      </a:lnTo>
                      <a:lnTo>
                        <a:pt x="112" y="6"/>
                      </a:lnTo>
                      <a:lnTo>
                        <a:pt x="123" y="4"/>
                      </a:lnTo>
                      <a:lnTo>
                        <a:pt x="134" y="4"/>
                      </a:lnTo>
                      <a:lnTo>
                        <a:pt x="145" y="4"/>
                      </a:lnTo>
                      <a:lnTo>
                        <a:pt x="146" y="5"/>
                      </a:lnTo>
                      <a:lnTo>
                        <a:pt x="148" y="6"/>
                      </a:lnTo>
                      <a:lnTo>
                        <a:pt x="148" y="10"/>
                      </a:lnTo>
                      <a:lnTo>
                        <a:pt x="146" y="13"/>
                      </a:lnTo>
                      <a:lnTo>
                        <a:pt x="144" y="17"/>
                      </a:lnTo>
                      <a:lnTo>
                        <a:pt x="144" y="18"/>
                      </a:lnTo>
                      <a:lnTo>
                        <a:pt x="144" y="19"/>
                      </a:lnTo>
                      <a:lnTo>
                        <a:pt x="149" y="20"/>
                      </a:lnTo>
                      <a:lnTo>
                        <a:pt x="150" y="22"/>
                      </a:lnTo>
                      <a:lnTo>
                        <a:pt x="151" y="24"/>
                      </a:lnTo>
                      <a:lnTo>
                        <a:pt x="150" y="31"/>
                      </a:lnTo>
                      <a:lnTo>
                        <a:pt x="150" y="37"/>
                      </a:lnTo>
                      <a:lnTo>
                        <a:pt x="149" y="43"/>
                      </a:lnTo>
                      <a:lnTo>
                        <a:pt x="148" y="46"/>
                      </a:lnTo>
                      <a:lnTo>
                        <a:pt x="145" y="49"/>
                      </a:lnTo>
                      <a:lnTo>
                        <a:pt x="144" y="51"/>
                      </a:lnTo>
                      <a:lnTo>
                        <a:pt x="145" y="54"/>
                      </a:lnTo>
                      <a:lnTo>
                        <a:pt x="148" y="56"/>
                      </a:lnTo>
                      <a:lnTo>
                        <a:pt x="151" y="56"/>
                      </a:lnTo>
                      <a:lnTo>
                        <a:pt x="154" y="55"/>
                      </a:lnTo>
                      <a:lnTo>
                        <a:pt x="156" y="54"/>
                      </a:lnTo>
                      <a:lnTo>
                        <a:pt x="160" y="49"/>
                      </a:lnTo>
                      <a:lnTo>
                        <a:pt x="165" y="39"/>
                      </a:lnTo>
                      <a:lnTo>
                        <a:pt x="167" y="39"/>
                      </a:lnTo>
                      <a:lnTo>
                        <a:pt x="170" y="44"/>
                      </a:lnTo>
                      <a:lnTo>
                        <a:pt x="174" y="48"/>
                      </a:lnTo>
                      <a:lnTo>
                        <a:pt x="175" y="50"/>
                      </a:lnTo>
                      <a:lnTo>
                        <a:pt x="178" y="50"/>
                      </a:lnTo>
                      <a:lnTo>
                        <a:pt x="182" y="50"/>
                      </a:lnTo>
                      <a:lnTo>
                        <a:pt x="184" y="50"/>
                      </a:lnTo>
                      <a:lnTo>
                        <a:pt x="187" y="51"/>
                      </a:lnTo>
                      <a:lnTo>
                        <a:pt x="189" y="52"/>
                      </a:lnTo>
                      <a:lnTo>
                        <a:pt x="191" y="52"/>
                      </a:lnTo>
                      <a:lnTo>
                        <a:pt x="192" y="51"/>
                      </a:lnTo>
                      <a:lnTo>
                        <a:pt x="193" y="45"/>
                      </a:lnTo>
                      <a:lnTo>
                        <a:pt x="195" y="43"/>
                      </a:lnTo>
                      <a:lnTo>
                        <a:pt x="196" y="41"/>
                      </a:lnTo>
                      <a:lnTo>
                        <a:pt x="208" y="39"/>
                      </a:lnTo>
                      <a:lnTo>
                        <a:pt x="220" y="41"/>
                      </a:lnTo>
                      <a:lnTo>
                        <a:pt x="233" y="43"/>
                      </a:lnTo>
                      <a:lnTo>
                        <a:pt x="244" y="46"/>
                      </a:lnTo>
                      <a:lnTo>
                        <a:pt x="249" y="46"/>
                      </a:lnTo>
                      <a:lnTo>
                        <a:pt x="250" y="46"/>
                      </a:lnTo>
                      <a:lnTo>
                        <a:pt x="253" y="48"/>
                      </a:lnTo>
                      <a:lnTo>
                        <a:pt x="258" y="51"/>
                      </a:lnTo>
                      <a:lnTo>
                        <a:pt x="263" y="54"/>
                      </a:lnTo>
                      <a:lnTo>
                        <a:pt x="266" y="56"/>
                      </a:lnTo>
                      <a:lnTo>
                        <a:pt x="268" y="60"/>
                      </a:lnTo>
                      <a:lnTo>
                        <a:pt x="273" y="68"/>
                      </a:lnTo>
                      <a:lnTo>
                        <a:pt x="275" y="69"/>
                      </a:lnTo>
                      <a:lnTo>
                        <a:pt x="277" y="70"/>
                      </a:lnTo>
                      <a:lnTo>
                        <a:pt x="281" y="71"/>
                      </a:lnTo>
                      <a:lnTo>
                        <a:pt x="286" y="73"/>
                      </a:lnTo>
                      <a:lnTo>
                        <a:pt x="291" y="75"/>
                      </a:lnTo>
                      <a:lnTo>
                        <a:pt x="296" y="76"/>
                      </a:lnTo>
                      <a:lnTo>
                        <a:pt x="301" y="77"/>
                      </a:lnTo>
                      <a:lnTo>
                        <a:pt x="310" y="77"/>
                      </a:lnTo>
                      <a:lnTo>
                        <a:pt x="319" y="75"/>
                      </a:lnTo>
                      <a:lnTo>
                        <a:pt x="323" y="75"/>
                      </a:lnTo>
                      <a:lnTo>
                        <a:pt x="325" y="77"/>
                      </a:lnTo>
                      <a:lnTo>
                        <a:pt x="328" y="81"/>
                      </a:lnTo>
                      <a:lnTo>
                        <a:pt x="328" y="82"/>
                      </a:lnTo>
                      <a:lnTo>
                        <a:pt x="327" y="84"/>
                      </a:lnTo>
                      <a:lnTo>
                        <a:pt x="324" y="86"/>
                      </a:lnTo>
                      <a:lnTo>
                        <a:pt x="320" y="87"/>
                      </a:lnTo>
                      <a:lnTo>
                        <a:pt x="313" y="88"/>
                      </a:lnTo>
                      <a:lnTo>
                        <a:pt x="310" y="90"/>
                      </a:lnTo>
                      <a:lnTo>
                        <a:pt x="309" y="94"/>
                      </a:lnTo>
                      <a:lnTo>
                        <a:pt x="309" y="97"/>
                      </a:lnTo>
                      <a:lnTo>
                        <a:pt x="310" y="99"/>
                      </a:lnTo>
                      <a:lnTo>
                        <a:pt x="313" y="99"/>
                      </a:lnTo>
                      <a:lnTo>
                        <a:pt x="318" y="97"/>
                      </a:lnTo>
                      <a:lnTo>
                        <a:pt x="323" y="95"/>
                      </a:lnTo>
                      <a:lnTo>
                        <a:pt x="327" y="93"/>
                      </a:lnTo>
                      <a:lnTo>
                        <a:pt x="332" y="90"/>
                      </a:lnTo>
                      <a:lnTo>
                        <a:pt x="334" y="92"/>
                      </a:lnTo>
                      <a:lnTo>
                        <a:pt x="335" y="94"/>
                      </a:lnTo>
                      <a:lnTo>
                        <a:pt x="338" y="100"/>
                      </a:lnTo>
                      <a:lnTo>
                        <a:pt x="333" y="100"/>
                      </a:lnTo>
                      <a:lnTo>
                        <a:pt x="327" y="100"/>
                      </a:lnTo>
                      <a:lnTo>
                        <a:pt x="327" y="101"/>
                      </a:lnTo>
                      <a:lnTo>
                        <a:pt x="327" y="102"/>
                      </a:lnTo>
                      <a:lnTo>
                        <a:pt x="327" y="106"/>
                      </a:lnTo>
                      <a:lnTo>
                        <a:pt x="330" y="107"/>
                      </a:lnTo>
                      <a:lnTo>
                        <a:pt x="337" y="107"/>
                      </a:lnTo>
                      <a:lnTo>
                        <a:pt x="343" y="107"/>
                      </a:lnTo>
                      <a:lnTo>
                        <a:pt x="355" y="102"/>
                      </a:lnTo>
                      <a:lnTo>
                        <a:pt x="357" y="101"/>
                      </a:lnTo>
                      <a:lnTo>
                        <a:pt x="360" y="103"/>
                      </a:lnTo>
                      <a:lnTo>
                        <a:pt x="362" y="108"/>
                      </a:lnTo>
                      <a:lnTo>
                        <a:pt x="357" y="109"/>
                      </a:lnTo>
                      <a:lnTo>
                        <a:pt x="353" y="109"/>
                      </a:lnTo>
                      <a:lnTo>
                        <a:pt x="348" y="111"/>
                      </a:lnTo>
                      <a:lnTo>
                        <a:pt x="344" y="112"/>
                      </a:lnTo>
                      <a:lnTo>
                        <a:pt x="348" y="114"/>
                      </a:lnTo>
                      <a:lnTo>
                        <a:pt x="353" y="115"/>
                      </a:lnTo>
                      <a:lnTo>
                        <a:pt x="358" y="114"/>
                      </a:lnTo>
                      <a:lnTo>
                        <a:pt x="362" y="113"/>
                      </a:lnTo>
                      <a:lnTo>
                        <a:pt x="371" y="108"/>
                      </a:lnTo>
                      <a:lnTo>
                        <a:pt x="376" y="107"/>
                      </a:lnTo>
                      <a:lnTo>
                        <a:pt x="380" y="107"/>
                      </a:lnTo>
                      <a:lnTo>
                        <a:pt x="382" y="108"/>
                      </a:lnTo>
                      <a:lnTo>
                        <a:pt x="385" y="112"/>
                      </a:lnTo>
                      <a:lnTo>
                        <a:pt x="389" y="120"/>
                      </a:lnTo>
                      <a:lnTo>
                        <a:pt x="389" y="121"/>
                      </a:lnTo>
                      <a:lnTo>
                        <a:pt x="388" y="121"/>
                      </a:lnTo>
                      <a:lnTo>
                        <a:pt x="384" y="122"/>
                      </a:lnTo>
                      <a:lnTo>
                        <a:pt x="375" y="124"/>
                      </a:lnTo>
                      <a:lnTo>
                        <a:pt x="372" y="126"/>
                      </a:lnTo>
                      <a:lnTo>
                        <a:pt x="368" y="128"/>
                      </a:lnTo>
                      <a:lnTo>
                        <a:pt x="370" y="129"/>
                      </a:lnTo>
                      <a:lnTo>
                        <a:pt x="371" y="131"/>
                      </a:lnTo>
                      <a:lnTo>
                        <a:pt x="372" y="131"/>
                      </a:lnTo>
                      <a:lnTo>
                        <a:pt x="374" y="131"/>
                      </a:lnTo>
                      <a:lnTo>
                        <a:pt x="376" y="128"/>
                      </a:lnTo>
                      <a:lnTo>
                        <a:pt x="377" y="128"/>
                      </a:lnTo>
                      <a:lnTo>
                        <a:pt x="380" y="128"/>
                      </a:lnTo>
                      <a:lnTo>
                        <a:pt x="384" y="129"/>
                      </a:lnTo>
                      <a:lnTo>
                        <a:pt x="386" y="132"/>
                      </a:lnTo>
                      <a:lnTo>
                        <a:pt x="393" y="138"/>
                      </a:lnTo>
                      <a:lnTo>
                        <a:pt x="389" y="139"/>
                      </a:lnTo>
                      <a:lnTo>
                        <a:pt x="384" y="140"/>
                      </a:lnTo>
                      <a:lnTo>
                        <a:pt x="379" y="140"/>
                      </a:lnTo>
                      <a:lnTo>
                        <a:pt x="375" y="141"/>
                      </a:lnTo>
                      <a:lnTo>
                        <a:pt x="374" y="144"/>
                      </a:lnTo>
                      <a:lnTo>
                        <a:pt x="374" y="147"/>
                      </a:lnTo>
                      <a:lnTo>
                        <a:pt x="372" y="154"/>
                      </a:lnTo>
                      <a:lnTo>
                        <a:pt x="372" y="157"/>
                      </a:lnTo>
                      <a:lnTo>
                        <a:pt x="374" y="159"/>
                      </a:lnTo>
                      <a:lnTo>
                        <a:pt x="376" y="160"/>
                      </a:lnTo>
                      <a:lnTo>
                        <a:pt x="380" y="161"/>
                      </a:lnTo>
                      <a:lnTo>
                        <a:pt x="386" y="163"/>
                      </a:lnTo>
                      <a:lnTo>
                        <a:pt x="394" y="164"/>
                      </a:lnTo>
                      <a:lnTo>
                        <a:pt x="395" y="164"/>
                      </a:lnTo>
                      <a:lnTo>
                        <a:pt x="396" y="164"/>
                      </a:lnTo>
                      <a:lnTo>
                        <a:pt x="394" y="167"/>
                      </a:lnTo>
                      <a:lnTo>
                        <a:pt x="393" y="170"/>
                      </a:lnTo>
                      <a:lnTo>
                        <a:pt x="393" y="173"/>
                      </a:lnTo>
                      <a:lnTo>
                        <a:pt x="394" y="175"/>
                      </a:lnTo>
                      <a:lnTo>
                        <a:pt x="396" y="175"/>
                      </a:lnTo>
                      <a:lnTo>
                        <a:pt x="403" y="176"/>
                      </a:lnTo>
                      <a:lnTo>
                        <a:pt x="407" y="177"/>
                      </a:lnTo>
                      <a:lnTo>
                        <a:pt x="409" y="179"/>
                      </a:lnTo>
                      <a:lnTo>
                        <a:pt x="412" y="180"/>
                      </a:lnTo>
                      <a:lnTo>
                        <a:pt x="413" y="180"/>
                      </a:lnTo>
                      <a:lnTo>
                        <a:pt x="417" y="179"/>
                      </a:lnTo>
                      <a:lnTo>
                        <a:pt x="419" y="177"/>
                      </a:lnTo>
                      <a:lnTo>
                        <a:pt x="423" y="177"/>
                      </a:lnTo>
                      <a:lnTo>
                        <a:pt x="429" y="178"/>
                      </a:lnTo>
                      <a:lnTo>
                        <a:pt x="436" y="182"/>
                      </a:lnTo>
                      <a:lnTo>
                        <a:pt x="437" y="184"/>
                      </a:lnTo>
                      <a:lnTo>
                        <a:pt x="438" y="186"/>
                      </a:lnTo>
                      <a:lnTo>
                        <a:pt x="438" y="189"/>
                      </a:lnTo>
                      <a:lnTo>
                        <a:pt x="438" y="192"/>
                      </a:lnTo>
                      <a:lnTo>
                        <a:pt x="440" y="194"/>
                      </a:lnTo>
                      <a:lnTo>
                        <a:pt x="441" y="196"/>
                      </a:lnTo>
                      <a:lnTo>
                        <a:pt x="443" y="197"/>
                      </a:lnTo>
                      <a:lnTo>
                        <a:pt x="447" y="197"/>
                      </a:lnTo>
                      <a:lnTo>
                        <a:pt x="450" y="196"/>
                      </a:lnTo>
                      <a:lnTo>
                        <a:pt x="452" y="196"/>
                      </a:lnTo>
                      <a:lnTo>
                        <a:pt x="454" y="197"/>
                      </a:lnTo>
                      <a:lnTo>
                        <a:pt x="452" y="199"/>
                      </a:lnTo>
                      <a:lnTo>
                        <a:pt x="451" y="201"/>
                      </a:lnTo>
                      <a:lnTo>
                        <a:pt x="450" y="203"/>
                      </a:lnTo>
                      <a:lnTo>
                        <a:pt x="451" y="205"/>
                      </a:lnTo>
                      <a:lnTo>
                        <a:pt x="451" y="207"/>
                      </a:lnTo>
                      <a:lnTo>
                        <a:pt x="452" y="207"/>
                      </a:lnTo>
                      <a:lnTo>
                        <a:pt x="460" y="205"/>
                      </a:lnTo>
                      <a:lnTo>
                        <a:pt x="464" y="207"/>
                      </a:lnTo>
                      <a:lnTo>
                        <a:pt x="466" y="207"/>
                      </a:lnTo>
                      <a:lnTo>
                        <a:pt x="469" y="208"/>
                      </a:lnTo>
                      <a:lnTo>
                        <a:pt x="471" y="208"/>
                      </a:lnTo>
                      <a:lnTo>
                        <a:pt x="480" y="202"/>
                      </a:lnTo>
                      <a:lnTo>
                        <a:pt x="484" y="201"/>
                      </a:lnTo>
                      <a:lnTo>
                        <a:pt x="488" y="201"/>
                      </a:lnTo>
                      <a:lnTo>
                        <a:pt x="489" y="203"/>
                      </a:lnTo>
                      <a:lnTo>
                        <a:pt x="490" y="205"/>
                      </a:lnTo>
                      <a:lnTo>
                        <a:pt x="493" y="211"/>
                      </a:lnTo>
                      <a:lnTo>
                        <a:pt x="493" y="214"/>
                      </a:lnTo>
                      <a:lnTo>
                        <a:pt x="492" y="215"/>
                      </a:lnTo>
                      <a:lnTo>
                        <a:pt x="488" y="216"/>
                      </a:lnTo>
                      <a:lnTo>
                        <a:pt x="483" y="217"/>
                      </a:lnTo>
                      <a:lnTo>
                        <a:pt x="479" y="218"/>
                      </a:lnTo>
                      <a:lnTo>
                        <a:pt x="478" y="220"/>
                      </a:lnTo>
                      <a:lnTo>
                        <a:pt x="479" y="222"/>
                      </a:lnTo>
                      <a:lnTo>
                        <a:pt x="480" y="224"/>
                      </a:lnTo>
                      <a:lnTo>
                        <a:pt x="479" y="227"/>
                      </a:lnTo>
                      <a:lnTo>
                        <a:pt x="476" y="228"/>
                      </a:lnTo>
                      <a:lnTo>
                        <a:pt x="475" y="229"/>
                      </a:lnTo>
                      <a:lnTo>
                        <a:pt x="475" y="230"/>
                      </a:lnTo>
                      <a:lnTo>
                        <a:pt x="476" y="233"/>
                      </a:lnTo>
                      <a:lnTo>
                        <a:pt x="479" y="234"/>
                      </a:lnTo>
                      <a:lnTo>
                        <a:pt x="480" y="235"/>
                      </a:lnTo>
                      <a:lnTo>
                        <a:pt x="480" y="237"/>
                      </a:lnTo>
                      <a:lnTo>
                        <a:pt x="476" y="240"/>
                      </a:lnTo>
                      <a:lnTo>
                        <a:pt x="473" y="240"/>
                      </a:lnTo>
                      <a:lnTo>
                        <a:pt x="468" y="240"/>
                      </a:lnTo>
                      <a:lnTo>
                        <a:pt x="462" y="237"/>
                      </a:lnTo>
                      <a:lnTo>
                        <a:pt x="461" y="237"/>
                      </a:lnTo>
                      <a:lnTo>
                        <a:pt x="460" y="237"/>
                      </a:lnTo>
                      <a:lnTo>
                        <a:pt x="460" y="239"/>
                      </a:lnTo>
                      <a:lnTo>
                        <a:pt x="461" y="241"/>
                      </a:lnTo>
                      <a:lnTo>
                        <a:pt x="462" y="242"/>
                      </a:lnTo>
                      <a:lnTo>
                        <a:pt x="464" y="243"/>
                      </a:lnTo>
                      <a:lnTo>
                        <a:pt x="464" y="244"/>
                      </a:lnTo>
                      <a:lnTo>
                        <a:pt x="462" y="246"/>
                      </a:lnTo>
                      <a:lnTo>
                        <a:pt x="461" y="247"/>
                      </a:lnTo>
                      <a:lnTo>
                        <a:pt x="459" y="248"/>
                      </a:lnTo>
                      <a:lnTo>
                        <a:pt x="459" y="249"/>
                      </a:lnTo>
                      <a:lnTo>
                        <a:pt x="461" y="252"/>
                      </a:lnTo>
                      <a:lnTo>
                        <a:pt x="462" y="254"/>
                      </a:lnTo>
                      <a:lnTo>
                        <a:pt x="462" y="256"/>
                      </a:lnTo>
                      <a:lnTo>
                        <a:pt x="461" y="258"/>
                      </a:lnTo>
                      <a:lnTo>
                        <a:pt x="459" y="260"/>
                      </a:lnTo>
                      <a:lnTo>
                        <a:pt x="459" y="263"/>
                      </a:lnTo>
                      <a:lnTo>
                        <a:pt x="459" y="265"/>
                      </a:lnTo>
                      <a:lnTo>
                        <a:pt x="457" y="265"/>
                      </a:lnTo>
                      <a:lnTo>
                        <a:pt x="456" y="265"/>
                      </a:lnTo>
                      <a:lnTo>
                        <a:pt x="455" y="265"/>
                      </a:lnTo>
                      <a:lnTo>
                        <a:pt x="452" y="262"/>
                      </a:lnTo>
                      <a:lnTo>
                        <a:pt x="451" y="259"/>
                      </a:lnTo>
                      <a:lnTo>
                        <a:pt x="448" y="256"/>
                      </a:lnTo>
                      <a:lnTo>
                        <a:pt x="447" y="255"/>
                      </a:lnTo>
                      <a:lnTo>
                        <a:pt x="443" y="254"/>
                      </a:lnTo>
                      <a:lnTo>
                        <a:pt x="442" y="254"/>
                      </a:lnTo>
                      <a:lnTo>
                        <a:pt x="440" y="254"/>
                      </a:lnTo>
                      <a:lnTo>
                        <a:pt x="438" y="254"/>
                      </a:lnTo>
                      <a:lnTo>
                        <a:pt x="437" y="253"/>
                      </a:lnTo>
                      <a:lnTo>
                        <a:pt x="435" y="249"/>
                      </a:lnTo>
                      <a:lnTo>
                        <a:pt x="432" y="246"/>
                      </a:lnTo>
                      <a:lnTo>
                        <a:pt x="431" y="242"/>
                      </a:lnTo>
                      <a:lnTo>
                        <a:pt x="429" y="237"/>
                      </a:lnTo>
                      <a:lnTo>
                        <a:pt x="429" y="234"/>
                      </a:lnTo>
                      <a:lnTo>
                        <a:pt x="431" y="229"/>
                      </a:lnTo>
                      <a:lnTo>
                        <a:pt x="433" y="226"/>
                      </a:lnTo>
                      <a:lnTo>
                        <a:pt x="436" y="221"/>
                      </a:lnTo>
                      <a:lnTo>
                        <a:pt x="431" y="223"/>
                      </a:lnTo>
                      <a:lnTo>
                        <a:pt x="427" y="226"/>
                      </a:lnTo>
                      <a:lnTo>
                        <a:pt x="422" y="229"/>
                      </a:lnTo>
                      <a:lnTo>
                        <a:pt x="418" y="231"/>
                      </a:lnTo>
                      <a:lnTo>
                        <a:pt x="417" y="231"/>
                      </a:lnTo>
                      <a:lnTo>
                        <a:pt x="415" y="231"/>
                      </a:lnTo>
                      <a:lnTo>
                        <a:pt x="413" y="229"/>
                      </a:lnTo>
                      <a:lnTo>
                        <a:pt x="413" y="226"/>
                      </a:lnTo>
                      <a:lnTo>
                        <a:pt x="415" y="221"/>
                      </a:lnTo>
                      <a:lnTo>
                        <a:pt x="414" y="221"/>
                      </a:lnTo>
                      <a:lnTo>
                        <a:pt x="414" y="220"/>
                      </a:lnTo>
                      <a:lnTo>
                        <a:pt x="409" y="220"/>
                      </a:lnTo>
                      <a:lnTo>
                        <a:pt x="403" y="220"/>
                      </a:lnTo>
                      <a:lnTo>
                        <a:pt x="398" y="217"/>
                      </a:lnTo>
                      <a:lnTo>
                        <a:pt x="393" y="215"/>
                      </a:lnTo>
                      <a:lnTo>
                        <a:pt x="389" y="214"/>
                      </a:lnTo>
                      <a:lnTo>
                        <a:pt x="385" y="214"/>
                      </a:lnTo>
                      <a:lnTo>
                        <a:pt x="382" y="216"/>
                      </a:lnTo>
                      <a:lnTo>
                        <a:pt x="380" y="218"/>
                      </a:lnTo>
                      <a:lnTo>
                        <a:pt x="380" y="222"/>
                      </a:lnTo>
                      <a:lnTo>
                        <a:pt x="381" y="224"/>
                      </a:lnTo>
                      <a:lnTo>
                        <a:pt x="382" y="227"/>
                      </a:lnTo>
                      <a:lnTo>
                        <a:pt x="381" y="229"/>
                      </a:lnTo>
                      <a:lnTo>
                        <a:pt x="380" y="234"/>
                      </a:lnTo>
                      <a:lnTo>
                        <a:pt x="380" y="237"/>
                      </a:lnTo>
                      <a:lnTo>
                        <a:pt x="381" y="241"/>
                      </a:lnTo>
                      <a:lnTo>
                        <a:pt x="382" y="242"/>
                      </a:lnTo>
                      <a:lnTo>
                        <a:pt x="385" y="242"/>
                      </a:lnTo>
                      <a:lnTo>
                        <a:pt x="389" y="242"/>
                      </a:lnTo>
                      <a:lnTo>
                        <a:pt x="390" y="243"/>
                      </a:lnTo>
                      <a:lnTo>
                        <a:pt x="391" y="244"/>
                      </a:lnTo>
                      <a:lnTo>
                        <a:pt x="395" y="250"/>
                      </a:lnTo>
                      <a:lnTo>
                        <a:pt x="400" y="256"/>
                      </a:lnTo>
                      <a:lnTo>
                        <a:pt x="405" y="261"/>
                      </a:lnTo>
                      <a:lnTo>
                        <a:pt x="412" y="265"/>
                      </a:lnTo>
                      <a:lnTo>
                        <a:pt x="415" y="266"/>
                      </a:lnTo>
                      <a:lnTo>
                        <a:pt x="421" y="265"/>
                      </a:lnTo>
                      <a:lnTo>
                        <a:pt x="424" y="265"/>
                      </a:lnTo>
                      <a:lnTo>
                        <a:pt x="428" y="266"/>
                      </a:lnTo>
                      <a:lnTo>
                        <a:pt x="429" y="267"/>
                      </a:lnTo>
                      <a:lnTo>
                        <a:pt x="428" y="269"/>
                      </a:lnTo>
                      <a:lnTo>
                        <a:pt x="427" y="273"/>
                      </a:lnTo>
                      <a:lnTo>
                        <a:pt x="427" y="275"/>
                      </a:lnTo>
                      <a:lnTo>
                        <a:pt x="427" y="278"/>
                      </a:lnTo>
                      <a:lnTo>
                        <a:pt x="428" y="280"/>
                      </a:lnTo>
                      <a:lnTo>
                        <a:pt x="436" y="290"/>
                      </a:lnTo>
                      <a:lnTo>
                        <a:pt x="441" y="292"/>
                      </a:lnTo>
                      <a:lnTo>
                        <a:pt x="441" y="294"/>
                      </a:lnTo>
                      <a:lnTo>
                        <a:pt x="441" y="297"/>
                      </a:lnTo>
                      <a:lnTo>
                        <a:pt x="445" y="301"/>
                      </a:lnTo>
                      <a:lnTo>
                        <a:pt x="447" y="305"/>
                      </a:lnTo>
                      <a:lnTo>
                        <a:pt x="448" y="310"/>
                      </a:lnTo>
                      <a:lnTo>
                        <a:pt x="448" y="311"/>
                      </a:lnTo>
                      <a:lnTo>
                        <a:pt x="446" y="310"/>
                      </a:lnTo>
                      <a:lnTo>
                        <a:pt x="441" y="30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7" name="Freeform 961">
                  <a:extLst>
                    <a:ext uri="{FF2B5EF4-FFF2-40B4-BE49-F238E27FC236}">
                      <a16:creationId xmlns:a16="http://schemas.microsoft.com/office/drawing/2014/main" id="{AB00CB52-BE37-E343-9086-9CC8E5E733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3520" y="2366000"/>
                  <a:ext cx="36996" cy="48835"/>
                </a:xfrm>
                <a:custGeom>
                  <a:avLst/>
                  <a:gdLst>
                    <a:gd name="T0" fmla="*/ 2147483647 w 28"/>
                    <a:gd name="T1" fmla="*/ 2147483647 h 33"/>
                    <a:gd name="T2" fmla="*/ 2147483647 w 28"/>
                    <a:gd name="T3" fmla="*/ 2147483647 h 33"/>
                    <a:gd name="T4" fmla="*/ 2147483647 w 28"/>
                    <a:gd name="T5" fmla="*/ 2147483647 h 33"/>
                    <a:gd name="T6" fmla="*/ 2147483647 w 28"/>
                    <a:gd name="T7" fmla="*/ 2147483647 h 33"/>
                    <a:gd name="T8" fmla="*/ 2147483647 w 28"/>
                    <a:gd name="T9" fmla="*/ 2147483647 h 33"/>
                    <a:gd name="T10" fmla="*/ 2147483647 w 28"/>
                    <a:gd name="T11" fmla="*/ 2147483647 h 33"/>
                    <a:gd name="T12" fmla="*/ 2147483647 w 28"/>
                    <a:gd name="T13" fmla="*/ 2147483647 h 33"/>
                    <a:gd name="T14" fmla="*/ 2147483647 w 28"/>
                    <a:gd name="T15" fmla="*/ 2147483647 h 33"/>
                    <a:gd name="T16" fmla="*/ 2147483647 w 28"/>
                    <a:gd name="T17" fmla="*/ 2147483647 h 33"/>
                    <a:gd name="T18" fmla="*/ 2147483647 w 28"/>
                    <a:gd name="T19" fmla="*/ 2147483647 h 33"/>
                    <a:gd name="T20" fmla="*/ 2147483647 w 28"/>
                    <a:gd name="T21" fmla="*/ 2147483647 h 33"/>
                    <a:gd name="T22" fmla="*/ 2147483647 w 28"/>
                    <a:gd name="T23" fmla="*/ 2147483647 h 33"/>
                    <a:gd name="T24" fmla="*/ 2147483647 w 28"/>
                    <a:gd name="T25" fmla="*/ 2147483647 h 33"/>
                    <a:gd name="T26" fmla="*/ 2147483647 w 28"/>
                    <a:gd name="T27" fmla="*/ 0 h 33"/>
                    <a:gd name="T28" fmla="*/ 2147483647 w 28"/>
                    <a:gd name="T29" fmla="*/ 0 h 33"/>
                    <a:gd name="T30" fmla="*/ 2147483647 w 28"/>
                    <a:gd name="T31" fmla="*/ 2147483647 h 33"/>
                    <a:gd name="T32" fmla="*/ 2147483647 w 28"/>
                    <a:gd name="T33" fmla="*/ 2147483647 h 33"/>
                    <a:gd name="T34" fmla="*/ 2147483647 w 28"/>
                    <a:gd name="T35" fmla="*/ 2147483647 h 33"/>
                    <a:gd name="T36" fmla="*/ 2147483647 w 28"/>
                    <a:gd name="T37" fmla="*/ 0 h 33"/>
                    <a:gd name="T38" fmla="*/ 2147483647 w 28"/>
                    <a:gd name="T39" fmla="*/ 2147483647 h 33"/>
                    <a:gd name="T40" fmla="*/ 2147483647 w 28"/>
                    <a:gd name="T41" fmla="*/ 2147483647 h 33"/>
                    <a:gd name="T42" fmla="*/ 2147483647 w 28"/>
                    <a:gd name="T43" fmla="*/ 2147483647 h 33"/>
                    <a:gd name="T44" fmla="*/ 2147483647 w 28"/>
                    <a:gd name="T45" fmla="*/ 2147483647 h 33"/>
                    <a:gd name="T46" fmla="*/ 2147483647 w 28"/>
                    <a:gd name="T47" fmla="*/ 2147483647 h 33"/>
                    <a:gd name="T48" fmla="*/ 0 w 28"/>
                    <a:gd name="T49" fmla="*/ 2147483647 h 33"/>
                    <a:gd name="T50" fmla="*/ 0 w 28"/>
                    <a:gd name="T51" fmla="*/ 2147483647 h 33"/>
                    <a:gd name="T52" fmla="*/ 0 w 28"/>
                    <a:gd name="T53" fmla="*/ 2147483647 h 33"/>
                    <a:gd name="T54" fmla="*/ 2147483647 w 28"/>
                    <a:gd name="T55" fmla="*/ 2147483647 h 33"/>
                    <a:gd name="T56" fmla="*/ 2147483647 w 28"/>
                    <a:gd name="T57" fmla="*/ 2147483647 h 33"/>
                    <a:gd name="T58" fmla="*/ 2147483647 w 28"/>
                    <a:gd name="T59" fmla="*/ 2147483647 h 33"/>
                    <a:gd name="T60" fmla="*/ 2147483647 w 28"/>
                    <a:gd name="T61" fmla="*/ 2147483647 h 33"/>
                    <a:gd name="T62" fmla="*/ 2147483647 w 28"/>
                    <a:gd name="T63" fmla="*/ 2147483647 h 33"/>
                    <a:gd name="T64" fmla="*/ 2147483647 w 28"/>
                    <a:gd name="T65" fmla="*/ 2147483647 h 33"/>
                    <a:gd name="T66" fmla="*/ 2147483647 w 28"/>
                    <a:gd name="T67" fmla="*/ 2147483647 h 33"/>
                    <a:gd name="T68" fmla="*/ 2147483647 w 28"/>
                    <a:gd name="T69" fmla="*/ 2147483647 h 33"/>
                    <a:gd name="T70" fmla="*/ 2147483647 w 28"/>
                    <a:gd name="T71" fmla="*/ 2147483647 h 33"/>
                    <a:gd name="T72" fmla="*/ 2147483647 w 28"/>
                    <a:gd name="T73" fmla="*/ 2147483647 h 33"/>
                    <a:gd name="T74" fmla="*/ 2147483647 w 28"/>
                    <a:gd name="T75" fmla="*/ 2147483647 h 33"/>
                    <a:gd name="T76" fmla="*/ 2147483647 w 28"/>
                    <a:gd name="T77" fmla="*/ 2147483647 h 33"/>
                    <a:gd name="T78" fmla="*/ 2147483647 w 28"/>
                    <a:gd name="T79" fmla="*/ 2147483647 h 33"/>
                    <a:gd name="T80" fmla="*/ 2147483647 w 28"/>
                    <a:gd name="T81" fmla="*/ 2147483647 h 33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8"/>
                    <a:gd name="T124" fmla="*/ 0 h 33"/>
                    <a:gd name="T125" fmla="*/ 28 w 28"/>
                    <a:gd name="T126" fmla="*/ 33 h 33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8" h="33">
                      <a:moveTo>
                        <a:pt x="25" y="27"/>
                      </a:moveTo>
                      <a:lnTo>
                        <a:pt x="25" y="27"/>
                      </a:lnTo>
                      <a:lnTo>
                        <a:pt x="27" y="23"/>
                      </a:lnTo>
                      <a:lnTo>
                        <a:pt x="28" y="21"/>
                      </a:lnTo>
                      <a:lnTo>
                        <a:pt x="27" y="19"/>
                      </a:lnTo>
                      <a:lnTo>
                        <a:pt x="25" y="12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5" y="3"/>
                      </a:lnTo>
                      <a:lnTo>
                        <a:pt x="25" y="2"/>
                      </a:ln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17" y="2"/>
                      </a:lnTo>
                      <a:lnTo>
                        <a:pt x="16" y="2"/>
                      </a:lnTo>
                      <a:lnTo>
                        <a:pt x="12" y="0"/>
                      </a:lnTo>
                      <a:lnTo>
                        <a:pt x="9" y="2"/>
                      </a:lnTo>
                      <a:lnTo>
                        <a:pt x="6" y="5"/>
                      </a:lnTo>
                      <a:lnTo>
                        <a:pt x="2" y="9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4" y="19"/>
                      </a:lnTo>
                      <a:lnTo>
                        <a:pt x="6" y="28"/>
                      </a:lnTo>
                      <a:lnTo>
                        <a:pt x="7" y="29"/>
                      </a:lnTo>
                      <a:lnTo>
                        <a:pt x="11" y="29"/>
                      </a:lnTo>
                      <a:lnTo>
                        <a:pt x="13" y="30"/>
                      </a:lnTo>
                      <a:lnTo>
                        <a:pt x="18" y="33"/>
                      </a:lnTo>
                      <a:lnTo>
                        <a:pt x="21" y="33"/>
                      </a:lnTo>
                      <a:lnTo>
                        <a:pt x="22" y="31"/>
                      </a:lnTo>
                      <a:lnTo>
                        <a:pt x="23" y="29"/>
                      </a:lnTo>
                      <a:lnTo>
                        <a:pt x="25" y="2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8" name="Freeform 962">
                  <a:extLst>
                    <a:ext uri="{FF2B5EF4-FFF2-40B4-BE49-F238E27FC236}">
                      <a16:creationId xmlns:a16="http://schemas.microsoft.com/office/drawing/2014/main" id="{1F970115-E413-FC4E-8A23-624755B95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906" y="2126257"/>
                  <a:ext cx="673342" cy="519435"/>
                </a:xfrm>
                <a:custGeom>
                  <a:avLst/>
                  <a:gdLst>
                    <a:gd name="T0" fmla="*/ 2147483647 w 493"/>
                    <a:gd name="T1" fmla="*/ 2147483647 h 351"/>
                    <a:gd name="T2" fmla="*/ 2147483647 w 493"/>
                    <a:gd name="T3" fmla="*/ 2147483647 h 351"/>
                    <a:gd name="T4" fmla="*/ 2147483647 w 493"/>
                    <a:gd name="T5" fmla="*/ 2147483647 h 351"/>
                    <a:gd name="T6" fmla="*/ 2147483647 w 493"/>
                    <a:gd name="T7" fmla="*/ 2147483647 h 351"/>
                    <a:gd name="T8" fmla="*/ 2147483647 w 493"/>
                    <a:gd name="T9" fmla="*/ 2147483647 h 351"/>
                    <a:gd name="T10" fmla="*/ 2147483647 w 493"/>
                    <a:gd name="T11" fmla="*/ 2147483647 h 351"/>
                    <a:gd name="T12" fmla="*/ 2147483647 w 493"/>
                    <a:gd name="T13" fmla="*/ 2147483647 h 351"/>
                    <a:gd name="T14" fmla="*/ 2147483647 w 493"/>
                    <a:gd name="T15" fmla="*/ 2147483647 h 351"/>
                    <a:gd name="T16" fmla="*/ 2147483647 w 493"/>
                    <a:gd name="T17" fmla="*/ 2147483647 h 351"/>
                    <a:gd name="T18" fmla="*/ 2147483647 w 493"/>
                    <a:gd name="T19" fmla="*/ 2147483647 h 351"/>
                    <a:gd name="T20" fmla="*/ 2147483647 w 493"/>
                    <a:gd name="T21" fmla="*/ 2147483647 h 351"/>
                    <a:gd name="T22" fmla="*/ 2147483647 w 493"/>
                    <a:gd name="T23" fmla="*/ 2147483647 h 351"/>
                    <a:gd name="T24" fmla="*/ 2147483647 w 493"/>
                    <a:gd name="T25" fmla="*/ 2147483647 h 351"/>
                    <a:gd name="T26" fmla="*/ 2147483647 w 493"/>
                    <a:gd name="T27" fmla="*/ 2147483647 h 351"/>
                    <a:gd name="T28" fmla="*/ 2147483647 w 493"/>
                    <a:gd name="T29" fmla="*/ 2147483647 h 351"/>
                    <a:gd name="T30" fmla="*/ 2147483647 w 493"/>
                    <a:gd name="T31" fmla="*/ 2147483647 h 351"/>
                    <a:gd name="T32" fmla="*/ 2147483647 w 493"/>
                    <a:gd name="T33" fmla="*/ 2147483647 h 351"/>
                    <a:gd name="T34" fmla="*/ 2147483647 w 493"/>
                    <a:gd name="T35" fmla="*/ 2147483647 h 351"/>
                    <a:gd name="T36" fmla="*/ 2147483647 w 493"/>
                    <a:gd name="T37" fmla="*/ 2147483647 h 351"/>
                    <a:gd name="T38" fmla="*/ 2147483647 w 493"/>
                    <a:gd name="T39" fmla="*/ 2147483647 h 351"/>
                    <a:gd name="T40" fmla="*/ 2147483647 w 493"/>
                    <a:gd name="T41" fmla="*/ 2147483647 h 351"/>
                    <a:gd name="T42" fmla="*/ 2147483647 w 493"/>
                    <a:gd name="T43" fmla="*/ 2147483647 h 351"/>
                    <a:gd name="T44" fmla="*/ 2147483647 w 493"/>
                    <a:gd name="T45" fmla="*/ 2147483647 h 351"/>
                    <a:gd name="T46" fmla="*/ 2147483647 w 493"/>
                    <a:gd name="T47" fmla="*/ 2147483647 h 351"/>
                    <a:gd name="T48" fmla="*/ 2147483647 w 493"/>
                    <a:gd name="T49" fmla="*/ 2147483647 h 351"/>
                    <a:gd name="T50" fmla="*/ 2147483647 w 493"/>
                    <a:gd name="T51" fmla="*/ 2147483647 h 351"/>
                    <a:gd name="T52" fmla="*/ 2147483647 w 493"/>
                    <a:gd name="T53" fmla="*/ 2147483647 h 351"/>
                    <a:gd name="T54" fmla="*/ 2147483647 w 493"/>
                    <a:gd name="T55" fmla="*/ 2147483647 h 351"/>
                    <a:gd name="T56" fmla="*/ 2147483647 w 493"/>
                    <a:gd name="T57" fmla="*/ 2147483647 h 351"/>
                    <a:gd name="T58" fmla="*/ 2147483647 w 493"/>
                    <a:gd name="T59" fmla="*/ 2147483647 h 351"/>
                    <a:gd name="T60" fmla="*/ 2147483647 w 493"/>
                    <a:gd name="T61" fmla="*/ 2147483647 h 351"/>
                    <a:gd name="T62" fmla="*/ 2147483647 w 493"/>
                    <a:gd name="T63" fmla="*/ 2147483647 h 351"/>
                    <a:gd name="T64" fmla="*/ 2147483647 w 493"/>
                    <a:gd name="T65" fmla="*/ 2147483647 h 351"/>
                    <a:gd name="T66" fmla="*/ 2147483647 w 493"/>
                    <a:gd name="T67" fmla="*/ 2147483647 h 351"/>
                    <a:gd name="T68" fmla="*/ 2147483647 w 493"/>
                    <a:gd name="T69" fmla="*/ 2147483647 h 351"/>
                    <a:gd name="T70" fmla="*/ 2147483647 w 493"/>
                    <a:gd name="T71" fmla="*/ 2147483647 h 351"/>
                    <a:gd name="T72" fmla="*/ 2147483647 w 493"/>
                    <a:gd name="T73" fmla="*/ 2147483647 h 351"/>
                    <a:gd name="T74" fmla="*/ 2147483647 w 493"/>
                    <a:gd name="T75" fmla="*/ 2147483647 h 351"/>
                    <a:gd name="T76" fmla="*/ 2147483647 w 493"/>
                    <a:gd name="T77" fmla="*/ 2147483647 h 351"/>
                    <a:gd name="T78" fmla="*/ 2147483647 w 493"/>
                    <a:gd name="T79" fmla="*/ 2147483647 h 351"/>
                    <a:gd name="T80" fmla="*/ 2147483647 w 493"/>
                    <a:gd name="T81" fmla="*/ 2147483647 h 351"/>
                    <a:gd name="T82" fmla="*/ 2147483647 w 493"/>
                    <a:gd name="T83" fmla="*/ 2147483647 h 351"/>
                    <a:gd name="T84" fmla="*/ 2147483647 w 493"/>
                    <a:gd name="T85" fmla="*/ 2147483647 h 351"/>
                    <a:gd name="T86" fmla="*/ 2147483647 w 493"/>
                    <a:gd name="T87" fmla="*/ 2147483647 h 351"/>
                    <a:gd name="T88" fmla="*/ 2147483647 w 493"/>
                    <a:gd name="T89" fmla="*/ 2147483647 h 351"/>
                    <a:gd name="T90" fmla="*/ 2147483647 w 493"/>
                    <a:gd name="T91" fmla="*/ 2147483647 h 351"/>
                    <a:gd name="T92" fmla="*/ 2147483647 w 493"/>
                    <a:gd name="T93" fmla="*/ 2147483647 h 351"/>
                    <a:gd name="T94" fmla="*/ 2147483647 w 493"/>
                    <a:gd name="T95" fmla="*/ 2147483647 h 351"/>
                    <a:gd name="T96" fmla="*/ 2147483647 w 493"/>
                    <a:gd name="T97" fmla="*/ 2147483647 h 351"/>
                    <a:gd name="T98" fmla="*/ 2147483647 w 493"/>
                    <a:gd name="T99" fmla="*/ 2147483647 h 351"/>
                    <a:gd name="T100" fmla="*/ 2147483647 w 493"/>
                    <a:gd name="T101" fmla="*/ 2147483647 h 351"/>
                    <a:gd name="T102" fmla="*/ 2147483647 w 493"/>
                    <a:gd name="T103" fmla="*/ 2147483647 h 351"/>
                    <a:gd name="T104" fmla="*/ 2147483647 w 493"/>
                    <a:gd name="T105" fmla="*/ 2147483647 h 351"/>
                    <a:gd name="T106" fmla="*/ 2147483647 w 493"/>
                    <a:gd name="T107" fmla="*/ 2147483647 h 351"/>
                    <a:gd name="T108" fmla="*/ 2147483647 w 493"/>
                    <a:gd name="T109" fmla="*/ 2147483647 h 351"/>
                    <a:gd name="T110" fmla="*/ 2147483647 w 493"/>
                    <a:gd name="T111" fmla="*/ 2147483647 h 351"/>
                    <a:gd name="T112" fmla="*/ 2147483647 w 493"/>
                    <a:gd name="T113" fmla="*/ 2147483647 h 351"/>
                    <a:gd name="T114" fmla="*/ 2147483647 w 493"/>
                    <a:gd name="T115" fmla="*/ 2147483647 h 351"/>
                    <a:gd name="T116" fmla="*/ 2147483647 w 493"/>
                    <a:gd name="T117" fmla="*/ 2147483647 h 351"/>
                    <a:gd name="T118" fmla="*/ 2147483647 w 493"/>
                    <a:gd name="T119" fmla="*/ 2147483647 h 351"/>
                    <a:gd name="T120" fmla="*/ 2147483647 w 493"/>
                    <a:gd name="T121" fmla="*/ 2147483647 h 351"/>
                    <a:gd name="T122" fmla="*/ 2147483647 w 493"/>
                    <a:gd name="T123" fmla="*/ 2147483647 h 351"/>
                    <a:gd name="T124" fmla="*/ 2147483647 w 493"/>
                    <a:gd name="T125" fmla="*/ 2147483647 h 351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93"/>
                    <a:gd name="T190" fmla="*/ 0 h 351"/>
                    <a:gd name="T191" fmla="*/ 493 w 493"/>
                    <a:gd name="T192" fmla="*/ 351 h 351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93" h="351">
                      <a:moveTo>
                        <a:pt x="441" y="306"/>
                      </a:moveTo>
                      <a:lnTo>
                        <a:pt x="441" y="306"/>
                      </a:lnTo>
                      <a:lnTo>
                        <a:pt x="436" y="298"/>
                      </a:lnTo>
                      <a:lnTo>
                        <a:pt x="432" y="295"/>
                      </a:lnTo>
                      <a:lnTo>
                        <a:pt x="428" y="293"/>
                      </a:lnTo>
                      <a:lnTo>
                        <a:pt x="427" y="292"/>
                      </a:lnTo>
                      <a:lnTo>
                        <a:pt x="425" y="292"/>
                      </a:lnTo>
                      <a:lnTo>
                        <a:pt x="424" y="292"/>
                      </a:lnTo>
                      <a:lnTo>
                        <a:pt x="423" y="294"/>
                      </a:lnTo>
                      <a:lnTo>
                        <a:pt x="424" y="296"/>
                      </a:lnTo>
                      <a:lnTo>
                        <a:pt x="425" y="299"/>
                      </a:lnTo>
                      <a:lnTo>
                        <a:pt x="427" y="300"/>
                      </a:lnTo>
                      <a:lnTo>
                        <a:pt x="428" y="302"/>
                      </a:lnTo>
                      <a:lnTo>
                        <a:pt x="429" y="306"/>
                      </a:lnTo>
                      <a:lnTo>
                        <a:pt x="430" y="310"/>
                      </a:lnTo>
                      <a:lnTo>
                        <a:pt x="434" y="317"/>
                      </a:lnTo>
                      <a:lnTo>
                        <a:pt x="434" y="319"/>
                      </a:lnTo>
                      <a:lnTo>
                        <a:pt x="433" y="323"/>
                      </a:lnTo>
                      <a:lnTo>
                        <a:pt x="432" y="325"/>
                      </a:lnTo>
                      <a:lnTo>
                        <a:pt x="430" y="328"/>
                      </a:lnTo>
                      <a:lnTo>
                        <a:pt x="430" y="330"/>
                      </a:lnTo>
                      <a:lnTo>
                        <a:pt x="428" y="331"/>
                      </a:lnTo>
                      <a:lnTo>
                        <a:pt x="427" y="330"/>
                      </a:lnTo>
                      <a:lnTo>
                        <a:pt x="424" y="330"/>
                      </a:lnTo>
                      <a:lnTo>
                        <a:pt x="422" y="325"/>
                      </a:lnTo>
                      <a:lnTo>
                        <a:pt x="420" y="321"/>
                      </a:lnTo>
                      <a:lnTo>
                        <a:pt x="418" y="317"/>
                      </a:lnTo>
                      <a:lnTo>
                        <a:pt x="415" y="313"/>
                      </a:lnTo>
                      <a:lnTo>
                        <a:pt x="413" y="312"/>
                      </a:lnTo>
                      <a:lnTo>
                        <a:pt x="411" y="312"/>
                      </a:lnTo>
                      <a:lnTo>
                        <a:pt x="406" y="314"/>
                      </a:lnTo>
                      <a:lnTo>
                        <a:pt x="405" y="314"/>
                      </a:lnTo>
                      <a:lnTo>
                        <a:pt x="399" y="307"/>
                      </a:lnTo>
                      <a:lnTo>
                        <a:pt x="391" y="302"/>
                      </a:lnTo>
                      <a:lnTo>
                        <a:pt x="383" y="299"/>
                      </a:lnTo>
                      <a:lnTo>
                        <a:pt x="375" y="296"/>
                      </a:lnTo>
                      <a:lnTo>
                        <a:pt x="373" y="295"/>
                      </a:lnTo>
                      <a:lnTo>
                        <a:pt x="372" y="294"/>
                      </a:lnTo>
                      <a:lnTo>
                        <a:pt x="369" y="293"/>
                      </a:lnTo>
                      <a:lnTo>
                        <a:pt x="368" y="292"/>
                      </a:lnTo>
                      <a:lnTo>
                        <a:pt x="364" y="294"/>
                      </a:lnTo>
                      <a:lnTo>
                        <a:pt x="364" y="295"/>
                      </a:lnTo>
                      <a:lnTo>
                        <a:pt x="366" y="296"/>
                      </a:lnTo>
                      <a:lnTo>
                        <a:pt x="368" y="300"/>
                      </a:lnTo>
                      <a:lnTo>
                        <a:pt x="371" y="302"/>
                      </a:lnTo>
                      <a:lnTo>
                        <a:pt x="372" y="306"/>
                      </a:lnTo>
                      <a:lnTo>
                        <a:pt x="373" y="311"/>
                      </a:lnTo>
                      <a:lnTo>
                        <a:pt x="373" y="312"/>
                      </a:lnTo>
                      <a:lnTo>
                        <a:pt x="375" y="313"/>
                      </a:lnTo>
                      <a:lnTo>
                        <a:pt x="377" y="314"/>
                      </a:lnTo>
                      <a:lnTo>
                        <a:pt x="381" y="314"/>
                      </a:lnTo>
                      <a:lnTo>
                        <a:pt x="382" y="317"/>
                      </a:lnTo>
                      <a:lnTo>
                        <a:pt x="385" y="319"/>
                      </a:lnTo>
                      <a:lnTo>
                        <a:pt x="386" y="321"/>
                      </a:lnTo>
                      <a:lnTo>
                        <a:pt x="391" y="324"/>
                      </a:lnTo>
                      <a:lnTo>
                        <a:pt x="397" y="326"/>
                      </a:lnTo>
                      <a:lnTo>
                        <a:pt x="402" y="328"/>
                      </a:lnTo>
                      <a:lnTo>
                        <a:pt x="405" y="332"/>
                      </a:lnTo>
                      <a:lnTo>
                        <a:pt x="410" y="336"/>
                      </a:lnTo>
                      <a:lnTo>
                        <a:pt x="413" y="342"/>
                      </a:lnTo>
                      <a:lnTo>
                        <a:pt x="414" y="344"/>
                      </a:lnTo>
                      <a:lnTo>
                        <a:pt x="414" y="346"/>
                      </a:lnTo>
                      <a:lnTo>
                        <a:pt x="414" y="349"/>
                      </a:lnTo>
                      <a:lnTo>
                        <a:pt x="411" y="351"/>
                      </a:lnTo>
                      <a:lnTo>
                        <a:pt x="410" y="350"/>
                      </a:lnTo>
                      <a:lnTo>
                        <a:pt x="410" y="349"/>
                      </a:lnTo>
                      <a:lnTo>
                        <a:pt x="410" y="346"/>
                      </a:lnTo>
                      <a:lnTo>
                        <a:pt x="409" y="345"/>
                      </a:lnTo>
                      <a:lnTo>
                        <a:pt x="406" y="345"/>
                      </a:lnTo>
                      <a:lnTo>
                        <a:pt x="402" y="345"/>
                      </a:lnTo>
                      <a:lnTo>
                        <a:pt x="400" y="345"/>
                      </a:lnTo>
                      <a:lnTo>
                        <a:pt x="399" y="344"/>
                      </a:lnTo>
                      <a:lnTo>
                        <a:pt x="394" y="339"/>
                      </a:lnTo>
                      <a:lnTo>
                        <a:pt x="391" y="337"/>
                      </a:lnTo>
                      <a:lnTo>
                        <a:pt x="389" y="336"/>
                      </a:lnTo>
                      <a:lnTo>
                        <a:pt x="386" y="336"/>
                      </a:lnTo>
                      <a:lnTo>
                        <a:pt x="385" y="336"/>
                      </a:lnTo>
                      <a:lnTo>
                        <a:pt x="382" y="336"/>
                      </a:lnTo>
                      <a:lnTo>
                        <a:pt x="380" y="336"/>
                      </a:lnTo>
                      <a:lnTo>
                        <a:pt x="377" y="333"/>
                      </a:lnTo>
                      <a:lnTo>
                        <a:pt x="375" y="331"/>
                      </a:lnTo>
                      <a:lnTo>
                        <a:pt x="371" y="331"/>
                      </a:lnTo>
                      <a:lnTo>
                        <a:pt x="368" y="332"/>
                      </a:lnTo>
                      <a:lnTo>
                        <a:pt x="364" y="333"/>
                      </a:lnTo>
                      <a:lnTo>
                        <a:pt x="362" y="333"/>
                      </a:lnTo>
                      <a:lnTo>
                        <a:pt x="356" y="330"/>
                      </a:lnTo>
                      <a:lnTo>
                        <a:pt x="352" y="327"/>
                      </a:lnTo>
                      <a:lnTo>
                        <a:pt x="349" y="325"/>
                      </a:lnTo>
                      <a:lnTo>
                        <a:pt x="348" y="324"/>
                      </a:lnTo>
                      <a:lnTo>
                        <a:pt x="345" y="324"/>
                      </a:lnTo>
                      <a:lnTo>
                        <a:pt x="333" y="323"/>
                      </a:lnTo>
                      <a:lnTo>
                        <a:pt x="331" y="321"/>
                      </a:lnTo>
                      <a:lnTo>
                        <a:pt x="329" y="319"/>
                      </a:lnTo>
                      <a:lnTo>
                        <a:pt x="328" y="317"/>
                      </a:lnTo>
                      <a:lnTo>
                        <a:pt x="325" y="315"/>
                      </a:lnTo>
                      <a:lnTo>
                        <a:pt x="321" y="314"/>
                      </a:lnTo>
                      <a:lnTo>
                        <a:pt x="316" y="313"/>
                      </a:lnTo>
                      <a:lnTo>
                        <a:pt x="314" y="313"/>
                      </a:lnTo>
                      <a:lnTo>
                        <a:pt x="312" y="311"/>
                      </a:lnTo>
                      <a:lnTo>
                        <a:pt x="312" y="310"/>
                      </a:lnTo>
                      <a:lnTo>
                        <a:pt x="314" y="307"/>
                      </a:lnTo>
                      <a:lnTo>
                        <a:pt x="319" y="305"/>
                      </a:lnTo>
                      <a:lnTo>
                        <a:pt x="321" y="302"/>
                      </a:lnTo>
                      <a:lnTo>
                        <a:pt x="320" y="301"/>
                      </a:lnTo>
                      <a:lnTo>
                        <a:pt x="315" y="299"/>
                      </a:lnTo>
                      <a:lnTo>
                        <a:pt x="310" y="295"/>
                      </a:lnTo>
                      <a:lnTo>
                        <a:pt x="307" y="294"/>
                      </a:lnTo>
                      <a:lnTo>
                        <a:pt x="305" y="295"/>
                      </a:lnTo>
                      <a:lnTo>
                        <a:pt x="302" y="299"/>
                      </a:lnTo>
                      <a:lnTo>
                        <a:pt x="301" y="299"/>
                      </a:lnTo>
                      <a:lnTo>
                        <a:pt x="298" y="299"/>
                      </a:lnTo>
                      <a:lnTo>
                        <a:pt x="296" y="298"/>
                      </a:lnTo>
                      <a:lnTo>
                        <a:pt x="293" y="296"/>
                      </a:lnTo>
                      <a:lnTo>
                        <a:pt x="291" y="292"/>
                      </a:lnTo>
                      <a:lnTo>
                        <a:pt x="288" y="285"/>
                      </a:lnTo>
                      <a:lnTo>
                        <a:pt x="284" y="279"/>
                      </a:lnTo>
                      <a:lnTo>
                        <a:pt x="282" y="276"/>
                      </a:lnTo>
                      <a:lnTo>
                        <a:pt x="278" y="274"/>
                      </a:lnTo>
                      <a:lnTo>
                        <a:pt x="274" y="273"/>
                      </a:lnTo>
                      <a:lnTo>
                        <a:pt x="270" y="274"/>
                      </a:lnTo>
                      <a:lnTo>
                        <a:pt x="268" y="273"/>
                      </a:lnTo>
                      <a:lnTo>
                        <a:pt x="267" y="272"/>
                      </a:lnTo>
                      <a:lnTo>
                        <a:pt x="264" y="266"/>
                      </a:lnTo>
                      <a:lnTo>
                        <a:pt x="263" y="266"/>
                      </a:lnTo>
                      <a:lnTo>
                        <a:pt x="255" y="269"/>
                      </a:lnTo>
                      <a:lnTo>
                        <a:pt x="249" y="272"/>
                      </a:lnTo>
                      <a:lnTo>
                        <a:pt x="239" y="274"/>
                      </a:lnTo>
                      <a:lnTo>
                        <a:pt x="234" y="274"/>
                      </a:lnTo>
                      <a:lnTo>
                        <a:pt x="229" y="273"/>
                      </a:lnTo>
                      <a:lnTo>
                        <a:pt x="226" y="273"/>
                      </a:lnTo>
                      <a:lnTo>
                        <a:pt x="225" y="275"/>
                      </a:lnTo>
                      <a:lnTo>
                        <a:pt x="225" y="281"/>
                      </a:lnTo>
                      <a:lnTo>
                        <a:pt x="223" y="282"/>
                      </a:lnTo>
                      <a:lnTo>
                        <a:pt x="218" y="282"/>
                      </a:lnTo>
                      <a:lnTo>
                        <a:pt x="215" y="281"/>
                      </a:lnTo>
                      <a:lnTo>
                        <a:pt x="207" y="275"/>
                      </a:lnTo>
                      <a:lnTo>
                        <a:pt x="202" y="270"/>
                      </a:lnTo>
                      <a:lnTo>
                        <a:pt x="199" y="263"/>
                      </a:lnTo>
                      <a:lnTo>
                        <a:pt x="198" y="261"/>
                      </a:lnTo>
                      <a:lnTo>
                        <a:pt x="198" y="259"/>
                      </a:lnTo>
                      <a:lnTo>
                        <a:pt x="199" y="255"/>
                      </a:lnTo>
                      <a:lnTo>
                        <a:pt x="201" y="254"/>
                      </a:lnTo>
                      <a:lnTo>
                        <a:pt x="206" y="249"/>
                      </a:lnTo>
                      <a:lnTo>
                        <a:pt x="212" y="247"/>
                      </a:lnTo>
                      <a:lnTo>
                        <a:pt x="211" y="244"/>
                      </a:lnTo>
                      <a:lnTo>
                        <a:pt x="208" y="242"/>
                      </a:lnTo>
                      <a:lnTo>
                        <a:pt x="206" y="240"/>
                      </a:lnTo>
                      <a:lnTo>
                        <a:pt x="203" y="238"/>
                      </a:lnTo>
                      <a:lnTo>
                        <a:pt x="202" y="237"/>
                      </a:lnTo>
                      <a:lnTo>
                        <a:pt x="203" y="235"/>
                      </a:lnTo>
                      <a:lnTo>
                        <a:pt x="204" y="234"/>
                      </a:lnTo>
                      <a:lnTo>
                        <a:pt x="206" y="232"/>
                      </a:lnTo>
                      <a:lnTo>
                        <a:pt x="209" y="232"/>
                      </a:lnTo>
                      <a:lnTo>
                        <a:pt x="213" y="234"/>
                      </a:lnTo>
                      <a:lnTo>
                        <a:pt x="217" y="236"/>
                      </a:lnTo>
                      <a:lnTo>
                        <a:pt x="221" y="241"/>
                      </a:lnTo>
                      <a:lnTo>
                        <a:pt x="226" y="244"/>
                      </a:lnTo>
                      <a:lnTo>
                        <a:pt x="231" y="245"/>
                      </a:lnTo>
                      <a:lnTo>
                        <a:pt x="239" y="245"/>
                      </a:lnTo>
                      <a:lnTo>
                        <a:pt x="246" y="244"/>
                      </a:lnTo>
                      <a:lnTo>
                        <a:pt x="255" y="244"/>
                      </a:lnTo>
                      <a:lnTo>
                        <a:pt x="259" y="244"/>
                      </a:lnTo>
                      <a:lnTo>
                        <a:pt x="263" y="243"/>
                      </a:lnTo>
                      <a:lnTo>
                        <a:pt x="265" y="241"/>
                      </a:lnTo>
                      <a:lnTo>
                        <a:pt x="267" y="238"/>
                      </a:lnTo>
                      <a:lnTo>
                        <a:pt x="265" y="236"/>
                      </a:lnTo>
                      <a:lnTo>
                        <a:pt x="263" y="234"/>
                      </a:lnTo>
                      <a:lnTo>
                        <a:pt x="259" y="230"/>
                      </a:lnTo>
                      <a:lnTo>
                        <a:pt x="256" y="227"/>
                      </a:lnTo>
                      <a:lnTo>
                        <a:pt x="254" y="224"/>
                      </a:lnTo>
                      <a:lnTo>
                        <a:pt x="251" y="222"/>
                      </a:lnTo>
                      <a:lnTo>
                        <a:pt x="250" y="221"/>
                      </a:lnTo>
                      <a:lnTo>
                        <a:pt x="250" y="219"/>
                      </a:lnTo>
                      <a:lnTo>
                        <a:pt x="259" y="213"/>
                      </a:lnTo>
                      <a:lnTo>
                        <a:pt x="263" y="210"/>
                      </a:lnTo>
                      <a:lnTo>
                        <a:pt x="267" y="206"/>
                      </a:lnTo>
                      <a:lnTo>
                        <a:pt x="269" y="205"/>
                      </a:lnTo>
                      <a:lnTo>
                        <a:pt x="270" y="205"/>
                      </a:lnTo>
                      <a:lnTo>
                        <a:pt x="274" y="208"/>
                      </a:lnTo>
                      <a:lnTo>
                        <a:pt x="278" y="208"/>
                      </a:lnTo>
                      <a:lnTo>
                        <a:pt x="282" y="209"/>
                      </a:lnTo>
                      <a:lnTo>
                        <a:pt x="286" y="210"/>
                      </a:lnTo>
                      <a:lnTo>
                        <a:pt x="288" y="211"/>
                      </a:lnTo>
                      <a:lnTo>
                        <a:pt x="292" y="212"/>
                      </a:lnTo>
                      <a:lnTo>
                        <a:pt x="300" y="212"/>
                      </a:lnTo>
                      <a:lnTo>
                        <a:pt x="302" y="213"/>
                      </a:lnTo>
                      <a:lnTo>
                        <a:pt x="303" y="215"/>
                      </a:lnTo>
                      <a:lnTo>
                        <a:pt x="303" y="218"/>
                      </a:lnTo>
                      <a:lnTo>
                        <a:pt x="305" y="222"/>
                      </a:lnTo>
                      <a:lnTo>
                        <a:pt x="305" y="223"/>
                      </a:lnTo>
                      <a:lnTo>
                        <a:pt x="306" y="223"/>
                      </a:lnTo>
                      <a:lnTo>
                        <a:pt x="311" y="223"/>
                      </a:lnTo>
                      <a:lnTo>
                        <a:pt x="316" y="222"/>
                      </a:lnTo>
                      <a:lnTo>
                        <a:pt x="320" y="219"/>
                      </a:lnTo>
                      <a:lnTo>
                        <a:pt x="325" y="217"/>
                      </a:lnTo>
                      <a:lnTo>
                        <a:pt x="330" y="216"/>
                      </a:lnTo>
                      <a:lnTo>
                        <a:pt x="335" y="213"/>
                      </a:lnTo>
                      <a:lnTo>
                        <a:pt x="339" y="210"/>
                      </a:lnTo>
                      <a:lnTo>
                        <a:pt x="339" y="208"/>
                      </a:lnTo>
                      <a:lnTo>
                        <a:pt x="338" y="206"/>
                      </a:lnTo>
                      <a:lnTo>
                        <a:pt x="329" y="200"/>
                      </a:lnTo>
                      <a:lnTo>
                        <a:pt x="324" y="199"/>
                      </a:lnTo>
                      <a:lnTo>
                        <a:pt x="319" y="198"/>
                      </a:lnTo>
                      <a:lnTo>
                        <a:pt x="316" y="197"/>
                      </a:lnTo>
                      <a:lnTo>
                        <a:pt x="314" y="196"/>
                      </a:lnTo>
                      <a:lnTo>
                        <a:pt x="310" y="191"/>
                      </a:lnTo>
                      <a:lnTo>
                        <a:pt x="306" y="186"/>
                      </a:lnTo>
                      <a:lnTo>
                        <a:pt x="302" y="183"/>
                      </a:lnTo>
                      <a:lnTo>
                        <a:pt x="301" y="183"/>
                      </a:lnTo>
                      <a:lnTo>
                        <a:pt x="298" y="183"/>
                      </a:lnTo>
                      <a:lnTo>
                        <a:pt x="295" y="185"/>
                      </a:lnTo>
                      <a:lnTo>
                        <a:pt x="295" y="187"/>
                      </a:lnTo>
                      <a:lnTo>
                        <a:pt x="296" y="190"/>
                      </a:lnTo>
                      <a:lnTo>
                        <a:pt x="297" y="193"/>
                      </a:lnTo>
                      <a:lnTo>
                        <a:pt x="297" y="196"/>
                      </a:lnTo>
                      <a:lnTo>
                        <a:pt x="296" y="199"/>
                      </a:lnTo>
                      <a:lnTo>
                        <a:pt x="292" y="200"/>
                      </a:lnTo>
                      <a:lnTo>
                        <a:pt x="282" y="199"/>
                      </a:lnTo>
                      <a:lnTo>
                        <a:pt x="270" y="198"/>
                      </a:lnTo>
                      <a:lnTo>
                        <a:pt x="268" y="198"/>
                      </a:lnTo>
                      <a:lnTo>
                        <a:pt x="267" y="196"/>
                      </a:lnTo>
                      <a:lnTo>
                        <a:pt x="265" y="193"/>
                      </a:lnTo>
                      <a:lnTo>
                        <a:pt x="267" y="191"/>
                      </a:lnTo>
                      <a:lnTo>
                        <a:pt x="270" y="186"/>
                      </a:lnTo>
                      <a:lnTo>
                        <a:pt x="272" y="181"/>
                      </a:lnTo>
                      <a:lnTo>
                        <a:pt x="272" y="177"/>
                      </a:lnTo>
                      <a:lnTo>
                        <a:pt x="270" y="173"/>
                      </a:lnTo>
                      <a:lnTo>
                        <a:pt x="268" y="168"/>
                      </a:lnTo>
                      <a:lnTo>
                        <a:pt x="264" y="165"/>
                      </a:lnTo>
                      <a:lnTo>
                        <a:pt x="256" y="159"/>
                      </a:lnTo>
                      <a:lnTo>
                        <a:pt x="254" y="157"/>
                      </a:lnTo>
                      <a:lnTo>
                        <a:pt x="253" y="154"/>
                      </a:lnTo>
                      <a:lnTo>
                        <a:pt x="250" y="153"/>
                      </a:lnTo>
                      <a:lnTo>
                        <a:pt x="248" y="153"/>
                      </a:lnTo>
                      <a:lnTo>
                        <a:pt x="245" y="153"/>
                      </a:lnTo>
                      <a:lnTo>
                        <a:pt x="244" y="153"/>
                      </a:lnTo>
                      <a:lnTo>
                        <a:pt x="244" y="151"/>
                      </a:lnTo>
                      <a:lnTo>
                        <a:pt x="244" y="149"/>
                      </a:lnTo>
                      <a:lnTo>
                        <a:pt x="246" y="146"/>
                      </a:lnTo>
                      <a:lnTo>
                        <a:pt x="246" y="145"/>
                      </a:lnTo>
                      <a:lnTo>
                        <a:pt x="240" y="146"/>
                      </a:lnTo>
                      <a:lnTo>
                        <a:pt x="235" y="147"/>
                      </a:lnTo>
                      <a:lnTo>
                        <a:pt x="229" y="149"/>
                      </a:lnTo>
                      <a:lnTo>
                        <a:pt x="223" y="153"/>
                      </a:lnTo>
                      <a:lnTo>
                        <a:pt x="222" y="153"/>
                      </a:lnTo>
                      <a:lnTo>
                        <a:pt x="220" y="153"/>
                      </a:lnTo>
                      <a:lnTo>
                        <a:pt x="218" y="152"/>
                      </a:lnTo>
                      <a:lnTo>
                        <a:pt x="218" y="149"/>
                      </a:lnTo>
                      <a:lnTo>
                        <a:pt x="223" y="145"/>
                      </a:lnTo>
                      <a:lnTo>
                        <a:pt x="225" y="142"/>
                      </a:lnTo>
                      <a:lnTo>
                        <a:pt x="223" y="141"/>
                      </a:lnTo>
                      <a:lnTo>
                        <a:pt x="222" y="140"/>
                      </a:lnTo>
                      <a:lnTo>
                        <a:pt x="217" y="139"/>
                      </a:lnTo>
                      <a:lnTo>
                        <a:pt x="212" y="136"/>
                      </a:lnTo>
                      <a:lnTo>
                        <a:pt x="208" y="134"/>
                      </a:lnTo>
                      <a:lnTo>
                        <a:pt x="206" y="130"/>
                      </a:lnTo>
                      <a:lnTo>
                        <a:pt x="201" y="122"/>
                      </a:lnTo>
                      <a:lnTo>
                        <a:pt x="197" y="114"/>
                      </a:lnTo>
                      <a:lnTo>
                        <a:pt x="196" y="113"/>
                      </a:lnTo>
                      <a:lnTo>
                        <a:pt x="193" y="112"/>
                      </a:lnTo>
                      <a:lnTo>
                        <a:pt x="187" y="110"/>
                      </a:lnTo>
                      <a:lnTo>
                        <a:pt x="183" y="107"/>
                      </a:lnTo>
                      <a:lnTo>
                        <a:pt x="180" y="103"/>
                      </a:lnTo>
                      <a:lnTo>
                        <a:pt x="178" y="100"/>
                      </a:lnTo>
                      <a:lnTo>
                        <a:pt x="176" y="100"/>
                      </a:lnTo>
                      <a:lnTo>
                        <a:pt x="174" y="101"/>
                      </a:lnTo>
                      <a:lnTo>
                        <a:pt x="173" y="103"/>
                      </a:lnTo>
                      <a:lnTo>
                        <a:pt x="173" y="106"/>
                      </a:lnTo>
                      <a:lnTo>
                        <a:pt x="175" y="110"/>
                      </a:lnTo>
                      <a:lnTo>
                        <a:pt x="179" y="115"/>
                      </a:lnTo>
                      <a:lnTo>
                        <a:pt x="182" y="120"/>
                      </a:lnTo>
                      <a:lnTo>
                        <a:pt x="182" y="122"/>
                      </a:lnTo>
                      <a:lnTo>
                        <a:pt x="180" y="123"/>
                      </a:lnTo>
                      <a:lnTo>
                        <a:pt x="175" y="123"/>
                      </a:lnTo>
                      <a:lnTo>
                        <a:pt x="168" y="122"/>
                      </a:lnTo>
                      <a:lnTo>
                        <a:pt x="165" y="122"/>
                      </a:lnTo>
                      <a:lnTo>
                        <a:pt x="162" y="123"/>
                      </a:lnTo>
                      <a:lnTo>
                        <a:pt x="160" y="126"/>
                      </a:lnTo>
                      <a:lnTo>
                        <a:pt x="157" y="128"/>
                      </a:lnTo>
                      <a:lnTo>
                        <a:pt x="154" y="128"/>
                      </a:lnTo>
                      <a:lnTo>
                        <a:pt x="151" y="128"/>
                      </a:lnTo>
                      <a:lnTo>
                        <a:pt x="149" y="127"/>
                      </a:lnTo>
                      <a:lnTo>
                        <a:pt x="147" y="125"/>
                      </a:lnTo>
                      <a:lnTo>
                        <a:pt x="143" y="121"/>
                      </a:lnTo>
                      <a:lnTo>
                        <a:pt x="140" y="120"/>
                      </a:lnTo>
                      <a:lnTo>
                        <a:pt x="136" y="119"/>
                      </a:lnTo>
                      <a:lnTo>
                        <a:pt x="132" y="120"/>
                      </a:lnTo>
                      <a:lnTo>
                        <a:pt x="129" y="122"/>
                      </a:lnTo>
                      <a:lnTo>
                        <a:pt x="127" y="123"/>
                      </a:lnTo>
                      <a:lnTo>
                        <a:pt x="121" y="123"/>
                      </a:lnTo>
                      <a:lnTo>
                        <a:pt x="114" y="121"/>
                      </a:lnTo>
                      <a:lnTo>
                        <a:pt x="108" y="119"/>
                      </a:lnTo>
                      <a:lnTo>
                        <a:pt x="102" y="117"/>
                      </a:lnTo>
                      <a:lnTo>
                        <a:pt x="96" y="115"/>
                      </a:lnTo>
                      <a:lnTo>
                        <a:pt x="93" y="115"/>
                      </a:lnTo>
                      <a:lnTo>
                        <a:pt x="82" y="110"/>
                      </a:lnTo>
                      <a:lnTo>
                        <a:pt x="80" y="110"/>
                      </a:lnTo>
                      <a:lnTo>
                        <a:pt x="77" y="112"/>
                      </a:lnTo>
                      <a:lnTo>
                        <a:pt x="74" y="115"/>
                      </a:lnTo>
                      <a:lnTo>
                        <a:pt x="69" y="117"/>
                      </a:lnTo>
                      <a:lnTo>
                        <a:pt x="65" y="116"/>
                      </a:lnTo>
                      <a:lnTo>
                        <a:pt x="60" y="114"/>
                      </a:lnTo>
                      <a:lnTo>
                        <a:pt x="51" y="108"/>
                      </a:lnTo>
                      <a:lnTo>
                        <a:pt x="46" y="104"/>
                      </a:lnTo>
                      <a:lnTo>
                        <a:pt x="42" y="102"/>
                      </a:lnTo>
                      <a:lnTo>
                        <a:pt x="37" y="101"/>
                      </a:lnTo>
                      <a:lnTo>
                        <a:pt x="33" y="102"/>
                      </a:lnTo>
                      <a:lnTo>
                        <a:pt x="28" y="102"/>
                      </a:lnTo>
                      <a:lnTo>
                        <a:pt x="23" y="100"/>
                      </a:lnTo>
                      <a:lnTo>
                        <a:pt x="15" y="94"/>
                      </a:lnTo>
                      <a:lnTo>
                        <a:pt x="11" y="91"/>
                      </a:lnTo>
                      <a:lnTo>
                        <a:pt x="6" y="89"/>
                      </a:lnTo>
                      <a:lnTo>
                        <a:pt x="4" y="88"/>
                      </a:lnTo>
                      <a:lnTo>
                        <a:pt x="2" y="85"/>
                      </a:lnTo>
                      <a:lnTo>
                        <a:pt x="1" y="83"/>
                      </a:lnTo>
                      <a:lnTo>
                        <a:pt x="1" y="80"/>
                      </a:lnTo>
                      <a:lnTo>
                        <a:pt x="11" y="82"/>
                      </a:lnTo>
                      <a:lnTo>
                        <a:pt x="22" y="83"/>
                      </a:lnTo>
                      <a:lnTo>
                        <a:pt x="30" y="82"/>
                      </a:lnTo>
                      <a:lnTo>
                        <a:pt x="41" y="80"/>
                      </a:lnTo>
                      <a:lnTo>
                        <a:pt x="36" y="75"/>
                      </a:lnTo>
                      <a:lnTo>
                        <a:pt x="32" y="74"/>
                      </a:lnTo>
                      <a:lnTo>
                        <a:pt x="29" y="72"/>
                      </a:lnTo>
                      <a:lnTo>
                        <a:pt x="22" y="74"/>
                      </a:lnTo>
                      <a:lnTo>
                        <a:pt x="14" y="75"/>
                      </a:lnTo>
                      <a:lnTo>
                        <a:pt x="8" y="72"/>
                      </a:lnTo>
                      <a:lnTo>
                        <a:pt x="5" y="71"/>
                      </a:lnTo>
                      <a:lnTo>
                        <a:pt x="2" y="69"/>
                      </a:lnTo>
                      <a:lnTo>
                        <a:pt x="1" y="65"/>
                      </a:lnTo>
                      <a:lnTo>
                        <a:pt x="0" y="62"/>
                      </a:lnTo>
                      <a:lnTo>
                        <a:pt x="0" y="55"/>
                      </a:lnTo>
                      <a:lnTo>
                        <a:pt x="2" y="47"/>
                      </a:lnTo>
                      <a:lnTo>
                        <a:pt x="6" y="40"/>
                      </a:lnTo>
                      <a:lnTo>
                        <a:pt x="6" y="37"/>
                      </a:lnTo>
                      <a:lnTo>
                        <a:pt x="5" y="34"/>
                      </a:lnTo>
                      <a:lnTo>
                        <a:pt x="5" y="32"/>
                      </a:lnTo>
                      <a:lnTo>
                        <a:pt x="5" y="30"/>
                      </a:lnTo>
                      <a:lnTo>
                        <a:pt x="10" y="23"/>
                      </a:lnTo>
                      <a:lnTo>
                        <a:pt x="13" y="18"/>
                      </a:lnTo>
                      <a:lnTo>
                        <a:pt x="14" y="14"/>
                      </a:lnTo>
                      <a:lnTo>
                        <a:pt x="16" y="12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8" y="10"/>
                      </a:lnTo>
                      <a:lnTo>
                        <a:pt x="32" y="10"/>
                      </a:lnTo>
                      <a:lnTo>
                        <a:pt x="37" y="8"/>
                      </a:lnTo>
                      <a:lnTo>
                        <a:pt x="49" y="2"/>
                      </a:lnTo>
                      <a:lnTo>
                        <a:pt x="56" y="1"/>
                      </a:lnTo>
                      <a:lnTo>
                        <a:pt x="62" y="0"/>
                      </a:lnTo>
                      <a:lnTo>
                        <a:pt x="69" y="0"/>
                      </a:lnTo>
                      <a:lnTo>
                        <a:pt x="75" y="1"/>
                      </a:lnTo>
                      <a:lnTo>
                        <a:pt x="80" y="4"/>
                      </a:lnTo>
                      <a:lnTo>
                        <a:pt x="85" y="6"/>
                      </a:lnTo>
                      <a:lnTo>
                        <a:pt x="86" y="7"/>
                      </a:lnTo>
                      <a:lnTo>
                        <a:pt x="85" y="8"/>
                      </a:lnTo>
                      <a:lnTo>
                        <a:pt x="82" y="11"/>
                      </a:lnTo>
                      <a:lnTo>
                        <a:pt x="77" y="13"/>
                      </a:lnTo>
                      <a:lnTo>
                        <a:pt x="74" y="17"/>
                      </a:lnTo>
                      <a:lnTo>
                        <a:pt x="72" y="20"/>
                      </a:lnTo>
                      <a:lnTo>
                        <a:pt x="72" y="24"/>
                      </a:lnTo>
                      <a:lnTo>
                        <a:pt x="74" y="26"/>
                      </a:lnTo>
                      <a:lnTo>
                        <a:pt x="72" y="29"/>
                      </a:lnTo>
                      <a:lnTo>
                        <a:pt x="70" y="34"/>
                      </a:lnTo>
                      <a:lnTo>
                        <a:pt x="69" y="39"/>
                      </a:lnTo>
                      <a:lnTo>
                        <a:pt x="70" y="44"/>
                      </a:lnTo>
                      <a:lnTo>
                        <a:pt x="74" y="47"/>
                      </a:lnTo>
                      <a:lnTo>
                        <a:pt x="71" y="52"/>
                      </a:lnTo>
                      <a:lnTo>
                        <a:pt x="71" y="53"/>
                      </a:lnTo>
                      <a:lnTo>
                        <a:pt x="71" y="56"/>
                      </a:lnTo>
                      <a:lnTo>
                        <a:pt x="71" y="63"/>
                      </a:lnTo>
                      <a:lnTo>
                        <a:pt x="74" y="69"/>
                      </a:lnTo>
                      <a:lnTo>
                        <a:pt x="76" y="75"/>
                      </a:lnTo>
                      <a:lnTo>
                        <a:pt x="79" y="75"/>
                      </a:lnTo>
                      <a:lnTo>
                        <a:pt x="81" y="75"/>
                      </a:lnTo>
                      <a:lnTo>
                        <a:pt x="82" y="74"/>
                      </a:lnTo>
                      <a:lnTo>
                        <a:pt x="84" y="72"/>
                      </a:lnTo>
                      <a:lnTo>
                        <a:pt x="84" y="65"/>
                      </a:lnTo>
                      <a:lnTo>
                        <a:pt x="84" y="58"/>
                      </a:lnTo>
                      <a:lnTo>
                        <a:pt x="84" y="55"/>
                      </a:lnTo>
                      <a:lnTo>
                        <a:pt x="85" y="52"/>
                      </a:lnTo>
                      <a:lnTo>
                        <a:pt x="88" y="51"/>
                      </a:lnTo>
                      <a:lnTo>
                        <a:pt x="90" y="52"/>
                      </a:lnTo>
                      <a:lnTo>
                        <a:pt x="93" y="52"/>
                      </a:lnTo>
                      <a:lnTo>
                        <a:pt x="94" y="51"/>
                      </a:lnTo>
                      <a:lnTo>
                        <a:pt x="89" y="39"/>
                      </a:lnTo>
                      <a:lnTo>
                        <a:pt x="88" y="33"/>
                      </a:lnTo>
                      <a:lnTo>
                        <a:pt x="88" y="27"/>
                      </a:lnTo>
                      <a:lnTo>
                        <a:pt x="90" y="24"/>
                      </a:lnTo>
                      <a:lnTo>
                        <a:pt x="94" y="21"/>
                      </a:lnTo>
                      <a:lnTo>
                        <a:pt x="102" y="18"/>
                      </a:lnTo>
                      <a:lnTo>
                        <a:pt x="102" y="17"/>
                      </a:lnTo>
                      <a:lnTo>
                        <a:pt x="103" y="14"/>
                      </a:lnTo>
                      <a:lnTo>
                        <a:pt x="103" y="11"/>
                      </a:lnTo>
                      <a:lnTo>
                        <a:pt x="107" y="8"/>
                      </a:lnTo>
                      <a:lnTo>
                        <a:pt x="112" y="6"/>
                      </a:lnTo>
                      <a:lnTo>
                        <a:pt x="123" y="4"/>
                      </a:lnTo>
                      <a:lnTo>
                        <a:pt x="133" y="4"/>
                      </a:lnTo>
                      <a:lnTo>
                        <a:pt x="145" y="4"/>
                      </a:lnTo>
                      <a:lnTo>
                        <a:pt x="146" y="5"/>
                      </a:lnTo>
                      <a:lnTo>
                        <a:pt x="147" y="6"/>
                      </a:lnTo>
                      <a:lnTo>
                        <a:pt x="147" y="10"/>
                      </a:lnTo>
                      <a:lnTo>
                        <a:pt x="146" y="13"/>
                      </a:lnTo>
                      <a:lnTo>
                        <a:pt x="143" y="17"/>
                      </a:lnTo>
                      <a:lnTo>
                        <a:pt x="143" y="18"/>
                      </a:lnTo>
                      <a:lnTo>
                        <a:pt x="143" y="19"/>
                      </a:lnTo>
                      <a:lnTo>
                        <a:pt x="149" y="20"/>
                      </a:lnTo>
                      <a:lnTo>
                        <a:pt x="150" y="21"/>
                      </a:lnTo>
                      <a:lnTo>
                        <a:pt x="151" y="24"/>
                      </a:lnTo>
                      <a:lnTo>
                        <a:pt x="150" y="31"/>
                      </a:lnTo>
                      <a:lnTo>
                        <a:pt x="150" y="37"/>
                      </a:lnTo>
                      <a:lnTo>
                        <a:pt x="149" y="43"/>
                      </a:lnTo>
                      <a:lnTo>
                        <a:pt x="147" y="46"/>
                      </a:lnTo>
                      <a:lnTo>
                        <a:pt x="145" y="49"/>
                      </a:lnTo>
                      <a:lnTo>
                        <a:pt x="143" y="51"/>
                      </a:lnTo>
                      <a:lnTo>
                        <a:pt x="145" y="53"/>
                      </a:lnTo>
                      <a:lnTo>
                        <a:pt x="147" y="56"/>
                      </a:lnTo>
                      <a:lnTo>
                        <a:pt x="151" y="56"/>
                      </a:lnTo>
                      <a:lnTo>
                        <a:pt x="154" y="55"/>
                      </a:lnTo>
                      <a:lnTo>
                        <a:pt x="156" y="53"/>
                      </a:lnTo>
                      <a:lnTo>
                        <a:pt x="160" y="49"/>
                      </a:lnTo>
                      <a:lnTo>
                        <a:pt x="165" y="39"/>
                      </a:lnTo>
                      <a:lnTo>
                        <a:pt x="166" y="39"/>
                      </a:lnTo>
                      <a:lnTo>
                        <a:pt x="170" y="44"/>
                      </a:lnTo>
                      <a:lnTo>
                        <a:pt x="174" y="47"/>
                      </a:lnTo>
                      <a:lnTo>
                        <a:pt x="175" y="50"/>
                      </a:lnTo>
                      <a:lnTo>
                        <a:pt x="178" y="50"/>
                      </a:lnTo>
                      <a:lnTo>
                        <a:pt x="182" y="50"/>
                      </a:lnTo>
                      <a:lnTo>
                        <a:pt x="184" y="50"/>
                      </a:lnTo>
                      <a:lnTo>
                        <a:pt x="187" y="51"/>
                      </a:lnTo>
                      <a:lnTo>
                        <a:pt x="189" y="52"/>
                      </a:lnTo>
                      <a:lnTo>
                        <a:pt x="190" y="52"/>
                      </a:lnTo>
                      <a:lnTo>
                        <a:pt x="192" y="51"/>
                      </a:lnTo>
                      <a:lnTo>
                        <a:pt x="193" y="45"/>
                      </a:lnTo>
                      <a:lnTo>
                        <a:pt x="194" y="43"/>
                      </a:lnTo>
                      <a:lnTo>
                        <a:pt x="196" y="40"/>
                      </a:lnTo>
                      <a:lnTo>
                        <a:pt x="208" y="39"/>
                      </a:lnTo>
                      <a:lnTo>
                        <a:pt x="220" y="40"/>
                      </a:lnTo>
                      <a:lnTo>
                        <a:pt x="232" y="43"/>
                      </a:lnTo>
                      <a:lnTo>
                        <a:pt x="244" y="46"/>
                      </a:lnTo>
                      <a:lnTo>
                        <a:pt x="249" y="46"/>
                      </a:lnTo>
                      <a:lnTo>
                        <a:pt x="250" y="46"/>
                      </a:lnTo>
                      <a:lnTo>
                        <a:pt x="253" y="47"/>
                      </a:lnTo>
                      <a:lnTo>
                        <a:pt x="258" y="51"/>
                      </a:lnTo>
                      <a:lnTo>
                        <a:pt x="263" y="53"/>
                      </a:lnTo>
                      <a:lnTo>
                        <a:pt x="265" y="56"/>
                      </a:lnTo>
                      <a:lnTo>
                        <a:pt x="268" y="59"/>
                      </a:lnTo>
                      <a:lnTo>
                        <a:pt x="273" y="68"/>
                      </a:lnTo>
                      <a:lnTo>
                        <a:pt x="274" y="69"/>
                      </a:lnTo>
                      <a:lnTo>
                        <a:pt x="277" y="70"/>
                      </a:lnTo>
                      <a:lnTo>
                        <a:pt x="281" y="71"/>
                      </a:lnTo>
                      <a:lnTo>
                        <a:pt x="286" y="72"/>
                      </a:lnTo>
                      <a:lnTo>
                        <a:pt x="291" y="75"/>
                      </a:lnTo>
                      <a:lnTo>
                        <a:pt x="296" y="76"/>
                      </a:lnTo>
                      <a:lnTo>
                        <a:pt x="301" y="77"/>
                      </a:lnTo>
                      <a:lnTo>
                        <a:pt x="310" y="77"/>
                      </a:lnTo>
                      <a:lnTo>
                        <a:pt x="319" y="75"/>
                      </a:lnTo>
                      <a:lnTo>
                        <a:pt x="322" y="75"/>
                      </a:lnTo>
                      <a:lnTo>
                        <a:pt x="325" y="77"/>
                      </a:lnTo>
                      <a:lnTo>
                        <a:pt x="328" y="81"/>
                      </a:lnTo>
                      <a:lnTo>
                        <a:pt x="328" y="82"/>
                      </a:lnTo>
                      <a:lnTo>
                        <a:pt x="326" y="84"/>
                      </a:lnTo>
                      <a:lnTo>
                        <a:pt x="324" y="85"/>
                      </a:lnTo>
                      <a:lnTo>
                        <a:pt x="320" y="87"/>
                      </a:lnTo>
                      <a:lnTo>
                        <a:pt x="312" y="88"/>
                      </a:lnTo>
                      <a:lnTo>
                        <a:pt x="310" y="90"/>
                      </a:lnTo>
                      <a:lnTo>
                        <a:pt x="309" y="94"/>
                      </a:lnTo>
                      <a:lnTo>
                        <a:pt x="309" y="97"/>
                      </a:lnTo>
                      <a:lnTo>
                        <a:pt x="310" y="98"/>
                      </a:lnTo>
                      <a:lnTo>
                        <a:pt x="312" y="98"/>
                      </a:lnTo>
                      <a:lnTo>
                        <a:pt x="317" y="97"/>
                      </a:lnTo>
                      <a:lnTo>
                        <a:pt x="322" y="95"/>
                      </a:lnTo>
                      <a:lnTo>
                        <a:pt x="326" y="93"/>
                      </a:lnTo>
                      <a:lnTo>
                        <a:pt x="331" y="90"/>
                      </a:lnTo>
                      <a:lnTo>
                        <a:pt x="334" y="91"/>
                      </a:lnTo>
                      <a:lnTo>
                        <a:pt x="335" y="94"/>
                      </a:lnTo>
                      <a:lnTo>
                        <a:pt x="338" y="100"/>
                      </a:lnTo>
                      <a:lnTo>
                        <a:pt x="333" y="100"/>
                      </a:lnTo>
                      <a:lnTo>
                        <a:pt x="326" y="100"/>
                      </a:lnTo>
                      <a:lnTo>
                        <a:pt x="326" y="101"/>
                      </a:lnTo>
                      <a:lnTo>
                        <a:pt x="326" y="102"/>
                      </a:lnTo>
                      <a:lnTo>
                        <a:pt x="326" y="106"/>
                      </a:lnTo>
                      <a:lnTo>
                        <a:pt x="330" y="107"/>
                      </a:lnTo>
                      <a:lnTo>
                        <a:pt x="336" y="107"/>
                      </a:lnTo>
                      <a:lnTo>
                        <a:pt x="343" y="107"/>
                      </a:lnTo>
                      <a:lnTo>
                        <a:pt x="354" y="102"/>
                      </a:lnTo>
                      <a:lnTo>
                        <a:pt x="357" y="101"/>
                      </a:lnTo>
                      <a:lnTo>
                        <a:pt x="359" y="103"/>
                      </a:lnTo>
                      <a:lnTo>
                        <a:pt x="362" y="108"/>
                      </a:lnTo>
                      <a:lnTo>
                        <a:pt x="357" y="109"/>
                      </a:lnTo>
                      <a:lnTo>
                        <a:pt x="353" y="109"/>
                      </a:lnTo>
                      <a:lnTo>
                        <a:pt x="348" y="110"/>
                      </a:lnTo>
                      <a:lnTo>
                        <a:pt x="344" y="112"/>
                      </a:lnTo>
                      <a:lnTo>
                        <a:pt x="348" y="114"/>
                      </a:lnTo>
                      <a:lnTo>
                        <a:pt x="353" y="115"/>
                      </a:lnTo>
                      <a:lnTo>
                        <a:pt x="358" y="114"/>
                      </a:lnTo>
                      <a:lnTo>
                        <a:pt x="362" y="113"/>
                      </a:lnTo>
                      <a:lnTo>
                        <a:pt x="371" y="108"/>
                      </a:lnTo>
                      <a:lnTo>
                        <a:pt x="376" y="107"/>
                      </a:lnTo>
                      <a:lnTo>
                        <a:pt x="380" y="107"/>
                      </a:lnTo>
                      <a:lnTo>
                        <a:pt x="382" y="108"/>
                      </a:lnTo>
                      <a:lnTo>
                        <a:pt x="385" y="112"/>
                      </a:lnTo>
                      <a:lnTo>
                        <a:pt x="389" y="120"/>
                      </a:lnTo>
                      <a:lnTo>
                        <a:pt x="389" y="121"/>
                      </a:lnTo>
                      <a:lnTo>
                        <a:pt x="387" y="121"/>
                      </a:lnTo>
                      <a:lnTo>
                        <a:pt x="383" y="122"/>
                      </a:lnTo>
                      <a:lnTo>
                        <a:pt x="375" y="123"/>
                      </a:lnTo>
                      <a:lnTo>
                        <a:pt x="372" y="126"/>
                      </a:lnTo>
                      <a:lnTo>
                        <a:pt x="368" y="128"/>
                      </a:lnTo>
                      <a:lnTo>
                        <a:pt x="369" y="129"/>
                      </a:lnTo>
                      <a:lnTo>
                        <a:pt x="371" y="130"/>
                      </a:lnTo>
                      <a:lnTo>
                        <a:pt x="372" y="130"/>
                      </a:lnTo>
                      <a:lnTo>
                        <a:pt x="373" y="130"/>
                      </a:lnTo>
                      <a:lnTo>
                        <a:pt x="376" y="128"/>
                      </a:lnTo>
                      <a:lnTo>
                        <a:pt x="377" y="128"/>
                      </a:lnTo>
                      <a:lnTo>
                        <a:pt x="380" y="128"/>
                      </a:lnTo>
                      <a:lnTo>
                        <a:pt x="383" y="129"/>
                      </a:lnTo>
                      <a:lnTo>
                        <a:pt x="386" y="132"/>
                      </a:lnTo>
                      <a:lnTo>
                        <a:pt x="392" y="138"/>
                      </a:lnTo>
                      <a:lnTo>
                        <a:pt x="389" y="139"/>
                      </a:lnTo>
                      <a:lnTo>
                        <a:pt x="383" y="140"/>
                      </a:lnTo>
                      <a:lnTo>
                        <a:pt x="378" y="140"/>
                      </a:lnTo>
                      <a:lnTo>
                        <a:pt x="375" y="141"/>
                      </a:lnTo>
                      <a:lnTo>
                        <a:pt x="373" y="144"/>
                      </a:lnTo>
                      <a:lnTo>
                        <a:pt x="373" y="147"/>
                      </a:lnTo>
                      <a:lnTo>
                        <a:pt x="372" y="154"/>
                      </a:lnTo>
                      <a:lnTo>
                        <a:pt x="372" y="157"/>
                      </a:lnTo>
                      <a:lnTo>
                        <a:pt x="373" y="159"/>
                      </a:lnTo>
                      <a:lnTo>
                        <a:pt x="376" y="160"/>
                      </a:lnTo>
                      <a:lnTo>
                        <a:pt x="380" y="161"/>
                      </a:lnTo>
                      <a:lnTo>
                        <a:pt x="386" y="162"/>
                      </a:lnTo>
                      <a:lnTo>
                        <a:pt x="394" y="164"/>
                      </a:lnTo>
                      <a:lnTo>
                        <a:pt x="395" y="164"/>
                      </a:lnTo>
                      <a:lnTo>
                        <a:pt x="396" y="164"/>
                      </a:lnTo>
                      <a:lnTo>
                        <a:pt x="394" y="167"/>
                      </a:lnTo>
                      <a:lnTo>
                        <a:pt x="392" y="170"/>
                      </a:lnTo>
                      <a:lnTo>
                        <a:pt x="392" y="173"/>
                      </a:lnTo>
                      <a:lnTo>
                        <a:pt x="394" y="174"/>
                      </a:lnTo>
                      <a:lnTo>
                        <a:pt x="396" y="174"/>
                      </a:lnTo>
                      <a:lnTo>
                        <a:pt x="402" y="176"/>
                      </a:lnTo>
                      <a:lnTo>
                        <a:pt x="406" y="177"/>
                      </a:lnTo>
                      <a:lnTo>
                        <a:pt x="409" y="179"/>
                      </a:lnTo>
                      <a:lnTo>
                        <a:pt x="411" y="180"/>
                      </a:lnTo>
                      <a:lnTo>
                        <a:pt x="413" y="180"/>
                      </a:lnTo>
                      <a:lnTo>
                        <a:pt x="416" y="179"/>
                      </a:lnTo>
                      <a:lnTo>
                        <a:pt x="419" y="177"/>
                      </a:lnTo>
                      <a:lnTo>
                        <a:pt x="423" y="177"/>
                      </a:lnTo>
                      <a:lnTo>
                        <a:pt x="429" y="178"/>
                      </a:lnTo>
                      <a:lnTo>
                        <a:pt x="436" y="181"/>
                      </a:lnTo>
                      <a:lnTo>
                        <a:pt x="437" y="184"/>
                      </a:lnTo>
                      <a:lnTo>
                        <a:pt x="438" y="186"/>
                      </a:lnTo>
                      <a:lnTo>
                        <a:pt x="438" y="189"/>
                      </a:lnTo>
                      <a:lnTo>
                        <a:pt x="438" y="192"/>
                      </a:lnTo>
                      <a:lnTo>
                        <a:pt x="439" y="193"/>
                      </a:lnTo>
                      <a:lnTo>
                        <a:pt x="441" y="196"/>
                      </a:lnTo>
                      <a:lnTo>
                        <a:pt x="443" y="197"/>
                      </a:lnTo>
                      <a:lnTo>
                        <a:pt x="447" y="197"/>
                      </a:lnTo>
                      <a:lnTo>
                        <a:pt x="449" y="196"/>
                      </a:lnTo>
                      <a:lnTo>
                        <a:pt x="452" y="196"/>
                      </a:lnTo>
                      <a:lnTo>
                        <a:pt x="453" y="197"/>
                      </a:lnTo>
                      <a:lnTo>
                        <a:pt x="452" y="199"/>
                      </a:lnTo>
                      <a:lnTo>
                        <a:pt x="451" y="200"/>
                      </a:lnTo>
                      <a:lnTo>
                        <a:pt x="449" y="203"/>
                      </a:lnTo>
                      <a:lnTo>
                        <a:pt x="451" y="205"/>
                      </a:lnTo>
                      <a:lnTo>
                        <a:pt x="451" y="206"/>
                      </a:lnTo>
                      <a:lnTo>
                        <a:pt x="452" y="206"/>
                      </a:lnTo>
                      <a:lnTo>
                        <a:pt x="460" y="205"/>
                      </a:lnTo>
                      <a:lnTo>
                        <a:pt x="463" y="206"/>
                      </a:lnTo>
                      <a:lnTo>
                        <a:pt x="466" y="206"/>
                      </a:lnTo>
                      <a:lnTo>
                        <a:pt x="469" y="208"/>
                      </a:lnTo>
                      <a:lnTo>
                        <a:pt x="471" y="208"/>
                      </a:lnTo>
                      <a:lnTo>
                        <a:pt x="480" y="202"/>
                      </a:lnTo>
                      <a:lnTo>
                        <a:pt x="484" y="200"/>
                      </a:lnTo>
                      <a:lnTo>
                        <a:pt x="488" y="200"/>
                      </a:lnTo>
                      <a:lnTo>
                        <a:pt x="489" y="203"/>
                      </a:lnTo>
                      <a:lnTo>
                        <a:pt x="490" y="205"/>
                      </a:lnTo>
                      <a:lnTo>
                        <a:pt x="493" y="211"/>
                      </a:lnTo>
                      <a:lnTo>
                        <a:pt x="493" y="213"/>
                      </a:lnTo>
                      <a:lnTo>
                        <a:pt x="491" y="215"/>
                      </a:lnTo>
                      <a:lnTo>
                        <a:pt x="488" y="216"/>
                      </a:lnTo>
                      <a:lnTo>
                        <a:pt x="482" y="217"/>
                      </a:lnTo>
                      <a:lnTo>
                        <a:pt x="479" y="218"/>
                      </a:lnTo>
                      <a:lnTo>
                        <a:pt x="477" y="219"/>
                      </a:lnTo>
                      <a:lnTo>
                        <a:pt x="479" y="222"/>
                      </a:lnTo>
                      <a:lnTo>
                        <a:pt x="480" y="224"/>
                      </a:lnTo>
                      <a:lnTo>
                        <a:pt x="479" y="227"/>
                      </a:lnTo>
                      <a:lnTo>
                        <a:pt x="476" y="228"/>
                      </a:lnTo>
                      <a:lnTo>
                        <a:pt x="475" y="229"/>
                      </a:lnTo>
                      <a:lnTo>
                        <a:pt x="475" y="230"/>
                      </a:lnTo>
                      <a:lnTo>
                        <a:pt x="476" y="232"/>
                      </a:lnTo>
                      <a:lnTo>
                        <a:pt x="479" y="234"/>
                      </a:lnTo>
                      <a:lnTo>
                        <a:pt x="480" y="235"/>
                      </a:lnTo>
                      <a:lnTo>
                        <a:pt x="480" y="237"/>
                      </a:lnTo>
                      <a:lnTo>
                        <a:pt x="476" y="240"/>
                      </a:lnTo>
                      <a:lnTo>
                        <a:pt x="472" y="240"/>
                      </a:lnTo>
                      <a:lnTo>
                        <a:pt x="467" y="240"/>
                      </a:lnTo>
                      <a:lnTo>
                        <a:pt x="462" y="237"/>
                      </a:lnTo>
                      <a:lnTo>
                        <a:pt x="461" y="237"/>
                      </a:lnTo>
                      <a:lnTo>
                        <a:pt x="460" y="237"/>
                      </a:lnTo>
                      <a:lnTo>
                        <a:pt x="460" y="238"/>
                      </a:lnTo>
                      <a:lnTo>
                        <a:pt x="461" y="241"/>
                      </a:lnTo>
                      <a:lnTo>
                        <a:pt x="462" y="242"/>
                      </a:lnTo>
                      <a:lnTo>
                        <a:pt x="463" y="243"/>
                      </a:lnTo>
                      <a:lnTo>
                        <a:pt x="463" y="244"/>
                      </a:lnTo>
                      <a:lnTo>
                        <a:pt x="462" y="245"/>
                      </a:lnTo>
                      <a:lnTo>
                        <a:pt x="461" y="247"/>
                      </a:lnTo>
                      <a:lnTo>
                        <a:pt x="458" y="248"/>
                      </a:lnTo>
                      <a:lnTo>
                        <a:pt x="458" y="249"/>
                      </a:lnTo>
                      <a:lnTo>
                        <a:pt x="461" y="251"/>
                      </a:lnTo>
                      <a:lnTo>
                        <a:pt x="462" y="254"/>
                      </a:lnTo>
                      <a:lnTo>
                        <a:pt x="462" y="256"/>
                      </a:lnTo>
                      <a:lnTo>
                        <a:pt x="461" y="257"/>
                      </a:lnTo>
                      <a:lnTo>
                        <a:pt x="458" y="260"/>
                      </a:lnTo>
                      <a:lnTo>
                        <a:pt x="458" y="263"/>
                      </a:lnTo>
                      <a:lnTo>
                        <a:pt x="458" y="264"/>
                      </a:lnTo>
                      <a:lnTo>
                        <a:pt x="457" y="264"/>
                      </a:lnTo>
                      <a:lnTo>
                        <a:pt x="456" y="264"/>
                      </a:lnTo>
                      <a:lnTo>
                        <a:pt x="455" y="264"/>
                      </a:lnTo>
                      <a:lnTo>
                        <a:pt x="452" y="262"/>
                      </a:lnTo>
                      <a:lnTo>
                        <a:pt x="451" y="259"/>
                      </a:lnTo>
                      <a:lnTo>
                        <a:pt x="448" y="256"/>
                      </a:lnTo>
                      <a:lnTo>
                        <a:pt x="447" y="255"/>
                      </a:lnTo>
                      <a:lnTo>
                        <a:pt x="443" y="254"/>
                      </a:lnTo>
                      <a:lnTo>
                        <a:pt x="442" y="254"/>
                      </a:lnTo>
                      <a:lnTo>
                        <a:pt x="439" y="254"/>
                      </a:lnTo>
                      <a:lnTo>
                        <a:pt x="438" y="254"/>
                      </a:lnTo>
                      <a:lnTo>
                        <a:pt x="437" y="253"/>
                      </a:lnTo>
                      <a:lnTo>
                        <a:pt x="434" y="249"/>
                      </a:lnTo>
                      <a:lnTo>
                        <a:pt x="432" y="245"/>
                      </a:lnTo>
                      <a:lnTo>
                        <a:pt x="430" y="242"/>
                      </a:lnTo>
                      <a:lnTo>
                        <a:pt x="429" y="237"/>
                      </a:lnTo>
                      <a:lnTo>
                        <a:pt x="429" y="234"/>
                      </a:lnTo>
                      <a:lnTo>
                        <a:pt x="430" y="229"/>
                      </a:lnTo>
                      <a:lnTo>
                        <a:pt x="433" y="225"/>
                      </a:lnTo>
                      <a:lnTo>
                        <a:pt x="436" y="221"/>
                      </a:lnTo>
                      <a:lnTo>
                        <a:pt x="430" y="223"/>
                      </a:lnTo>
                      <a:lnTo>
                        <a:pt x="427" y="225"/>
                      </a:lnTo>
                      <a:lnTo>
                        <a:pt x="422" y="229"/>
                      </a:lnTo>
                      <a:lnTo>
                        <a:pt x="418" y="231"/>
                      </a:lnTo>
                      <a:lnTo>
                        <a:pt x="416" y="231"/>
                      </a:lnTo>
                      <a:lnTo>
                        <a:pt x="415" y="231"/>
                      </a:lnTo>
                      <a:lnTo>
                        <a:pt x="413" y="229"/>
                      </a:lnTo>
                      <a:lnTo>
                        <a:pt x="413" y="225"/>
                      </a:lnTo>
                      <a:lnTo>
                        <a:pt x="415" y="221"/>
                      </a:lnTo>
                      <a:lnTo>
                        <a:pt x="414" y="221"/>
                      </a:lnTo>
                      <a:lnTo>
                        <a:pt x="414" y="219"/>
                      </a:lnTo>
                      <a:lnTo>
                        <a:pt x="409" y="219"/>
                      </a:lnTo>
                      <a:lnTo>
                        <a:pt x="402" y="219"/>
                      </a:lnTo>
                      <a:lnTo>
                        <a:pt x="397" y="217"/>
                      </a:lnTo>
                      <a:lnTo>
                        <a:pt x="392" y="215"/>
                      </a:lnTo>
                      <a:lnTo>
                        <a:pt x="389" y="213"/>
                      </a:lnTo>
                      <a:lnTo>
                        <a:pt x="385" y="213"/>
                      </a:lnTo>
                      <a:lnTo>
                        <a:pt x="382" y="216"/>
                      </a:lnTo>
                      <a:lnTo>
                        <a:pt x="380" y="218"/>
                      </a:lnTo>
                      <a:lnTo>
                        <a:pt x="380" y="222"/>
                      </a:lnTo>
                      <a:lnTo>
                        <a:pt x="381" y="224"/>
                      </a:lnTo>
                      <a:lnTo>
                        <a:pt x="382" y="227"/>
                      </a:lnTo>
                      <a:lnTo>
                        <a:pt x="381" y="229"/>
                      </a:lnTo>
                      <a:lnTo>
                        <a:pt x="380" y="234"/>
                      </a:lnTo>
                      <a:lnTo>
                        <a:pt x="380" y="237"/>
                      </a:lnTo>
                      <a:lnTo>
                        <a:pt x="381" y="241"/>
                      </a:lnTo>
                      <a:lnTo>
                        <a:pt x="382" y="242"/>
                      </a:lnTo>
                      <a:lnTo>
                        <a:pt x="385" y="242"/>
                      </a:lnTo>
                      <a:lnTo>
                        <a:pt x="389" y="242"/>
                      </a:lnTo>
                      <a:lnTo>
                        <a:pt x="390" y="243"/>
                      </a:lnTo>
                      <a:lnTo>
                        <a:pt x="391" y="244"/>
                      </a:lnTo>
                      <a:lnTo>
                        <a:pt x="395" y="250"/>
                      </a:lnTo>
                      <a:lnTo>
                        <a:pt x="400" y="256"/>
                      </a:lnTo>
                      <a:lnTo>
                        <a:pt x="405" y="261"/>
                      </a:lnTo>
                      <a:lnTo>
                        <a:pt x="411" y="264"/>
                      </a:lnTo>
                      <a:lnTo>
                        <a:pt x="415" y="266"/>
                      </a:lnTo>
                      <a:lnTo>
                        <a:pt x="420" y="264"/>
                      </a:lnTo>
                      <a:lnTo>
                        <a:pt x="424" y="264"/>
                      </a:lnTo>
                      <a:lnTo>
                        <a:pt x="428" y="266"/>
                      </a:lnTo>
                      <a:lnTo>
                        <a:pt x="429" y="267"/>
                      </a:lnTo>
                      <a:lnTo>
                        <a:pt x="428" y="269"/>
                      </a:lnTo>
                      <a:lnTo>
                        <a:pt x="427" y="273"/>
                      </a:lnTo>
                      <a:lnTo>
                        <a:pt x="427" y="275"/>
                      </a:lnTo>
                      <a:lnTo>
                        <a:pt x="427" y="277"/>
                      </a:lnTo>
                      <a:lnTo>
                        <a:pt x="428" y="280"/>
                      </a:lnTo>
                      <a:lnTo>
                        <a:pt x="436" y="289"/>
                      </a:lnTo>
                      <a:lnTo>
                        <a:pt x="441" y="292"/>
                      </a:lnTo>
                      <a:lnTo>
                        <a:pt x="441" y="294"/>
                      </a:lnTo>
                      <a:lnTo>
                        <a:pt x="441" y="296"/>
                      </a:lnTo>
                      <a:lnTo>
                        <a:pt x="444" y="301"/>
                      </a:lnTo>
                      <a:lnTo>
                        <a:pt x="447" y="305"/>
                      </a:lnTo>
                      <a:lnTo>
                        <a:pt x="448" y="310"/>
                      </a:lnTo>
                      <a:lnTo>
                        <a:pt x="448" y="311"/>
                      </a:lnTo>
                      <a:lnTo>
                        <a:pt x="446" y="310"/>
                      </a:lnTo>
                      <a:lnTo>
                        <a:pt x="441" y="30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9" name="Freeform 963">
                  <a:extLst>
                    <a:ext uri="{FF2B5EF4-FFF2-40B4-BE49-F238E27FC236}">
                      <a16:creationId xmlns:a16="http://schemas.microsoft.com/office/drawing/2014/main" id="{F61825C6-D9F9-7647-8520-1CC074480F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0976" y="2654573"/>
                  <a:ext cx="20718" cy="17758"/>
                </a:xfrm>
                <a:custGeom>
                  <a:avLst/>
                  <a:gdLst>
                    <a:gd name="T0" fmla="*/ 2147483647 w 15"/>
                    <a:gd name="T1" fmla="*/ 2147483647 h 12"/>
                    <a:gd name="T2" fmla="*/ 2147483647 w 15"/>
                    <a:gd name="T3" fmla="*/ 2147483647 h 12"/>
                    <a:gd name="T4" fmla="*/ 0 w 15"/>
                    <a:gd name="T5" fmla="*/ 2147483647 h 12"/>
                    <a:gd name="T6" fmla="*/ 2147483647 w 15"/>
                    <a:gd name="T7" fmla="*/ 2147483647 h 12"/>
                    <a:gd name="T8" fmla="*/ 2147483647 w 15"/>
                    <a:gd name="T9" fmla="*/ 0 h 12"/>
                    <a:gd name="T10" fmla="*/ 2147483647 w 15"/>
                    <a:gd name="T11" fmla="*/ 0 h 12"/>
                    <a:gd name="T12" fmla="*/ 2147483647 w 15"/>
                    <a:gd name="T13" fmla="*/ 2147483647 h 12"/>
                    <a:gd name="T14" fmla="*/ 2147483647 w 15"/>
                    <a:gd name="T15" fmla="*/ 2147483647 h 12"/>
                    <a:gd name="T16" fmla="*/ 2147483647 w 15"/>
                    <a:gd name="T17" fmla="*/ 2147483647 h 12"/>
                    <a:gd name="T18" fmla="*/ 2147483647 w 15"/>
                    <a:gd name="T19" fmla="*/ 2147483647 h 12"/>
                    <a:gd name="T20" fmla="*/ 2147483647 w 15"/>
                    <a:gd name="T21" fmla="*/ 2147483647 h 12"/>
                    <a:gd name="T22" fmla="*/ 2147483647 w 15"/>
                    <a:gd name="T23" fmla="*/ 2147483647 h 12"/>
                    <a:gd name="T24" fmla="*/ 2147483647 w 15"/>
                    <a:gd name="T25" fmla="*/ 2147483647 h 12"/>
                    <a:gd name="T26" fmla="*/ 2147483647 w 15"/>
                    <a:gd name="T27" fmla="*/ 2147483647 h 12"/>
                    <a:gd name="T28" fmla="*/ 2147483647 w 15"/>
                    <a:gd name="T29" fmla="*/ 2147483647 h 1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5"/>
                    <a:gd name="T46" fmla="*/ 0 h 12"/>
                    <a:gd name="T47" fmla="*/ 15 w 15"/>
                    <a:gd name="T48" fmla="*/ 12 h 1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5" h="12">
                      <a:moveTo>
                        <a:pt x="3" y="8"/>
                      </a:move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10" y="0"/>
                      </a:lnTo>
                      <a:lnTo>
                        <a:pt x="12" y="1"/>
                      </a:lnTo>
                      <a:lnTo>
                        <a:pt x="15" y="3"/>
                      </a:lnTo>
                      <a:lnTo>
                        <a:pt x="15" y="6"/>
                      </a:lnTo>
                      <a:lnTo>
                        <a:pt x="15" y="8"/>
                      </a:lnTo>
                      <a:lnTo>
                        <a:pt x="14" y="11"/>
                      </a:lnTo>
                      <a:lnTo>
                        <a:pt x="11" y="12"/>
                      </a:lnTo>
                      <a:lnTo>
                        <a:pt x="10" y="12"/>
                      </a:lnTo>
                      <a:lnTo>
                        <a:pt x="7" y="11"/>
                      </a:lnTo>
                      <a:lnTo>
                        <a:pt x="3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0" name="Freeform 964">
                  <a:extLst>
                    <a:ext uri="{FF2B5EF4-FFF2-40B4-BE49-F238E27FC236}">
                      <a16:creationId xmlns:a16="http://schemas.microsoft.com/office/drawing/2014/main" id="{4C8A2818-75E5-B746-A699-67726A5AB5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5358" y="2561340"/>
                  <a:ext cx="23678" cy="19238"/>
                </a:xfrm>
                <a:custGeom>
                  <a:avLst/>
                  <a:gdLst>
                    <a:gd name="T0" fmla="*/ 2147483647 w 17"/>
                    <a:gd name="T1" fmla="*/ 2147483647 h 13"/>
                    <a:gd name="T2" fmla="*/ 2147483647 w 17"/>
                    <a:gd name="T3" fmla="*/ 2147483647 h 13"/>
                    <a:gd name="T4" fmla="*/ 2147483647 w 17"/>
                    <a:gd name="T5" fmla="*/ 2147483647 h 13"/>
                    <a:gd name="T6" fmla="*/ 2147483647 w 17"/>
                    <a:gd name="T7" fmla="*/ 2147483647 h 13"/>
                    <a:gd name="T8" fmla="*/ 0 w 17"/>
                    <a:gd name="T9" fmla="*/ 2147483647 h 13"/>
                    <a:gd name="T10" fmla="*/ 2147483647 w 17"/>
                    <a:gd name="T11" fmla="*/ 2147483647 h 13"/>
                    <a:gd name="T12" fmla="*/ 2147483647 w 17"/>
                    <a:gd name="T13" fmla="*/ 2147483647 h 13"/>
                    <a:gd name="T14" fmla="*/ 2147483647 w 17"/>
                    <a:gd name="T15" fmla="*/ 0 h 13"/>
                    <a:gd name="T16" fmla="*/ 2147483647 w 17"/>
                    <a:gd name="T17" fmla="*/ 2147483647 h 13"/>
                    <a:gd name="T18" fmla="*/ 2147483647 w 17"/>
                    <a:gd name="T19" fmla="*/ 2147483647 h 13"/>
                    <a:gd name="T20" fmla="*/ 2147483647 w 17"/>
                    <a:gd name="T21" fmla="*/ 2147483647 h 13"/>
                    <a:gd name="T22" fmla="*/ 2147483647 w 17"/>
                    <a:gd name="T23" fmla="*/ 2147483647 h 13"/>
                    <a:gd name="T24" fmla="*/ 2147483647 w 17"/>
                    <a:gd name="T25" fmla="*/ 2147483647 h 13"/>
                    <a:gd name="T26" fmla="*/ 2147483647 w 17"/>
                    <a:gd name="T27" fmla="*/ 2147483647 h 13"/>
                    <a:gd name="T28" fmla="*/ 2147483647 w 17"/>
                    <a:gd name="T29" fmla="*/ 2147483647 h 1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7"/>
                    <a:gd name="T46" fmla="*/ 0 h 13"/>
                    <a:gd name="T47" fmla="*/ 17 w 17"/>
                    <a:gd name="T48" fmla="*/ 13 h 1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7" h="13">
                      <a:moveTo>
                        <a:pt x="7" y="11"/>
                      </a:moveTo>
                      <a:lnTo>
                        <a:pt x="3" y="11"/>
                      </a:lnTo>
                      <a:lnTo>
                        <a:pt x="2" y="10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11" y="1"/>
                      </a:lnTo>
                      <a:lnTo>
                        <a:pt x="14" y="2"/>
                      </a:lnTo>
                      <a:lnTo>
                        <a:pt x="17" y="6"/>
                      </a:lnTo>
                      <a:lnTo>
                        <a:pt x="17" y="11"/>
                      </a:lnTo>
                      <a:lnTo>
                        <a:pt x="16" y="13"/>
                      </a:lnTo>
                      <a:lnTo>
                        <a:pt x="13" y="13"/>
                      </a:lnTo>
                      <a:lnTo>
                        <a:pt x="7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Freeform 965">
                  <a:extLst>
                    <a:ext uri="{FF2B5EF4-FFF2-40B4-BE49-F238E27FC236}">
                      <a16:creationId xmlns:a16="http://schemas.microsoft.com/office/drawing/2014/main" id="{8D846FFC-7269-B344-9D46-3342B63808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8014" y="2653092"/>
                  <a:ext cx="22199" cy="17758"/>
                </a:xfrm>
                <a:custGeom>
                  <a:avLst/>
                  <a:gdLst>
                    <a:gd name="T0" fmla="*/ 2147483647 w 16"/>
                    <a:gd name="T1" fmla="*/ 2147483647 h 12"/>
                    <a:gd name="T2" fmla="*/ 2147483647 w 16"/>
                    <a:gd name="T3" fmla="*/ 2147483647 h 12"/>
                    <a:gd name="T4" fmla="*/ 2147483647 w 16"/>
                    <a:gd name="T5" fmla="*/ 2147483647 h 12"/>
                    <a:gd name="T6" fmla="*/ 0 w 16"/>
                    <a:gd name="T7" fmla="*/ 2147483647 h 12"/>
                    <a:gd name="T8" fmla="*/ 2147483647 w 16"/>
                    <a:gd name="T9" fmla="*/ 2147483647 h 12"/>
                    <a:gd name="T10" fmla="*/ 2147483647 w 16"/>
                    <a:gd name="T11" fmla="*/ 0 h 12"/>
                    <a:gd name="T12" fmla="*/ 2147483647 w 16"/>
                    <a:gd name="T13" fmla="*/ 0 h 12"/>
                    <a:gd name="T14" fmla="*/ 2147483647 w 16"/>
                    <a:gd name="T15" fmla="*/ 0 h 12"/>
                    <a:gd name="T16" fmla="*/ 2147483647 w 16"/>
                    <a:gd name="T17" fmla="*/ 2147483647 h 12"/>
                    <a:gd name="T18" fmla="*/ 2147483647 w 16"/>
                    <a:gd name="T19" fmla="*/ 2147483647 h 12"/>
                    <a:gd name="T20" fmla="*/ 2147483647 w 16"/>
                    <a:gd name="T21" fmla="*/ 2147483647 h 12"/>
                    <a:gd name="T22" fmla="*/ 2147483647 w 16"/>
                    <a:gd name="T23" fmla="*/ 2147483647 h 12"/>
                    <a:gd name="T24" fmla="*/ 2147483647 w 16"/>
                    <a:gd name="T25" fmla="*/ 2147483647 h 12"/>
                    <a:gd name="T26" fmla="*/ 2147483647 w 16"/>
                    <a:gd name="T27" fmla="*/ 2147483647 h 12"/>
                    <a:gd name="T28" fmla="*/ 2147483647 w 16"/>
                    <a:gd name="T29" fmla="*/ 2147483647 h 12"/>
                    <a:gd name="T30" fmla="*/ 2147483647 w 16"/>
                    <a:gd name="T31" fmla="*/ 2147483647 h 12"/>
                    <a:gd name="T32" fmla="*/ 2147483647 w 16"/>
                    <a:gd name="T33" fmla="*/ 2147483647 h 12"/>
                    <a:gd name="T34" fmla="*/ 2147483647 w 16"/>
                    <a:gd name="T35" fmla="*/ 2147483647 h 12"/>
                    <a:gd name="T36" fmla="*/ 2147483647 w 16"/>
                    <a:gd name="T37" fmla="*/ 2147483647 h 12"/>
                    <a:gd name="T38" fmla="*/ 2147483647 w 16"/>
                    <a:gd name="T39" fmla="*/ 2147483647 h 1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6"/>
                    <a:gd name="T61" fmla="*/ 0 h 12"/>
                    <a:gd name="T62" fmla="*/ 16 w 16"/>
                    <a:gd name="T63" fmla="*/ 12 h 1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6" h="12">
                      <a:moveTo>
                        <a:pt x="4" y="8"/>
                      </a:move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11" y="0"/>
                      </a:lnTo>
                      <a:lnTo>
                        <a:pt x="13" y="1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6" y="8"/>
                      </a:lnTo>
                      <a:lnTo>
                        <a:pt x="14" y="10"/>
                      </a:lnTo>
                      <a:lnTo>
                        <a:pt x="12" y="12"/>
                      </a:lnTo>
                      <a:lnTo>
                        <a:pt x="11" y="12"/>
                      </a:lnTo>
                      <a:lnTo>
                        <a:pt x="8" y="10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2" name="Freeform 966">
                  <a:extLst>
                    <a:ext uri="{FF2B5EF4-FFF2-40B4-BE49-F238E27FC236}">
                      <a16:creationId xmlns:a16="http://schemas.microsoft.com/office/drawing/2014/main" id="{4B2F2FC3-E687-F646-A037-0A94ABAA5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3877" y="2559861"/>
                  <a:ext cx="23678" cy="19239"/>
                </a:xfrm>
                <a:custGeom>
                  <a:avLst/>
                  <a:gdLst>
                    <a:gd name="T0" fmla="*/ 2147483647 w 17"/>
                    <a:gd name="T1" fmla="*/ 2147483647 h 13"/>
                    <a:gd name="T2" fmla="*/ 2147483647 w 17"/>
                    <a:gd name="T3" fmla="*/ 2147483647 h 13"/>
                    <a:gd name="T4" fmla="*/ 2147483647 w 17"/>
                    <a:gd name="T5" fmla="*/ 2147483647 h 13"/>
                    <a:gd name="T6" fmla="*/ 2147483647 w 17"/>
                    <a:gd name="T7" fmla="*/ 2147483647 h 13"/>
                    <a:gd name="T8" fmla="*/ 2147483647 w 17"/>
                    <a:gd name="T9" fmla="*/ 2147483647 h 13"/>
                    <a:gd name="T10" fmla="*/ 2147483647 w 17"/>
                    <a:gd name="T11" fmla="*/ 2147483647 h 13"/>
                    <a:gd name="T12" fmla="*/ 0 w 17"/>
                    <a:gd name="T13" fmla="*/ 2147483647 h 13"/>
                    <a:gd name="T14" fmla="*/ 2147483647 w 17"/>
                    <a:gd name="T15" fmla="*/ 2147483647 h 13"/>
                    <a:gd name="T16" fmla="*/ 2147483647 w 17"/>
                    <a:gd name="T17" fmla="*/ 2147483647 h 13"/>
                    <a:gd name="T18" fmla="*/ 2147483647 w 17"/>
                    <a:gd name="T19" fmla="*/ 0 h 13"/>
                    <a:gd name="T20" fmla="*/ 2147483647 w 17"/>
                    <a:gd name="T21" fmla="*/ 0 h 13"/>
                    <a:gd name="T22" fmla="*/ 2147483647 w 17"/>
                    <a:gd name="T23" fmla="*/ 2147483647 h 13"/>
                    <a:gd name="T24" fmla="*/ 2147483647 w 17"/>
                    <a:gd name="T25" fmla="*/ 2147483647 h 13"/>
                    <a:gd name="T26" fmla="*/ 2147483647 w 17"/>
                    <a:gd name="T27" fmla="*/ 2147483647 h 13"/>
                    <a:gd name="T28" fmla="*/ 2147483647 w 17"/>
                    <a:gd name="T29" fmla="*/ 2147483647 h 13"/>
                    <a:gd name="T30" fmla="*/ 2147483647 w 17"/>
                    <a:gd name="T31" fmla="*/ 2147483647 h 13"/>
                    <a:gd name="T32" fmla="*/ 2147483647 w 17"/>
                    <a:gd name="T33" fmla="*/ 2147483647 h 13"/>
                    <a:gd name="T34" fmla="*/ 2147483647 w 17"/>
                    <a:gd name="T35" fmla="*/ 2147483647 h 13"/>
                    <a:gd name="T36" fmla="*/ 2147483647 w 17"/>
                    <a:gd name="T37" fmla="*/ 2147483647 h 13"/>
                    <a:gd name="T38" fmla="*/ 2147483647 w 17"/>
                    <a:gd name="T39" fmla="*/ 2147483647 h 1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7"/>
                    <a:gd name="T61" fmla="*/ 0 h 13"/>
                    <a:gd name="T62" fmla="*/ 17 w 17"/>
                    <a:gd name="T63" fmla="*/ 13 h 1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7" h="13">
                      <a:moveTo>
                        <a:pt x="6" y="11"/>
                      </a:moveTo>
                      <a:lnTo>
                        <a:pt x="6" y="11"/>
                      </a:lnTo>
                      <a:lnTo>
                        <a:pt x="3" y="11"/>
                      </a:lnTo>
                      <a:lnTo>
                        <a:pt x="1" y="9"/>
                      </a:lnTo>
                      <a:lnTo>
                        <a:pt x="1" y="8"/>
                      </a:lnTo>
                      <a:lnTo>
                        <a:pt x="0" y="6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10" y="1"/>
                      </a:lnTo>
                      <a:lnTo>
                        <a:pt x="14" y="2"/>
                      </a:lnTo>
                      <a:lnTo>
                        <a:pt x="17" y="6"/>
                      </a:lnTo>
                      <a:lnTo>
                        <a:pt x="17" y="11"/>
                      </a:lnTo>
                      <a:lnTo>
                        <a:pt x="15" y="13"/>
                      </a:lnTo>
                      <a:lnTo>
                        <a:pt x="13" y="13"/>
                      </a:ln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3" name="Freeform 967">
                  <a:extLst>
                    <a:ext uri="{FF2B5EF4-FFF2-40B4-BE49-F238E27FC236}">
                      <a16:creationId xmlns:a16="http://schemas.microsoft.com/office/drawing/2014/main" id="{3138E15A-4E75-1744-982B-3AB4E63903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5760" y="2568742"/>
                  <a:ext cx="22198" cy="20718"/>
                </a:xfrm>
                <a:custGeom>
                  <a:avLst/>
                  <a:gdLst>
                    <a:gd name="T0" fmla="*/ 2147483647 w 17"/>
                    <a:gd name="T1" fmla="*/ 0 h 14"/>
                    <a:gd name="T2" fmla="*/ 2147483647 w 17"/>
                    <a:gd name="T3" fmla="*/ 2147483647 h 14"/>
                    <a:gd name="T4" fmla="*/ 2147483647 w 17"/>
                    <a:gd name="T5" fmla="*/ 2147483647 h 14"/>
                    <a:gd name="T6" fmla="*/ 2147483647 w 17"/>
                    <a:gd name="T7" fmla="*/ 2147483647 h 14"/>
                    <a:gd name="T8" fmla="*/ 2147483647 w 17"/>
                    <a:gd name="T9" fmla="*/ 2147483647 h 14"/>
                    <a:gd name="T10" fmla="*/ 2147483647 w 17"/>
                    <a:gd name="T11" fmla="*/ 2147483647 h 14"/>
                    <a:gd name="T12" fmla="*/ 2147483647 w 17"/>
                    <a:gd name="T13" fmla="*/ 2147483647 h 14"/>
                    <a:gd name="T14" fmla="*/ 2147483647 w 17"/>
                    <a:gd name="T15" fmla="*/ 2147483647 h 14"/>
                    <a:gd name="T16" fmla="*/ 2147483647 w 17"/>
                    <a:gd name="T17" fmla="*/ 2147483647 h 14"/>
                    <a:gd name="T18" fmla="*/ 0 w 17"/>
                    <a:gd name="T19" fmla="*/ 2147483647 h 14"/>
                    <a:gd name="T20" fmla="*/ 0 w 17"/>
                    <a:gd name="T21" fmla="*/ 2147483647 h 14"/>
                    <a:gd name="T22" fmla="*/ 0 w 17"/>
                    <a:gd name="T23" fmla="*/ 2147483647 h 14"/>
                    <a:gd name="T24" fmla="*/ 2147483647 w 17"/>
                    <a:gd name="T25" fmla="*/ 2147483647 h 14"/>
                    <a:gd name="T26" fmla="*/ 2147483647 w 17"/>
                    <a:gd name="T27" fmla="*/ 0 h 14"/>
                    <a:gd name="T28" fmla="*/ 2147483647 w 17"/>
                    <a:gd name="T29" fmla="*/ 0 h 14"/>
                    <a:gd name="T30" fmla="*/ 2147483647 w 17"/>
                    <a:gd name="T31" fmla="*/ 0 h 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7"/>
                    <a:gd name="T49" fmla="*/ 0 h 14"/>
                    <a:gd name="T50" fmla="*/ 17 w 17"/>
                    <a:gd name="T51" fmla="*/ 14 h 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7" h="14">
                      <a:moveTo>
                        <a:pt x="10" y="0"/>
                      </a:move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7" y="7"/>
                      </a:lnTo>
                      <a:lnTo>
                        <a:pt x="17" y="11"/>
                      </a:lnTo>
                      <a:lnTo>
                        <a:pt x="16" y="13"/>
                      </a:lnTo>
                      <a:lnTo>
                        <a:pt x="13" y="14"/>
                      </a:lnTo>
                      <a:lnTo>
                        <a:pt x="8" y="13"/>
                      </a:lnTo>
                      <a:lnTo>
                        <a:pt x="3" y="12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Freeform 968">
                  <a:extLst>
                    <a:ext uri="{FF2B5EF4-FFF2-40B4-BE49-F238E27FC236}">
                      <a16:creationId xmlns:a16="http://schemas.microsoft.com/office/drawing/2014/main" id="{EBCC340E-BB72-0E43-BDCF-B43FEE35BA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1366" y="2610176"/>
                  <a:ext cx="19238" cy="41436"/>
                </a:xfrm>
                <a:custGeom>
                  <a:avLst/>
                  <a:gdLst>
                    <a:gd name="T0" fmla="*/ 2147483647 w 14"/>
                    <a:gd name="T1" fmla="*/ 2147483647 h 28"/>
                    <a:gd name="T2" fmla="*/ 2147483647 w 14"/>
                    <a:gd name="T3" fmla="*/ 2147483647 h 28"/>
                    <a:gd name="T4" fmla="*/ 2147483647 w 14"/>
                    <a:gd name="T5" fmla="*/ 2147483647 h 28"/>
                    <a:gd name="T6" fmla="*/ 2147483647 w 14"/>
                    <a:gd name="T7" fmla="*/ 2147483647 h 28"/>
                    <a:gd name="T8" fmla="*/ 2147483647 w 14"/>
                    <a:gd name="T9" fmla="*/ 0 h 28"/>
                    <a:gd name="T10" fmla="*/ 2147483647 w 14"/>
                    <a:gd name="T11" fmla="*/ 0 h 28"/>
                    <a:gd name="T12" fmla="*/ 2147483647 w 14"/>
                    <a:gd name="T13" fmla="*/ 0 h 28"/>
                    <a:gd name="T14" fmla="*/ 2147483647 w 14"/>
                    <a:gd name="T15" fmla="*/ 2147483647 h 28"/>
                    <a:gd name="T16" fmla="*/ 0 w 14"/>
                    <a:gd name="T17" fmla="*/ 2147483647 h 28"/>
                    <a:gd name="T18" fmla="*/ 0 w 14"/>
                    <a:gd name="T19" fmla="*/ 2147483647 h 28"/>
                    <a:gd name="T20" fmla="*/ 2147483647 w 14"/>
                    <a:gd name="T21" fmla="*/ 2147483647 h 28"/>
                    <a:gd name="T22" fmla="*/ 2147483647 w 14"/>
                    <a:gd name="T23" fmla="*/ 2147483647 h 28"/>
                    <a:gd name="T24" fmla="*/ 2147483647 w 14"/>
                    <a:gd name="T25" fmla="*/ 2147483647 h 28"/>
                    <a:gd name="T26" fmla="*/ 2147483647 w 14"/>
                    <a:gd name="T27" fmla="*/ 2147483647 h 28"/>
                    <a:gd name="T28" fmla="*/ 2147483647 w 14"/>
                    <a:gd name="T29" fmla="*/ 2147483647 h 28"/>
                    <a:gd name="T30" fmla="*/ 2147483647 w 14"/>
                    <a:gd name="T31" fmla="*/ 2147483647 h 28"/>
                    <a:gd name="T32" fmla="*/ 2147483647 w 14"/>
                    <a:gd name="T33" fmla="*/ 2147483647 h 2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4"/>
                    <a:gd name="T52" fmla="*/ 0 h 28"/>
                    <a:gd name="T53" fmla="*/ 14 w 14"/>
                    <a:gd name="T54" fmla="*/ 28 h 2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4" h="28">
                      <a:moveTo>
                        <a:pt x="11" y="13"/>
                      </a:moveTo>
                      <a:lnTo>
                        <a:pt x="12" y="7"/>
                      </a:lnTo>
                      <a:lnTo>
                        <a:pt x="14" y="5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7" y="0"/>
                      </a:lnTo>
                      <a:lnTo>
                        <a:pt x="2" y="5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1" y="16"/>
                      </a:lnTo>
                      <a:lnTo>
                        <a:pt x="4" y="19"/>
                      </a:lnTo>
                      <a:lnTo>
                        <a:pt x="6" y="23"/>
                      </a:lnTo>
                      <a:lnTo>
                        <a:pt x="9" y="28"/>
                      </a:lnTo>
                      <a:lnTo>
                        <a:pt x="10" y="25"/>
                      </a:lnTo>
                      <a:lnTo>
                        <a:pt x="11" y="22"/>
                      </a:lnTo>
                      <a:lnTo>
                        <a:pt x="11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5" name="Freeform 969">
                  <a:extLst>
                    <a:ext uri="{FF2B5EF4-FFF2-40B4-BE49-F238E27FC236}">
                      <a16:creationId xmlns:a16="http://schemas.microsoft.com/office/drawing/2014/main" id="{B698710F-C64A-D243-95E9-5F5BDA64E5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2801" y="2567263"/>
                  <a:ext cx="23678" cy="20718"/>
                </a:xfrm>
                <a:custGeom>
                  <a:avLst/>
                  <a:gdLst>
                    <a:gd name="T0" fmla="*/ 2147483647 w 18"/>
                    <a:gd name="T1" fmla="*/ 0 h 14"/>
                    <a:gd name="T2" fmla="*/ 2147483647 w 18"/>
                    <a:gd name="T3" fmla="*/ 0 h 14"/>
                    <a:gd name="T4" fmla="*/ 2147483647 w 18"/>
                    <a:gd name="T5" fmla="*/ 2147483647 h 14"/>
                    <a:gd name="T6" fmla="*/ 2147483647 w 18"/>
                    <a:gd name="T7" fmla="*/ 2147483647 h 14"/>
                    <a:gd name="T8" fmla="*/ 2147483647 w 18"/>
                    <a:gd name="T9" fmla="*/ 2147483647 h 14"/>
                    <a:gd name="T10" fmla="*/ 2147483647 w 18"/>
                    <a:gd name="T11" fmla="*/ 2147483647 h 14"/>
                    <a:gd name="T12" fmla="*/ 2147483647 w 18"/>
                    <a:gd name="T13" fmla="*/ 2147483647 h 14"/>
                    <a:gd name="T14" fmla="*/ 2147483647 w 18"/>
                    <a:gd name="T15" fmla="*/ 2147483647 h 14"/>
                    <a:gd name="T16" fmla="*/ 2147483647 w 18"/>
                    <a:gd name="T17" fmla="*/ 2147483647 h 14"/>
                    <a:gd name="T18" fmla="*/ 2147483647 w 18"/>
                    <a:gd name="T19" fmla="*/ 2147483647 h 14"/>
                    <a:gd name="T20" fmla="*/ 2147483647 w 18"/>
                    <a:gd name="T21" fmla="*/ 2147483647 h 14"/>
                    <a:gd name="T22" fmla="*/ 2147483647 w 18"/>
                    <a:gd name="T23" fmla="*/ 2147483647 h 14"/>
                    <a:gd name="T24" fmla="*/ 0 w 18"/>
                    <a:gd name="T25" fmla="*/ 2147483647 h 14"/>
                    <a:gd name="T26" fmla="*/ 0 w 18"/>
                    <a:gd name="T27" fmla="*/ 2147483647 h 14"/>
                    <a:gd name="T28" fmla="*/ 0 w 18"/>
                    <a:gd name="T29" fmla="*/ 2147483647 h 14"/>
                    <a:gd name="T30" fmla="*/ 0 w 18"/>
                    <a:gd name="T31" fmla="*/ 2147483647 h 14"/>
                    <a:gd name="T32" fmla="*/ 2147483647 w 18"/>
                    <a:gd name="T33" fmla="*/ 2147483647 h 14"/>
                    <a:gd name="T34" fmla="*/ 2147483647 w 18"/>
                    <a:gd name="T35" fmla="*/ 0 h 14"/>
                    <a:gd name="T36" fmla="*/ 2147483647 w 18"/>
                    <a:gd name="T37" fmla="*/ 0 h 14"/>
                    <a:gd name="T38" fmla="*/ 2147483647 w 18"/>
                    <a:gd name="T39" fmla="*/ 0 h 14"/>
                    <a:gd name="T40" fmla="*/ 2147483647 w 18"/>
                    <a:gd name="T41" fmla="*/ 0 h 1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"/>
                    <a:gd name="T64" fmla="*/ 0 h 14"/>
                    <a:gd name="T65" fmla="*/ 18 w 18"/>
                    <a:gd name="T66" fmla="*/ 14 h 1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" h="14">
                      <a:moveTo>
                        <a:pt x="10" y="0"/>
                      </a:moveTo>
                      <a:lnTo>
                        <a:pt x="10" y="0"/>
                      </a:lnTo>
                      <a:lnTo>
                        <a:pt x="14" y="2"/>
                      </a:lnTo>
                      <a:lnTo>
                        <a:pt x="17" y="3"/>
                      </a:lnTo>
                      <a:lnTo>
                        <a:pt x="18" y="7"/>
                      </a:lnTo>
                      <a:lnTo>
                        <a:pt x="18" y="10"/>
                      </a:lnTo>
                      <a:lnTo>
                        <a:pt x="17" y="13"/>
                      </a:lnTo>
                      <a:lnTo>
                        <a:pt x="14" y="14"/>
                      </a:lnTo>
                      <a:lnTo>
                        <a:pt x="9" y="13"/>
                      </a:lnTo>
                      <a:lnTo>
                        <a:pt x="4" y="12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970">
                  <a:extLst>
                    <a:ext uri="{FF2B5EF4-FFF2-40B4-BE49-F238E27FC236}">
                      <a16:creationId xmlns:a16="http://schemas.microsoft.com/office/drawing/2014/main" id="{606F705A-7F2B-D343-8D79-2F672F807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8406" y="2608695"/>
                  <a:ext cx="19238" cy="39956"/>
                </a:xfrm>
                <a:custGeom>
                  <a:avLst/>
                  <a:gdLst>
                    <a:gd name="T0" fmla="*/ 2147483647 w 14"/>
                    <a:gd name="T1" fmla="*/ 2147483647 h 27"/>
                    <a:gd name="T2" fmla="*/ 2147483647 w 14"/>
                    <a:gd name="T3" fmla="*/ 2147483647 h 27"/>
                    <a:gd name="T4" fmla="*/ 2147483647 w 14"/>
                    <a:gd name="T5" fmla="*/ 2147483647 h 27"/>
                    <a:gd name="T6" fmla="*/ 2147483647 w 14"/>
                    <a:gd name="T7" fmla="*/ 2147483647 h 27"/>
                    <a:gd name="T8" fmla="*/ 2147483647 w 14"/>
                    <a:gd name="T9" fmla="*/ 2147483647 h 27"/>
                    <a:gd name="T10" fmla="*/ 2147483647 w 14"/>
                    <a:gd name="T11" fmla="*/ 2147483647 h 27"/>
                    <a:gd name="T12" fmla="*/ 2147483647 w 14"/>
                    <a:gd name="T13" fmla="*/ 0 h 27"/>
                    <a:gd name="T14" fmla="*/ 2147483647 w 14"/>
                    <a:gd name="T15" fmla="*/ 0 h 27"/>
                    <a:gd name="T16" fmla="*/ 2147483647 w 14"/>
                    <a:gd name="T17" fmla="*/ 0 h 27"/>
                    <a:gd name="T18" fmla="*/ 2147483647 w 14"/>
                    <a:gd name="T19" fmla="*/ 0 h 27"/>
                    <a:gd name="T20" fmla="*/ 2147483647 w 14"/>
                    <a:gd name="T21" fmla="*/ 2147483647 h 27"/>
                    <a:gd name="T22" fmla="*/ 0 w 14"/>
                    <a:gd name="T23" fmla="*/ 2147483647 h 27"/>
                    <a:gd name="T24" fmla="*/ 0 w 14"/>
                    <a:gd name="T25" fmla="*/ 2147483647 h 27"/>
                    <a:gd name="T26" fmla="*/ 0 w 14"/>
                    <a:gd name="T27" fmla="*/ 2147483647 h 27"/>
                    <a:gd name="T28" fmla="*/ 2147483647 w 14"/>
                    <a:gd name="T29" fmla="*/ 2147483647 h 27"/>
                    <a:gd name="T30" fmla="*/ 2147483647 w 14"/>
                    <a:gd name="T31" fmla="*/ 2147483647 h 27"/>
                    <a:gd name="T32" fmla="*/ 2147483647 w 14"/>
                    <a:gd name="T33" fmla="*/ 2147483647 h 27"/>
                    <a:gd name="T34" fmla="*/ 2147483647 w 14"/>
                    <a:gd name="T35" fmla="*/ 2147483647 h 27"/>
                    <a:gd name="T36" fmla="*/ 2147483647 w 14"/>
                    <a:gd name="T37" fmla="*/ 2147483647 h 27"/>
                    <a:gd name="T38" fmla="*/ 2147483647 w 14"/>
                    <a:gd name="T39" fmla="*/ 2147483647 h 27"/>
                    <a:gd name="T40" fmla="*/ 2147483647 w 14"/>
                    <a:gd name="T41" fmla="*/ 2147483647 h 27"/>
                    <a:gd name="T42" fmla="*/ 2147483647 w 14"/>
                    <a:gd name="T43" fmla="*/ 2147483647 h 27"/>
                    <a:gd name="T44" fmla="*/ 2147483647 w 14"/>
                    <a:gd name="T45" fmla="*/ 2147483647 h 2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4"/>
                    <a:gd name="T70" fmla="*/ 0 h 27"/>
                    <a:gd name="T71" fmla="*/ 14 w 14"/>
                    <a:gd name="T72" fmla="*/ 27 h 2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4" h="27">
                      <a:moveTo>
                        <a:pt x="12" y="13"/>
                      </a:moveTo>
                      <a:lnTo>
                        <a:pt x="12" y="13"/>
                      </a:lnTo>
                      <a:lnTo>
                        <a:pt x="13" y="7"/>
                      </a:lnTo>
                      <a:lnTo>
                        <a:pt x="14" y="5"/>
                      </a:lnTo>
                      <a:lnTo>
                        <a:pt x="14" y="1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3" y="5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2" y="16"/>
                      </a:lnTo>
                      <a:lnTo>
                        <a:pt x="4" y="19"/>
                      </a:lnTo>
                      <a:lnTo>
                        <a:pt x="7" y="23"/>
                      </a:lnTo>
                      <a:lnTo>
                        <a:pt x="9" y="27"/>
                      </a:lnTo>
                      <a:lnTo>
                        <a:pt x="11" y="25"/>
                      </a:lnTo>
                      <a:lnTo>
                        <a:pt x="12" y="21"/>
                      </a:lnTo>
                      <a:lnTo>
                        <a:pt x="12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7" name="Freeform 971">
                  <a:extLst>
                    <a:ext uri="{FF2B5EF4-FFF2-40B4-BE49-F238E27FC236}">
                      <a16:creationId xmlns:a16="http://schemas.microsoft.com/office/drawing/2014/main" id="{E49FAB9D-9CC3-F748-B3D5-EDBDD74D35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7010" y="2601296"/>
                  <a:ext cx="48836" cy="36997"/>
                </a:xfrm>
                <a:custGeom>
                  <a:avLst/>
                  <a:gdLst>
                    <a:gd name="T0" fmla="*/ 2147483647 w 36"/>
                    <a:gd name="T1" fmla="*/ 2147483647 h 25"/>
                    <a:gd name="T2" fmla="*/ 2147483647 w 36"/>
                    <a:gd name="T3" fmla="*/ 2147483647 h 25"/>
                    <a:gd name="T4" fmla="*/ 2147483647 w 36"/>
                    <a:gd name="T5" fmla="*/ 2147483647 h 25"/>
                    <a:gd name="T6" fmla="*/ 2147483647 w 36"/>
                    <a:gd name="T7" fmla="*/ 2147483647 h 25"/>
                    <a:gd name="T8" fmla="*/ 2147483647 w 36"/>
                    <a:gd name="T9" fmla="*/ 2147483647 h 25"/>
                    <a:gd name="T10" fmla="*/ 2147483647 w 36"/>
                    <a:gd name="T11" fmla="*/ 2147483647 h 25"/>
                    <a:gd name="T12" fmla="*/ 2147483647 w 36"/>
                    <a:gd name="T13" fmla="*/ 0 h 25"/>
                    <a:gd name="T14" fmla="*/ 2147483647 w 36"/>
                    <a:gd name="T15" fmla="*/ 2147483647 h 25"/>
                    <a:gd name="T16" fmla="*/ 2147483647 w 36"/>
                    <a:gd name="T17" fmla="*/ 2147483647 h 25"/>
                    <a:gd name="T18" fmla="*/ 2147483647 w 36"/>
                    <a:gd name="T19" fmla="*/ 2147483647 h 25"/>
                    <a:gd name="T20" fmla="*/ 2147483647 w 36"/>
                    <a:gd name="T21" fmla="*/ 2147483647 h 25"/>
                    <a:gd name="T22" fmla="*/ 2147483647 w 36"/>
                    <a:gd name="T23" fmla="*/ 2147483647 h 25"/>
                    <a:gd name="T24" fmla="*/ 0 w 36"/>
                    <a:gd name="T25" fmla="*/ 2147483647 h 25"/>
                    <a:gd name="T26" fmla="*/ 0 w 36"/>
                    <a:gd name="T27" fmla="*/ 2147483647 h 25"/>
                    <a:gd name="T28" fmla="*/ 2147483647 w 36"/>
                    <a:gd name="T29" fmla="*/ 2147483647 h 25"/>
                    <a:gd name="T30" fmla="*/ 2147483647 w 36"/>
                    <a:gd name="T31" fmla="*/ 2147483647 h 25"/>
                    <a:gd name="T32" fmla="*/ 2147483647 w 36"/>
                    <a:gd name="T33" fmla="*/ 2147483647 h 25"/>
                    <a:gd name="T34" fmla="*/ 2147483647 w 36"/>
                    <a:gd name="T35" fmla="*/ 2147483647 h 25"/>
                    <a:gd name="T36" fmla="*/ 2147483647 w 36"/>
                    <a:gd name="T37" fmla="*/ 2147483647 h 25"/>
                    <a:gd name="T38" fmla="*/ 2147483647 w 36"/>
                    <a:gd name="T39" fmla="*/ 2147483647 h 25"/>
                    <a:gd name="T40" fmla="*/ 2147483647 w 36"/>
                    <a:gd name="T41" fmla="*/ 2147483647 h 25"/>
                    <a:gd name="T42" fmla="*/ 2147483647 w 36"/>
                    <a:gd name="T43" fmla="*/ 2147483647 h 25"/>
                    <a:gd name="T44" fmla="*/ 2147483647 w 36"/>
                    <a:gd name="T45" fmla="*/ 2147483647 h 25"/>
                    <a:gd name="T46" fmla="*/ 2147483647 w 36"/>
                    <a:gd name="T47" fmla="*/ 2147483647 h 25"/>
                    <a:gd name="T48" fmla="*/ 2147483647 w 36"/>
                    <a:gd name="T49" fmla="*/ 2147483647 h 25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6"/>
                    <a:gd name="T76" fmla="*/ 0 h 25"/>
                    <a:gd name="T77" fmla="*/ 36 w 36"/>
                    <a:gd name="T78" fmla="*/ 25 h 25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6" h="25">
                      <a:moveTo>
                        <a:pt x="30" y="15"/>
                      </a:moveTo>
                      <a:lnTo>
                        <a:pt x="33" y="11"/>
                      </a:lnTo>
                      <a:lnTo>
                        <a:pt x="35" y="7"/>
                      </a:lnTo>
                      <a:lnTo>
                        <a:pt x="36" y="4"/>
                      </a:lnTo>
                      <a:lnTo>
                        <a:pt x="35" y="2"/>
                      </a:lnTo>
                      <a:lnTo>
                        <a:pt x="33" y="2"/>
                      </a:lnTo>
                      <a:lnTo>
                        <a:pt x="29" y="0"/>
                      </a:lnTo>
                      <a:lnTo>
                        <a:pt x="24" y="2"/>
                      </a:lnTo>
                      <a:lnTo>
                        <a:pt x="15" y="4"/>
                      </a:lnTo>
                      <a:lnTo>
                        <a:pt x="11" y="5"/>
                      </a:lnTo>
                      <a:lnTo>
                        <a:pt x="7" y="9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0" y="16"/>
                      </a:lnTo>
                      <a:lnTo>
                        <a:pt x="3" y="19"/>
                      </a:lnTo>
                      <a:lnTo>
                        <a:pt x="6" y="23"/>
                      </a:lnTo>
                      <a:lnTo>
                        <a:pt x="10" y="25"/>
                      </a:lnTo>
                      <a:lnTo>
                        <a:pt x="14" y="25"/>
                      </a:lnTo>
                      <a:lnTo>
                        <a:pt x="17" y="24"/>
                      </a:lnTo>
                      <a:lnTo>
                        <a:pt x="19" y="23"/>
                      </a:lnTo>
                      <a:lnTo>
                        <a:pt x="20" y="21"/>
                      </a:lnTo>
                      <a:lnTo>
                        <a:pt x="22" y="18"/>
                      </a:lnTo>
                      <a:lnTo>
                        <a:pt x="24" y="17"/>
                      </a:lnTo>
                      <a:lnTo>
                        <a:pt x="27" y="17"/>
                      </a:lnTo>
                      <a:lnTo>
                        <a:pt x="30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8" name="Freeform 972">
                  <a:extLst>
                    <a:ext uri="{FF2B5EF4-FFF2-40B4-BE49-F238E27FC236}">
                      <a16:creationId xmlns:a16="http://schemas.microsoft.com/office/drawing/2014/main" id="{8B9C2592-FAD1-9A49-A650-1D9C87540A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3258" y="2095179"/>
                  <a:ext cx="210142" cy="171665"/>
                </a:xfrm>
                <a:custGeom>
                  <a:avLst/>
                  <a:gdLst>
                    <a:gd name="T0" fmla="*/ 2147483647 w 154"/>
                    <a:gd name="T1" fmla="*/ 2147483647 h 116"/>
                    <a:gd name="T2" fmla="*/ 2147483647 w 154"/>
                    <a:gd name="T3" fmla="*/ 2147483647 h 116"/>
                    <a:gd name="T4" fmla="*/ 2147483647 w 154"/>
                    <a:gd name="T5" fmla="*/ 2147483647 h 116"/>
                    <a:gd name="T6" fmla="*/ 2147483647 w 154"/>
                    <a:gd name="T7" fmla="*/ 2147483647 h 116"/>
                    <a:gd name="T8" fmla="*/ 2147483647 w 154"/>
                    <a:gd name="T9" fmla="*/ 2147483647 h 116"/>
                    <a:gd name="T10" fmla="*/ 2147483647 w 154"/>
                    <a:gd name="T11" fmla="*/ 2147483647 h 116"/>
                    <a:gd name="T12" fmla="*/ 2147483647 w 154"/>
                    <a:gd name="T13" fmla="*/ 2147483647 h 116"/>
                    <a:gd name="T14" fmla="*/ 2147483647 w 154"/>
                    <a:gd name="T15" fmla="*/ 2147483647 h 116"/>
                    <a:gd name="T16" fmla="*/ 2147483647 w 154"/>
                    <a:gd name="T17" fmla="*/ 2147483647 h 116"/>
                    <a:gd name="T18" fmla="*/ 2147483647 w 154"/>
                    <a:gd name="T19" fmla="*/ 0 h 116"/>
                    <a:gd name="T20" fmla="*/ 2147483647 w 154"/>
                    <a:gd name="T21" fmla="*/ 2147483647 h 116"/>
                    <a:gd name="T22" fmla="*/ 2147483647 w 154"/>
                    <a:gd name="T23" fmla="*/ 2147483647 h 116"/>
                    <a:gd name="T24" fmla="*/ 2147483647 w 154"/>
                    <a:gd name="T25" fmla="*/ 2147483647 h 116"/>
                    <a:gd name="T26" fmla="*/ 2147483647 w 154"/>
                    <a:gd name="T27" fmla="*/ 2147483647 h 116"/>
                    <a:gd name="T28" fmla="*/ 2147483647 w 154"/>
                    <a:gd name="T29" fmla="*/ 2147483647 h 116"/>
                    <a:gd name="T30" fmla="*/ 2147483647 w 154"/>
                    <a:gd name="T31" fmla="*/ 2147483647 h 116"/>
                    <a:gd name="T32" fmla="*/ 2147483647 w 154"/>
                    <a:gd name="T33" fmla="*/ 2147483647 h 116"/>
                    <a:gd name="T34" fmla="*/ 2147483647 w 154"/>
                    <a:gd name="T35" fmla="*/ 2147483647 h 116"/>
                    <a:gd name="T36" fmla="*/ 2147483647 w 154"/>
                    <a:gd name="T37" fmla="*/ 2147483647 h 116"/>
                    <a:gd name="T38" fmla="*/ 2147483647 w 154"/>
                    <a:gd name="T39" fmla="*/ 2147483647 h 116"/>
                    <a:gd name="T40" fmla="*/ 2147483647 w 154"/>
                    <a:gd name="T41" fmla="*/ 2147483647 h 116"/>
                    <a:gd name="T42" fmla="*/ 2147483647 w 154"/>
                    <a:gd name="T43" fmla="*/ 2147483647 h 116"/>
                    <a:gd name="T44" fmla="*/ 0 w 154"/>
                    <a:gd name="T45" fmla="*/ 2147483647 h 116"/>
                    <a:gd name="T46" fmla="*/ 2147483647 w 154"/>
                    <a:gd name="T47" fmla="*/ 2147483647 h 116"/>
                    <a:gd name="T48" fmla="*/ 2147483647 w 154"/>
                    <a:gd name="T49" fmla="*/ 2147483647 h 116"/>
                    <a:gd name="T50" fmla="*/ 2147483647 w 154"/>
                    <a:gd name="T51" fmla="*/ 2147483647 h 116"/>
                    <a:gd name="T52" fmla="*/ 2147483647 w 154"/>
                    <a:gd name="T53" fmla="*/ 2147483647 h 116"/>
                    <a:gd name="T54" fmla="*/ 2147483647 w 154"/>
                    <a:gd name="T55" fmla="*/ 2147483647 h 116"/>
                    <a:gd name="T56" fmla="*/ 2147483647 w 154"/>
                    <a:gd name="T57" fmla="*/ 2147483647 h 116"/>
                    <a:gd name="T58" fmla="*/ 2147483647 w 154"/>
                    <a:gd name="T59" fmla="*/ 2147483647 h 116"/>
                    <a:gd name="T60" fmla="*/ 2147483647 w 154"/>
                    <a:gd name="T61" fmla="*/ 2147483647 h 116"/>
                    <a:gd name="T62" fmla="*/ 2147483647 w 154"/>
                    <a:gd name="T63" fmla="*/ 2147483647 h 116"/>
                    <a:gd name="T64" fmla="*/ 2147483647 w 154"/>
                    <a:gd name="T65" fmla="*/ 2147483647 h 116"/>
                    <a:gd name="T66" fmla="*/ 2147483647 w 154"/>
                    <a:gd name="T67" fmla="*/ 2147483647 h 116"/>
                    <a:gd name="T68" fmla="*/ 2147483647 w 154"/>
                    <a:gd name="T69" fmla="*/ 2147483647 h 116"/>
                    <a:gd name="T70" fmla="*/ 2147483647 w 154"/>
                    <a:gd name="T71" fmla="*/ 2147483647 h 116"/>
                    <a:gd name="T72" fmla="*/ 2147483647 w 154"/>
                    <a:gd name="T73" fmla="*/ 2147483647 h 116"/>
                    <a:gd name="T74" fmla="*/ 2147483647 w 154"/>
                    <a:gd name="T75" fmla="*/ 2147483647 h 116"/>
                    <a:gd name="T76" fmla="*/ 2147483647 w 154"/>
                    <a:gd name="T77" fmla="*/ 2147483647 h 116"/>
                    <a:gd name="T78" fmla="*/ 2147483647 w 154"/>
                    <a:gd name="T79" fmla="*/ 2147483647 h 116"/>
                    <a:gd name="T80" fmla="*/ 2147483647 w 154"/>
                    <a:gd name="T81" fmla="*/ 2147483647 h 116"/>
                    <a:gd name="T82" fmla="*/ 2147483647 w 154"/>
                    <a:gd name="T83" fmla="*/ 2147483647 h 116"/>
                    <a:gd name="T84" fmla="*/ 2147483647 w 154"/>
                    <a:gd name="T85" fmla="*/ 2147483647 h 116"/>
                    <a:gd name="T86" fmla="*/ 2147483647 w 154"/>
                    <a:gd name="T87" fmla="*/ 2147483647 h 116"/>
                    <a:gd name="T88" fmla="*/ 2147483647 w 154"/>
                    <a:gd name="T89" fmla="*/ 2147483647 h 116"/>
                    <a:gd name="T90" fmla="*/ 2147483647 w 154"/>
                    <a:gd name="T91" fmla="*/ 2147483647 h 116"/>
                    <a:gd name="T92" fmla="*/ 2147483647 w 154"/>
                    <a:gd name="T93" fmla="*/ 2147483647 h 116"/>
                    <a:gd name="T94" fmla="*/ 2147483647 w 154"/>
                    <a:gd name="T95" fmla="*/ 2147483647 h 116"/>
                    <a:gd name="T96" fmla="*/ 2147483647 w 154"/>
                    <a:gd name="T97" fmla="*/ 2147483647 h 116"/>
                    <a:gd name="T98" fmla="*/ 2147483647 w 154"/>
                    <a:gd name="T99" fmla="*/ 2147483647 h 116"/>
                    <a:gd name="T100" fmla="*/ 2147483647 w 154"/>
                    <a:gd name="T101" fmla="*/ 2147483647 h 116"/>
                    <a:gd name="T102" fmla="*/ 2147483647 w 154"/>
                    <a:gd name="T103" fmla="*/ 2147483647 h 11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54"/>
                    <a:gd name="T157" fmla="*/ 0 h 116"/>
                    <a:gd name="T158" fmla="*/ 154 w 154"/>
                    <a:gd name="T159" fmla="*/ 116 h 11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54" h="116">
                      <a:moveTo>
                        <a:pt x="137" y="22"/>
                      </a:moveTo>
                      <a:lnTo>
                        <a:pt x="132" y="20"/>
                      </a:lnTo>
                      <a:lnTo>
                        <a:pt x="128" y="18"/>
                      </a:lnTo>
                      <a:lnTo>
                        <a:pt x="125" y="14"/>
                      </a:lnTo>
                      <a:lnTo>
                        <a:pt x="121" y="13"/>
                      </a:lnTo>
                      <a:lnTo>
                        <a:pt x="118" y="12"/>
                      </a:lnTo>
                      <a:lnTo>
                        <a:pt x="117" y="13"/>
                      </a:lnTo>
                      <a:lnTo>
                        <a:pt x="113" y="16"/>
                      </a:lnTo>
                      <a:lnTo>
                        <a:pt x="112" y="20"/>
                      </a:lnTo>
                      <a:lnTo>
                        <a:pt x="109" y="25"/>
                      </a:lnTo>
                      <a:lnTo>
                        <a:pt x="107" y="26"/>
                      </a:lnTo>
                      <a:lnTo>
                        <a:pt x="104" y="26"/>
                      </a:lnTo>
                      <a:lnTo>
                        <a:pt x="100" y="22"/>
                      </a:lnTo>
                      <a:lnTo>
                        <a:pt x="97" y="19"/>
                      </a:lnTo>
                      <a:lnTo>
                        <a:pt x="94" y="16"/>
                      </a:lnTo>
                      <a:lnTo>
                        <a:pt x="89" y="14"/>
                      </a:lnTo>
                      <a:lnTo>
                        <a:pt x="76" y="8"/>
                      </a:lnTo>
                      <a:lnTo>
                        <a:pt x="70" y="4"/>
                      </a:lnTo>
                      <a:lnTo>
                        <a:pt x="64" y="1"/>
                      </a:lnTo>
                      <a:lnTo>
                        <a:pt x="61" y="0"/>
                      </a:lnTo>
                      <a:lnTo>
                        <a:pt x="59" y="1"/>
                      </a:lnTo>
                      <a:lnTo>
                        <a:pt x="56" y="3"/>
                      </a:lnTo>
                      <a:lnTo>
                        <a:pt x="52" y="6"/>
                      </a:lnTo>
                      <a:lnTo>
                        <a:pt x="40" y="9"/>
                      </a:lnTo>
                      <a:lnTo>
                        <a:pt x="26" y="14"/>
                      </a:lnTo>
                      <a:lnTo>
                        <a:pt x="24" y="15"/>
                      </a:lnTo>
                      <a:lnTo>
                        <a:pt x="26" y="19"/>
                      </a:lnTo>
                      <a:lnTo>
                        <a:pt x="29" y="26"/>
                      </a:lnTo>
                      <a:lnTo>
                        <a:pt x="31" y="29"/>
                      </a:lnTo>
                      <a:lnTo>
                        <a:pt x="31" y="33"/>
                      </a:lnTo>
                      <a:lnTo>
                        <a:pt x="27" y="36"/>
                      </a:lnTo>
                      <a:lnTo>
                        <a:pt x="23" y="41"/>
                      </a:lnTo>
                      <a:lnTo>
                        <a:pt x="19" y="45"/>
                      </a:lnTo>
                      <a:lnTo>
                        <a:pt x="15" y="50"/>
                      </a:lnTo>
                      <a:lnTo>
                        <a:pt x="14" y="52"/>
                      </a:lnTo>
                      <a:lnTo>
                        <a:pt x="12" y="52"/>
                      </a:lnTo>
                      <a:lnTo>
                        <a:pt x="9" y="52"/>
                      </a:lnTo>
                      <a:lnTo>
                        <a:pt x="7" y="53"/>
                      </a:lnTo>
                      <a:lnTo>
                        <a:pt x="4" y="55"/>
                      </a:lnTo>
                      <a:lnTo>
                        <a:pt x="4" y="58"/>
                      </a:lnTo>
                      <a:lnTo>
                        <a:pt x="4" y="64"/>
                      </a:lnTo>
                      <a:lnTo>
                        <a:pt x="5" y="71"/>
                      </a:lnTo>
                      <a:lnTo>
                        <a:pt x="5" y="77"/>
                      </a:lnTo>
                      <a:lnTo>
                        <a:pt x="3" y="82"/>
                      </a:lnTo>
                      <a:lnTo>
                        <a:pt x="0" y="86"/>
                      </a:lnTo>
                      <a:lnTo>
                        <a:pt x="0" y="89"/>
                      </a:lnTo>
                      <a:lnTo>
                        <a:pt x="1" y="90"/>
                      </a:lnTo>
                      <a:lnTo>
                        <a:pt x="10" y="92"/>
                      </a:lnTo>
                      <a:lnTo>
                        <a:pt x="18" y="95"/>
                      </a:lnTo>
                      <a:lnTo>
                        <a:pt x="26" y="98"/>
                      </a:lnTo>
                      <a:lnTo>
                        <a:pt x="32" y="103"/>
                      </a:lnTo>
                      <a:lnTo>
                        <a:pt x="33" y="105"/>
                      </a:lnTo>
                      <a:lnTo>
                        <a:pt x="33" y="108"/>
                      </a:lnTo>
                      <a:lnTo>
                        <a:pt x="33" y="110"/>
                      </a:lnTo>
                      <a:lnTo>
                        <a:pt x="34" y="112"/>
                      </a:lnTo>
                      <a:lnTo>
                        <a:pt x="37" y="114"/>
                      </a:lnTo>
                      <a:lnTo>
                        <a:pt x="41" y="115"/>
                      </a:lnTo>
                      <a:lnTo>
                        <a:pt x="43" y="115"/>
                      </a:lnTo>
                      <a:lnTo>
                        <a:pt x="47" y="116"/>
                      </a:lnTo>
                      <a:lnTo>
                        <a:pt x="48" y="116"/>
                      </a:lnTo>
                      <a:lnTo>
                        <a:pt x="50" y="115"/>
                      </a:lnTo>
                      <a:lnTo>
                        <a:pt x="51" y="112"/>
                      </a:lnTo>
                      <a:lnTo>
                        <a:pt x="53" y="111"/>
                      </a:lnTo>
                      <a:lnTo>
                        <a:pt x="57" y="110"/>
                      </a:lnTo>
                      <a:lnTo>
                        <a:pt x="60" y="109"/>
                      </a:lnTo>
                      <a:lnTo>
                        <a:pt x="65" y="105"/>
                      </a:lnTo>
                      <a:lnTo>
                        <a:pt x="66" y="105"/>
                      </a:lnTo>
                      <a:lnTo>
                        <a:pt x="67" y="105"/>
                      </a:lnTo>
                      <a:lnTo>
                        <a:pt x="69" y="106"/>
                      </a:lnTo>
                      <a:lnTo>
                        <a:pt x="70" y="106"/>
                      </a:lnTo>
                      <a:lnTo>
                        <a:pt x="79" y="102"/>
                      </a:lnTo>
                      <a:lnTo>
                        <a:pt x="83" y="99"/>
                      </a:lnTo>
                      <a:lnTo>
                        <a:pt x="87" y="97"/>
                      </a:lnTo>
                      <a:lnTo>
                        <a:pt x="87" y="95"/>
                      </a:lnTo>
                      <a:lnTo>
                        <a:pt x="87" y="93"/>
                      </a:lnTo>
                      <a:lnTo>
                        <a:pt x="85" y="90"/>
                      </a:lnTo>
                      <a:lnTo>
                        <a:pt x="85" y="87"/>
                      </a:lnTo>
                      <a:lnTo>
                        <a:pt x="87" y="86"/>
                      </a:lnTo>
                      <a:lnTo>
                        <a:pt x="90" y="85"/>
                      </a:lnTo>
                      <a:lnTo>
                        <a:pt x="93" y="84"/>
                      </a:lnTo>
                      <a:lnTo>
                        <a:pt x="95" y="76"/>
                      </a:lnTo>
                      <a:lnTo>
                        <a:pt x="100" y="68"/>
                      </a:lnTo>
                      <a:lnTo>
                        <a:pt x="103" y="66"/>
                      </a:lnTo>
                      <a:lnTo>
                        <a:pt x="106" y="64"/>
                      </a:lnTo>
                      <a:lnTo>
                        <a:pt x="109" y="61"/>
                      </a:lnTo>
                      <a:lnTo>
                        <a:pt x="113" y="61"/>
                      </a:lnTo>
                      <a:lnTo>
                        <a:pt x="117" y="63"/>
                      </a:lnTo>
                      <a:lnTo>
                        <a:pt x="118" y="63"/>
                      </a:lnTo>
                      <a:lnTo>
                        <a:pt x="121" y="61"/>
                      </a:lnTo>
                      <a:lnTo>
                        <a:pt x="122" y="60"/>
                      </a:lnTo>
                      <a:lnTo>
                        <a:pt x="125" y="58"/>
                      </a:lnTo>
                      <a:lnTo>
                        <a:pt x="126" y="55"/>
                      </a:lnTo>
                      <a:lnTo>
                        <a:pt x="128" y="54"/>
                      </a:lnTo>
                      <a:lnTo>
                        <a:pt x="132" y="54"/>
                      </a:lnTo>
                      <a:lnTo>
                        <a:pt x="135" y="53"/>
                      </a:lnTo>
                      <a:lnTo>
                        <a:pt x="139" y="50"/>
                      </a:lnTo>
                      <a:lnTo>
                        <a:pt x="142" y="46"/>
                      </a:lnTo>
                      <a:lnTo>
                        <a:pt x="150" y="42"/>
                      </a:lnTo>
                      <a:lnTo>
                        <a:pt x="153" y="40"/>
                      </a:lnTo>
                      <a:lnTo>
                        <a:pt x="154" y="38"/>
                      </a:lnTo>
                      <a:lnTo>
                        <a:pt x="153" y="36"/>
                      </a:lnTo>
                      <a:lnTo>
                        <a:pt x="150" y="32"/>
                      </a:lnTo>
                      <a:lnTo>
                        <a:pt x="145" y="28"/>
                      </a:lnTo>
                      <a:lnTo>
                        <a:pt x="133" y="21"/>
                      </a:lnTo>
                      <a:lnTo>
                        <a:pt x="137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Freeform 973">
                  <a:extLst>
                    <a:ext uri="{FF2B5EF4-FFF2-40B4-BE49-F238E27FC236}">
                      <a16:creationId xmlns:a16="http://schemas.microsoft.com/office/drawing/2014/main" id="{2C328613-8E31-B74C-923B-4D4AF64C81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4052" y="2599821"/>
                  <a:ext cx="50316" cy="36996"/>
                </a:xfrm>
                <a:custGeom>
                  <a:avLst/>
                  <a:gdLst>
                    <a:gd name="T0" fmla="*/ 2147483647 w 37"/>
                    <a:gd name="T1" fmla="*/ 2147483647 h 25"/>
                    <a:gd name="T2" fmla="*/ 2147483647 w 37"/>
                    <a:gd name="T3" fmla="*/ 2147483647 h 25"/>
                    <a:gd name="T4" fmla="*/ 2147483647 w 37"/>
                    <a:gd name="T5" fmla="*/ 2147483647 h 25"/>
                    <a:gd name="T6" fmla="*/ 2147483647 w 37"/>
                    <a:gd name="T7" fmla="*/ 2147483647 h 25"/>
                    <a:gd name="T8" fmla="*/ 2147483647 w 37"/>
                    <a:gd name="T9" fmla="*/ 2147483647 h 25"/>
                    <a:gd name="T10" fmla="*/ 2147483647 w 37"/>
                    <a:gd name="T11" fmla="*/ 2147483647 h 25"/>
                    <a:gd name="T12" fmla="*/ 2147483647 w 37"/>
                    <a:gd name="T13" fmla="*/ 2147483647 h 25"/>
                    <a:gd name="T14" fmla="*/ 2147483647 w 37"/>
                    <a:gd name="T15" fmla="*/ 2147483647 h 25"/>
                    <a:gd name="T16" fmla="*/ 2147483647 w 37"/>
                    <a:gd name="T17" fmla="*/ 0 h 25"/>
                    <a:gd name="T18" fmla="*/ 2147483647 w 37"/>
                    <a:gd name="T19" fmla="*/ 2147483647 h 25"/>
                    <a:gd name="T20" fmla="*/ 2147483647 w 37"/>
                    <a:gd name="T21" fmla="*/ 2147483647 h 25"/>
                    <a:gd name="T22" fmla="*/ 2147483647 w 37"/>
                    <a:gd name="T23" fmla="*/ 2147483647 h 25"/>
                    <a:gd name="T24" fmla="*/ 2147483647 w 37"/>
                    <a:gd name="T25" fmla="*/ 2147483647 h 25"/>
                    <a:gd name="T26" fmla="*/ 2147483647 w 37"/>
                    <a:gd name="T27" fmla="*/ 2147483647 h 25"/>
                    <a:gd name="T28" fmla="*/ 2147483647 w 37"/>
                    <a:gd name="T29" fmla="*/ 2147483647 h 25"/>
                    <a:gd name="T30" fmla="*/ 0 w 37"/>
                    <a:gd name="T31" fmla="*/ 2147483647 h 25"/>
                    <a:gd name="T32" fmla="*/ 0 w 37"/>
                    <a:gd name="T33" fmla="*/ 2147483647 h 25"/>
                    <a:gd name="T34" fmla="*/ 0 w 37"/>
                    <a:gd name="T35" fmla="*/ 2147483647 h 25"/>
                    <a:gd name="T36" fmla="*/ 0 w 37"/>
                    <a:gd name="T37" fmla="*/ 2147483647 h 25"/>
                    <a:gd name="T38" fmla="*/ 2147483647 w 37"/>
                    <a:gd name="T39" fmla="*/ 2147483647 h 25"/>
                    <a:gd name="T40" fmla="*/ 2147483647 w 37"/>
                    <a:gd name="T41" fmla="*/ 2147483647 h 25"/>
                    <a:gd name="T42" fmla="*/ 2147483647 w 37"/>
                    <a:gd name="T43" fmla="*/ 2147483647 h 25"/>
                    <a:gd name="T44" fmla="*/ 2147483647 w 37"/>
                    <a:gd name="T45" fmla="*/ 2147483647 h 25"/>
                    <a:gd name="T46" fmla="*/ 2147483647 w 37"/>
                    <a:gd name="T47" fmla="*/ 2147483647 h 25"/>
                    <a:gd name="T48" fmla="*/ 2147483647 w 37"/>
                    <a:gd name="T49" fmla="*/ 2147483647 h 25"/>
                    <a:gd name="T50" fmla="*/ 2147483647 w 37"/>
                    <a:gd name="T51" fmla="*/ 2147483647 h 25"/>
                    <a:gd name="T52" fmla="*/ 2147483647 w 37"/>
                    <a:gd name="T53" fmla="*/ 2147483647 h 25"/>
                    <a:gd name="T54" fmla="*/ 2147483647 w 37"/>
                    <a:gd name="T55" fmla="*/ 2147483647 h 25"/>
                    <a:gd name="T56" fmla="*/ 2147483647 w 37"/>
                    <a:gd name="T57" fmla="*/ 2147483647 h 25"/>
                    <a:gd name="T58" fmla="*/ 2147483647 w 37"/>
                    <a:gd name="T59" fmla="*/ 2147483647 h 25"/>
                    <a:gd name="T60" fmla="*/ 2147483647 w 37"/>
                    <a:gd name="T61" fmla="*/ 2147483647 h 25"/>
                    <a:gd name="T62" fmla="*/ 2147483647 w 37"/>
                    <a:gd name="T63" fmla="*/ 2147483647 h 25"/>
                    <a:gd name="T64" fmla="*/ 2147483647 w 37"/>
                    <a:gd name="T65" fmla="*/ 2147483647 h 2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7"/>
                    <a:gd name="T100" fmla="*/ 0 h 25"/>
                    <a:gd name="T101" fmla="*/ 37 w 37"/>
                    <a:gd name="T102" fmla="*/ 25 h 2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7" h="25">
                      <a:moveTo>
                        <a:pt x="31" y="14"/>
                      </a:moveTo>
                      <a:lnTo>
                        <a:pt x="31" y="14"/>
                      </a:lnTo>
                      <a:lnTo>
                        <a:pt x="33" y="11"/>
                      </a:lnTo>
                      <a:lnTo>
                        <a:pt x="36" y="7"/>
                      </a:lnTo>
                      <a:lnTo>
                        <a:pt x="37" y="4"/>
                      </a:lnTo>
                      <a:lnTo>
                        <a:pt x="36" y="1"/>
                      </a:lnTo>
                      <a:lnTo>
                        <a:pt x="33" y="1"/>
                      </a:lnTo>
                      <a:lnTo>
                        <a:pt x="29" y="0"/>
                      </a:lnTo>
                      <a:lnTo>
                        <a:pt x="24" y="1"/>
                      </a:lnTo>
                      <a:lnTo>
                        <a:pt x="16" y="4"/>
                      </a:lnTo>
                      <a:lnTo>
                        <a:pt x="12" y="5"/>
                      </a:lnTo>
                      <a:lnTo>
                        <a:pt x="8" y="8"/>
                      </a:lnTo>
                      <a:lnTo>
                        <a:pt x="4" y="11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4" y="19"/>
                      </a:lnTo>
                      <a:lnTo>
                        <a:pt x="7" y="23"/>
                      </a:lnTo>
                      <a:lnTo>
                        <a:pt x="10" y="25"/>
                      </a:lnTo>
                      <a:lnTo>
                        <a:pt x="14" y="25"/>
                      </a:lnTo>
                      <a:lnTo>
                        <a:pt x="18" y="24"/>
                      </a:lnTo>
                      <a:lnTo>
                        <a:pt x="19" y="23"/>
                      </a:lnTo>
                      <a:lnTo>
                        <a:pt x="21" y="20"/>
                      </a:lnTo>
                      <a:lnTo>
                        <a:pt x="23" y="18"/>
                      </a:lnTo>
                      <a:lnTo>
                        <a:pt x="24" y="17"/>
                      </a:lnTo>
                      <a:lnTo>
                        <a:pt x="28" y="17"/>
                      </a:lnTo>
                      <a:lnTo>
                        <a:pt x="31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974">
                  <a:extLst>
                    <a:ext uri="{FF2B5EF4-FFF2-40B4-BE49-F238E27FC236}">
                      <a16:creationId xmlns:a16="http://schemas.microsoft.com/office/drawing/2014/main" id="{46117EC3-FB64-B148-AA40-6CA8FF42E2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1779" y="2093700"/>
                  <a:ext cx="210142" cy="171665"/>
                </a:xfrm>
                <a:custGeom>
                  <a:avLst/>
                  <a:gdLst>
                    <a:gd name="T0" fmla="*/ 2147483647 w 154"/>
                    <a:gd name="T1" fmla="*/ 2147483647 h 116"/>
                    <a:gd name="T2" fmla="*/ 2147483647 w 154"/>
                    <a:gd name="T3" fmla="*/ 2147483647 h 116"/>
                    <a:gd name="T4" fmla="*/ 2147483647 w 154"/>
                    <a:gd name="T5" fmla="*/ 2147483647 h 116"/>
                    <a:gd name="T6" fmla="*/ 2147483647 w 154"/>
                    <a:gd name="T7" fmla="*/ 2147483647 h 116"/>
                    <a:gd name="T8" fmla="*/ 2147483647 w 154"/>
                    <a:gd name="T9" fmla="*/ 2147483647 h 116"/>
                    <a:gd name="T10" fmla="*/ 2147483647 w 154"/>
                    <a:gd name="T11" fmla="*/ 2147483647 h 116"/>
                    <a:gd name="T12" fmla="*/ 2147483647 w 154"/>
                    <a:gd name="T13" fmla="*/ 2147483647 h 116"/>
                    <a:gd name="T14" fmla="*/ 2147483647 w 154"/>
                    <a:gd name="T15" fmla="*/ 2147483647 h 116"/>
                    <a:gd name="T16" fmla="*/ 2147483647 w 154"/>
                    <a:gd name="T17" fmla="*/ 2147483647 h 116"/>
                    <a:gd name="T18" fmla="*/ 2147483647 w 154"/>
                    <a:gd name="T19" fmla="*/ 2147483647 h 116"/>
                    <a:gd name="T20" fmla="*/ 2147483647 w 154"/>
                    <a:gd name="T21" fmla="*/ 2147483647 h 116"/>
                    <a:gd name="T22" fmla="*/ 2147483647 w 154"/>
                    <a:gd name="T23" fmla="*/ 2147483647 h 116"/>
                    <a:gd name="T24" fmla="*/ 2147483647 w 154"/>
                    <a:gd name="T25" fmla="*/ 2147483647 h 116"/>
                    <a:gd name="T26" fmla="*/ 2147483647 w 154"/>
                    <a:gd name="T27" fmla="*/ 2147483647 h 116"/>
                    <a:gd name="T28" fmla="*/ 2147483647 w 154"/>
                    <a:gd name="T29" fmla="*/ 2147483647 h 116"/>
                    <a:gd name="T30" fmla="*/ 2147483647 w 154"/>
                    <a:gd name="T31" fmla="*/ 2147483647 h 116"/>
                    <a:gd name="T32" fmla="*/ 2147483647 w 154"/>
                    <a:gd name="T33" fmla="*/ 2147483647 h 116"/>
                    <a:gd name="T34" fmla="*/ 2147483647 w 154"/>
                    <a:gd name="T35" fmla="*/ 2147483647 h 116"/>
                    <a:gd name="T36" fmla="*/ 2147483647 w 154"/>
                    <a:gd name="T37" fmla="*/ 2147483647 h 116"/>
                    <a:gd name="T38" fmla="*/ 0 w 154"/>
                    <a:gd name="T39" fmla="*/ 2147483647 h 116"/>
                    <a:gd name="T40" fmla="*/ 2147483647 w 154"/>
                    <a:gd name="T41" fmla="*/ 2147483647 h 116"/>
                    <a:gd name="T42" fmla="*/ 2147483647 w 154"/>
                    <a:gd name="T43" fmla="*/ 2147483647 h 116"/>
                    <a:gd name="T44" fmla="*/ 2147483647 w 154"/>
                    <a:gd name="T45" fmla="*/ 2147483647 h 116"/>
                    <a:gd name="T46" fmla="*/ 2147483647 w 154"/>
                    <a:gd name="T47" fmla="*/ 2147483647 h 116"/>
                    <a:gd name="T48" fmla="*/ 2147483647 w 154"/>
                    <a:gd name="T49" fmla="*/ 2147483647 h 116"/>
                    <a:gd name="T50" fmla="*/ 2147483647 w 154"/>
                    <a:gd name="T51" fmla="*/ 2147483647 h 116"/>
                    <a:gd name="T52" fmla="*/ 2147483647 w 154"/>
                    <a:gd name="T53" fmla="*/ 2147483647 h 116"/>
                    <a:gd name="T54" fmla="*/ 2147483647 w 154"/>
                    <a:gd name="T55" fmla="*/ 2147483647 h 116"/>
                    <a:gd name="T56" fmla="*/ 2147483647 w 154"/>
                    <a:gd name="T57" fmla="*/ 2147483647 h 116"/>
                    <a:gd name="T58" fmla="*/ 2147483647 w 154"/>
                    <a:gd name="T59" fmla="*/ 2147483647 h 116"/>
                    <a:gd name="T60" fmla="*/ 2147483647 w 154"/>
                    <a:gd name="T61" fmla="*/ 2147483647 h 116"/>
                    <a:gd name="T62" fmla="*/ 2147483647 w 154"/>
                    <a:gd name="T63" fmla="*/ 2147483647 h 116"/>
                    <a:gd name="T64" fmla="*/ 2147483647 w 154"/>
                    <a:gd name="T65" fmla="*/ 2147483647 h 116"/>
                    <a:gd name="T66" fmla="*/ 2147483647 w 154"/>
                    <a:gd name="T67" fmla="*/ 2147483647 h 116"/>
                    <a:gd name="T68" fmla="*/ 2147483647 w 154"/>
                    <a:gd name="T69" fmla="*/ 2147483647 h 116"/>
                    <a:gd name="T70" fmla="*/ 2147483647 w 154"/>
                    <a:gd name="T71" fmla="*/ 2147483647 h 116"/>
                    <a:gd name="T72" fmla="*/ 2147483647 w 154"/>
                    <a:gd name="T73" fmla="*/ 2147483647 h 116"/>
                    <a:gd name="T74" fmla="*/ 2147483647 w 154"/>
                    <a:gd name="T75" fmla="*/ 2147483647 h 116"/>
                    <a:gd name="T76" fmla="*/ 2147483647 w 154"/>
                    <a:gd name="T77" fmla="*/ 2147483647 h 116"/>
                    <a:gd name="T78" fmla="*/ 2147483647 w 154"/>
                    <a:gd name="T79" fmla="*/ 2147483647 h 116"/>
                    <a:gd name="T80" fmla="*/ 2147483647 w 154"/>
                    <a:gd name="T81" fmla="*/ 2147483647 h 116"/>
                    <a:gd name="T82" fmla="*/ 2147483647 w 154"/>
                    <a:gd name="T83" fmla="*/ 2147483647 h 116"/>
                    <a:gd name="T84" fmla="*/ 2147483647 w 154"/>
                    <a:gd name="T85" fmla="*/ 2147483647 h 116"/>
                    <a:gd name="T86" fmla="*/ 2147483647 w 154"/>
                    <a:gd name="T87" fmla="*/ 2147483647 h 116"/>
                    <a:gd name="T88" fmla="*/ 2147483647 w 154"/>
                    <a:gd name="T89" fmla="*/ 2147483647 h 116"/>
                    <a:gd name="T90" fmla="*/ 2147483647 w 154"/>
                    <a:gd name="T91" fmla="*/ 2147483647 h 11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54"/>
                    <a:gd name="T139" fmla="*/ 0 h 116"/>
                    <a:gd name="T140" fmla="*/ 154 w 154"/>
                    <a:gd name="T141" fmla="*/ 116 h 11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54" h="116">
                      <a:moveTo>
                        <a:pt x="137" y="22"/>
                      </a:moveTo>
                      <a:lnTo>
                        <a:pt x="137" y="22"/>
                      </a:lnTo>
                      <a:lnTo>
                        <a:pt x="132" y="20"/>
                      </a:lnTo>
                      <a:lnTo>
                        <a:pt x="128" y="17"/>
                      </a:lnTo>
                      <a:lnTo>
                        <a:pt x="124" y="14"/>
                      </a:lnTo>
                      <a:lnTo>
                        <a:pt x="121" y="13"/>
                      </a:lnTo>
                      <a:lnTo>
                        <a:pt x="118" y="11"/>
                      </a:lnTo>
                      <a:lnTo>
                        <a:pt x="117" y="13"/>
                      </a:lnTo>
                      <a:lnTo>
                        <a:pt x="113" y="16"/>
                      </a:lnTo>
                      <a:lnTo>
                        <a:pt x="112" y="20"/>
                      </a:lnTo>
                      <a:lnTo>
                        <a:pt x="109" y="24"/>
                      </a:lnTo>
                      <a:lnTo>
                        <a:pt x="107" y="26"/>
                      </a:lnTo>
                      <a:lnTo>
                        <a:pt x="104" y="26"/>
                      </a:lnTo>
                      <a:lnTo>
                        <a:pt x="100" y="22"/>
                      </a:lnTo>
                      <a:lnTo>
                        <a:pt x="96" y="19"/>
                      </a:lnTo>
                      <a:lnTo>
                        <a:pt x="94" y="16"/>
                      </a:lnTo>
                      <a:lnTo>
                        <a:pt x="89" y="14"/>
                      </a:lnTo>
                      <a:lnTo>
                        <a:pt x="76" y="8"/>
                      </a:lnTo>
                      <a:lnTo>
                        <a:pt x="70" y="4"/>
                      </a:lnTo>
                      <a:lnTo>
                        <a:pt x="63" y="1"/>
                      </a:lnTo>
                      <a:lnTo>
                        <a:pt x="61" y="0"/>
                      </a:lnTo>
                      <a:lnTo>
                        <a:pt x="58" y="1"/>
                      </a:lnTo>
                      <a:lnTo>
                        <a:pt x="56" y="3"/>
                      </a:lnTo>
                      <a:lnTo>
                        <a:pt x="52" y="5"/>
                      </a:lnTo>
                      <a:lnTo>
                        <a:pt x="39" y="9"/>
                      </a:lnTo>
                      <a:lnTo>
                        <a:pt x="25" y="14"/>
                      </a:lnTo>
                      <a:lnTo>
                        <a:pt x="24" y="15"/>
                      </a:lnTo>
                      <a:lnTo>
                        <a:pt x="25" y="19"/>
                      </a:lnTo>
                      <a:lnTo>
                        <a:pt x="29" y="26"/>
                      </a:lnTo>
                      <a:lnTo>
                        <a:pt x="30" y="29"/>
                      </a:lnTo>
                      <a:lnTo>
                        <a:pt x="30" y="33"/>
                      </a:lnTo>
                      <a:lnTo>
                        <a:pt x="27" y="36"/>
                      </a:lnTo>
                      <a:lnTo>
                        <a:pt x="23" y="41"/>
                      </a:lnTo>
                      <a:lnTo>
                        <a:pt x="19" y="45"/>
                      </a:lnTo>
                      <a:lnTo>
                        <a:pt x="15" y="49"/>
                      </a:lnTo>
                      <a:lnTo>
                        <a:pt x="14" y="52"/>
                      </a:lnTo>
                      <a:lnTo>
                        <a:pt x="11" y="52"/>
                      </a:lnTo>
                      <a:lnTo>
                        <a:pt x="9" y="52"/>
                      </a:lnTo>
                      <a:lnTo>
                        <a:pt x="6" y="53"/>
                      </a:lnTo>
                      <a:lnTo>
                        <a:pt x="4" y="55"/>
                      </a:lnTo>
                      <a:lnTo>
                        <a:pt x="4" y="58"/>
                      </a:lnTo>
                      <a:lnTo>
                        <a:pt x="4" y="64"/>
                      </a:lnTo>
                      <a:lnTo>
                        <a:pt x="5" y="71"/>
                      </a:lnTo>
                      <a:lnTo>
                        <a:pt x="5" y="77"/>
                      </a:lnTo>
                      <a:lnTo>
                        <a:pt x="2" y="81"/>
                      </a:lnTo>
                      <a:lnTo>
                        <a:pt x="0" y="86"/>
                      </a:lnTo>
                      <a:lnTo>
                        <a:pt x="0" y="88"/>
                      </a:lnTo>
                      <a:lnTo>
                        <a:pt x="1" y="90"/>
                      </a:lnTo>
                      <a:lnTo>
                        <a:pt x="10" y="92"/>
                      </a:lnTo>
                      <a:lnTo>
                        <a:pt x="18" y="94"/>
                      </a:lnTo>
                      <a:lnTo>
                        <a:pt x="25" y="98"/>
                      </a:lnTo>
                      <a:lnTo>
                        <a:pt x="32" y="103"/>
                      </a:lnTo>
                      <a:lnTo>
                        <a:pt x="33" y="105"/>
                      </a:lnTo>
                      <a:lnTo>
                        <a:pt x="33" y="107"/>
                      </a:lnTo>
                      <a:lnTo>
                        <a:pt x="33" y="110"/>
                      </a:lnTo>
                      <a:lnTo>
                        <a:pt x="34" y="112"/>
                      </a:lnTo>
                      <a:lnTo>
                        <a:pt x="37" y="113"/>
                      </a:lnTo>
                      <a:lnTo>
                        <a:pt x="41" y="115"/>
                      </a:lnTo>
                      <a:lnTo>
                        <a:pt x="43" y="115"/>
                      </a:lnTo>
                      <a:lnTo>
                        <a:pt x="47" y="116"/>
                      </a:lnTo>
                      <a:lnTo>
                        <a:pt x="48" y="116"/>
                      </a:lnTo>
                      <a:lnTo>
                        <a:pt x="49" y="115"/>
                      </a:lnTo>
                      <a:lnTo>
                        <a:pt x="51" y="112"/>
                      </a:lnTo>
                      <a:lnTo>
                        <a:pt x="53" y="111"/>
                      </a:lnTo>
                      <a:lnTo>
                        <a:pt x="57" y="110"/>
                      </a:lnTo>
                      <a:lnTo>
                        <a:pt x="60" y="109"/>
                      </a:lnTo>
                      <a:lnTo>
                        <a:pt x="65" y="105"/>
                      </a:lnTo>
                      <a:lnTo>
                        <a:pt x="66" y="105"/>
                      </a:lnTo>
                      <a:lnTo>
                        <a:pt x="67" y="105"/>
                      </a:lnTo>
                      <a:lnTo>
                        <a:pt x="68" y="106"/>
                      </a:lnTo>
                      <a:lnTo>
                        <a:pt x="70" y="106"/>
                      </a:lnTo>
                      <a:lnTo>
                        <a:pt x="79" y="102"/>
                      </a:lnTo>
                      <a:lnTo>
                        <a:pt x="82" y="99"/>
                      </a:lnTo>
                      <a:lnTo>
                        <a:pt x="86" y="97"/>
                      </a:lnTo>
                      <a:lnTo>
                        <a:pt x="86" y="94"/>
                      </a:lnTo>
                      <a:lnTo>
                        <a:pt x="86" y="93"/>
                      </a:lnTo>
                      <a:lnTo>
                        <a:pt x="85" y="90"/>
                      </a:lnTo>
                      <a:lnTo>
                        <a:pt x="85" y="87"/>
                      </a:lnTo>
                      <a:lnTo>
                        <a:pt x="86" y="86"/>
                      </a:lnTo>
                      <a:lnTo>
                        <a:pt x="90" y="85"/>
                      </a:lnTo>
                      <a:lnTo>
                        <a:pt x="93" y="84"/>
                      </a:lnTo>
                      <a:lnTo>
                        <a:pt x="95" y="75"/>
                      </a:lnTo>
                      <a:lnTo>
                        <a:pt x="100" y="68"/>
                      </a:lnTo>
                      <a:lnTo>
                        <a:pt x="103" y="66"/>
                      </a:lnTo>
                      <a:lnTo>
                        <a:pt x="105" y="64"/>
                      </a:lnTo>
                      <a:lnTo>
                        <a:pt x="109" y="61"/>
                      </a:lnTo>
                      <a:lnTo>
                        <a:pt x="113" y="61"/>
                      </a:lnTo>
                      <a:lnTo>
                        <a:pt x="117" y="62"/>
                      </a:lnTo>
                      <a:lnTo>
                        <a:pt x="118" y="62"/>
                      </a:lnTo>
                      <a:lnTo>
                        <a:pt x="121" y="61"/>
                      </a:lnTo>
                      <a:lnTo>
                        <a:pt x="122" y="60"/>
                      </a:lnTo>
                      <a:lnTo>
                        <a:pt x="124" y="58"/>
                      </a:lnTo>
                      <a:lnTo>
                        <a:pt x="126" y="55"/>
                      </a:lnTo>
                      <a:lnTo>
                        <a:pt x="128" y="54"/>
                      </a:lnTo>
                      <a:lnTo>
                        <a:pt x="132" y="54"/>
                      </a:lnTo>
                      <a:lnTo>
                        <a:pt x="134" y="53"/>
                      </a:lnTo>
                      <a:lnTo>
                        <a:pt x="138" y="49"/>
                      </a:lnTo>
                      <a:lnTo>
                        <a:pt x="142" y="46"/>
                      </a:lnTo>
                      <a:lnTo>
                        <a:pt x="150" y="42"/>
                      </a:lnTo>
                      <a:lnTo>
                        <a:pt x="152" y="40"/>
                      </a:lnTo>
                      <a:lnTo>
                        <a:pt x="154" y="37"/>
                      </a:lnTo>
                      <a:lnTo>
                        <a:pt x="152" y="36"/>
                      </a:lnTo>
                      <a:lnTo>
                        <a:pt x="150" y="32"/>
                      </a:lnTo>
                      <a:lnTo>
                        <a:pt x="145" y="28"/>
                      </a:lnTo>
                      <a:lnTo>
                        <a:pt x="133" y="21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975">
                  <a:extLst>
                    <a:ext uri="{FF2B5EF4-FFF2-40B4-BE49-F238E27FC236}">
                      <a16:creationId xmlns:a16="http://schemas.microsoft.com/office/drawing/2014/main" id="{ACEB95CE-D618-0C49-A061-4C75319DD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9765" y="2160297"/>
                  <a:ext cx="423243" cy="211622"/>
                </a:xfrm>
                <a:custGeom>
                  <a:avLst/>
                  <a:gdLst>
                    <a:gd name="T0" fmla="*/ 2147483647 w 309"/>
                    <a:gd name="T1" fmla="*/ 2147483647 h 143"/>
                    <a:gd name="T2" fmla="*/ 2147483647 w 309"/>
                    <a:gd name="T3" fmla="*/ 2147483647 h 143"/>
                    <a:gd name="T4" fmla="*/ 2147483647 w 309"/>
                    <a:gd name="T5" fmla="*/ 2147483647 h 143"/>
                    <a:gd name="T6" fmla="*/ 2147483647 w 309"/>
                    <a:gd name="T7" fmla="*/ 2147483647 h 143"/>
                    <a:gd name="T8" fmla="*/ 2147483647 w 309"/>
                    <a:gd name="T9" fmla="*/ 2147483647 h 143"/>
                    <a:gd name="T10" fmla="*/ 2147483647 w 309"/>
                    <a:gd name="T11" fmla="*/ 2147483647 h 143"/>
                    <a:gd name="T12" fmla="*/ 2147483647 w 309"/>
                    <a:gd name="T13" fmla="*/ 2147483647 h 143"/>
                    <a:gd name="T14" fmla="*/ 2147483647 w 309"/>
                    <a:gd name="T15" fmla="*/ 2147483647 h 143"/>
                    <a:gd name="T16" fmla="*/ 2147483647 w 309"/>
                    <a:gd name="T17" fmla="*/ 2147483647 h 143"/>
                    <a:gd name="T18" fmla="*/ 2147483647 w 309"/>
                    <a:gd name="T19" fmla="*/ 2147483647 h 143"/>
                    <a:gd name="T20" fmla="*/ 2147483647 w 309"/>
                    <a:gd name="T21" fmla="*/ 2147483647 h 143"/>
                    <a:gd name="T22" fmla="*/ 2147483647 w 309"/>
                    <a:gd name="T23" fmla="*/ 2147483647 h 143"/>
                    <a:gd name="T24" fmla="*/ 2147483647 w 309"/>
                    <a:gd name="T25" fmla="*/ 2147483647 h 143"/>
                    <a:gd name="T26" fmla="*/ 2147483647 w 309"/>
                    <a:gd name="T27" fmla="*/ 2147483647 h 143"/>
                    <a:gd name="T28" fmla="*/ 2147483647 w 309"/>
                    <a:gd name="T29" fmla="*/ 2147483647 h 143"/>
                    <a:gd name="T30" fmla="*/ 2147483647 w 309"/>
                    <a:gd name="T31" fmla="*/ 2147483647 h 143"/>
                    <a:gd name="T32" fmla="*/ 2147483647 w 309"/>
                    <a:gd name="T33" fmla="*/ 2147483647 h 143"/>
                    <a:gd name="T34" fmla="*/ 2147483647 w 309"/>
                    <a:gd name="T35" fmla="*/ 2147483647 h 143"/>
                    <a:gd name="T36" fmla="*/ 2147483647 w 309"/>
                    <a:gd name="T37" fmla="*/ 2147483647 h 143"/>
                    <a:gd name="T38" fmla="*/ 2147483647 w 309"/>
                    <a:gd name="T39" fmla="*/ 2147483647 h 143"/>
                    <a:gd name="T40" fmla="*/ 2147483647 w 309"/>
                    <a:gd name="T41" fmla="*/ 2147483647 h 143"/>
                    <a:gd name="T42" fmla="*/ 2147483647 w 309"/>
                    <a:gd name="T43" fmla="*/ 2147483647 h 143"/>
                    <a:gd name="T44" fmla="*/ 2147483647 w 309"/>
                    <a:gd name="T45" fmla="*/ 2147483647 h 143"/>
                    <a:gd name="T46" fmla="*/ 2147483647 w 309"/>
                    <a:gd name="T47" fmla="*/ 2147483647 h 143"/>
                    <a:gd name="T48" fmla="*/ 2147483647 w 309"/>
                    <a:gd name="T49" fmla="*/ 2147483647 h 143"/>
                    <a:gd name="T50" fmla="*/ 2147483647 w 309"/>
                    <a:gd name="T51" fmla="*/ 2147483647 h 143"/>
                    <a:gd name="T52" fmla="*/ 2147483647 w 309"/>
                    <a:gd name="T53" fmla="*/ 2147483647 h 143"/>
                    <a:gd name="T54" fmla="*/ 2147483647 w 309"/>
                    <a:gd name="T55" fmla="*/ 2147483647 h 143"/>
                    <a:gd name="T56" fmla="*/ 2147483647 w 309"/>
                    <a:gd name="T57" fmla="*/ 2147483647 h 143"/>
                    <a:gd name="T58" fmla="*/ 2147483647 w 309"/>
                    <a:gd name="T59" fmla="*/ 2147483647 h 143"/>
                    <a:gd name="T60" fmla="*/ 2147483647 w 309"/>
                    <a:gd name="T61" fmla="*/ 2147483647 h 143"/>
                    <a:gd name="T62" fmla="*/ 2147483647 w 309"/>
                    <a:gd name="T63" fmla="*/ 2147483647 h 143"/>
                    <a:gd name="T64" fmla="*/ 2147483647 w 309"/>
                    <a:gd name="T65" fmla="*/ 2147483647 h 143"/>
                    <a:gd name="T66" fmla="*/ 2147483647 w 309"/>
                    <a:gd name="T67" fmla="*/ 0 h 143"/>
                    <a:gd name="T68" fmla="*/ 2147483647 w 309"/>
                    <a:gd name="T69" fmla="*/ 2147483647 h 143"/>
                    <a:gd name="T70" fmla="*/ 2147483647 w 309"/>
                    <a:gd name="T71" fmla="*/ 2147483647 h 143"/>
                    <a:gd name="T72" fmla="*/ 2147483647 w 309"/>
                    <a:gd name="T73" fmla="*/ 2147483647 h 143"/>
                    <a:gd name="T74" fmla="*/ 2147483647 w 309"/>
                    <a:gd name="T75" fmla="*/ 2147483647 h 143"/>
                    <a:gd name="T76" fmla="*/ 2147483647 w 309"/>
                    <a:gd name="T77" fmla="*/ 2147483647 h 143"/>
                    <a:gd name="T78" fmla="*/ 2147483647 w 309"/>
                    <a:gd name="T79" fmla="*/ 2147483647 h 143"/>
                    <a:gd name="T80" fmla="*/ 2147483647 w 309"/>
                    <a:gd name="T81" fmla="*/ 2147483647 h 143"/>
                    <a:gd name="T82" fmla="*/ 2147483647 w 309"/>
                    <a:gd name="T83" fmla="*/ 2147483647 h 143"/>
                    <a:gd name="T84" fmla="*/ 2147483647 w 309"/>
                    <a:gd name="T85" fmla="*/ 2147483647 h 143"/>
                    <a:gd name="T86" fmla="*/ 2147483647 w 309"/>
                    <a:gd name="T87" fmla="*/ 2147483647 h 143"/>
                    <a:gd name="T88" fmla="*/ 2147483647 w 309"/>
                    <a:gd name="T89" fmla="*/ 2147483647 h 143"/>
                    <a:gd name="T90" fmla="*/ 2147483647 w 309"/>
                    <a:gd name="T91" fmla="*/ 2147483647 h 143"/>
                    <a:gd name="T92" fmla="*/ 2147483647 w 309"/>
                    <a:gd name="T93" fmla="*/ 2147483647 h 143"/>
                    <a:gd name="T94" fmla="*/ 2147483647 w 309"/>
                    <a:gd name="T95" fmla="*/ 2147483647 h 143"/>
                    <a:gd name="T96" fmla="*/ 2147483647 w 309"/>
                    <a:gd name="T97" fmla="*/ 2147483647 h 143"/>
                    <a:gd name="T98" fmla="*/ 2147483647 w 309"/>
                    <a:gd name="T99" fmla="*/ 2147483647 h 143"/>
                    <a:gd name="T100" fmla="*/ 2147483647 w 309"/>
                    <a:gd name="T101" fmla="*/ 2147483647 h 143"/>
                    <a:gd name="T102" fmla="*/ 2147483647 w 309"/>
                    <a:gd name="T103" fmla="*/ 2147483647 h 143"/>
                    <a:gd name="T104" fmla="*/ 2147483647 w 309"/>
                    <a:gd name="T105" fmla="*/ 2147483647 h 143"/>
                    <a:gd name="T106" fmla="*/ 2147483647 w 309"/>
                    <a:gd name="T107" fmla="*/ 2147483647 h 143"/>
                    <a:gd name="T108" fmla="*/ 2147483647 w 309"/>
                    <a:gd name="T109" fmla="*/ 2147483647 h 143"/>
                    <a:gd name="T110" fmla="*/ 2147483647 w 309"/>
                    <a:gd name="T111" fmla="*/ 2147483647 h 14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309"/>
                    <a:gd name="T169" fmla="*/ 0 h 143"/>
                    <a:gd name="T170" fmla="*/ 309 w 309"/>
                    <a:gd name="T171" fmla="*/ 143 h 14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309" h="143">
                      <a:moveTo>
                        <a:pt x="128" y="142"/>
                      </a:moveTo>
                      <a:lnTo>
                        <a:pt x="139" y="137"/>
                      </a:lnTo>
                      <a:lnTo>
                        <a:pt x="142" y="136"/>
                      </a:lnTo>
                      <a:lnTo>
                        <a:pt x="147" y="136"/>
                      </a:lnTo>
                      <a:lnTo>
                        <a:pt x="156" y="137"/>
                      </a:lnTo>
                      <a:lnTo>
                        <a:pt x="164" y="137"/>
                      </a:lnTo>
                      <a:lnTo>
                        <a:pt x="172" y="134"/>
                      </a:lnTo>
                      <a:lnTo>
                        <a:pt x="179" y="129"/>
                      </a:lnTo>
                      <a:lnTo>
                        <a:pt x="184" y="126"/>
                      </a:lnTo>
                      <a:lnTo>
                        <a:pt x="189" y="125"/>
                      </a:lnTo>
                      <a:lnTo>
                        <a:pt x="196" y="124"/>
                      </a:lnTo>
                      <a:lnTo>
                        <a:pt x="201" y="122"/>
                      </a:lnTo>
                      <a:lnTo>
                        <a:pt x="203" y="121"/>
                      </a:lnTo>
                      <a:lnTo>
                        <a:pt x="206" y="121"/>
                      </a:lnTo>
                      <a:lnTo>
                        <a:pt x="212" y="121"/>
                      </a:lnTo>
                      <a:lnTo>
                        <a:pt x="221" y="122"/>
                      </a:lnTo>
                      <a:lnTo>
                        <a:pt x="231" y="123"/>
                      </a:lnTo>
                      <a:lnTo>
                        <a:pt x="232" y="124"/>
                      </a:lnTo>
                      <a:lnTo>
                        <a:pt x="234" y="126"/>
                      </a:lnTo>
                      <a:lnTo>
                        <a:pt x="235" y="129"/>
                      </a:lnTo>
                      <a:lnTo>
                        <a:pt x="236" y="130"/>
                      </a:lnTo>
                      <a:lnTo>
                        <a:pt x="246" y="134"/>
                      </a:lnTo>
                      <a:lnTo>
                        <a:pt x="255" y="135"/>
                      </a:lnTo>
                      <a:lnTo>
                        <a:pt x="265" y="134"/>
                      </a:lnTo>
                      <a:lnTo>
                        <a:pt x="274" y="131"/>
                      </a:lnTo>
                      <a:lnTo>
                        <a:pt x="279" y="128"/>
                      </a:lnTo>
                      <a:lnTo>
                        <a:pt x="285" y="122"/>
                      </a:lnTo>
                      <a:lnTo>
                        <a:pt x="285" y="119"/>
                      </a:lnTo>
                      <a:lnTo>
                        <a:pt x="285" y="118"/>
                      </a:lnTo>
                      <a:lnTo>
                        <a:pt x="281" y="115"/>
                      </a:lnTo>
                      <a:lnTo>
                        <a:pt x="276" y="113"/>
                      </a:lnTo>
                      <a:lnTo>
                        <a:pt x="271" y="112"/>
                      </a:lnTo>
                      <a:lnTo>
                        <a:pt x="264" y="111"/>
                      </a:lnTo>
                      <a:lnTo>
                        <a:pt x="263" y="111"/>
                      </a:lnTo>
                      <a:lnTo>
                        <a:pt x="262" y="110"/>
                      </a:lnTo>
                      <a:lnTo>
                        <a:pt x="260" y="109"/>
                      </a:lnTo>
                      <a:lnTo>
                        <a:pt x="260" y="106"/>
                      </a:lnTo>
                      <a:lnTo>
                        <a:pt x="262" y="105"/>
                      </a:lnTo>
                      <a:lnTo>
                        <a:pt x="263" y="104"/>
                      </a:lnTo>
                      <a:lnTo>
                        <a:pt x="264" y="105"/>
                      </a:lnTo>
                      <a:lnTo>
                        <a:pt x="269" y="106"/>
                      </a:lnTo>
                      <a:lnTo>
                        <a:pt x="273" y="106"/>
                      </a:lnTo>
                      <a:lnTo>
                        <a:pt x="277" y="105"/>
                      </a:lnTo>
                      <a:lnTo>
                        <a:pt x="281" y="103"/>
                      </a:lnTo>
                      <a:lnTo>
                        <a:pt x="283" y="102"/>
                      </a:lnTo>
                      <a:lnTo>
                        <a:pt x="285" y="103"/>
                      </a:lnTo>
                      <a:lnTo>
                        <a:pt x="291" y="105"/>
                      </a:lnTo>
                      <a:lnTo>
                        <a:pt x="297" y="107"/>
                      </a:lnTo>
                      <a:lnTo>
                        <a:pt x="300" y="110"/>
                      </a:lnTo>
                      <a:lnTo>
                        <a:pt x="304" y="111"/>
                      </a:lnTo>
                      <a:lnTo>
                        <a:pt x="304" y="103"/>
                      </a:lnTo>
                      <a:lnTo>
                        <a:pt x="305" y="99"/>
                      </a:lnTo>
                      <a:lnTo>
                        <a:pt x="307" y="94"/>
                      </a:lnTo>
                      <a:lnTo>
                        <a:pt x="309" y="93"/>
                      </a:lnTo>
                      <a:lnTo>
                        <a:pt x="309" y="92"/>
                      </a:lnTo>
                      <a:lnTo>
                        <a:pt x="307" y="91"/>
                      </a:lnTo>
                      <a:lnTo>
                        <a:pt x="306" y="91"/>
                      </a:lnTo>
                      <a:lnTo>
                        <a:pt x="296" y="92"/>
                      </a:lnTo>
                      <a:lnTo>
                        <a:pt x="292" y="91"/>
                      </a:lnTo>
                      <a:lnTo>
                        <a:pt x="288" y="90"/>
                      </a:lnTo>
                      <a:lnTo>
                        <a:pt x="285" y="86"/>
                      </a:lnTo>
                      <a:lnTo>
                        <a:pt x="282" y="83"/>
                      </a:lnTo>
                      <a:lnTo>
                        <a:pt x="279" y="79"/>
                      </a:lnTo>
                      <a:lnTo>
                        <a:pt x="277" y="75"/>
                      </a:lnTo>
                      <a:lnTo>
                        <a:pt x="274" y="74"/>
                      </a:lnTo>
                      <a:lnTo>
                        <a:pt x="272" y="74"/>
                      </a:lnTo>
                      <a:lnTo>
                        <a:pt x="267" y="73"/>
                      </a:lnTo>
                      <a:lnTo>
                        <a:pt x="260" y="70"/>
                      </a:lnTo>
                      <a:lnTo>
                        <a:pt x="255" y="66"/>
                      </a:lnTo>
                      <a:lnTo>
                        <a:pt x="254" y="65"/>
                      </a:lnTo>
                      <a:lnTo>
                        <a:pt x="253" y="65"/>
                      </a:lnTo>
                      <a:lnTo>
                        <a:pt x="250" y="66"/>
                      </a:lnTo>
                      <a:lnTo>
                        <a:pt x="248" y="65"/>
                      </a:lnTo>
                      <a:lnTo>
                        <a:pt x="246" y="64"/>
                      </a:lnTo>
                      <a:lnTo>
                        <a:pt x="246" y="59"/>
                      </a:lnTo>
                      <a:lnTo>
                        <a:pt x="245" y="55"/>
                      </a:lnTo>
                      <a:lnTo>
                        <a:pt x="244" y="54"/>
                      </a:lnTo>
                      <a:lnTo>
                        <a:pt x="241" y="52"/>
                      </a:lnTo>
                      <a:lnTo>
                        <a:pt x="239" y="51"/>
                      </a:lnTo>
                      <a:lnTo>
                        <a:pt x="238" y="49"/>
                      </a:lnTo>
                      <a:lnTo>
                        <a:pt x="238" y="47"/>
                      </a:lnTo>
                      <a:lnTo>
                        <a:pt x="239" y="46"/>
                      </a:lnTo>
                      <a:lnTo>
                        <a:pt x="239" y="43"/>
                      </a:lnTo>
                      <a:lnTo>
                        <a:pt x="239" y="42"/>
                      </a:lnTo>
                      <a:lnTo>
                        <a:pt x="234" y="36"/>
                      </a:lnTo>
                      <a:lnTo>
                        <a:pt x="231" y="34"/>
                      </a:lnTo>
                      <a:lnTo>
                        <a:pt x="229" y="32"/>
                      </a:lnTo>
                      <a:lnTo>
                        <a:pt x="224" y="30"/>
                      </a:lnTo>
                      <a:lnTo>
                        <a:pt x="221" y="28"/>
                      </a:lnTo>
                      <a:lnTo>
                        <a:pt x="220" y="27"/>
                      </a:lnTo>
                      <a:lnTo>
                        <a:pt x="220" y="24"/>
                      </a:lnTo>
                      <a:lnTo>
                        <a:pt x="220" y="21"/>
                      </a:lnTo>
                      <a:lnTo>
                        <a:pt x="220" y="17"/>
                      </a:lnTo>
                      <a:lnTo>
                        <a:pt x="220" y="15"/>
                      </a:lnTo>
                      <a:lnTo>
                        <a:pt x="216" y="13"/>
                      </a:lnTo>
                      <a:lnTo>
                        <a:pt x="210" y="10"/>
                      </a:lnTo>
                      <a:lnTo>
                        <a:pt x="203" y="10"/>
                      </a:lnTo>
                      <a:lnTo>
                        <a:pt x="199" y="11"/>
                      </a:lnTo>
                      <a:lnTo>
                        <a:pt x="197" y="13"/>
                      </a:lnTo>
                      <a:lnTo>
                        <a:pt x="196" y="15"/>
                      </a:lnTo>
                      <a:lnTo>
                        <a:pt x="194" y="19"/>
                      </a:lnTo>
                      <a:lnTo>
                        <a:pt x="196" y="26"/>
                      </a:lnTo>
                      <a:lnTo>
                        <a:pt x="201" y="42"/>
                      </a:lnTo>
                      <a:lnTo>
                        <a:pt x="203" y="51"/>
                      </a:lnTo>
                      <a:lnTo>
                        <a:pt x="202" y="55"/>
                      </a:lnTo>
                      <a:lnTo>
                        <a:pt x="201" y="59"/>
                      </a:lnTo>
                      <a:lnTo>
                        <a:pt x="201" y="61"/>
                      </a:lnTo>
                      <a:lnTo>
                        <a:pt x="198" y="62"/>
                      </a:lnTo>
                      <a:lnTo>
                        <a:pt x="196" y="62"/>
                      </a:lnTo>
                      <a:lnTo>
                        <a:pt x="194" y="62"/>
                      </a:lnTo>
                      <a:lnTo>
                        <a:pt x="192" y="60"/>
                      </a:lnTo>
                      <a:lnTo>
                        <a:pt x="189" y="58"/>
                      </a:lnTo>
                      <a:lnTo>
                        <a:pt x="189" y="51"/>
                      </a:lnTo>
                      <a:lnTo>
                        <a:pt x="189" y="45"/>
                      </a:lnTo>
                      <a:lnTo>
                        <a:pt x="188" y="41"/>
                      </a:lnTo>
                      <a:lnTo>
                        <a:pt x="187" y="39"/>
                      </a:lnTo>
                      <a:lnTo>
                        <a:pt x="179" y="30"/>
                      </a:lnTo>
                      <a:lnTo>
                        <a:pt x="175" y="27"/>
                      </a:lnTo>
                      <a:lnTo>
                        <a:pt x="173" y="23"/>
                      </a:lnTo>
                      <a:lnTo>
                        <a:pt x="170" y="21"/>
                      </a:lnTo>
                      <a:lnTo>
                        <a:pt x="168" y="21"/>
                      </a:lnTo>
                      <a:lnTo>
                        <a:pt x="165" y="21"/>
                      </a:lnTo>
                      <a:lnTo>
                        <a:pt x="164" y="23"/>
                      </a:lnTo>
                      <a:lnTo>
                        <a:pt x="163" y="29"/>
                      </a:lnTo>
                      <a:lnTo>
                        <a:pt x="161" y="30"/>
                      </a:lnTo>
                      <a:lnTo>
                        <a:pt x="159" y="32"/>
                      </a:lnTo>
                      <a:lnTo>
                        <a:pt x="150" y="32"/>
                      </a:lnTo>
                      <a:lnTo>
                        <a:pt x="142" y="34"/>
                      </a:lnTo>
                      <a:lnTo>
                        <a:pt x="139" y="34"/>
                      </a:lnTo>
                      <a:lnTo>
                        <a:pt x="135" y="34"/>
                      </a:lnTo>
                      <a:lnTo>
                        <a:pt x="131" y="33"/>
                      </a:lnTo>
                      <a:lnTo>
                        <a:pt x="130" y="32"/>
                      </a:lnTo>
                      <a:lnTo>
                        <a:pt x="130" y="30"/>
                      </a:lnTo>
                      <a:lnTo>
                        <a:pt x="131" y="28"/>
                      </a:lnTo>
                      <a:lnTo>
                        <a:pt x="133" y="26"/>
                      </a:lnTo>
                      <a:lnTo>
                        <a:pt x="136" y="23"/>
                      </a:lnTo>
                      <a:lnTo>
                        <a:pt x="137" y="22"/>
                      </a:lnTo>
                      <a:lnTo>
                        <a:pt x="136" y="21"/>
                      </a:lnTo>
                      <a:lnTo>
                        <a:pt x="133" y="19"/>
                      </a:lnTo>
                      <a:lnTo>
                        <a:pt x="130" y="15"/>
                      </a:lnTo>
                      <a:lnTo>
                        <a:pt x="122" y="10"/>
                      </a:lnTo>
                      <a:lnTo>
                        <a:pt x="119" y="9"/>
                      </a:lnTo>
                      <a:lnTo>
                        <a:pt x="117" y="9"/>
                      </a:lnTo>
                      <a:lnTo>
                        <a:pt x="111" y="8"/>
                      </a:lnTo>
                      <a:lnTo>
                        <a:pt x="108" y="7"/>
                      </a:lnTo>
                      <a:lnTo>
                        <a:pt x="107" y="6"/>
                      </a:lnTo>
                      <a:lnTo>
                        <a:pt x="104" y="3"/>
                      </a:lnTo>
                      <a:lnTo>
                        <a:pt x="100" y="3"/>
                      </a:lnTo>
                      <a:lnTo>
                        <a:pt x="98" y="3"/>
                      </a:lnTo>
                      <a:lnTo>
                        <a:pt x="92" y="4"/>
                      </a:lnTo>
                      <a:lnTo>
                        <a:pt x="90" y="6"/>
                      </a:lnTo>
                      <a:lnTo>
                        <a:pt x="89" y="8"/>
                      </a:lnTo>
                      <a:lnTo>
                        <a:pt x="89" y="13"/>
                      </a:lnTo>
                      <a:lnTo>
                        <a:pt x="89" y="17"/>
                      </a:lnTo>
                      <a:lnTo>
                        <a:pt x="88" y="19"/>
                      </a:lnTo>
                      <a:lnTo>
                        <a:pt x="85" y="21"/>
                      </a:lnTo>
                      <a:lnTo>
                        <a:pt x="84" y="20"/>
                      </a:lnTo>
                      <a:lnTo>
                        <a:pt x="80" y="19"/>
                      </a:lnTo>
                      <a:lnTo>
                        <a:pt x="76" y="20"/>
                      </a:lnTo>
                      <a:lnTo>
                        <a:pt x="74" y="20"/>
                      </a:lnTo>
                      <a:lnTo>
                        <a:pt x="71" y="20"/>
                      </a:lnTo>
                      <a:lnTo>
                        <a:pt x="71" y="19"/>
                      </a:lnTo>
                      <a:lnTo>
                        <a:pt x="71" y="17"/>
                      </a:lnTo>
                      <a:lnTo>
                        <a:pt x="74" y="15"/>
                      </a:lnTo>
                      <a:lnTo>
                        <a:pt x="75" y="11"/>
                      </a:lnTo>
                      <a:lnTo>
                        <a:pt x="75" y="8"/>
                      </a:lnTo>
                      <a:lnTo>
                        <a:pt x="74" y="6"/>
                      </a:lnTo>
                      <a:lnTo>
                        <a:pt x="69" y="1"/>
                      </a:lnTo>
                      <a:lnTo>
                        <a:pt x="66" y="0"/>
                      </a:lnTo>
                      <a:lnTo>
                        <a:pt x="64" y="0"/>
                      </a:lnTo>
                      <a:lnTo>
                        <a:pt x="61" y="1"/>
                      </a:lnTo>
                      <a:lnTo>
                        <a:pt x="59" y="3"/>
                      </a:lnTo>
                      <a:lnTo>
                        <a:pt x="56" y="4"/>
                      </a:lnTo>
                      <a:lnTo>
                        <a:pt x="53" y="6"/>
                      </a:lnTo>
                      <a:lnTo>
                        <a:pt x="45" y="8"/>
                      </a:lnTo>
                      <a:lnTo>
                        <a:pt x="37" y="10"/>
                      </a:lnTo>
                      <a:lnTo>
                        <a:pt x="28" y="14"/>
                      </a:lnTo>
                      <a:lnTo>
                        <a:pt x="22" y="20"/>
                      </a:lnTo>
                      <a:lnTo>
                        <a:pt x="18" y="24"/>
                      </a:lnTo>
                      <a:lnTo>
                        <a:pt x="15" y="30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5" y="40"/>
                      </a:lnTo>
                      <a:lnTo>
                        <a:pt x="3" y="41"/>
                      </a:lnTo>
                      <a:lnTo>
                        <a:pt x="1" y="43"/>
                      </a:lnTo>
                      <a:lnTo>
                        <a:pt x="0" y="46"/>
                      </a:lnTo>
                      <a:lnTo>
                        <a:pt x="1" y="48"/>
                      </a:lnTo>
                      <a:lnTo>
                        <a:pt x="3" y="49"/>
                      </a:lnTo>
                      <a:lnTo>
                        <a:pt x="4" y="49"/>
                      </a:lnTo>
                      <a:lnTo>
                        <a:pt x="8" y="49"/>
                      </a:lnTo>
                      <a:lnTo>
                        <a:pt x="13" y="49"/>
                      </a:lnTo>
                      <a:lnTo>
                        <a:pt x="14" y="49"/>
                      </a:lnTo>
                      <a:lnTo>
                        <a:pt x="15" y="51"/>
                      </a:lnTo>
                      <a:lnTo>
                        <a:pt x="18" y="52"/>
                      </a:lnTo>
                      <a:lnTo>
                        <a:pt x="20" y="53"/>
                      </a:lnTo>
                      <a:lnTo>
                        <a:pt x="25" y="52"/>
                      </a:lnTo>
                      <a:lnTo>
                        <a:pt x="39" y="52"/>
                      </a:lnTo>
                      <a:lnTo>
                        <a:pt x="52" y="52"/>
                      </a:lnTo>
                      <a:lnTo>
                        <a:pt x="56" y="53"/>
                      </a:lnTo>
                      <a:lnTo>
                        <a:pt x="60" y="55"/>
                      </a:lnTo>
                      <a:lnTo>
                        <a:pt x="61" y="59"/>
                      </a:lnTo>
                      <a:lnTo>
                        <a:pt x="62" y="61"/>
                      </a:lnTo>
                      <a:lnTo>
                        <a:pt x="61" y="64"/>
                      </a:lnTo>
                      <a:lnTo>
                        <a:pt x="60" y="64"/>
                      </a:lnTo>
                      <a:lnTo>
                        <a:pt x="59" y="65"/>
                      </a:lnTo>
                      <a:lnTo>
                        <a:pt x="56" y="64"/>
                      </a:lnTo>
                      <a:lnTo>
                        <a:pt x="51" y="61"/>
                      </a:lnTo>
                      <a:lnTo>
                        <a:pt x="48" y="60"/>
                      </a:lnTo>
                      <a:lnTo>
                        <a:pt x="46" y="61"/>
                      </a:lnTo>
                      <a:lnTo>
                        <a:pt x="34" y="65"/>
                      </a:lnTo>
                      <a:lnTo>
                        <a:pt x="29" y="66"/>
                      </a:lnTo>
                      <a:lnTo>
                        <a:pt x="24" y="65"/>
                      </a:lnTo>
                      <a:lnTo>
                        <a:pt x="23" y="62"/>
                      </a:lnTo>
                      <a:lnTo>
                        <a:pt x="20" y="62"/>
                      </a:lnTo>
                      <a:lnTo>
                        <a:pt x="18" y="62"/>
                      </a:lnTo>
                      <a:lnTo>
                        <a:pt x="17" y="62"/>
                      </a:lnTo>
                      <a:lnTo>
                        <a:pt x="15" y="65"/>
                      </a:lnTo>
                      <a:lnTo>
                        <a:pt x="15" y="67"/>
                      </a:lnTo>
                      <a:lnTo>
                        <a:pt x="15" y="70"/>
                      </a:lnTo>
                      <a:lnTo>
                        <a:pt x="25" y="75"/>
                      </a:lnTo>
                      <a:lnTo>
                        <a:pt x="34" y="81"/>
                      </a:lnTo>
                      <a:lnTo>
                        <a:pt x="45" y="80"/>
                      </a:lnTo>
                      <a:lnTo>
                        <a:pt x="62" y="79"/>
                      </a:lnTo>
                      <a:lnTo>
                        <a:pt x="86" y="75"/>
                      </a:lnTo>
                      <a:lnTo>
                        <a:pt x="92" y="75"/>
                      </a:lnTo>
                      <a:lnTo>
                        <a:pt x="95" y="75"/>
                      </a:lnTo>
                      <a:lnTo>
                        <a:pt x="104" y="78"/>
                      </a:lnTo>
                      <a:lnTo>
                        <a:pt x="112" y="81"/>
                      </a:lnTo>
                      <a:lnTo>
                        <a:pt x="121" y="84"/>
                      </a:lnTo>
                      <a:lnTo>
                        <a:pt x="126" y="84"/>
                      </a:lnTo>
                      <a:lnTo>
                        <a:pt x="128" y="84"/>
                      </a:lnTo>
                      <a:lnTo>
                        <a:pt x="131" y="85"/>
                      </a:lnTo>
                      <a:lnTo>
                        <a:pt x="133" y="86"/>
                      </a:lnTo>
                      <a:lnTo>
                        <a:pt x="133" y="87"/>
                      </a:lnTo>
                      <a:lnTo>
                        <a:pt x="133" y="89"/>
                      </a:lnTo>
                      <a:lnTo>
                        <a:pt x="122" y="91"/>
                      </a:lnTo>
                      <a:lnTo>
                        <a:pt x="117" y="93"/>
                      </a:lnTo>
                      <a:lnTo>
                        <a:pt x="112" y="97"/>
                      </a:lnTo>
                      <a:lnTo>
                        <a:pt x="111" y="97"/>
                      </a:lnTo>
                      <a:lnTo>
                        <a:pt x="109" y="97"/>
                      </a:lnTo>
                      <a:lnTo>
                        <a:pt x="105" y="94"/>
                      </a:lnTo>
                      <a:lnTo>
                        <a:pt x="100" y="92"/>
                      </a:lnTo>
                      <a:lnTo>
                        <a:pt x="90" y="92"/>
                      </a:lnTo>
                      <a:lnTo>
                        <a:pt x="79" y="92"/>
                      </a:lnTo>
                      <a:lnTo>
                        <a:pt x="75" y="93"/>
                      </a:lnTo>
                      <a:lnTo>
                        <a:pt x="70" y="93"/>
                      </a:lnTo>
                      <a:lnTo>
                        <a:pt x="66" y="93"/>
                      </a:lnTo>
                      <a:lnTo>
                        <a:pt x="61" y="92"/>
                      </a:lnTo>
                      <a:lnTo>
                        <a:pt x="56" y="93"/>
                      </a:lnTo>
                      <a:lnTo>
                        <a:pt x="50" y="96"/>
                      </a:lnTo>
                      <a:lnTo>
                        <a:pt x="46" y="96"/>
                      </a:lnTo>
                      <a:lnTo>
                        <a:pt x="41" y="94"/>
                      </a:lnTo>
                      <a:lnTo>
                        <a:pt x="37" y="94"/>
                      </a:lnTo>
                      <a:lnTo>
                        <a:pt x="36" y="96"/>
                      </a:lnTo>
                      <a:lnTo>
                        <a:pt x="34" y="97"/>
                      </a:lnTo>
                      <a:lnTo>
                        <a:pt x="33" y="98"/>
                      </a:lnTo>
                      <a:lnTo>
                        <a:pt x="34" y="100"/>
                      </a:lnTo>
                      <a:lnTo>
                        <a:pt x="37" y="104"/>
                      </a:lnTo>
                      <a:lnTo>
                        <a:pt x="38" y="106"/>
                      </a:lnTo>
                      <a:lnTo>
                        <a:pt x="42" y="107"/>
                      </a:lnTo>
                      <a:lnTo>
                        <a:pt x="45" y="107"/>
                      </a:lnTo>
                      <a:lnTo>
                        <a:pt x="46" y="109"/>
                      </a:lnTo>
                      <a:lnTo>
                        <a:pt x="51" y="115"/>
                      </a:lnTo>
                      <a:lnTo>
                        <a:pt x="57" y="119"/>
                      </a:lnTo>
                      <a:lnTo>
                        <a:pt x="65" y="121"/>
                      </a:lnTo>
                      <a:lnTo>
                        <a:pt x="72" y="121"/>
                      </a:lnTo>
                      <a:lnTo>
                        <a:pt x="78" y="123"/>
                      </a:lnTo>
                      <a:lnTo>
                        <a:pt x="86" y="124"/>
                      </a:lnTo>
                      <a:lnTo>
                        <a:pt x="90" y="124"/>
                      </a:lnTo>
                      <a:lnTo>
                        <a:pt x="94" y="126"/>
                      </a:lnTo>
                      <a:lnTo>
                        <a:pt x="95" y="128"/>
                      </a:lnTo>
                      <a:lnTo>
                        <a:pt x="95" y="130"/>
                      </a:lnTo>
                      <a:lnTo>
                        <a:pt x="93" y="135"/>
                      </a:lnTo>
                      <a:lnTo>
                        <a:pt x="92" y="137"/>
                      </a:lnTo>
                      <a:lnTo>
                        <a:pt x="93" y="138"/>
                      </a:lnTo>
                      <a:lnTo>
                        <a:pt x="93" y="139"/>
                      </a:lnTo>
                      <a:lnTo>
                        <a:pt x="94" y="141"/>
                      </a:lnTo>
                      <a:lnTo>
                        <a:pt x="108" y="142"/>
                      </a:lnTo>
                      <a:lnTo>
                        <a:pt x="121" y="143"/>
                      </a:lnTo>
                      <a:lnTo>
                        <a:pt x="125" y="143"/>
                      </a:lnTo>
                      <a:lnTo>
                        <a:pt x="128" y="1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976">
                  <a:extLst>
                    <a:ext uri="{FF2B5EF4-FFF2-40B4-BE49-F238E27FC236}">
                      <a16:creationId xmlns:a16="http://schemas.microsoft.com/office/drawing/2014/main" id="{353044EC-70E6-EA4E-8E03-C9B5B238C4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799" y="1987150"/>
                  <a:ext cx="256018" cy="122829"/>
                </a:xfrm>
                <a:custGeom>
                  <a:avLst/>
                  <a:gdLst>
                    <a:gd name="T0" fmla="*/ 2147483647 w 187"/>
                    <a:gd name="T1" fmla="*/ 2147483647 h 83"/>
                    <a:gd name="T2" fmla="*/ 2147483647 w 187"/>
                    <a:gd name="T3" fmla="*/ 2147483647 h 83"/>
                    <a:gd name="T4" fmla="*/ 2147483647 w 187"/>
                    <a:gd name="T5" fmla="*/ 2147483647 h 83"/>
                    <a:gd name="T6" fmla="*/ 2147483647 w 187"/>
                    <a:gd name="T7" fmla="*/ 2147483647 h 83"/>
                    <a:gd name="T8" fmla="*/ 2147483647 w 187"/>
                    <a:gd name="T9" fmla="*/ 2147483647 h 83"/>
                    <a:gd name="T10" fmla="*/ 2147483647 w 187"/>
                    <a:gd name="T11" fmla="*/ 2147483647 h 83"/>
                    <a:gd name="T12" fmla="*/ 2147483647 w 187"/>
                    <a:gd name="T13" fmla="*/ 2147483647 h 83"/>
                    <a:gd name="T14" fmla="*/ 2147483647 w 187"/>
                    <a:gd name="T15" fmla="*/ 2147483647 h 83"/>
                    <a:gd name="T16" fmla="*/ 2147483647 w 187"/>
                    <a:gd name="T17" fmla="*/ 2147483647 h 83"/>
                    <a:gd name="T18" fmla="*/ 2147483647 w 187"/>
                    <a:gd name="T19" fmla="*/ 2147483647 h 83"/>
                    <a:gd name="T20" fmla="*/ 2147483647 w 187"/>
                    <a:gd name="T21" fmla="*/ 2147483647 h 83"/>
                    <a:gd name="T22" fmla="*/ 2147483647 w 187"/>
                    <a:gd name="T23" fmla="*/ 2147483647 h 83"/>
                    <a:gd name="T24" fmla="*/ 2147483647 w 187"/>
                    <a:gd name="T25" fmla="*/ 2147483647 h 83"/>
                    <a:gd name="T26" fmla="*/ 2147483647 w 187"/>
                    <a:gd name="T27" fmla="*/ 2147483647 h 83"/>
                    <a:gd name="T28" fmla="*/ 2147483647 w 187"/>
                    <a:gd name="T29" fmla="*/ 2147483647 h 83"/>
                    <a:gd name="T30" fmla="*/ 2147483647 w 187"/>
                    <a:gd name="T31" fmla="*/ 2147483647 h 83"/>
                    <a:gd name="T32" fmla="*/ 2147483647 w 187"/>
                    <a:gd name="T33" fmla="*/ 2147483647 h 83"/>
                    <a:gd name="T34" fmla="*/ 2147483647 w 187"/>
                    <a:gd name="T35" fmla="*/ 2147483647 h 83"/>
                    <a:gd name="T36" fmla="*/ 2147483647 w 187"/>
                    <a:gd name="T37" fmla="*/ 2147483647 h 83"/>
                    <a:gd name="T38" fmla="*/ 2147483647 w 187"/>
                    <a:gd name="T39" fmla="*/ 2147483647 h 83"/>
                    <a:gd name="T40" fmla="*/ 2147483647 w 187"/>
                    <a:gd name="T41" fmla="*/ 2147483647 h 83"/>
                    <a:gd name="T42" fmla="*/ 2147483647 w 187"/>
                    <a:gd name="T43" fmla="*/ 2147483647 h 83"/>
                    <a:gd name="T44" fmla="*/ 2147483647 w 187"/>
                    <a:gd name="T45" fmla="*/ 2147483647 h 83"/>
                    <a:gd name="T46" fmla="*/ 0 w 187"/>
                    <a:gd name="T47" fmla="*/ 2147483647 h 83"/>
                    <a:gd name="T48" fmla="*/ 2147483647 w 187"/>
                    <a:gd name="T49" fmla="*/ 2147483647 h 83"/>
                    <a:gd name="T50" fmla="*/ 2147483647 w 187"/>
                    <a:gd name="T51" fmla="*/ 2147483647 h 83"/>
                    <a:gd name="T52" fmla="*/ 2147483647 w 187"/>
                    <a:gd name="T53" fmla="*/ 2147483647 h 83"/>
                    <a:gd name="T54" fmla="*/ 2147483647 w 187"/>
                    <a:gd name="T55" fmla="*/ 2147483647 h 83"/>
                    <a:gd name="T56" fmla="*/ 2147483647 w 187"/>
                    <a:gd name="T57" fmla="*/ 2147483647 h 83"/>
                    <a:gd name="T58" fmla="*/ 2147483647 w 187"/>
                    <a:gd name="T59" fmla="*/ 2147483647 h 83"/>
                    <a:gd name="T60" fmla="*/ 2147483647 w 187"/>
                    <a:gd name="T61" fmla="*/ 2147483647 h 83"/>
                    <a:gd name="T62" fmla="*/ 2147483647 w 187"/>
                    <a:gd name="T63" fmla="*/ 2147483647 h 83"/>
                    <a:gd name="T64" fmla="*/ 2147483647 w 187"/>
                    <a:gd name="T65" fmla="*/ 2147483647 h 83"/>
                    <a:gd name="T66" fmla="*/ 2147483647 w 187"/>
                    <a:gd name="T67" fmla="*/ 2147483647 h 83"/>
                    <a:gd name="T68" fmla="*/ 2147483647 w 187"/>
                    <a:gd name="T69" fmla="*/ 2147483647 h 83"/>
                    <a:gd name="T70" fmla="*/ 2147483647 w 187"/>
                    <a:gd name="T71" fmla="*/ 2147483647 h 83"/>
                    <a:gd name="T72" fmla="*/ 2147483647 w 187"/>
                    <a:gd name="T73" fmla="*/ 2147483647 h 83"/>
                    <a:gd name="T74" fmla="*/ 2147483647 w 187"/>
                    <a:gd name="T75" fmla="*/ 2147483647 h 83"/>
                    <a:gd name="T76" fmla="*/ 2147483647 w 187"/>
                    <a:gd name="T77" fmla="*/ 2147483647 h 83"/>
                    <a:gd name="T78" fmla="*/ 2147483647 w 187"/>
                    <a:gd name="T79" fmla="*/ 2147483647 h 83"/>
                    <a:gd name="T80" fmla="*/ 2147483647 w 187"/>
                    <a:gd name="T81" fmla="*/ 2147483647 h 83"/>
                    <a:gd name="T82" fmla="*/ 2147483647 w 187"/>
                    <a:gd name="T83" fmla="*/ 2147483647 h 83"/>
                    <a:gd name="T84" fmla="*/ 2147483647 w 187"/>
                    <a:gd name="T85" fmla="*/ 2147483647 h 83"/>
                    <a:gd name="T86" fmla="*/ 2147483647 w 187"/>
                    <a:gd name="T87" fmla="*/ 0 h 83"/>
                    <a:gd name="T88" fmla="*/ 2147483647 w 187"/>
                    <a:gd name="T89" fmla="*/ 2147483647 h 83"/>
                    <a:gd name="T90" fmla="*/ 2147483647 w 187"/>
                    <a:gd name="T91" fmla="*/ 2147483647 h 83"/>
                    <a:gd name="T92" fmla="*/ 2147483647 w 187"/>
                    <a:gd name="T93" fmla="*/ 2147483647 h 83"/>
                    <a:gd name="T94" fmla="*/ 2147483647 w 187"/>
                    <a:gd name="T95" fmla="*/ 2147483647 h 83"/>
                    <a:gd name="T96" fmla="*/ 2147483647 w 187"/>
                    <a:gd name="T97" fmla="*/ 2147483647 h 83"/>
                    <a:gd name="T98" fmla="*/ 2147483647 w 187"/>
                    <a:gd name="T99" fmla="*/ 2147483647 h 83"/>
                    <a:gd name="T100" fmla="*/ 2147483647 w 187"/>
                    <a:gd name="T101" fmla="*/ 2147483647 h 83"/>
                    <a:gd name="T102" fmla="*/ 2147483647 w 187"/>
                    <a:gd name="T103" fmla="*/ 2147483647 h 83"/>
                    <a:gd name="T104" fmla="*/ 2147483647 w 187"/>
                    <a:gd name="T105" fmla="*/ 2147483647 h 83"/>
                    <a:gd name="T106" fmla="*/ 2147483647 w 187"/>
                    <a:gd name="T107" fmla="*/ 2147483647 h 83"/>
                    <a:gd name="T108" fmla="*/ 2147483647 w 187"/>
                    <a:gd name="T109" fmla="*/ 2147483647 h 83"/>
                    <a:gd name="T110" fmla="*/ 2147483647 w 187"/>
                    <a:gd name="T111" fmla="*/ 2147483647 h 8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87"/>
                    <a:gd name="T169" fmla="*/ 0 h 83"/>
                    <a:gd name="T170" fmla="*/ 187 w 187"/>
                    <a:gd name="T171" fmla="*/ 83 h 8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87" h="83">
                      <a:moveTo>
                        <a:pt x="177" y="69"/>
                      </a:moveTo>
                      <a:lnTo>
                        <a:pt x="174" y="72"/>
                      </a:lnTo>
                      <a:lnTo>
                        <a:pt x="172" y="73"/>
                      </a:lnTo>
                      <a:lnTo>
                        <a:pt x="162" y="70"/>
                      </a:lnTo>
                      <a:lnTo>
                        <a:pt x="152" y="69"/>
                      </a:lnTo>
                      <a:lnTo>
                        <a:pt x="141" y="70"/>
                      </a:lnTo>
                      <a:lnTo>
                        <a:pt x="138" y="72"/>
                      </a:lnTo>
                      <a:lnTo>
                        <a:pt x="133" y="74"/>
                      </a:lnTo>
                      <a:lnTo>
                        <a:pt x="129" y="75"/>
                      </a:lnTo>
                      <a:lnTo>
                        <a:pt x="124" y="76"/>
                      </a:lnTo>
                      <a:lnTo>
                        <a:pt x="120" y="77"/>
                      </a:lnTo>
                      <a:lnTo>
                        <a:pt x="115" y="75"/>
                      </a:lnTo>
                      <a:lnTo>
                        <a:pt x="112" y="74"/>
                      </a:lnTo>
                      <a:lnTo>
                        <a:pt x="110" y="74"/>
                      </a:lnTo>
                      <a:lnTo>
                        <a:pt x="105" y="75"/>
                      </a:lnTo>
                      <a:lnTo>
                        <a:pt x="101" y="77"/>
                      </a:lnTo>
                      <a:lnTo>
                        <a:pt x="97" y="81"/>
                      </a:lnTo>
                      <a:lnTo>
                        <a:pt x="93" y="83"/>
                      </a:lnTo>
                      <a:lnTo>
                        <a:pt x="89" y="83"/>
                      </a:lnTo>
                      <a:lnTo>
                        <a:pt x="75" y="81"/>
                      </a:lnTo>
                      <a:lnTo>
                        <a:pt x="69" y="80"/>
                      </a:lnTo>
                      <a:lnTo>
                        <a:pt x="61" y="79"/>
                      </a:lnTo>
                      <a:lnTo>
                        <a:pt x="60" y="79"/>
                      </a:lnTo>
                      <a:lnTo>
                        <a:pt x="60" y="76"/>
                      </a:lnTo>
                      <a:lnTo>
                        <a:pt x="60" y="73"/>
                      </a:lnTo>
                      <a:lnTo>
                        <a:pt x="61" y="70"/>
                      </a:lnTo>
                      <a:lnTo>
                        <a:pt x="63" y="70"/>
                      </a:lnTo>
                      <a:lnTo>
                        <a:pt x="64" y="70"/>
                      </a:lnTo>
                      <a:lnTo>
                        <a:pt x="68" y="72"/>
                      </a:lnTo>
                      <a:lnTo>
                        <a:pt x="73" y="72"/>
                      </a:lnTo>
                      <a:lnTo>
                        <a:pt x="77" y="70"/>
                      </a:lnTo>
                      <a:lnTo>
                        <a:pt x="86" y="63"/>
                      </a:lnTo>
                      <a:lnTo>
                        <a:pt x="91" y="61"/>
                      </a:lnTo>
                      <a:lnTo>
                        <a:pt x="96" y="59"/>
                      </a:lnTo>
                      <a:lnTo>
                        <a:pt x="97" y="57"/>
                      </a:lnTo>
                      <a:lnTo>
                        <a:pt x="97" y="56"/>
                      </a:lnTo>
                      <a:lnTo>
                        <a:pt x="97" y="55"/>
                      </a:lnTo>
                      <a:lnTo>
                        <a:pt x="96" y="54"/>
                      </a:lnTo>
                      <a:lnTo>
                        <a:pt x="92" y="55"/>
                      </a:lnTo>
                      <a:lnTo>
                        <a:pt x="88" y="56"/>
                      </a:lnTo>
                      <a:lnTo>
                        <a:pt x="78" y="59"/>
                      </a:lnTo>
                      <a:lnTo>
                        <a:pt x="73" y="60"/>
                      </a:lnTo>
                      <a:lnTo>
                        <a:pt x="68" y="61"/>
                      </a:lnTo>
                      <a:lnTo>
                        <a:pt x="67" y="61"/>
                      </a:lnTo>
                      <a:lnTo>
                        <a:pt x="64" y="61"/>
                      </a:lnTo>
                      <a:lnTo>
                        <a:pt x="61" y="60"/>
                      </a:lnTo>
                      <a:lnTo>
                        <a:pt x="60" y="59"/>
                      </a:lnTo>
                      <a:lnTo>
                        <a:pt x="59" y="55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4" y="54"/>
                      </a:lnTo>
                      <a:lnTo>
                        <a:pt x="53" y="56"/>
                      </a:lnTo>
                      <a:lnTo>
                        <a:pt x="49" y="61"/>
                      </a:lnTo>
                      <a:lnTo>
                        <a:pt x="47" y="63"/>
                      </a:lnTo>
                      <a:lnTo>
                        <a:pt x="46" y="66"/>
                      </a:lnTo>
                      <a:lnTo>
                        <a:pt x="44" y="66"/>
                      </a:lnTo>
                      <a:lnTo>
                        <a:pt x="41" y="64"/>
                      </a:lnTo>
                      <a:lnTo>
                        <a:pt x="39" y="63"/>
                      </a:lnTo>
                      <a:lnTo>
                        <a:pt x="36" y="62"/>
                      </a:lnTo>
                      <a:lnTo>
                        <a:pt x="32" y="63"/>
                      </a:lnTo>
                      <a:lnTo>
                        <a:pt x="28" y="64"/>
                      </a:lnTo>
                      <a:lnTo>
                        <a:pt x="23" y="64"/>
                      </a:lnTo>
                      <a:lnTo>
                        <a:pt x="22" y="64"/>
                      </a:lnTo>
                      <a:lnTo>
                        <a:pt x="22" y="63"/>
                      </a:lnTo>
                      <a:lnTo>
                        <a:pt x="20" y="61"/>
                      </a:lnTo>
                      <a:lnTo>
                        <a:pt x="18" y="60"/>
                      </a:lnTo>
                      <a:lnTo>
                        <a:pt x="16" y="60"/>
                      </a:lnTo>
                      <a:lnTo>
                        <a:pt x="12" y="61"/>
                      </a:lnTo>
                      <a:lnTo>
                        <a:pt x="7" y="62"/>
                      </a:lnTo>
                      <a:lnTo>
                        <a:pt x="3" y="62"/>
                      </a:lnTo>
                      <a:lnTo>
                        <a:pt x="2" y="61"/>
                      </a:lnTo>
                      <a:lnTo>
                        <a:pt x="0" y="59"/>
                      </a:lnTo>
                      <a:lnTo>
                        <a:pt x="0" y="57"/>
                      </a:lnTo>
                      <a:lnTo>
                        <a:pt x="0" y="55"/>
                      </a:lnTo>
                      <a:lnTo>
                        <a:pt x="3" y="51"/>
                      </a:lnTo>
                      <a:lnTo>
                        <a:pt x="6" y="50"/>
                      </a:lnTo>
                      <a:lnTo>
                        <a:pt x="8" y="50"/>
                      </a:lnTo>
                      <a:lnTo>
                        <a:pt x="8" y="45"/>
                      </a:lnTo>
                      <a:lnTo>
                        <a:pt x="11" y="43"/>
                      </a:lnTo>
                      <a:lnTo>
                        <a:pt x="18" y="40"/>
                      </a:lnTo>
                      <a:lnTo>
                        <a:pt x="18" y="38"/>
                      </a:lnTo>
                      <a:lnTo>
                        <a:pt x="18" y="36"/>
                      </a:lnTo>
                      <a:lnTo>
                        <a:pt x="17" y="34"/>
                      </a:lnTo>
                      <a:lnTo>
                        <a:pt x="16" y="32"/>
                      </a:lnTo>
                      <a:lnTo>
                        <a:pt x="17" y="30"/>
                      </a:lnTo>
                      <a:lnTo>
                        <a:pt x="20" y="26"/>
                      </a:lnTo>
                      <a:lnTo>
                        <a:pt x="28" y="22"/>
                      </a:lnTo>
                      <a:lnTo>
                        <a:pt x="37" y="17"/>
                      </a:lnTo>
                      <a:lnTo>
                        <a:pt x="44" y="16"/>
                      </a:lnTo>
                      <a:lnTo>
                        <a:pt x="50" y="17"/>
                      </a:lnTo>
                      <a:lnTo>
                        <a:pt x="55" y="19"/>
                      </a:lnTo>
                      <a:lnTo>
                        <a:pt x="67" y="25"/>
                      </a:lnTo>
                      <a:lnTo>
                        <a:pt x="72" y="29"/>
                      </a:lnTo>
                      <a:lnTo>
                        <a:pt x="77" y="34"/>
                      </a:lnTo>
                      <a:lnTo>
                        <a:pt x="79" y="37"/>
                      </a:lnTo>
                      <a:lnTo>
                        <a:pt x="83" y="38"/>
                      </a:lnTo>
                      <a:lnTo>
                        <a:pt x="86" y="38"/>
                      </a:lnTo>
                      <a:lnTo>
                        <a:pt x="88" y="38"/>
                      </a:lnTo>
                      <a:lnTo>
                        <a:pt x="91" y="38"/>
                      </a:lnTo>
                      <a:lnTo>
                        <a:pt x="92" y="40"/>
                      </a:lnTo>
                      <a:lnTo>
                        <a:pt x="97" y="44"/>
                      </a:lnTo>
                      <a:lnTo>
                        <a:pt x="101" y="48"/>
                      </a:lnTo>
                      <a:lnTo>
                        <a:pt x="106" y="49"/>
                      </a:lnTo>
                      <a:lnTo>
                        <a:pt x="108" y="49"/>
                      </a:lnTo>
                      <a:lnTo>
                        <a:pt x="112" y="49"/>
                      </a:lnTo>
                      <a:lnTo>
                        <a:pt x="117" y="47"/>
                      </a:lnTo>
                      <a:lnTo>
                        <a:pt x="122" y="48"/>
                      </a:lnTo>
                      <a:lnTo>
                        <a:pt x="127" y="49"/>
                      </a:lnTo>
                      <a:lnTo>
                        <a:pt x="133" y="50"/>
                      </a:lnTo>
                      <a:lnTo>
                        <a:pt x="135" y="50"/>
                      </a:lnTo>
                      <a:lnTo>
                        <a:pt x="138" y="50"/>
                      </a:lnTo>
                      <a:lnTo>
                        <a:pt x="139" y="49"/>
                      </a:lnTo>
                      <a:lnTo>
                        <a:pt x="139" y="47"/>
                      </a:lnTo>
                      <a:lnTo>
                        <a:pt x="139" y="44"/>
                      </a:lnTo>
                      <a:lnTo>
                        <a:pt x="138" y="42"/>
                      </a:lnTo>
                      <a:lnTo>
                        <a:pt x="134" y="40"/>
                      </a:lnTo>
                      <a:lnTo>
                        <a:pt x="133" y="38"/>
                      </a:lnTo>
                      <a:lnTo>
                        <a:pt x="131" y="37"/>
                      </a:lnTo>
                      <a:lnTo>
                        <a:pt x="131" y="35"/>
                      </a:lnTo>
                      <a:lnTo>
                        <a:pt x="135" y="32"/>
                      </a:lnTo>
                      <a:lnTo>
                        <a:pt x="135" y="31"/>
                      </a:lnTo>
                      <a:lnTo>
                        <a:pt x="135" y="29"/>
                      </a:lnTo>
                      <a:lnTo>
                        <a:pt x="133" y="26"/>
                      </a:lnTo>
                      <a:lnTo>
                        <a:pt x="130" y="24"/>
                      </a:lnTo>
                      <a:lnTo>
                        <a:pt x="124" y="21"/>
                      </a:lnTo>
                      <a:lnTo>
                        <a:pt x="124" y="19"/>
                      </a:lnTo>
                      <a:lnTo>
                        <a:pt x="122" y="19"/>
                      </a:lnTo>
                      <a:lnTo>
                        <a:pt x="133" y="12"/>
                      </a:lnTo>
                      <a:lnTo>
                        <a:pt x="135" y="9"/>
                      </a:lnTo>
                      <a:lnTo>
                        <a:pt x="138" y="3"/>
                      </a:lnTo>
                      <a:lnTo>
                        <a:pt x="139" y="0"/>
                      </a:lnTo>
                      <a:lnTo>
                        <a:pt x="140" y="0"/>
                      </a:lnTo>
                      <a:lnTo>
                        <a:pt x="141" y="0"/>
                      </a:lnTo>
                      <a:lnTo>
                        <a:pt x="144" y="4"/>
                      </a:lnTo>
                      <a:lnTo>
                        <a:pt x="145" y="9"/>
                      </a:lnTo>
                      <a:lnTo>
                        <a:pt x="148" y="15"/>
                      </a:lnTo>
                      <a:lnTo>
                        <a:pt x="148" y="18"/>
                      </a:lnTo>
                      <a:lnTo>
                        <a:pt x="147" y="22"/>
                      </a:lnTo>
                      <a:lnTo>
                        <a:pt x="147" y="24"/>
                      </a:lnTo>
                      <a:lnTo>
                        <a:pt x="148" y="25"/>
                      </a:lnTo>
                      <a:lnTo>
                        <a:pt x="152" y="29"/>
                      </a:lnTo>
                      <a:lnTo>
                        <a:pt x="152" y="30"/>
                      </a:lnTo>
                      <a:lnTo>
                        <a:pt x="150" y="31"/>
                      </a:lnTo>
                      <a:lnTo>
                        <a:pt x="149" y="35"/>
                      </a:lnTo>
                      <a:lnTo>
                        <a:pt x="149" y="36"/>
                      </a:lnTo>
                      <a:lnTo>
                        <a:pt x="150" y="37"/>
                      </a:lnTo>
                      <a:lnTo>
                        <a:pt x="152" y="40"/>
                      </a:lnTo>
                      <a:lnTo>
                        <a:pt x="159" y="34"/>
                      </a:lnTo>
                      <a:lnTo>
                        <a:pt x="163" y="31"/>
                      </a:lnTo>
                      <a:lnTo>
                        <a:pt x="164" y="31"/>
                      </a:lnTo>
                      <a:lnTo>
                        <a:pt x="167" y="31"/>
                      </a:lnTo>
                      <a:lnTo>
                        <a:pt x="168" y="32"/>
                      </a:lnTo>
                      <a:lnTo>
                        <a:pt x="167" y="35"/>
                      </a:lnTo>
                      <a:lnTo>
                        <a:pt x="164" y="40"/>
                      </a:lnTo>
                      <a:lnTo>
                        <a:pt x="166" y="41"/>
                      </a:lnTo>
                      <a:lnTo>
                        <a:pt x="167" y="43"/>
                      </a:lnTo>
                      <a:lnTo>
                        <a:pt x="168" y="44"/>
                      </a:lnTo>
                      <a:lnTo>
                        <a:pt x="169" y="43"/>
                      </a:lnTo>
                      <a:lnTo>
                        <a:pt x="173" y="40"/>
                      </a:lnTo>
                      <a:lnTo>
                        <a:pt x="174" y="35"/>
                      </a:lnTo>
                      <a:lnTo>
                        <a:pt x="174" y="31"/>
                      </a:lnTo>
                      <a:lnTo>
                        <a:pt x="177" y="30"/>
                      </a:lnTo>
                      <a:lnTo>
                        <a:pt x="181" y="30"/>
                      </a:lnTo>
                      <a:lnTo>
                        <a:pt x="183" y="31"/>
                      </a:lnTo>
                      <a:lnTo>
                        <a:pt x="186" y="35"/>
                      </a:lnTo>
                      <a:lnTo>
                        <a:pt x="187" y="38"/>
                      </a:lnTo>
                      <a:lnTo>
                        <a:pt x="186" y="47"/>
                      </a:lnTo>
                      <a:lnTo>
                        <a:pt x="185" y="56"/>
                      </a:lnTo>
                      <a:lnTo>
                        <a:pt x="181" y="62"/>
                      </a:lnTo>
                      <a:lnTo>
                        <a:pt x="177" y="6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977">
                  <a:extLst>
                    <a:ext uri="{FF2B5EF4-FFF2-40B4-BE49-F238E27FC236}">
                      <a16:creationId xmlns:a16="http://schemas.microsoft.com/office/drawing/2014/main" id="{254E421B-6AA3-CA4E-9873-46A4A8915E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8282" y="2157334"/>
                  <a:ext cx="421764" cy="213102"/>
                </a:xfrm>
                <a:custGeom>
                  <a:avLst/>
                  <a:gdLst>
                    <a:gd name="T0" fmla="*/ 2147483647 w 308"/>
                    <a:gd name="T1" fmla="*/ 2147483647 h 144"/>
                    <a:gd name="T2" fmla="*/ 2147483647 w 308"/>
                    <a:gd name="T3" fmla="*/ 2147483647 h 144"/>
                    <a:gd name="T4" fmla="*/ 2147483647 w 308"/>
                    <a:gd name="T5" fmla="*/ 2147483647 h 144"/>
                    <a:gd name="T6" fmla="*/ 2147483647 w 308"/>
                    <a:gd name="T7" fmla="*/ 2147483647 h 144"/>
                    <a:gd name="T8" fmla="*/ 2147483647 w 308"/>
                    <a:gd name="T9" fmla="*/ 2147483647 h 144"/>
                    <a:gd name="T10" fmla="*/ 2147483647 w 308"/>
                    <a:gd name="T11" fmla="*/ 2147483647 h 144"/>
                    <a:gd name="T12" fmla="*/ 2147483647 w 308"/>
                    <a:gd name="T13" fmla="*/ 2147483647 h 144"/>
                    <a:gd name="T14" fmla="*/ 2147483647 w 308"/>
                    <a:gd name="T15" fmla="*/ 2147483647 h 144"/>
                    <a:gd name="T16" fmla="*/ 2147483647 w 308"/>
                    <a:gd name="T17" fmla="*/ 2147483647 h 144"/>
                    <a:gd name="T18" fmla="*/ 2147483647 w 308"/>
                    <a:gd name="T19" fmla="*/ 2147483647 h 144"/>
                    <a:gd name="T20" fmla="*/ 2147483647 w 308"/>
                    <a:gd name="T21" fmla="*/ 2147483647 h 144"/>
                    <a:gd name="T22" fmla="*/ 2147483647 w 308"/>
                    <a:gd name="T23" fmla="*/ 2147483647 h 144"/>
                    <a:gd name="T24" fmla="*/ 2147483647 w 308"/>
                    <a:gd name="T25" fmla="*/ 2147483647 h 144"/>
                    <a:gd name="T26" fmla="*/ 2147483647 w 308"/>
                    <a:gd name="T27" fmla="*/ 2147483647 h 144"/>
                    <a:gd name="T28" fmla="*/ 2147483647 w 308"/>
                    <a:gd name="T29" fmla="*/ 2147483647 h 144"/>
                    <a:gd name="T30" fmla="*/ 2147483647 w 308"/>
                    <a:gd name="T31" fmla="*/ 2147483647 h 144"/>
                    <a:gd name="T32" fmla="*/ 2147483647 w 308"/>
                    <a:gd name="T33" fmla="*/ 2147483647 h 144"/>
                    <a:gd name="T34" fmla="*/ 2147483647 w 308"/>
                    <a:gd name="T35" fmla="*/ 2147483647 h 144"/>
                    <a:gd name="T36" fmla="*/ 2147483647 w 308"/>
                    <a:gd name="T37" fmla="*/ 2147483647 h 144"/>
                    <a:gd name="T38" fmla="*/ 2147483647 w 308"/>
                    <a:gd name="T39" fmla="*/ 2147483647 h 144"/>
                    <a:gd name="T40" fmla="*/ 2147483647 w 308"/>
                    <a:gd name="T41" fmla="*/ 2147483647 h 144"/>
                    <a:gd name="T42" fmla="*/ 2147483647 w 308"/>
                    <a:gd name="T43" fmla="*/ 2147483647 h 144"/>
                    <a:gd name="T44" fmla="*/ 2147483647 w 308"/>
                    <a:gd name="T45" fmla="*/ 2147483647 h 144"/>
                    <a:gd name="T46" fmla="*/ 2147483647 w 308"/>
                    <a:gd name="T47" fmla="*/ 2147483647 h 144"/>
                    <a:gd name="T48" fmla="*/ 2147483647 w 308"/>
                    <a:gd name="T49" fmla="*/ 2147483647 h 144"/>
                    <a:gd name="T50" fmla="*/ 2147483647 w 308"/>
                    <a:gd name="T51" fmla="*/ 2147483647 h 144"/>
                    <a:gd name="T52" fmla="*/ 2147483647 w 308"/>
                    <a:gd name="T53" fmla="*/ 2147483647 h 144"/>
                    <a:gd name="T54" fmla="*/ 2147483647 w 308"/>
                    <a:gd name="T55" fmla="*/ 2147483647 h 144"/>
                    <a:gd name="T56" fmla="*/ 2147483647 w 308"/>
                    <a:gd name="T57" fmla="*/ 2147483647 h 144"/>
                    <a:gd name="T58" fmla="*/ 2147483647 w 308"/>
                    <a:gd name="T59" fmla="*/ 2147483647 h 144"/>
                    <a:gd name="T60" fmla="*/ 2147483647 w 308"/>
                    <a:gd name="T61" fmla="*/ 2147483647 h 144"/>
                    <a:gd name="T62" fmla="*/ 2147483647 w 308"/>
                    <a:gd name="T63" fmla="*/ 2147483647 h 144"/>
                    <a:gd name="T64" fmla="*/ 2147483647 w 308"/>
                    <a:gd name="T65" fmla="*/ 2147483647 h 144"/>
                    <a:gd name="T66" fmla="*/ 2147483647 w 308"/>
                    <a:gd name="T67" fmla="*/ 2147483647 h 144"/>
                    <a:gd name="T68" fmla="*/ 2147483647 w 308"/>
                    <a:gd name="T69" fmla="*/ 2147483647 h 144"/>
                    <a:gd name="T70" fmla="*/ 2147483647 w 308"/>
                    <a:gd name="T71" fmla="*/ 2147483647 h 144"/>
                    <a:gd name="T72" fmla="*/ 2147483647 w 308"/>
                    <a:gd name="T73" fmla="*/ 0 h 144"/>
                    <a:gd name="T74" fmla="*/ 2147483647 w 308"/>
                    <a:gd name="T75" fmla="*/ 2147483647 h 144"/>
                    <a:gd name="T76" fmla="*/ 2147483647 w 308"/>
                    <a:gd name="T77" fmla="*/ 2147483647 h 144"/>
                    <a:gd name="T78" fmla="*/ 2147483647 w 308"/>
                    <a:gd name="T79" fmla="*/ 2147483647 h 144"/>
                    <a:gd name="T80" fmla="*/ 2147483647 w 308"/>
                    <a:gd name="T81" fmla="*/ 2147483647 h 144"/>
                    <a:gd name="T82" fmla="*/ 2147483647 w 308"/>
                    <a:gd name="T83" fmla="*/ 2147483647 h 144"/>
                    <a:gd name="T84" fmla="*/ 2147483647 w 308"/>
                    <a:gd name="T85" fmla="*/ 2147483647 h 144"/>
                    <a:gd name="T86" fmla="*/ 2147483647 w 308"/>
                    <a:gd name="T87" fmla="*/ 2147483647 h 144"/>
                    <a:gd name="T88" fmla="*/ 2147483647 w 308"/>
                    <a:gd name="T89" fmla="*/ 2147483647 h 144"/>
                    <a:gd name="T90" fmla="*/ 2147483647 w 308"/>
                    <a:gd name="T91" fmla="*/ 2147483647 h 144"/>
                    <a:gd name="T92" fmla="*/ 2147483647 w 308"/>
                    <a:gd name="T93" fmla="*/ 2147483647 h 144"/>
                    <a:gd name="T94" fmla="*/ 2147483647 w 308"/>
                    <a:gd name="T95" fmla="*/ 2147483647 h 144"/>
                    <a:gd name="T96" fmla="*/ 2147483647 w 308"/>
                    <a:gd name="T97" fmla="*/ 2147483647 h 144"/>
                    <a:gd name="T98" fmla="*/ 2147483647 w 308"/>
                    <a:gd name="T99" fmla="*/ 2147483647 h 144"/>
                    <a:gd name="T100" fmla="*/ 2147483647 w 308"/>
                    <a:gd name="T101" fmla="*/ 2147483647 h 144"/>
                    <a:gd name="T102" fmla="*/ 2147483647 w 308"/>
                    <a:gd name="T103" fmla="*/ 2147483647 h 144"/>
                    <a:gd name="T104" fmla="*/ 2147483647 w 308"/>
                    <a:gd name="T105" fmla="*/ 2147483647 h 144"/>
                    <a:gd name="T106" fmla="*/ 2147483647 w 308"/>
                    <a:gd name="T107" fmla="*/ 2147483647 h 144"/>
                    <a:gd name="T108" fmla="*/ 2147483647 w 308"/>
                    <a:gd name="T109" fmla="*/ 2147483647 h 144"/>
                    <a:gd name="T110" fmla="*/ 2147483647 w 308"/>
                    <a:gd name="T111" fmla="*/ 2147483647 h 144"/>
                    <a:gd name="T112" fmla="*/ 2147483647 w 308"/>
                    <a:gd name="T113" fmla="*/ 2147483647 h 144"/>
                    <a:gd name="T114" fmla="*/ 2147483647 w 308"/>
                    <a:gd name="T115" fmla="*/ 2147483647 h 144"/>
                    <a:gd name="T116" fmla="*/ 2147483647 w 308"/>
                    <a:gd name="T117" fmla="*/ 2147483647 h 144"/>
                    <a:gd name="T118" fmla="*/ 2147483647 w 308"/>
                    <a:gd name="T119" fmla="*/ 2147483647 h 144"/>
                    <a:gd name="T120" fmla="*/ 2147483647 w 308"/>
                    <a:gd name="T121" fmla="*/ 2147483647 h 14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08"/>
                    <a:gd name="T184" fmla="*/ 0 h 144"/>
                    <a:gd name="T185" fmla="*/ 308 w 308"/>
                    <a:gd name="T186" fmla="*/ 144 h 14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08" h="144">
                      <a:moveTo>
                        <a:pt x="128" y="143"/>
                      </a:moveTo>
                      <a:lnTo>
                        <a:pt x="128" y="143"/>
                      </a:lnTo>
                      <a:lnTo>
                        <a:pt x="138" y="138"/>
                      </a:lnTo>
                      <a:lnTo>
                        <a:pt x="142" y="137"/>
                      </a:lnTo>
                      <a:lnTo>
                        <a:pt x="147" y="137"/>
                      </a:lnTo>
                      <a:lnTo>
                        <a:pt x="156" y="138"/>
                      </a:lnTo>
                      <a:lnTo>
                        <a:pt x="164" y="138"/>
                      </a:lnTo>
                      <a:lnTo>
                        <a:pt x="171" y="134"/>
                      </a:lnTo>
                      <a:lnTo>
                        <a:pt x="179" y="130"/>
                      </a:lnTo>
                      <a:lnTo>
                        <a:pt x="184" y="127"/>
                      </a:lnTo>
                      <a:lnTo>
                        <a:pt x="189" y="126"/>
                      </a:lnTo>
                      <a:lnTo>
                        <a:pt x="195" y="125"/>
                      </a:lnTo>
                      <a:lnTo>
                        <a:pt x="200" y="123"/>
                      </a:lnTo>
                      <a:lnTo>
                        <a:pt x="203" y="121"/>
                      </a:lnTo>
                      <a:lnTo>
                        <a:pt x="206" y="121"/>
                      </a:lnTo>
                      <a:lnTo>
                        <a:pt x="212" y="121"/>
                      </a:lnTo>
                      <a:lnTo>
                        <a:pt x="221" y="123"/>
                      </a:lnTo>
                      <a:lnTo>
                        <a:pt x="231" y="124"/>
                      </a:lnTo>
                      <a:lnTo>
                        <a:pt x="232" y="125"/>
                      </a:lnTo>
                      <a:lnTo>
                        <a:pt x="233" y="127"/>
                      </a:lnTo>
                      <a:lnTo>
                        <a:pt x="235" y="130"/>
                      </a:lnTo>
                      <a:lnTo>
                        <a:pt x="236" y="131"/>
                      </a:lnTo>
                      <a:lnTo>
                        <a:pt x="246" y="134"/>
                      </a:lnTo>
                      <a:lnTo>
                        <a:pt x="255" y="136"/>
                      </a:lnTo>
                      <a:lnTo>
                        <a:pt x="265" y="134"/>
                      </a:lnTo>
                      <a:lnTo>
                        <a:pt x="274" y="132"/>
                      </a:lnTo>
                      <a:lnTo>
                        <a:pt x="279" y="128"/>
                      </a:lnTo>
                      <a:lnTo>
                        <a:pt x="284" y="123"/>
                      </a:lnTo>
                      <a:lnTo>
                        <a:pt x="284" y="120"/>
                      </a:lnTo>
                      <a:lnTo>
                        <a:pt x="284" y="119"/>
                      </a:lnTo>
                      <a:lnTo>
                        <a:pt x="280" y="115"/>
                      </a:lnTo>
                      <a:lnTo>
                        <a:pt x="275" y="114"/>
                      </a:lnTo>
                      <a:lnTo>
                        <a:pt x="270" y="113"/>
                      </a:lnTo>
                      <a:lnTo>
                        <a:pt x="264" y="112"/>
                      </a:lnTo>
                      <a:lnTo>
                        <a:pt x="263" y="112"/>
                      </a:lnTo>
                      <a:lnTo>
                        <a:pt x="261" y="111"/>
                      </a:lnTo>
                      <a:lnTo>
                        <a:pt x="260" y="109"/>
                      </a:lnTo>
                      <a:lnTo>
                        <a:pt x="260" y="107"/>
                      </a:lnTo>
                      <a:lnTo>
                        <a:pt x="261" y="106"/>
                      </a:lnTo>
                      <a:lnTo>
                        <a:pt x="263" y="105"/>
                      </a:lnTo>
                      <a:lnTo>
                        <a:pt x="264" y="106"/>
                      </a:lnTo>
                      <a:lnTo>
                        <a:pt x="269" y="107"/>
                      </a:lnTo>
                      <a:lnTo>
                        <a:pt x="273" y="107"/>
                      </a:lnTo>
                      <a:lnTo>
                        <a:pt x="277" y="106"/>
                      </a:lnTo>
                      <a:lnTo>
                        <a:pt x="280" y="104"/>
                      </a:lnTo>
                      <a:lnTo>
                        <a:pt x="283" y="102"/>
                      </a:lnTo>
                      <a:lnTo>
                        <a:pt x="284" y="104"/>
                      </a:lnTo>
                      <a:lnTo>
                        <a:pt x="291" y="106"/>
                      </a:lnTo>
                      <a:lnTo>
                        <a:pt x="297" y="108"/>
                      </a:lnTo>
                      <a:lnTo>
                        <a:pt x="300" y="111"/>
                      </a:lnTo>
                      <a:lnTo>
                        <a:pt x="303" y="112"/>
                      </a:lnTo>
                      <a:lnTo>
                        <a:pt x="303" y="104"/>
                      </a:lnTo>
                      <a:lnTo>
                        <a:pt x="305" y="100"/>
                      </a:lnTo>
                      <a:lnTo>
                        <a:pt x="307" y="95"/>
                      </a:lnTo>
                      <a:lnTo>
                        <a:pt x="308" y="94"/>
                      </a:lnTo>
                      <a:lnTo>
                        <a:pt x="308" y="93"/>
                      </a:lnTo>
                      <a:lnTo>
                        <a:pt x="307" y="92"/>
                      </a:lnTo>
                      <a:lnTo>
                        <a:pt x="306" y="92"/>
                      </a:lnTo>
                      <a:lnTo>
                        <a:pt x="296" y="93"/>
                      </a:lnTo>
                      <a:lnTo>
                        <a:pt x="292" y="92"/>
                      </a:lnTo>
                      <a:lnTo>
                        <a:pt x="288" y="91"/>
                      </a:lnTo>
                      <a:lnTo>
                        <a:pt x="284" y="87"/>
                      </a:lnTo>
                      <a:lnTo>
                        <a:pt x="282" y="83"/>
                      </a:lnTo>
                      <a:lnTo>
                        <a:pt x="279" y="80"/>
                      </a:lnTo>
                      <a:lnTo>
                        <a:pt x="277" y="76"/>
                      </a:lnTo>
                      <a:lnTo>
                        <a:pt x="274" y="75"/>
                      </a:lnTo>
                      <a:lnTo>
                        <a:pt x="272" y="75"/>
                      </a:lnTo>
                      <a:lnTo>
                        <a:pt x="266" y="74"/>
                      </a:lnTo>
                      <a:lnTo>
                        <a:pt x="260" y="70"/>
                      </a:lnTo>
                      <a:lnTo>
                        <a:pt x="255" y="67"/>
                      </a:lnTo>
                      <a:lnTo>
                        <a:pt x="254" y="66"/>
                      </a:lnTo>
                      <a:lnTo>
                        <a:pt x="253" y="66"/>
                      </a:lnTo>
                      <a:lnTo>
                        <a:pt x="250" y="67"/>
                      </a:lnTo>
                      <a:lnTo>
                        <a:pt x="247" y="66"/>
                      </a:lnTo>
                      <a:lnTo>
                        <a:pt x="246" y="64"/>
                      </a:lnTo>
                      <a:lnTo>
                        <a:pt x="246" y="60"/>
                      </a:lnTo>
                      <a:lnTo>
                        <a:pt x="245" y="56"/>
                      </a:lnTo>
                      <a:lnTo>
                        <a:pt x="244" y="55"/>
                      </a:lnTo>
                      <a:lnTo>
                        <a:pt x="241" y="53"/>
                      </a:lnTo>
                      <a:lnTo>
                        <a:pt x="239" y="51"/>
                      </a:lnTo>
                      <a:lnTo>
                        <a:pt x="237" y="50"/>
                      </a:lnTo>
                      <a:lnTo>
                        <a:pt x="237" y="48"/>
                      </a:lnTo>
                      <a:lnTo>
                        <a:pt x="239" y="47"/>
                      </a:lnTo>
                      <a:lnTo>
                        <a:pt x="239" y="44"/>
                      </a:lnTo>
                      <a:lnTo>
                        <a:pt x="239" y="43"/>
                      </a:lnTo>
                      <a:lnTo>
                        <a:pt x="233" y="37"/>
                      </a:lnTo>
                      <a:lnTo>
                        <a:pt x="231" y="35"/>
                      </a:lnTo>
                      <a:lnTo>
                        <a:pt x="228" y="32"/>
                      </a:lnTo>
                      <a:lnTo>
                        <a:pt x="223" y="31"/>
                      </a:lnTo>
                      <a:lnTo>
                        <a:pt x="221" y="29"/>
                      </a:lnTo>
                      <a:lnTo>
                        <a:pt x="220" y="28"/>
                      </a:lnTo>
                      <a:lnTo>
                        <a:pt x="220" y="25"/>
                      </a:lnTo>
                      <a:lnTo>
                        <a:pt x="220" y="22"/>
                      </a:lnTo>
                      <a:lnTo>
                        <a:pt x="220" y="18"/>
                      </a:lnTo>
                      <a:lnTo>
                        <a:pt x="220" y="16"/>
                      </a:lnTo>
                      <a:lnTo>
                        <a:pt x="216" y="13"/>
                      </a:lnTo>
                      <a:lnTo>
                        <a:pt x="209" y="11"/>
                      </a:lnTo>
                      <a:lnTo>
                        <a:pt x="203" y="11"/>
                      </a:lnTo>
                      <a:lnTo>
                        <a:pt x="199" y="12"/>
                      </a:lnTo>
                      <a:lnTo>
                        <a:pt x="197" y="13"/>
                      </a:lnTo>
                      <a:lnTo>
                        <a:pt x="195" y="16"/>
                      </a:lnTo>
                      <a:lnTo>
                        <a:pt x="194" y="19"/>
                      </a:lnTo>
                      <a:lnTo>
                        <a:pt x="195" y="26"/>
                      </a:lnTo>
                      <a:lnTo>
                        <a:pt x="200" y="43"/>
                      </a:lnTo>
                      <a:lnTo>
                        <a:pt x="203" y="51"/>
                      </a:lnTo>
                      <a:lnTo>
                        <a:pt x="202" y="56"/>
                      </a:lnTo>
                      <a:lnTo>
                        <a:pt x="200" y="60"/>
                      </a:lnTo>
                      <a:lnTo>
                        <a:pt x="200" y="62"/>
                      </a:lnTo>
                      <a:lnTo>
                        <a:pt x="198" y="63"/>
                      </a:lnTo>
                      <a:lnTo>
                        <a:pt x="195" y="63"/>
                      </a:lnTo>
                      <a:lnTo>
                        <a:pt x="194" y="63"/>
                      </a:lnTo>
                      <a:lnTo>
                        <a:pt x="192" y="61"/>
                      </a:lnTo>
                      <a:lnTo>
                        <a:pt x="189" y="59"/>
                      </a:lnTo>
                      <a:lnTo>
                        <a:pt x="189" y="51"/>
                      </a:lnTo>
                      <a:lnTo>
                        <a:pt x="189" y="45"/>
                      </a:lnTo>
                      <a:lnTo>
                        <a:pt x="188" y="42"/>
                      </a:lnTo>
                      <a:lnTo>
                        <a:pt x="186" y="40"/>
                      </a:lnTo>
                      <a:lnTo>
                        <a:pt x="179" y="31"/>
                      </a:lnTo>
                      <a:lnTo>
                        <a:pt x="175" y="28"/>
                      </a:lnTo>
                      <a:lnTo>
                        <a:pt x="173" y="24"/>
                      </a:lnTo>
                      <a:lnTo>
                        <a:pt x="170" y="22"/>
                      </a:lnTo>
                      <a:lnTo>
                        <a:pt x="167" y="22"/>
                      </a:lnTo>
                      <a:lnTo>
                        <a:pt x="165" y="22"/>
                      </a:lnTo>
                      <a:lnTo>
                        <a:pt x="164" y="24"/>
                      </a:lnTo>
                      <a:lnTo>
                        <a:pt x="162" y="30"/>
                      </a:lnTo>
                      <a:lnTo>
                        <a:pt x="161" y="31"/>
                      </a:lnTo>
                      <a:lnTo>
                        <a:pt x="159" y="32"/>
                      </a:lnTo>
                      <a:lnTo>
                        <a:pt x="150" y="32"/>
                      </a:lnTo>
                      <a:lnTo>
                        <a:pt x="142" y="35"/>
                      </a:lnTo>
                      <a:lnTo>
                        <a:pt x="138" y="35"/>
                      </a:lnTo>
                      <a:lnTo>
                        <a:pt x="134" y="35"/>
                      </a:lnTo>
                      <a:lnTo>
                        <a:pt x="131" y="34"/>
                      </a:lnTo>
                      <a:lnTo>
                        <a:pt x="129" y="32"/>
                      </a:lnTo>
                      <a:lnTo>
                        <a:pt x="129" y="31"/>
                      </a:lnTo>
                      <a:lnTo>
                        <a:pt x="131" y="29"/>
                      </a:lnTo>
                      <a:lnTo>
                        <a:pt x="133" y="26"/>
                      </a:lnTo>
                      <a:lnTo>
                        <a:pt x="136" y="24"/>
                      </a:lnTo>
                      <a:lnTo>
                        <a:pt x="137" y="23"/>
                      </a:lnTo>
                      <a:lnTo>
                        <a:pt x="136" y="22"/>
                      </a:lnTo>
                      <a:lnTo>
                        <a:pt x="133" y="19"/>
                      </a:lnTo>
                      <a:lnTo>
                        <a:pt x="129" y="16"/>
                      </a:lnTo>
                      <a:lnTo>
                        <a:pt x="122" y="11"/>
                      </a:lnTo>
                      <a:lnTo>
                        <a:pt x="119" y="10"/>
                      </a:lnTo>
                      <a:lnTo>
                        <a:pt x="117" y="10"/>
                      </a:lnTo>
                      <a:lnTo>
                        <a:pt x="110" y="9"/>
                      </a:lnTo>
                      <a:lnTo>
                        <a:pt x="108" y="8"/>
                      </a:lnTo>
                      <a:lnTo>
                        <a:pt x="106" y="6"/>
                      </a:lnTo>
                      <a:lnTo>
                        <a:pt x="104" y="4"/>
                      </a:lnTo>
                      <a:lnTo>
                        <a:pt x="100" y="4"/>
                      </a:lnTo>
                      <a:lnTo>
                        <a:pt x="98" y="4"/>
                      </a:lnTo>
                      <a:lnTo>
                        <a:pt x="91" y="5"/>
                      </a:lnTo>
                      <a:lnTo>
                        <a:pt x="90" y="6"/>
                      </a:lnTo>
                      <a:lnTo>
                        <a:pt x="89" y="9"/>
                      </a:lnTo>
                      <a:lnTo>
                        <a:pt x="89" y="13"/>
                      </a:lnTo>
                      <a:lnTo>
                        <a:pt x="89" y="18"/>
                      </a:lnTo>
                      <a:lnTo>
                        <a:pt x="87" y="19"/>
                      </a:lnTo>
                      <a:lnTo>
                        <a:pt x="85" y="22"/>
                      </a:lnTo>
                      <a:lnTo>
                        <a:pt x="84" y="21"/>
                      </a:lnTo>
                      <a:lnTo>
                        <a:pt x="80" y="19"/>
                      </a:lnTo>
                      <a:lnTo>
                        <a:pt x="76" y="21"/>
                      </a:lnTo>
                      <a:lnTo>
                        <a:pt x="73" y="21"/>
                      </a:lnTo>
                      <a:lnTo>
                        <a:pt x="71" y="21"/>
                      </a:lnTo>
                      <a:lnTo>
                        <a:pt x="71" y="19"/>
                      </a:lnTo>
                      <a:lnTo>
                        <a:pt x="71" y="18"/>
                      </a:lnTo>
                      <a:lnTo>
                        <a:pt x="73" y="16"/>
                      </a:lnTo>
                      <a:lnTo>
                        <a:pt x="75" y="12"/>
                      </a:lnTo>
                      <a:lnTo>
                        <a:pt x="75" y="9"/>
                      </a:lnTo>
                      <a:lnTo>
                        <a:pt x="73" y="6"/>
                      </a:lnTo>
                      <a:lnTo>
                        <a:pt x="68" y="2"/>
                      </a:lnTo>
                      <a:lnTo>
                        <a:pt x="66" y="0"/>
                      </a:lnTo>
                      <a:lnTo>
                        <a:pt x="63" y="0"/>
                      </a:lnTo>
                      <a:lnTo>
                        <a:pt x="61" y="2"/>
                      </a:lnTo>
                      <a:lnTo>
                        <a:pt x="58" y="4"/>
                      </a:lnTo>
                      <a:lnTo>
                        <a:pt x="56" y="5"/>
                      </a:lnTo>
                      <a:lnTo>
                        <a:pt x="53" y="6"/>
                      </a:lnTo>
                      <a:lnTo>
                        <a:pt x="44" y="9"/>
                      </a:lnTo>
                      <a:lnTo>
                        <a:pt x="37" y="11"/>
                      </a:lnTo>
                      <a:lnTo>
                        <a:pt x="28" y="15"/>
                      </a:lnTo>
                      <a:lnTo>
                        <a:pt x="21" y="21"/>
                      </a:lnTo>
                      <a:lnTo>
                        <a:pt x="18" y="25"/>
                      </a:lnTo>
                      <a:lnTo>
                        <a:pt x="15" y="31"/>
                      </a:lnTo>
                      <a:lnTo>
                        <a:pt x="11" y="37"/>
                      </a:lnTo>
                      <a:lnTo>
                        <a:pt x="9" y="38"/>
                      </a:lnTo>
                      <a:lnTo>
                        <a:pt x="5" y="41"/>
                      </a:lnTo>
                      <a:lnTo>
                        <a:pt x="2" y="42"/>
                      </a:lnTo>
                      <a:lnTo>
                        <a:pt x="1" y="44"/>
                      </a:lnTo>
                      <a:lnTo>
                        <a:pt x="0" y="47"/>
                      </a:lnTo>
                      <a:lnTo>
                        <a:pt x="1" y="49"/>
                      </a:lnTo>
                      <a:lnTo>
                        <a:pt x="2" y="50"/>
                      </a:lnTo>
                      <a:lnTo>
                        <a:pt x="4" y="50"/>
                      </a:lnTo>
                      <a:lnTo>
                        <a:pt x="7" y="50"/>
                      </a:lnTo>
                      <a:lnTo>
                        <a:pt x="13" y="50"/>
                      </a:lnTo>
                      <a:lnTo>
                        <a:pt x="14" y="50"/>
                      </a:lnTo>
                      <a:lnTo>
                        <a:pt x="15" y="51"/>
                      </a:lnTo>
                      <a:lnTo>
                        <a:pt x="18" y="53"/>
                      </a:lnTo>
                      <a:lnTo>
                        <a:pt x="20" y="54"/>
                      </a:lnTo>
                      <a:lnTo>
                        <a:pt x="25" y="53"/>
                      </a:lnTo>
                      <a:lnTo>
                        <a:pt x="39" y="53"/>
                      </a:lnTo>
                      <a:lnTo>
                        <a:pt x="52" y="53"/>
                      </a:lnTo>
                      <a:lnTo>
                        <a:pt x="56" y="54"/>
                      </a:lnTo>
                      <a:lnTo>
                        <a:pt x="60" y="56"/>
                      </a:lnTo>
                      <a:lnTo>
                        <a:pt x="61" y="60"/>
                      </a:lnTo>
                      <a:lnTo>
                        <a:pt x="62" y="62"/>
                      </a:lnTo>
                      <a:lnTo>
                        <a:pt x="61" y="64"/>
                      </a:lnTo>
                      <a:lnTo>
                        <a:pt x="60" y="64"/>
                      </a:lnTo>
                      <a:lnTo>
                        <a:pt x="58" y="66"/>
                      </a:lnTo>
                      <a:lnTo>
                        <a:pt x="56" y="64"/>
                      </a:lnTo>
                      <a:lnTo>
                        <a:pt x="51" y="62"/>
                      </a:lnTo>
                      <a:lnTo>
                        <a:pt x="48" y="61"/>
                      </a:lnTo>
                      <a:lnTo>
                        <a:pt x="46" y="62"/>
                      </a:lnTo>
                      <a:lnTo>
                        <a:pt x="34" y="66"/>
                      </a:lnTo>
                      <a:lnTo>
                        <a:pt x="29" y="67"/>
                      </a:lnTo>
                      <a:lnTo>
                        <a:pt x="24" y="66"/>
                      </a:lnTo>
                      <a:lnTo>
                        <a:pt x="23" y="63"/>
                      </a:lnTo>
                      <a:lnTo>
                        <a:pt x="20" y="63"/>
                      </a:lnTo>
                      <a:lnTo>
                        <a:pt x="18" y="63"/>
                      </a:lnTo>
                      <a:lnTo>
                        <a:pt x="16" y="63"/>
                      </a:lnTo>
                      <a:lnTo>
                        <a:pt x="15" y="66"/>
                      </a:lnTo>
                      <a:lnTo>
                        <a:pt x="15" y="68"/>
                      </a:lnTo>
                      <a:lnTo>
                        <a:pt x="15" y="70"/>
                      </a:lnTo>
                      <a:lnTo>
                        <a:pt x="25" y="76"/>
                      </a:lnTo>
                      <a:lnTo>
                        <a:pt x="34" y="82"/>
                      </a:lnTo>
                      <a:lnTo>
                        <a:pt x="44" y="81"/>
                      </a:lnTo>
                      <a:lnTo>
                        <a:pt x="62" y="80"/>
                      </a:lnTo>
                      <a:lnTo>
                        <a:pt x="86" y="76"/>
                      </a:lnTo>
                      <a:lnTo>
                        <a:pt x="91" y="76"/>
                      </a:lnTo>
                      <a:lnTo>
                        <a:pt x="95" y="76"/>
                      </a:lnTo>
                      <a:lnTo>
                        <a:pt x="104" y="79"/>
                      </a:lnTo>
                      <a:lnTo>
                        <a:pt x="112" y="82"/>
                      </a:lnTo>
                      <a:lnTo>
                        <a:pt x="120" y="85"/>
                      </a:lnTo>
                      <a:lnTo>
                        <a:pt x="126" y="85"/>
                      </a:lnTo>
                      <a:lnTo>
                        <a:pt x="128" y="85"/>
                      </a:lnTo>
                      <a:lnTo>
                        <a:pt x="131" y="86"/>
                      </a:lnTo>
                      <a:lnTo>
                        <a:pt x="133" y="87"/>
                      </a:lnTo>
                      <a:lnTo>
                        <a:pt x="133" y="88"/>
                      </a:lnTo>
                      <a:lnTo>
                        <a:pt x="133" y="89"/>
                      </a:lnTo>
                      <a:lnTo>
                        <a:pt x="122" y="92"/>
                      </a:lnTo>
                      <a:lnTo>
                        <a:pt x="117" y="94"/>
                      </a:lnTo>
                      <a:lnTo>
                        <a:pt x="112" y="98"/>
                      </a:lnTo>
                      <a:lnTo>
                        <a:pt x="110" y="98"/>
                      </a:lnTo>
                      <a:lnTo>
                        <a:pt x="109" y="98"/>
                      </a:lnTo>
                      <a:lnTo>
                        <a:pt x="105" y="95"/>
                      </a:lnTo>
                      <a:lnTo>
                        <a:pt x="100" y="93"/>
                      </a:lnTo>
                      <a:lnTo>
                        <a:pt x="90" y="93"/>
                      </a:lnTo>
                      <a:lnTo>
                        <a:pt x="79" y="93"/>
                      </a:lnTo>
                      <a:lnTo>
                        <a:pt x="75" y="94"/>
                      </a:lnTo>
                      <a:lnTo>
                        <a:pt x="70" y="94"/>
                      </a:lnTo>
                      <a:lnTo>
                        <a:pt x="66" y="94"/>
                      </a:lnTo>
                      <a:lnTo>
                        <a:pt x="61" y="93"/>
                      </a:lnTo>
                      <a:lnTo>
                        <a:pt x="56" y="94"/>
                      </a:lnTo>
                      <a:lnTo>
                        <a:pt x="49" y="96"/>
                      </a:lnTo>
                      <a:lnTo>
                        <a:pt x="46" y="96"/>
                      </a:lnTo>
                      <a:lnTo>
                        <a:pt x="40" y="95"/>
                      </a:lnTo>
                      <a:lnTo>
                        <a:pt x="37" y="95"/>
                      </a:lnTo>
                      <a:lnTo>
                        <a:pt x="35" y="96"/>
                      </a:lnTo>
                      <a:lnTo>
                        <a:pt x="34" y="98"/>
                      </a:lnTo>
                      <a:lnTo>
                        <a:pt x="33" y="99"/>
                      </a:lnTo>
                      <a:lnTo>
                        <a:pt x="34" y="101"/>
                      </a:lnTo>
                      <a:lnTo>
                        <a:pt x="37" y="105"/>
                      </a:lnTo>
                      <a:lnTo>
                        <a:pt x="38" y="107"/>
                      </a:lnTo>
                      <a:lnTo>
                        <a:pt x="42" y="108"/>
                      </a:lnTo>
                      <a:lnTo>
                        <a:pt x="44" y="108"/>
                      </a:lnTo>
                      <a:lnTo>
                        <a:pt x="46" y="109"/>
                      </a:lnTo>
                      <a:lnTo>
                        <a:pt x="51" y="115"/>
                      </a:lnTo>
                      <a:lnTo>
                        <a:pt x="57" y="120"/>
                      </a:lnTo>
                      <a:lnTo>
                        <a:pt x="65" y="121"/>
                      </a:lnTo>
                      <a:lnTo>
                        <a:pt x="72" y="121"/>
                      </a:lnTo>
                      <a:lnTo>
                        <a:pt x="77" y="124"/>
                      </a:lnTo>
                      <a:lnTo>
                        <a:pt x="86" y="125"/>
                      </a:lnTo>
                      <a:lnTo>
                        <a:pt x="90" y="125"/>
                      </a:lnTo>
                      <a:lnTo>
                        <a:pt x="94" y="127"/>
                      </a:lnTo>
                      <a:lnTo>
                        <a:pt x="95" y="128"/>
                      </a:lnTo>
                      <a:lnTo>
                        <a:pt x="95" y="131"/>
                      </a:lnTo>
                      <a:lnTo>
                        <a:pt x="93" y="136"/>
                      </a:lnTo>
                      <a:lnTo>
                        <a:pt x="91" y="138"/>
                      </a:lnTo>
                      <a:lnTo>
                        <a:pt x="93" y="139"/>
                      </a:lnTo>
                      <a:lnTo>
                        <a:pt x="93" y="140"/>
                      </a:lnTo>
                      <a:lnTo>
                        <a:pt x="94" y="141"/>
                      </a:lnTo>
                      <a:lnTo>
                        <a:pt x="108" y="143"/>
                      </a:lnTo>
                      <a:lnTo>
                        <a:pt x="120" y="144"/>
                      </a:lnTo>
                      <a:lnTo>
                        <a:pt x="124" y="144"/>
                      </a:lnTo>
                      <a:lnTo>
                        <a:pt x="128" y="14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978">
                  <a:extLst>
                    <a:ext uri="{FF2B5EF4-FFF2-40B4-BE49-F238E27FC236}">
                      <a16:creationId xmlns:a16="http://schemas.microsoft.com/office/drawing/2014/main" id="{BFEE7000-A39F-7148-8AD3-9BFEF1ABB9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803" y="1985673"/>
                  <a:ext cx="254537" cy="122830"/>
                </a:xfrm>
                <a:custGeom>
                  <a:avLst/>
                  <a:gdLst>
                    <a:gd name="T0" fmla="*/ 2147483647 w 187"/>
                    <a:gd name="T1" fmla="*/ 2147483647 h 83"/>
                    <a:gd name="T2" fmla="*/ 2147483647 w 187"/>
                    <a:gd name="T3" fmla="*/ 2147483647 h 83"/>
                    <a:gd name="T4" fmla="*/ 2147483647 w 187"/>
                    <a:gd name="T5" fmla="*/ 2147483647 h 83"/>
                    <a:gd name="T6" fmla="*/ 2147483647 w 187"/>
                    <a:gd name="T7" fmla="*/ 2147483647 h 83"/>
                    <a:gd name="T8" fmla="*/ 2147483647 w 187"/>
                    <a:gd name="T9" fmla="*/ 2147483647 h 83"/>
                    <a:gd name="T10" fmla="*/ 2147483647 w 187"/>
                    <a:gd name="T11" fmla="*/ 2147483647 h 83"/>
                    <a:gd name="T12" fmla="*/ 2147483647 w 187"/>
                    <a:gd name="T13" fmla="*/ 2147483647 h 83"/>
                    <a:gd name="T14" fmla="*/ 2147483647 w 187"/>
                    <a:gd name="T15" fmla="*/ 2147483647 h 83"/>
                    <a:gd name="T16" fmla="*/ 2147483647 w 187"/>
                    <a:gd name="T17" fmla="*/ 2147483647 h 83"/>
                    <a:gd name="T18" fmla="*/ 2147483647 w 187"/>
                    <a:gd name="T19" fmla="*/ 2147483647 h 83"/>
                    <a:gd name="T20" fmla="*/ 2147483647 w 187"/>
                    <a:gd name="T21" fmla="*/ 2147483647 h 83"/>
                    <a:gd name="T22" fmla="*/ 2147483647 w 187"/>
                    <a:gd name="T23" fmla="*/ 2147483647 h 83"/>
                    <a:gd name="T24" fmla="*/ 2147483647 w 187"/>
                    <a:gd name="T25" fmla="*/ 2147483647 h 83"/>
                    <a:gd name="T26" fmla="*/ 2147483647 w 187"/>
                    <a:gd name="T27" fmla="*/ 2147483647 h 83"/>
                    <a:gd name="T28" fmla="*/ 2147483647 w 187"/>
                    <a:gd name="T29" fmla="*/ 2147483647 h 83"/>
                    <a:gd name="T30" fmla="*/ 2147483647 w 187"/>
                    <a:gd name="T31" fmla="*/ 2147483647 h 83"/>
                    <a:gd name="T32" fmla="*/ 2147483647 w 187"/>
                    <a:gd name="T33" fmla="*/ 2147483647 h 83"/>
                    <a:gd name="T34" fmla="*/ 2147483647 w 187"/>
                    <a:gd name="T35" fmla="*/ 2147483647 h 83"/>
                    <a:gd name="T36" fmla="*/ 2147483647 w 187"/>
                    <a:gd name="T37" fmla="*/ 2147483647 h 83"/>
                    <a:gd name="T38" fmla="*/ 2147483647 w 187"/>
                    <a:gd name="T39" fmla="*/ 2147483647 h 83"/>
                    <a:gd name="T40" fmla="*/ 2147483647 w 187"/>
                    <a:gd name="T41" fmla="*/ 2147483647 h 83"/>
                    <a:gd name="T42" fmla="*/ 2147483647 w 187"/>
                    <a:gd name="T43" fmla="*/ 2147483647 h 83"/>
                    <a:gd name="T44" fmla="*/ 0 w 187"/>
                    <a:gd name="T45" fmla="*/ 2147483647 h 83"/>
                    <a:gd name="T46" fmla="*/ 2147483647 w 187"/>
                    <a:gd name="T47" fmla="*/ 2147483647 h 83"/>
                    <a:gd name="T48" fmla="*/ 2147483647 w 187"/>
                    <a:gd name="T49" fmla="*/ 2147483647 h 83"/>
                    <a:gd name="T50" fmla="*/ 2147483647 w 187"/>
                    <a:gd name="T51" fmla="*/ 2147483647 h 83"/>
                    <a:gd name="T52" fmla="*/ 2147483647 w 187"/>
                    <a:gd name="T53" fmla="*/ 2147483647 h 83"/>
                    <a:gd name="T54" fmla="*/ 2147483647 w 187"/>
                    <a:gd name="T55" fmla="*/ 2147483647 h 83"/>
                    <a:gd name="T56" fmla="*/ 2147483647 w 187"/>
                    <a:gd name="T57" fmla="*/ 2147483647 h 83"/>
                    <a:gd name="T58" fmla="*/ 2147483647 w 187"/>
                    <a:gd name="T59" fmla="*/ 2147483647 h 83"/>
                    <a:gd name="T60" fmla="*/ 2147483647 w 187"/>
                    <a:gd name="T61" fmla="*/ 2147483647 h 83"/>
                    <a:gd name="T62" fmla="*/ 2147483647 w 187"/>
                    <a:gd name="T63" fmla="*/ 2147483647 h 83"/>
                    <a:gd name="T64" fmla="*/ 2147483647 w 187"/>
                    <a:gd name="T65" fmla="*/ 2147483647 h 83"/>
                    <a:gd name="T66" fmla="*/ 2147483647 w 187"/>
                    <a:gd name="T67" fmla="*/ 2147483647 h 83"/>
                    <a:gd name="T68" fmla="*/ 2147483647 w 187"/>
                    <a:gd name="T69" fmla="*/ 2147483647 h 83"/>
                    <a:gd name="T70" fmla="*/ 2147483647 w 187"/>
                    <a:gd name="T71" fmla="*/ 2147483647 h 83"/>
                    <a:gd name="T72" fmla="*/ 2147483647 w 187"/>
                    <a:gd name="T73" fmla="*/ 2147483647 h 83"/>
                    <a:gd name="T74" fmla="*/ 2147483647 w 187"/>
                    <a:gd name="T75" fmla="*/ 2147483647 h 83"/>
                    <a:gd name="T76" fmla="*/ 2147483647 w 187"/>
                    <a:gd name="T77" fmla="*/ 2147483647 h 83"/>
                    <a:gd name="T78" fmla="*/ 2147483647 w 187"/>
                    <a:gd name="T79" fmla="*/ 2147483647 h 83"/>
                    <a:gd name="T80" fmla="*/ 2147483647 w 187"/>
                    <a:gd name="T81" fmla="*/ 2147483647 h 83"/>
                    <a:gd name="T82" fmla="*/ 2147483647 w 187"/>
                    <a:gd name="T83" fmla="*/ 2147483647 h 83"/>
                    <a:gd name="T84" fmla="*/ 2147483647 w 187"/>
                    <a:gd name="T85" fmla="*/ 0 h 83"/>
                    <a:gd name="T86" fmla="*/ 2147483647 w 187"/>
                    <a:gd name="T87" fmla="*/ 2147483647 h 83"/>
                    <a:gd name="T88" fmla="*/ 2147483647 w 187"/>
                    <a:gd name="T89" fmla="*/ 2147483647 h 83"/>
                    <a:gd name="T90" fmla="*/ 2147483647 w 187"/>
                    <a:gd name="T91" fmla="*/ 2147483647 h 83"/>
                    <a:gd name="T92" fmla="*/ 2147483647 w 187"/>
                    <a:gd name="T93" fmla="*/ 2147483647 h 83"/>
                    <a:gd name="T94" fmla="*/ 2147483647 w 187"/>
                    <a:gd name="T95" fmla="*/ 2147483647 h 83"/>
                    <a:gd name="T96" fmla="*/ 2147483647 w 187"/>
                    <a:gd name="T97" fmla="*/ 2147483647 h 83"/>
                    <a:gd name="T98" fmla="*/ 2147483647 w 187"/>
                    <a:gd name="T99" fmla="*/ 2147483647 h 83"/>
                    <a:gd name="T100" fmla="*/ 2147483647 w 187"/>
                    <a:gd name="T101" fmla="*/ 2147483647 h 83"/>
                    <a:gd name="T102" fmla="*/ 2147483647 w 187"/>
                    <a:gd name="T103" fmla="*/ 2147483647 h 83"/>
                    <a:gd name="T104" fmla="*/ 2147483647 w 187"/>
                    <a:gd name="T105" fmla="*/ 2147483647 h 83"/>
                    <a:gd name="T106" fmla="*/ 2147483647 w 187"/>
                    <a:gd name="T107" fmla="*/ 2147483647 h 83"/>
                    <a:gd name="T108" fmla="*/ 2147483647 w 187"/>
                    <a:gd name="T109" fmla="*/ 2147483647 h 83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87"/>
                    <a:gd name="T166" fmla="*/ 0 h 83"/>
                    <a:gd name="T167" fmla="*/ 187 w 187"/>
                    <a:gd name="T168" fmla="*/ 83 h 83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87" h="83">
                      <a:moveTo>
                        <a:pt x="177" y="69"/>
                      </a:moveTo>
                      <a:lnTo>
                        <a:pt x="177" y="69"/>
                      </a:lnTo>
                      <a:lnTo>
                        <a:pt x="174" y="71"/>
                      </a:lnTo>
                      <a:lnTo>
                        <a:pt x="172" y="73"/>
                      </a:lnTo>
                      <a:lnTo>
                        <a:pt x="161" y="70"/>
                      </a:lnTo>
                      <a:lnTo>
                        <a:pt x="151" y="69"/>
                      </a:lnTo>
                      <a:lnTo>
                        <a:pt x="141" y="70"/>
                      </a:lnTo>
                      <a:lnTo>
                        <a:pt x="137" y="71"/>
                      </a:lnTo>
                      <a:lnTo>
                        <a:pt x="132" y="74"/>
                      </a:lnTo>
                      <a:lnTo>
                        <a:pt x="128" y="75"/>
                      </a:lnTo>
                      <a:lnTo>
                        <a:pt x="123" y="76"/>
                      </a:lnTo>
                      <a:lnTo>
                        <a:pt x="120" y="77"/>
                      </a:lnTo>
                      <a:lnTo>
                        <a:pt x="115" y="75"/>
                      </a:lnTo>
                      <a:lnTo>
                        <a:pt x="112" y="74"/>
                      </a:lnTo>
                      <a:lnTo>
                        <a:pt x="109" y="74"/>
                      </a:lnTo>
                      <a:lnTo>
                        <a:pt x="104" y="75"/>
                      </a:lnTo>
                      <a:lnTo>
                        <a:pt x="101" y="77"/>
                      </a:lnTo>
                      <a:lnTo>
                        <a:pt x="97" y="81"/>
                      </a:lnTo>
                      <a:lnTo>
                        <a:pt x="93" y="83"/>
                      </a:lnTo>
                      <a:lnTo>
                        <a:pt x="89" y="83"/>
                      </a:lnTo>
                      <a:lnTo>
                        <a:pt x="75" y="81"/>
                      </a:lnTo>
                      <a:lnTo>
                        <a:pt x="69" y="80"/>
                      </a:lnTo>
                      <a:lnTo>
                        <a:pt x="61" y="78"/>
                      </a:lnTo>
                      <a:lnTo>
                        <a:pt x="60" y="78"/>
                      </a:lnTo>
                      <a:lnTo>
                        <a:pt x="60" y="76"/>
                      </a:lnTo>
                      <a:lnTo>
                        <a:pt x="60" y="73"/>
                      </a:lnTo>
                      <a:lnTo>
                        <a:pt x="61" y="70"/>
                      </a:lnTo>
                      <a:lnTo>
                        <a:pt x="62" y="70"/>
                      </a:lnTo>
                      <a:lnTo>
                        <a:pt x="64" y="70"/>
                      </a:lnTo>
                      <a:lnTo>
                        <a:pt x="68" y="71"/>
                      </a:lnTo>
                      <a:lnTo>
                        <a:pt x="73" y="71"/>
                      </a:lnTo>
                      <a:lnTo>
                        <a:pt x="76" y="70"/>
                      </a:lnTo>
                      <a:lnTo>
                        <a:pt x="85" y="63"/>
                      </a:lnTo>
                      <a:lnTo>
                        <a:pt x="90" y="61"/>
                      </a:lnTo>
                      <a:lnTo>
                        <a:pt x="95" y="58"/>
                      </a:lnTo>
                      <a:lnTo>
                        <a:pt x="97" y="57"/>
                      </a:lnTo>
                      <a:lnTo>
                        <a:pt x="97" y="56"/>
                      </a:lnTo>
                      <a:lnTo>
                        <a:pt x="97" y="55"/>
                      </a:lnTo>
                      <a:lnTo>
                        <a:pt x="95" y="54"/>
                      </a:lnTo>
                      <a:lnTo>
                        <a:pt x="92" y="55"/>
                      </a:lnTo>
                      <a:lnTo>
                        <a:pt x="88" y="56"/>
                      </a:lnTo>
                      <a:lnTo>
                        <a:pt x="78" y="58"/>
                      </a:lnTo>
                      <a:lnTo>
                        <a:pt x="73" y="60"/>
                      </a:lnTo>
                      <a:lnTo>
                        <a:pt x="68" y="61"/>
                      </a:lnTo>
                      <a:lnTo>
                        <a:pt x="66" y="61"/>
                      </a:lnTo>
                      <a:lnTo>
                        <a:pt x="64" y="61"/>
                      </a:lnTo>
                      <a:lnTo>
                        <a:pt x="61" y="60"/>
                      </a:lnTo>
                      <a:lnTo>
                        <a:pt x="60" y="58"/>
                      </a:lnTo>
                      <a:lnTo>
                        <a:pt x="59" y="55"/>
                      </a:lnTo>
                      <a:lnTo>
                        <a:pt x="57" y="52"/>
                      </a:lnTo>
                      <a:lnTo>
                        <a:pt x="56" y="52"/>
                      </a:lnTo>
                      <a:lnTo>
                        <a:pt x="54" y="54"/>
                      </a:lnTo>
                      <a:lnTo>
                        <a:pt x="52" y="56"/>
                      </a:lnTo>
                      <a:lnTo>
                        <a:pt x="48" y="61"/>
                      </a:lnTo>
                      <a:lnTo>
                        <a:pt x="47" y="63"/>
                      </a:lnTo>
                      <a:lnTo>
                        <a:pt x="46" y="65"/>
                      </a:lnTo>
                      <a:lnTo>
                        <a:pt x="43" y="65"/>
                      </a:lnTo>
                      <a:lnTo>
                        <a:pt x="41" y="64"/>
                      </a:lnTo>
                      <a:lnTo>
                        <a:pt x="38" y="63"/>
                      </a:lnTo>
                      <a:lnTo>
                        <a:pt x="36" y="62"/>
                      </a:lnTo>
                      <a:lnTo>
                        <a:pt x="32" y="63"/>
                      </a:lnTo>
                      <a:lnTo>
                        <a:pt x="28" y="64"/>
                      </a:lnTo>
                      <a:lnTo>
                        <a:pt x="23" y="64"/>
                      </a:lnTo>
                      <a:lnTo>
                        <a:pt x="22" y="64"/>
                      </a:lnTo>
                      <a:lnTo>
                        <a:pt x="22" y="63"/>
                      </a:lnTo>
                      <a:lnTo>
                        <a:pt x="19" y="61"/>
                      </a:lnTo>
                      <a:lnTo>
                        <a:pt x="18" y="60"/>
                      </a:lnTo>
                      <a:lnTo>
                        <a:pt x="15" y="60"/>
                      </a:lnTo>
                      <a:lnTo>
                        <a:pt x="12" y="61"/>
                      </a:lnTo>
                      <a:lnTo>
                        <a:pt x="7" y="62"/>
                      </a:lnTo>
                      <a:lnTo>
                        <a:pt x="3" y="62"/>
                      </a:lnTo>
                      <a:lnTo>
                        <a:pt x="1" y="61"/>
                      </a:lnTo>
                      <a:lnTo>
                        <a:pt x="0" y="58"/>
                      </a:lnTo>
                      <a:lnTo>
                        <a:pt x="0" y="57"/>
                      </a:lnTo>
                      <a:lnTo>
                        <a:pt x="0" y="55"/>
                      </a:lnTo>
                      <a:lnTo>
                        <a:pt x="3" y="51"/>
                      </a:lnTo>
                      <a:lnTo>
                        <a:pt x="5" y="50"/>
                      </a:lnTo>
                      <a:lnTo>
                        <a:pt x="8" y="50"/>
                      </a:lnTo>
                      <a:lnTo>
                        <a:pt x="8" y="45"/>
                      </a:lnTo>
                      <a:lnTo>
                        <a:pt x="10" y="43"/>
                      </a:lnTo>
                      <a:lnTo>
                        <a:pt x="18" y="39"/>
                      </a:lnTo>
                      <a:lnTo>
                        <a:pt x="18" y="38"/>
                      </a:lnTo>
                      <a:lnTo>
                        <a:pt x="18" y="36"/>
                      </a:lnTo>
                      <a:lnTo>
                        <a:pt x="17" y="33"/>
                      </a:lnTo>
                      <a:lnTo>
                        <a:pt x="15" y="32"/>
                      </a:lnTo>
                      <a:lnTo>
                        <a:pt x="17" y="30"/>
                      </a:lnTo>
                      <a:lnTo>
                        <a:pt x="19" y="26"/>
                      </a:lnTo>
                      <a:lnTo>
                        <a:pt x="28" y="22"/>
                      </a:lnTo>
                      <a:lnTo>
                        <a:pt x="37" y="17"/>
                      </a:lnTo>
                      <a:lnTo>
                        <a:pt x="43" y="16"/>
                      </a:lnTo>
                      <a:lnTo>
                        <a:pt x="50" y="17"/>
                      </a:lnTo>
                      <a:lnTo>
                        <a:pt x="55" y="19"/>
                      </a:lnTo>
                      <a:lnTo>
                        <a:pt x="66" y="25"/>
                      </a:lnTo>
                      <a:lnTo>
                        <a:pt x="71" y="29"/>
                      </a:lnTo>
                      <a:lnTo>
                        <a:pt x="76" y="33"/>
                      </a:lnTo>
                      <a:lnTo>
                        <a:pt x="79" y="37"/>
                      </a:lnTo>
                      <a:lnTo>
                        <a:pt x="83" y="38"/>
                      </a:lnTo>
                      <a:lnTo>
                        <a:pt x="85" y="38"/>
                      </a:lnTo>
                      <a:lnTo>
                        <a:pt x="88" y="38"/>
                      </a:lnTo>
                      <a:lnTo>
                        <a:pt x="90" y="38"/>
                      </a:lnTo>
                      <a:lnTo>
                        <a:pt x="92" y="39"/>
                      </a:lnTo>
                      <a:lnTo>
                        <a:pt x="97" y="44"/>
                      </a:lnTo>
                      <a:lnTo>
                        <a:pt x="101" y="48"/>
                      </a:lnTo>
                      <a:lnTo>
                        <a:pt x="106" y="49"/>
                      </a:lnTo>
                      <a:lnTo>
                        <a:pt x="108" y="49"/>
                      </a:lnTo>
                      <a:lnTo>
                        <a:pt x="112" y="49"/>
                      </a:lnTo>
                      <a:lnTo>
                        <a:pt x="117" y="46"/>
                      </a:lnTo>
                      <a:lnTo>
                        <a:pt x="122" y="48"/>
                      </a:lnTo>
                      <a:lnTo>
                        <a:pt x="127" y="49"/>
                      </a:lnTo>
                      <a:lnTo>
                        <a:pt x="132" y="50"/>
                      </a:lnTo>
                      <a:lnTo>
                        <a:pt x="135" y="50"/>
                      </a:lnTo>
                      <a:lnTo>
                        <a:pt x="137" y="50"/>
                      </a:lnTo>
                      <a:lnTo>
                        <a:pt x="139" y="49"/>
                      </a:lnTo>
                      <a:lnTo>
                        <a:pt x="139" y="46"/>
                      </a:lnTo>
                      <a:lnTo>
                        <a:pt x="139" y="44"/>
                      </a:lnTo>
                      <a:lnTo>
                        <a:pt x="137" y="42"/>
                      </a:lnTo>
                      <a:lnTo>
                        <a:pt x="134" y="39"/>
                      </a:lnTo>
                      <a:lnTo>
                        <a:pt x="132" y="38"/>
                      </a:lnTo>
                      <a:lnTo>
                        <a:pt x="131" y="37"/>
                      </a:lnTo>
                      <a:lnTo>
                        <a:pt x="131" y="35"/>
                      </a:lnTo>
                      <a:lnTo>
                        <a:pt x="135" y="32"/>
                      </a:lnTo>
                      <a:lnTo>
                        <a:pt x="135" y="31"/>
                      </a:lnTo>
                      <a:lnTo>
                        <a:pt x="135" y="29"/>
                      </a:lnTo>
                      <a:lnTo>
                        <a:pt x="132" y="26"/>
                      </a:lnTo>
                      <a:lnTo>
                        <a:pt x="130" y="24"/>
                      </a:lnTo>
                      <a:lnTo>
                        <a:pt x="123" y="20"/>
                      </a:lnTo>
                      <a:lnTo>
                        <a:pt x="123" y="19"/>
                      </a:lnTo>
                      <a:lnTo>
                        <a:pt x="122" y="19"/>
                      </a:lnTo>
                      <a:lnTo>
                        <a:pt x="132" y="12"/>
                      </a:lnTo>
                      <a:lnTo>
                        <a:pt x="135" y="9"/>
                      </a:lnTo>
                      <a:lnTo>
                        <a:pt x="137" y="3"/>
                      </a:lnTo>
                      <a:lnTo>
                        <a:pt x="139" y="0"/>
                      </a:lnTo>
                      <a:lnTo>
                        <a:pt x="140" y="0"/>
                      </a:lnTo>
                      <a:lnTo>
                        <a:pt x="141" y="0"/>
                      </a:lnTo>
                      <a:lnTo>
                        <a:pt x="144" y="4"/>
                      </a:lnTo>
                      <a:lnTo>
                        <a:pt x="145" y="9"/>
                      </a:lnTo>
                      <a:lnTo>
                        <a:pt x="148" y="14"/>
                      </a:lnTo>
                      <a:lnTo>
                        <a:pt x="148" y="18"/>
                      </a:lnTo>
                      <a:lnTo>
                        <a:pt x="146" y="22"/>
                      </a:lnTo>
                      <a:lnTo>
                        <a:pt x="146" y="24"/>
                      </a:lnTo>
                      <a:lnTo>
                        <a:pt x="148" y="25"/>
                      </a:lnTo>
                      <a:lnTo>
                        <a:pt x="151" y="29"/>
                      </a:lnTo>
                      <a:lnTo>
                        <a:pt x="151" y="30"/>
                      </a:lnTo>
                      <a:lnTo>
                        <a:pt x="150" y="31"/>
                      </a:lnTo>
                      <a:lnTo>
                        <a:pt x="149" y="35"/>
                      </a:lnTo>
                      <a:lnTo>
                        <a:pt x="149" y="36"/>
                      </a:lnTo>
                      <a:lnTo>
                        <a:pt x="150" y="37"/>
                      </a:lnTo>
                      <a:lnTo>
                        <a:pt x="151" y="39"/>
                      </a:lnTo>
                      <a:lnTo>
                        <a:pt x="159" y="33"/>
                      </a:lnTo>
                      <a:lnTo>
                        <a:pt x="163" y="31"/>
                      </a:lnTo>
                      <a:lnTo>
                        <a:pt x="164" y="31"/>
                      </a:lnTo>
                      <a:lnTo>
                        <a:pt x="167" y="31"/>
                      </a:lnTo>
                      <a:lnTo>
                        <a:pt x="168" y="32"/>
                      </a:lnTo>
                      <a:lnTo>
                        <a:pt x="167" y="35"/>
                      </a:lnTo>
                      <a:lnTo>
                        <a:pt x="164" y="39"/>
                      </a:lnTo>
                      <a:lnTo>
                        <a:pt x="165" y="41"/>
                      </a:lnTo>
                      <a:lnTo>
                        <a:pt x="167" y="43"/>
                      </a:lnTo>
                      <a:lnTo>
                        <a:pt x="168" y="44"/>
                      </a:lnTo>
                      <a:lnTo>
                        <a:pt x="169" y="43"/>
                      </a:lnTo>
                      <a:lnTo>
                        <a:pt x="173" y="39"/>
                      </a:lnTo>
                      <a:lnTo>
                        <a:pt x="174" y="35"/>
                      </a:lnTo>
                      <a:lnTo>
                        <a:pt x="174" y="31"/>
                      </a:lnTo>
                      <a:lnTo>
                        <a:pt x="177" y="30"/>
                      </a:lnTo>
                      <a:lnTo>
                        <a:pt x="181" y="30"/>
                      </a:lnTo>
                      <a:lnTo>
                        <a:pt x="183" y="31"/>
                      </a:lnTo>
                      <a:lnTo>
                        <a:pt x="186" y="35"/>
                      </a:lnTo>
                      <a:lnTo>
                        <a:pt x="187" y="38"/>
                      </a:lnTo>
                      <a:lnTo>
                        <a:pt x="186" y="46"/>
                      </a:lnTo>
                      <a:lnTo>
                        <a:pt x="184" y="56"/>
                      </a:lnTo>
                      <a:lnTo>
                        <a:pt x="181" y="62"/>
                      </a:lnTo>
                      <a:lnTo>
                        <a:pt x="177" y="6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5" name="Freeform 979">
                  <a:extLst>
                    <a:ext uri="{FF2B5EF4-FFF2-40B4-BE49-F238E27FC236}">
                      <a16:creationId xmlns:a16="http://schemas.microsoft.com/office/drawing/2014/main" id="{7D9F84A7-7A99-AD4C-8DC4-D8CBDE3ECE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2363" y="2037468"/>
                  <a:ext cx="23678" cy="25157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2147483647 h 17"/>
                    <a:gd name="T4" fmla="*/ 0 w 18"/>
                    <a:gd name="T5" fmla="*/ 2147483647 h 17"/>
                    <a:gd name="T6" fmla="*/ 0 w 18"/>
                    <a:gd name="T7" fmla="*/ 2147483647 h 17"/>
                    <a:gd name="T8" fmla="*/ 2147483647 w 18"/>
                    <a:gd name="T9" fmla="*/ 2147483647 h 17"/>
                    <a:gd name="T10" fmla="*/ 2147483647 w 18"/>
                    <a:gd name="T11" fmla="*/ 2147483647 h 17"/>
                    <a:gd name="T12" fmla="*/ 2147483647 w 18"/>
                    <a:gd name="T13" fmla="*/ 2147483647 h 17"/>
                    <a:gd name="T14" fmla="*/ 2147483647 w 18"/>
                    <a:gd name="T15" fmla="*/ 2147483647 h 17"/>
                    <a:gd name="T16" fmla="*/ 2147483647 w 18"/>
                    <a:gd name="T17" fmla="*/ 2147483647 h 17"/>
                    <a:gd name="T18" fmla="*/ 2147483647 w 18"/>
                    <a:gd name="T19" fmla="*/ 2147483647 h 17"/>
                    <a:gd name="T20" fmla="*/ 2147483647 w 18"/>
                    <a:gd name="T21" fmla="*/ 2147483647 h 17"/>
                    <a:gd name="T22" fmla="*/ 2147483647 w 18"/>
                    <a:gd name="T23" fmla="*/ 2147483647 h 17"/>
                    <a:gd name="T24" fmla="*/ 2147483647 w 18"/>
                    <a:gd name="T25" fmla="*/ 2147483647 h 17"/>
                    <a:gd name="T26" fmla="*/ 2147483647 w 18"/>
                    <a:gd name="T27" fmla="*/ 0 h 17"/>
                    <a:gd name="T28" fmla="*/ 2147483647 w 18"/>
                    <a:gd name="T29" fmla="*/ 2147483647 h 17"/>
                    <a:gd name="T30" fmla="*/ 2147483647 w 18"/>
                    <a:gd name="T31" fmla="*/ 2147483647 h 1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"/>
                    <a:gd name="T49" fmla="*/ 0 h 17"/>
                    <a:gd name="T50" fmla="*/ 18 w 18"/>
                    <a:gd name="T51" fmla="*/ 17 h 1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" h="17">
                      <a:moveTo>
                        <a:pt x="9" y="4"/>
                      </a:moveTo>
                      <a:lnTo>
                        <a:pt x="2" y="7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2" y="15"/>
                      </a:lnTo>
                      <a:lnTo>
                        <a:pt x="5" y="17"/>
                      </a:lnTo>
                      <a:lnTo>
                        <a:pt x="7" y="17"/>
                      </a:lnTo>
                      <a:lnTo>
                        <a:pt x="10" y="17"/>
                      </a:lnTo>
                      <a:lnTo>
                        <a:pt x="14" y="11"/>
                      </a:lnTo>
                      <a:lnTo>
                        <a:pt x="18" y="6"/>
                      </a:lnTo>
                      <a:lnTo>
                        <a:pt x="18" y="3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9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6" name="Freeform 980">
                  <a:extLst>
                    <a:ext uri="{FF2B5EF4-FFF2-40B4-BE49-F238E27FC236}">
                      <a16:creationId xmlns:a16="http://schemas.microsoft.com/office/drawing/2014/main" id="{7C8B72DE-61F8-D64A-8ED9-1AB8C5C747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2852" y="1944233"/>
                  <a:ext cx="180544" cy="105071"/>
                </a:xfrm>
                <a:custGeom>
                  <a:avLst/>
                  <a:gdLst>
                    <a:gd name="T0" fmla="*/ 2147483647 w 132"/>
                    <a:gd name="T1" fmla="*/ 2147483647 h 71"/>
                    <a:gd name="T2" fmla="*/ 2147483647 w 132"/>
                    <a:gd name="T3" fmla="*/ 2147483647 h 71"/>
                    <a:gd name="T4" fmla="*/ 2147483647 w 132"/>
                    <a:gd name="T5" fmla="*/ 0 h 71"/>
                    <a:gd name="T6" fmla="*/ 2147483647 w 132"/>
                    <a:gd name="T7" fmla="*/ 2147483647 h 71"/>
                    <a:gd name="T8" fmla="*/ 2147483647 w 132"/>
                    <a:gd name="T9" fmla="*/ 2147483647 h 71"/>
                    <a:gd name="T10" fmla="*/ 2147483647 w 132"/>
                    <a:gd name="T11" fmla="*/ 2147483647 h 71"/>
                    <a:gd name="T12" fmla="*/ 2147483647 w 132"/>
                    <a:gd name="T13" fmla="*/ 2147483647 h 71"/>
                    <a:gd name="T14" fmla="*/ 2147483647 w 132"/>
                    <a:gd name="T15" fmla="*/ 2147483647 h 71"/>
                    <a:gd name="T16" fmla="*/ 2147483647 w 132"/>
                    <a:gd name="T17" fmla="*/ 2147483647 h 71"/>
                    <a:gd name="T18" fmla="*/ 2147483647 w 132"/>
                    <a:gd name="T19" fmla="*/ 2147483647 h 71"/>
                    <a:gd name="T20" fmla="*/ 2147483647 w 132"/>
                    <a:gd name="T21" fmla="*/ 2147483647 h 71"/>
                    <a:gd name="T22" fmla="*/ 2147483647 w 132"/>
                    <a:gd name="T23" fmla="*/ 2147483647 h 71"/>
                    <a:gd name="T24" fmla="*/ 2147483647 w 132"/>
                    <a:gd name="T25" fmla="*/ 2147483647 h 71"/>
                    <a:gd name="T26" fmla="*/ 2147483647 w 132"/>
                    <a:gd name="T27" fmla="*/ 2147483647 h 71"/>
                    <a:gd name="T28" fmla="*/ 2147483647 w 132"/>
                    <a:gd name="T29" fmla="*/ 2147483647 h 71"/>
                    <a:gd name="T30" fmla="*/ 2147483647 w 132"/>
                    <a:gd name="T31" fmla="*/ 2147483647 h 71"/>
                    <a:gd name="T32" fmla="*/ 2147483647 w 132"/>
                    <a:gd name="T33" fmla="*/ 2147483647 h 71"/>
                    <a:gd name="T34" fmla="*/ 2147483647 w 132"/>
                    <a:gd name="T35" fmla="*/ 2147483647 h 71"/>
                    <a:gd name="T36" fmla="*/ 2147483647 w 132"/>
                    <a:gd name="T37" fmla="*/ 2147483647 h 71"/>
                    <a:gd name="T38" fmla="*/ 2147483647 w 132"/>
                    <a:gd name="T39" fmla="*/ 2147483647 h 71"/>
                    <a:gd name="T40" fmla="*/ 2147483647 w 132"/>
                    <a:gd name="T41" fmla="*/ 2147483647 h 71"/>
                    <a:gd name="T42" fmla="*/ 2147483647 w 132"/>
                    <a:gd name="T43" fmla="*/ 2147483647 h 71"/>
                    <a:gd name="T44" fmla="*/ 2147483647 w 132"/>
                    <a:gd name="T45" fmla="*/ 2147483647 h 71"/>
                    <a:gd name="T46" fmla="*/ 2147483647 w 132"/>
                    <a:gd name="T47" fmla="*/ 2147483647 h 71"/>
                    <a:gd name="T48" fmla="*/ 0 w 132"/>
                    <a:gd name="T49" fmla="*/ 2147483647 h 71"/>
                    <a:gd name="T50" fmla="*/ 2147483647 w 132"/>
                    <a:gd name="T51" fmla="*/ 2147483647 h 71"/>
                    <a:gd name="T52" fmla="*/ 2147483647 w 132"/>
                    <a:gd name="T53" fmla="*/ 2147483647 h 71"/>
                    <a:gd name="T54" fmla="*/ 2147483647 w 132"/>
                    <a:gd name="T55" fmla="*/ 2147483647 h 71"/>
                    <a:gd name="T56" fmla="*/ 2147483647 w 132"/>
                    <a:gd name="T57" fmla="*/ 2147483647 h 71"/>
                    <a:gd name="T58" fmla="*/ 2147483647 w 132"/>
                    <a:gd name="T59" fmla="*/ 2147483647 h 71"/>
                    <a:gd name="T60" fmla="*/ 2147483647 w 132"/>
                    <a:gd name="T61" fmla="*/ 2147483647 h 71"/>
                    <a:gd name="T62" fmla="*/ 2147483647 w 132"/>
                    <a:gd name="T63" fmla="*/ 2147483647 h 71"/>
                    <a:gd name="T64" fmla="*/ 2147483647 w 132"/>
                    <a:gd name="T65" fmla="*/ 2147483647 h 71"/>
                    <a:gd name="T66" fmla="*/ 2147483647 w 132"/>
                    <a:gd name="T67" fmla="*/ 2147483647 h 71"/>
                    <a:gd name="T68" fmla="*/ 2147483647 w 132"/>
                    <a:gd name="T69" fmla="*/ 2147483647 h 71"/>
                    <a:gd name="T70" fmla="*/ 2147483647 w 132"/>
                    <a:gd name="T71" fmla="*/ 2147483647 h 71"/>
                    <a:gd name="T72" fmla="*/ 2147483647 w 132"/>
                    <a:gd name="T73" fmla="*/ 2147483647 h 71"/>
                    <a:gd name="T74" fmla="*/ 2147483647 w 132"/>
                    <a:gd name="T75" fmla="*/ 2147483647 h 71"/>
                    <a:gd name="T76" fmla="*/ 2147483647 w 132"/>
                    <a:gd name="T77" fmla="*/ 2147483647 h 71"/>
                    <a:gd name="T78" fmla="*/ 2147483647 w 132"/>
                    <a:gd name="T79" fmla="*/ 2147483647 h 71"/>
                    <a:gd name="T80" fmla="*/ 2147483647 w 132"/>
                    <a:gd name="T81" fmla="*/ 2147483647 h 71"/>
                    <a:gd name="T82" fmla="*/ 2147483647 w 132"/>
                    <a:gd name="T83" fmla="*/ 2147483647 h 71"/>
                    <a:gd name="T84" fmla="*/ 2147483647 w 132"/>
                    <a:gd name="T85" fmla="*/ 2147483647 h 71"/>
                    <a:gd name="T86" fmla="*/ 2147483647 w 132"/>
                    <a:gd name="T87" fmla="*/ 2147483647 h 71"/>
                    <a:gd name="T88" fmla="*/ 2147483647 w 132"/>
                    <a:gd name="T89" fmla="*/ 2147483647 h 71"/>
                    <a:gd name="T90" fmla="*/ 2147483647 w 132"/>
                    <a:gd name="T91" fmla="*/ 2147483647 h 71"/>
                    <a:gd name="T92" fmla="*/ 2147483647 w 132"/>
                    <a:gd name="T93" fmla="*/ 2147483647 h 71"/>
                    <a:gd name="T94" fmla="*/ 2147483647 w 132"/>
                    <a:gd name="T95" fmla="*/ 2147483647 h 71"/>
                    <a:gd name="T96" fmla="*/ 2147483647 w 132"/>
                    <a:gd name="T97" fmla="*/ 2147483647 h 71"/>
                    <a:gd name="T98" fmla="*/ 2147483647 w 132"/>
                    <a:gd name="T99" fmla="*/ 2147483647 h 71"/>
                    <a:gd name="T100" fmla="*/ 2147483647 w 132"/>
                    <a:gd name="T101" fmla="*/ 2147483647 h 71"/>
                    <a:gd name="T102" fmla="*/ 2147483647 w 132"/>
                    <a:gd name="T103" fmla="*/ 2147483647 h 71"/>
                    <a:gd name="T104" fmla="*/ 2147483647 w 132"/>
                    <a:gd name="T105" fmla="*/ 2147483647 h 71"/>
                    <a:gd name="T106" fmla="*/ 2147483647 w 132"/>
                    <a:gd name="T107" fmla="*/ 2147483647 h 71"/>
                    <a:gd name="T108" fmla="*/ 2147483647 w 132"/>
                    <a:gd name="T109" fmla="*/ 2147483647 h 71"/>
                    <a:gd name="T110" fmla="*/ 2147483647 w 132"/>
                    <a:gd name="T111" fmla="*/ 2147483647 h 71"/>
                    <a:gd name="T112" fmla="*/ 2147483647 w 132"/>
                    <a:gd name="T113" fmla="*/ 2147483647 h 71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32"/>
                    <a:gd name="T172" fmla="*/ 0 h 71"/>
                    <a:gd name="T173" fmla="*/ 132 w 132"/>
                    <a:gd name="T174" fmla="*/ 71 h 71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32" h="71">
                      <a:moveTo>
                        <a:pt x="127" y="19"/>
                      </a:moveTo>
                      <a:lnTo>
                        <a:pt x="125" y="12"/>
                      </a:lnTo>
                      <a:lnTo>
                        <a:pt x="123" y="6"/>
                      </a:lnTo>
                      <a:lnTo>
                        <a:pt x="122" y="3"/>
                      </a:lnTo>
                      <a:lnTo>
                        <a:pt x="119" y="1"/>
                      </a:lnTo>
                      <a:lnTo>
                        <a:pt x="117" y="0"/>
                      </a:lnTo>
                      <a:lnTo>
                        <a:pt x="114" y="1"/>
                      </a:lnTo>
                      <a:lnTo>
                        <a:pt x="114" y="2"/>
                      </a:lnTo>
                      <a:lnTo>
                        <a:pt x="115" y="5"/>
                      </a:lnTo>
                      <a:lnTo>
                        <a:pt x="117" y="7"/>
                      </a:lnTo>
                      <a:lnTo>
                        <a:pt x="117" y="9"/>
                      </a:lnTo>
                      <a:lnTo>
                        <a:pt x="115" y="10"/>
                      </a:lnTo>
                      <a:lnTo>
                        <a:pt x="111" y="10"/>
                      </a:lnTo>
                      <a:lnTo>
                        <a:pt x="110" y="9"/>
                      </a:lnTo>
                      <a:lnTo>
                        <a:pt x="109" y="7"/>
                      </a:lnTo>
                      <a:lnTo>
                        <a:pt x="106" y="5"/>
                      </a:lnTo>
                      <a:lnTo>
                        <a:pt x="104" y="5"/>
                      </a:lnTo>
                      <a:lnTo>
                        <a:pt x="101" y="5"/>
                      </a:lnTo>
                      <a:lnTo>
                        <a:pt x="100" y="7"/>
                      </a:lnTo>
                      <a:lnTo>
                        <a:pt x="99" y="8"/>
                      </a:lnTo>
                      <a:lnTo>
                        <a:pt x="99" y="10"/>
                      </a:lnTo>
                      <a:lnTo>
                        <a:pt x="98" y="12"/>
                      </a:lnTo>
                      <a:lnTo>
                        <a:pt x="92" y="12"/>
                      </a:lnTo>
                      <a:lnTo>
                        <a:pt x="87" y="10"/>
                      </a:lnTo>
                      <a:lnTo>
                        <a:pt x="82" y="9"/>
                      </a:lnTo>
                      <a:lnTo>
                        <a:pt x="80" y="10"/>
                      </a:lnTo>
                      <a:lnTo>
                        <a:pt x="77" y="12"/>
                      </a:lnTo>
                      <a:lnTo>
                        <a:pt x="76" y="14"/>
                      </a:lnTo>
                      <a:lnTo>
                        <a:pt x="68" y="18"/>
                      </a:lnTo>
                      <a:lnTo>
                        <a:pt x="62" y="21"/>
                      </a:lnTo>
                      <a:lnTo>
                        <a:pt x="56" y="25"/>
                      </a:lnTo>
                      <a:lnTo>
                        <a:pt x="54" y="27"/>
                      </a:lnTo>
                      <a:lnTo>
                        <a:pt x="53" y="31"/>
                      </a:lnTo>
                      <a:lnTo>
                        <a:pt x="51" y="33"/>
                      </a:lnTo>
                      <a:lnTo>
                        <a:pt x="47" y="33"/>
                      </a:lnTo>
                      <a:lnTo>
                        <a:pt x="45" y="33"/>
                      </a:lnTo>
                      <a:lnTo>
                        <a:pt x="44" y="34"/>
                      </a:lnTo>
                      <a:lnTo>
                        <a:pt x="38" y="39"/>
                      </a:lnTo>
                      <a:lnTo>
                        <a:pt x="34" y="41"/>
                      </a:lnTo>
                      <a:lnTo>
                        <a:pt x="29" y="42"/>
                      </a:lnTo>
                      <a:lnTo>
                        <a:pt x="28" y="44"/>
                      </a:lnTo>
                      <a:lnTo>
                        <a:pt x="28" y="45"/>
                      </a:lnTo>
                      <a:lnTo>
                        <a:pt x="26" y="47"/>
                      </a:lnTo>
                      <a:lnTo>
                        <a:pt x="25" y="48"/>
                      </a:lnTo>
                      <a:lnTo>
                        <a:pt x="19" y="48"/>
                      </a:lnTo>
                      <a:lnTo>
                        <a:pt x="14" y="48"/>
                      </a:lnTo>
                      <a:lnTo>
                        <a:pt x="9" y="48"/>
                      </a:lnTo>
                      <a:lnTo>
                        <a:pt x="5" y="51"/>
                      </a:lnTo>
                      <a:lnTo>
                        <a:pt x="1" y="54"/>
                      </a:lnTo>
                      <a:lnTo>
                        <a:pt x="0" y="57"/>
                      </a:lnTo>
                      <a:lnTo>
                        <a:pt x="2" y="58"/>
                      </a:lnTo>
                      <a:lnTo>
                        <a:pt x="5" y="59"/>
                      </a:lnTo>
                      <a:lnTo>
                        <a:pt x="7" y="59"/>
                      </a:lnTo>
                      <a:lnTo>
                        <a:pt x="9" y="60"/>
                      </a:lnTo>
                      <a:lnTo>
                        <a:pt x="9" y="64"/>
                      </a:lnTo>
                      <a:lnTo>
                        <a:pt x="9" y="69"/>
                      </a:lnTo>
                      <a:lnTo>
                        <a:pt x="9" y="70"/>
                      </a:lnTo>
                      <a:lnTo>
                        <a:pt x="10" y="71"/>
                      </a:lnTo>
                      <a:lnTo>
                        <a:pt x="12" y="71"/>
                      </a:lnTo>
                      <a:lnTo>
                        <a:pt x="14" y="71"/>
                      </a:lnTo>
                      <a:lnTo>
                        <a:pt x="21" y="67"/>
                      </a:lnTo>
                      <a:lnTo>
                        <a:pt x="24" y="66"/>
                      </a:lnTo>
                      <a:lnTo>
                        <a:pt x="28" y="66"/>
                      </a:lnTo>
                      <a:lnTo>
                        <a:pt x="33" y="69"/>
                      </a:lnTo>
                      <a:lnTo>
                        <a:pt x="35" y="69"/>
                      </a:lnTo>
                      <a:lnTo>
                        <a:pt x="38" y="67"/>
                      </a:lnTo>
                      <a:lnTo>
                        <a:pt x="38" y="65"/>
                      </a:lnTo>
                      <a:lnTo>
                        <a:pt x="39" y="63"/>
                      </a:lnTo>
                      <a:lnTo>
                        <a:pt x="38" y="60"/>
                      </a:lnTo>
                      <a:lnTo>
                        <a:pt x="39" y="58"/>
                      </a:lnTo>
                      <a:lnTo>
                        <a:pt x="42" y="58"/>
                      </a:lnTo>
                      <a:lnTo>
                        <a:pt x="43" y="58"/>
                      </a:lnTo>
                      <a:lnTo>
                        <a:pt x="45" y="55"/>
                      </a:lnTo>
                      <a:lnTo>
                        <a:pt x="48" y="52"/>
                      </a:lnTo>
                      <a:lnTo>
                        <a:pt x="51" y="48"/>
                      </a:lnTo>
                      <a:lnTo>
                        <a:pt x="52" y="50"/>
                      </a:lnTo>
                      <a:lnTo>
                        <a:pt x="52" y="52"/>
                      </a:lnTo>
                      <a:lnTo>
                        <a:pt x="52" y="58"/>
                      </a:lnTo>
                      <a:lnTo>
                        <a:pt x="53" y="64"/>
                      </a:lnTo>
                      <a:lnTo>
                        <a:pt x="56" y="66"/>
                      </a:lnTo>
                      <a:lnTo>
                        <a:pt x="58" y="69"/>
                      </a:lnTo>
                      <a:lnTo>
                        <a:pt x="61" y="70"/>
                      </a:lnTo>
                      <a:lnTo>
                        <a:pt x="65" y="70"/>
                      </a:lnTo>
                      <a:lnTo>
                        <a:pt x="67" y="70"/>
                      </a:lnTo>
                      <a:lnTo>
                        <a:pt x="68" y="69"/>
                      </a:lnTo>
                      <a:lnTo>
                        <a:pt x="71" y="66"/>
                      </a:lnTo>
                      <a:lnTo>
                        <a:pt x="71" y="64"/>
                      </a:lnTo>
                      <a:lnTo>
                        <a:pt x="70" y="60"/>
                      </a:lnTo>
                      <a:lnTo>
                        <a:pt x="70" y="58"/>
                      </a:lnTo>
                      <a:lnTo>
                        <a:pt x="70" y="57"/>
                      </a:lnTo>
                      <a:lnTo>
                        <a:pt x="84" y="41"/>
                      </a:lnTo>
                      <a:lnTo>
                        <a:pt x="98" y="27"/>
                      </a:lnTo>
                      <a:lnTo>
                        <a:pt x="99" y="29"/>
                      </a:lnTo>
                      <a:lnTo>
                        <a:pt x="99" y="33"/>
                      </a:lnTo>
                      <a:lnTo>
                        <a:pt x="96" y="38"/>
                      </a:lnTo>
                      <a:lnTo>
                        <a:pt x="96" y="42"/>
                      </a:lnTo>
                      <a:lnTo>
                        <a:pt x="98" y="53"/>
                      </a:lnTo>
                      <a:lnTo>
                        <a:pt x="99" y="55"/>
                      </a:lnTo>
                      <a:lnTo>
                        <a:pt x="100" y="57"/>
                      </a:lnTo>
                      <a:lnTo>
                        <a:pt x="103" y="58"/>
                      </a:lnTo>
                      <a:lnTo>
                        <a:pt x="104" y="57"/>
                      </a:lnTo>
                      <a:lnTo>
                        <a:pt x="106" y="52"/>
                      </a:lnTo>
                      <a:lnTo>
                        <a:pt x="111" y="48"/>
                      </a:lnTo>
                      <a:lnTo>
                        <a:pt x="117" y="45"/>
                      </a:lnTo>
                      <a:lnTo>
                        <a:pt x="122" y="40"/>
                      </a:lnTo>
                      <a:lnTo>
                        <a:pt x="122" y="39"/>
                      </a:lnTo>
                      <a:lnTo>
                        <a:pt x="122" y="35"/>
                      </a:lnTo>
                      <a:lnTo>
                        <a:pt x="122" y="37"/>
                      </a:lnTo>
                      <a:lnTo>
                        <a:pt x="122" y="33"/>
                      </a:lnTo>
                      <a:lnTo>
                        <a:pt x="124" y="31"/>
                      </a:lnTo>
                      <a:lnTo>
                        <a:pt x="129" y="27"/>
                      </a:lnTo>
                      <a:lnTo>
                        <a:pt x="132" y="25"/>
                      </a:lnTo>
                      <a:lnTo>
                        <a:pt x="131" y="22"/>
                      </a:lnTo>
                      <a:lnTo>
                        <a:pt x="128" y="21"/>
                      </a:lnTo>
                      <a:lnTo>
                        <a:pt x="127" y="1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981">
                  <a:extLst>
                    <a:ext uri="{FF2B5EF4-FFF2-40B4-BE49-F238E27FC236}">
                      <a16:creationId xmlns:a16="http://schemas.microsoft.com/office/drawing/2014/main" id="{F281A0BC-1EF6-5145-83B2-F97FCD7301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09403" y="2034506"/>
                  <a:ext cx="25158" cy="26638"/>
                </a:xfrm>
                <a:custGeom>
                  <a:avLst/>
                  <a:gdLst>
                    <a:gd name="T0" fmla="*/ 2147483647 w 18"/>
                    <a:gd name="T1" fmla="*/ 2147483647 h 18"/>
                    <a:gd name="T2" fmla="*/ 2147483647 w 18"/>
                    <a:gd name="T3" fmla="*/ 2147483647 h 18"/>
                    <a:gd name="T4" fmla="*/ 2147483647 w 18"/>
                    <a:gd name="T5" fmla="*/ 2147483647 h 18"/>
                    <a:gd name="T6" fmla="*/ 0 w 18"/>
                    <a:gd name="T7" fmla="*/ 2147483647 h 18"/>
                    <a:gd name="T8" fmla="*/ 0 w 18"/>
                    <a:gd name="T9" fmla="*/ 2147483647 h 18"/>
                    <a:gd name="T10" fmla="*/ 2147483647 w 18"/>
                    <a:gd name="T11" fmla="*/ 2147483647 h 18"/>
                    <a:gd name="T12" fmla="*/ 2147483647 w 18"/>
                    <a:gd name="T13" fmla="*/ 2147483647 h 18"/>
                    <a:gd name="T14" fmla="*/ 2147483647 w 18"/>
                    <a:gd name="T15" fmla="*/ 2147483647 h 18"/>
                    <a:gd name="T16" fmla="*/ 2147483647 w 18"/>
                    <a:gd name="T17" fmla="*/ 2147483647 h 18"/>
                    <a:gd name="T18" fmla="*/ 2147483647 w 18"/>
                    <a:gd name="T19" fmla="*/ 2147483647 h 18"/>
                    <a:gd name="T20" fmla="*/ 2147483647 w 18"/>
                    <a:gd name="T21" fmla="*/ 2147483647 h 18"/>
                    <a:gd name="T22" fmla="*/ 2147483647 w 18"/>
                    <a:gd name="T23" fmla="*/ 2147483647 h 18"/>
                    <a:gd name="T24" fmla="*/ 2147483647 w 18"/>
                    <a:gd name="T25" fmla="*/ 2147483647 h 18"/>
                    <a:gd name="T26" fmla="*/ 2147483647 w 18"/>
                    <a:gd name="T27" fmla="*/ 2147483647 h 18"/>
                    <a:gd name="T28" fmla="*/ 2147483647 w 18"/>
                    <a:gd name="T29" fmla="*/ 2147483647 h 18"/>
                    <a:gd name="T30" fmla="*/ 2147483647 w 18"/>
                    <a:gd name="T31" fmla="*/ 2147483647 h 18"/>
                    <a:gd name="T32" fmla="*/ 2147483647 w 18"/>
                    <a:gd name="T33" fmla="*/ 2147483647 h 18"/>
                    <a:gd name="T34" fmla="*/ 2147483647 w 18"/>
                    <a:gd name="T35" fmla="*/ 2147483647 h 18"/>
                    <a:gd name="T36" fmla="*/ 2147483647 w 18"/>
                    <a:gd name="T37" fmla="*/ 0 h 18"/>
                    <a:gd name="T38" fmla="*/ 2147483647 w 18"/>
                    <a:gd name="T39" fmla="*/ 2147483647 h 18"/>
                    <a:gd name="T40" fmla="*/ 2147483647 w 18"/>
                    <a:gd name="T41" fmla="*/ 2147483647 h 18"/>
                    <a:gd name="T42" fmla="*/ 2147483647 w 18"/>
                    <a:gd name="T43" fmla="*/ 2147483647 h 18"/>
                    <a:gd name="T44" fmla="*/ 2147483647 w 18"/>
                    <a:gd name="T45" fmla="*/ 2147483647 h 18"/>
                    <a:gd name="T46" fmla="*/ 2147483647 w 18"/>
                    <a:gd name="T47" fmla="*/ 2147483647 h 1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8"/>
                    <a:gd name="T73" fmla="*/ 0 h 18"/>
                    <a:gd name="T74" fmla="*/ 18 w 18"/>
                    <a:gd name="T75" fmla="*/ 18 h 1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8" h="18">
                      <a:moveTo>
                        <a:pt x="9" y="5"/>
                      </a:moveTo>
                      <a:lnTo>
                        <a:pt x="9" y="5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2" y="13"/>
                      </a:lnTo>
                      <a:lnTo>
                        <a:pt x="3" y="16"/>
                      </a:lnTo>
                      <a:lnTo>
                        <a:pt x="6" y="18"/>
                      </a:lnTo>
                      <a:lnTo>
                        <a:pt x="8" y="18"/>
                      </a:lnTo>
                      <a:lnTo>
                        <a:pt x="11" y="18"/>
                      </a:lnTo>
                      <a:lnTo>
                        <a:pt x="14" y="12"/>
                      </a:lnTo>
                      <a:lnTo>
                        <a:pt x="18" y="6"/>
                      </a:lnTo>
                      <a:lnTo>
                        <a:pt x="18" y="4"/>
                      </a:lnTo>
                      <a:lnTo>
                        <a:pt x="18" y="2"/>
                      </a:lnTo>
                      <a:lnTo>
                        <a:pt x="16" y="0"/>
                      </a:lnTo>
                      <a:lnTo>
                        <a:pt x="13" y="2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8" name="Freeform 982">
                  <a:extLst>
                    <a:ext uri="{FF2B5EF4-FFF2-40B4-BE49-F238E27FC236}">
                      <a16:creationId xmlns:a16="http://schemas.microsoft.com/office/drawing/2014/main" id="{46D34855-6B50-6645-97B7-E55A9F44C9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9896" y="1942756"/>
                  <a:ext cx="182025" cy="105070"/>
                </a:xfrm>
                <a:custGeom>
                  <a:avLst/>
                  <a:gdLst>
                    <a:gd name="T0" fmla="*/ 2147483647 w 133"/>
                    <a:gd name="T1" fmla="*/ 2147483647 h 71"/>
                    <a:gd name="T2" fmla="*/ 2147483647 w 133"/>
                    <a:gd name="T3" fmla="*/ 2147483647 h 71"/>
                    <a:gd name="T4" fmla="*/ 2147483647 w 133"/>
                    <a:gd name="T5" fmla="*/ 2147483647 h 71"/>
                    <a:gd name="T6" fmla="*/ 2147483647 w 133"/>
                    <a:gd name="T7" fmla="*/ 2147483647 h 71"/>
                    <a:gd name="T8" fmla="*/ 2147483647 w 133"/>
                    <a:gd name="T9" fmla="*/ 2147483647 h 71"/>
                    <a:gd name="T10" fmla="*/ 2147483647 w 133"/>
                    <a:gd name="T11" fmla="*/ 2147483647 h 71"/>
                    <a:gd name="T12" fmla="*/ 2147483647 w 133"/>
                    <a:gd name="T13" fmla="*/ 2147483647 h 71"/>
                    <a:gd name="T14" fmla="*/ 2147483647 w 133"/>
                    <a:gd name="T15" fmla="*/ 2147483647 h 71"/>
                    <a:gd name="T16" fmla="*/ 2147483647 w 133"/>
                    <a:gd name="T17" fmla="*/ 2147483647 h 71"/>
                    <a:gd name="T18" fmla="*/ 2147483647 w 133"/>
                    <a:gd name="T19" fmla="*/ 2147483647 h 71"/>
                    <a:gd name="T20" fmla="*/ 2147483647 w 133"/>
                    <a:gd name="T21" fmla="*/ 2147483647 h 71"/>
                    <a:gd name="T22" fmla="*/ 2147483647 w 133"/>
                    <a:gd name="T23" fmla="*/ 2147483647 h 71"/>
                    <a:gd name="T24" fmla="*/ 2147483647 w 133"/>
                    <a:gd name="T25" fmla="*/ 2147483647 h 71"/>
                    <a:gd name="T26" fmla="*/ 2147483647 w 133"/>
                    <a:gd name="T27" fmla="*/ 2147483647 h 71"/>
                    <a:gd name="T28" fmla="*/ 2147483647 w 133"/>
                    <a:gd name="T29" fmla="*/ 2147483647 h 71"/>
                    <a:gd name="T30" fmla="*/ 2147483647 w 133"/>
                    <a:gd name="T31" fmla="*/ 2147483647 h 71"/>
                    <a:gd name="T32" fmla="*/ 2147483647 w 133"/>
                    <a:gd name="T33" fmla="*/ 2147483647 h 71"/>
                    <a:gd name="T34" fmla="*/ 2147483647 w 133"/>
                    <a:gd name="T35" fmla="*/ 2147483647 h 71"/>
                    <a:gd name="T36" fmla="*/ 2147483647 w 133"/>
                    <a:gd name="T37" fmla="*/ 2147483647 h 71"/>
                    <a:gd name="T38" fmla="*/ 2147483647 w 133"/>
                    <a:gd name="T39" fmla="*/ 2147483647 h 71"/>
                    <a:gd name="T40" fmla="*/ 2147483647 w 133"/>
                    <a:gd name="T41" fmla="*/ 2147483647 h 71"/>
                    <a:gd name="T42" fmla="*/ 2147483647 w 133"/>
                    <a:gd name="T43" fmla="*/ 2147483647 h 71"/>
                    <a:gd name="T44" fmla="*/ 2147483647 w 133"/>
                    <a:gd name="T45" fmla="*/ 2147483647 h 71"/>
                    <a:gd name="T46" fmla="*/ 2147483647 w 133"/>
                    <a:gd name="T47" fmla="*/ 2147483647 h 71"/>
                    <a:gd name="T48" fmla="*/ 2147483647 w 133"/>
                    <a:gd name="T49" fmla="*/ 2147483647 h 71"/>
                    <a:gd name="T50" fmla="*/ 2147483647 w 133"/>
                    <a:gd name="T51" fmla="*/ 2147483647 h 71"/>
                    <a:gd name="T52" fmla="*/ 2147483647 w 133"/>
                    <a:gd name="T53" fmla="*/ 2147483647 h 71"/>
                    <a:gd name="T54" fmla="*/ 2147483647 w 133"/>
                    <a:gd name="T55" fmla="*/ 2147483647 h 71"/>
                    <a:gd name="T56" fmla="*/ 2147483647 w 133"/>
                    <a:gd name="T57" fmla="*/ 2147483647 h 71"/>
                    <a:gd name="T58" fmla="*/ 2147483647 w 133"/>
                    <a:gd name="T59" fmla="*/ 2147483647 h 71"/>
                    <a:gd name="T60" fmla="*/ 2147483647 w 133"/>
                    <a:gd name="T61" fmla="*/ 2147483647 h 71"/>
                    <a:gd name="T62" fmla="*/ 2147483647 w 133"/>
                    <a:gd name="T63" fmla="*/ 2147483647 h 71"/>
                    <a:gd name="T64" fmla="*/ 2147483647 w 133"/>
                    <a:gd name="T65" fmla="*/ 2147483647 h 71"/>
                    <a:gd name="T66" fmla="*/ 2147483647 w 133"/>
                    <a:gd name="T67" fmla="*/ 2147483647 h 71"/>
                    <a:gd name="T68" fmla="*/ 2147483647 w 133"/>
                    <a:gd name="T69" fmla="*/ 2147483647 h 71"/>
                    <a:gd name="T70" fmla="*/ 2147483647 w 133"/>
                    <a:gd name="T71" fmla="*/ 2147483647 h 71"/>
                    <a:gd name="T72" fmla="*/ 2147483647 w 133"/>
                    <a:gd name="T73" fmla="*/ 2147483647 h 71"/>
                    <a:gd name="T74" fmla="*/ 2147483647 w 133"/>
                    <a:gd name="T75" fmla="*/ 2147483647 h 71"/>
                    <a:gd name="T76" fmla="*/ 2147483647 w 133"/>
                    <a:gd name="T77" fmla="*/ 2147483647 h 71"/>
                    <a:gd name="T78" fmla="*/ 2147483647 w 133"/>
                    <a:gd name="T79" fmla="*/ 2147483647 h 71"/>
                    <a:gd name="T80" fmla="*/ 2147483647 w 133"/>
                    <a:gd name="T81" fmla="*/ 2147483647 h 71"/>
                    <a:gd name="T82" fmla="*/ 2147483647 w 133"/>
                    <a:gd name="T83" fmla="*/ 2147483647 h 71"/>
                    <a:gd name="T84" fmla="*/ 2147483647 w 133"/>
                    <a:gd name="T85" fmla="*/ 2147483647 h 71"/>
                    <a:gd name="T86" fmla="*/ 2147483647 w 133"/>
                    <a:gd name="T87" fmla="*/ 2147483647 h 71"/>
                    <a:gd name="T88" fmla="*/ 2147483647 w 133"/>
                    <a:gd name="T89" fmla="*/ 2147483647 h 71"/>
                    <a:gd name="T90" fmla="*/ 2147483647 w 133"/>
                    <a:gd name="T91" fmla="*/ 2147483647 h 71"/>
                    <a:gd name="T92" fmla="*/ 2147483647 w 133"/>
                    <a:gd name="T93" fmla="*/ 2147483647 h 71"/>
                    <a:gd name="T94" fmla="*/ 2147483647 w 133"/>
                    <a:gd name="T95" fmla="*/ 2147483647 h 71"/>
                    <a:gd name="T96" fmla="*/ 2147483647 w 133"/>
                    <a:gd name="T97" fmla="*/ 2147483647 h 71"/>
                    <a:gd name="T98" fmla="*/ 2147483647 w 133"/>
                    <a:gd name="T99" fmla="*/ 2147483647 h 7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33"/>
                    <a:gd name="T151" fmla="*/ 0 h 71"/>
                    <a:gd name="T152" fmla="*/ 133 w 133"/>
                    <a:gd name="T153" fmla="*/ 71 h 71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133" h="71">
                      <a:moveTo>
                        <a:pt x="127" y="19"/>
                      </a:moveTo>
                      <a:lnTo>
                        <a:pt x="127" y="19"/>
                      </a:lnTo>
                      <a:lnTo>
                        <a:pt x="126" y="11"/>
                      </a:lnTo>
                      <a:lnTo>
                        <a:pt x="124" y="6"/>
                      </a:lnTo>
                      <a:lnTo>
                        <a:pt x="122" y="3"/>
                      </a:lnTo>
                      <a:lnTo>
                        <a:pt x="120" y="1"/>
                      </a:lnTo>
                      <a:lnTo>
                        <a:pt x="117" y="0"/>
                      </a:lnTo>
                      <a:lnTo>
                        <a:pt x="115" y="1"/>
                      </a:lnTo>
                      <a:lnTo>
                        <a:pt x="115" y="2"/>
                      </a:lnTo>
                      <a:lnTo>
                        <a:pt x="116" y="4"/>
                      </a:lnTo>
                      <a:lnTo>
                        <a:pt x="117" y="7"/>
                      </a:lnTo>
                      <a:lnTo>
                        <a:pt x="117" y="9"/>
                      </a:lnTo>
                      <a:lnTo>
                        <a:pt x="116" y="10"/>
                      </a:lnTo>
                      <a:lnTo>
                        <a:pt x="112" y="10"/>
                      </a:lnTo>
                      <a:lnTo>
                        <a:pt x="111" y="9"/>
                      </a:lnTo>
                      <a:lnTo>
                        <a:pt x="110" y="7"/>
                      </a:lnTo>
                      <a:lnTo>
                        <a:pt x="107" y="4"/>
                      </a:lnTo>
                      <a:lnTo>
                        <a:pt x="105" y="4"/>
                      </a:lnTo>
                      <a:lnTo>
                        <a:pt x="102" y="4"/>
                      </a:lnTo>
                      <a:lnTo>
                        <a:pt x="101" y="7"/>
                      </a:lnTo>
                      <a:lnTo>
                        <a:pt x="100" y="8"/>
                      </a:lnTo>
                      <a:lnTo>
                        <a:pt x="100" y="10"/>
                      </a:lnTo>
                      <a:lnTo>
                        <a:pt x="98" y="11"/>
                      </a:lnTo>
                      <a:lnTo>
                        <a:pt x="93" y="11"/>
                      </a:lnTo>
                      <a:lnTo>
                        <a:pt x="88" y="10"/>
                      </a:lnTo>
                      <a:lnTo>
                        <a:pt x="83" y="9"/>
                      </a:lnTo>
                      <a:lnTo>
                        <a:pt x="80" y="10"/>
                      </a:lnTo>
                      <a:lnTo>
                        <a:pt x="78" y="11"/>
                      </a:lnTo>
                      <a:lnTo>
                        <a:pt x="77" y="14"/>
                      </a:lnTo>
                      <a:lnTo>
                        <a:pt x="69" y="17"/>
                      </a:lnTo>
                      <a:lnTo>
                        <a:pt x="63" y="21"/>
                      </a:lnTo>
                      <a:lnTo>
                        <a:pt x="56" y="24"/>
                      </a:lnTo>
                      <a:lnTo>
                        <a:pt x="55" y="27"/>
                      </a:lnTo>
                      <a:lnTo>
                        <a:pt x="54" y="30"/>
                      </a:lnTo>
                      <a:lnTo>
                        <a:pt x="51" y="33"/>
                      </a:lnTo>
                      <a:lnTo>
                        <a:pt x="47" y="33"/>
                      </a:lnTo>
                      <a:lnTo>
                        <a:pt x="46" y="33"/>
                      </a:lnTo>
                      <a:lnTo>
                        <a:pt x="45" y="34"/>
                      </a:lnTo>
                      <a:lnTo>
                        <a:pt x="39" y="39"/>
                      </a:lnTo>
                      <a:lnTo>
                        <a:pt x="35" y="41"/>
                      </a:lnTo>
                      <a:lnTo>
                        <a:pt x="30" y="42"/>
                      </a:lnTo>
                      <a:lnTo>
                        <a:pt x="28" y="43"/>
                      </a:lnTo>
                      <a:lnTo>
                        <a:pt x="28" y="45"/>
                      </a:lnTo>
                      <a:lnTo>
                        <a:pt x="27" y="47"/>
                      </a:lnTo>
                      <a:lnTo>
                        <a:pt x="26" y="48"/>
                      </a:lnTo>
                      <a:lnTo>
                        <a:pt x="20" y="48"/>
                      </a:lnTo>
                      <a:lnTo>
                        <a:pt x="14" y="48"/>
                      </a:lnTo>
                      <a:lnTo>
                        <a:pt x="9" y="48"/>
                      </a:lnTo>
                      <a:lnTo>
                        <a:pt x="6" y="51"/>
                      </a:lnTo>
                      <a:lnTo>
                        <a:pt x="2" y="54"/>
                      </a:lnTo>
                      <a:lnTo>
                        <a:pt x="0" y="56"/>
                      </a:lnTo>
                      <a:lnTo>
                        <a:pt x="3" y="58"/>
                      </a:lnTo>
                      <a:lnTo>
                        <a:pt x="6" y="59"/>
                      </a:lnTo>
                      <a:lnTo>
                        <a:pt x="8" y="59"/>
                      </a:lnTo>
                      <a:lnTo>
                        <a:pt x="9" y="60"/>
                      </a:lnTo>
                      <a:lnTo>
                        <a:pt x="9" y="64"/>
                      </a:lnTo>
                      <a:lnTo>
                        <a:pt x="9" y="68"/>
                      </a:lnTo>
                      <a:lnTo>
                        <a:pt x="9" y="70"/>
                      </a:lnTo>
                      <a:lnTo>
                        <a:pt x="11" y="71"/>
                      </a:lnTo>
                      <a:lnTo>
                        <a:pt x="13" y="71"/>
                      </a:lnTo>
                      <a:lnTo>
                        <a:pt x="14" y="71"/>
                      </a:lnTo>
                      <a:lnTo>
                        <a:pt x="22" y="67"/>
                      </a:lnTo>
                      <a:lnTo>
                        <a:pt x="25" y="66"/>
                      </a:lnTo>
                      <a:lnTo>
                        <a:pt x="28" y="66"/>
                      </a:lnTo>
                      <a:lnTo>
                        <a:pt x="33" y="68"/>
                      </a:lnTo>
                      <a:lnTo>
                        <a:pt x="36" y="68"/>
                      </a:lnTo>
                      <a:lnTo>
                        <a:pt x="39" y="67"/>
                      </a:lnTo>
                      <a:lnTo>
                        <a:pt x="39" y="65"/>
                      </a:lnTo>
                      <a:lnTo>
                        <a:pt x="40" y="62"/>
                      </a:lnTo>
                      <a:lnTo>
                        <a:pt x="39" y="60"/>
                      </a:lnTo>
                      <a:lnTo>
                        <a:pt x="40" y="58"/>
                      </a:lnTo>
                      <a:lnTo>
                        <a:pt x="42" y="58"/>
                      </a:lnTo>
                      <a:lnTo>
                        <a:pt x="44" y="58"/>
                      </a:lnTo>
                      <a:lnTo>
                        <a:pt x="46" y="55"/>
                      </a:lnTo>
                      <a:lnTo>
                        <a:pt x="49" y="52"/>
                      </a:lnTo>
                      <a:lnTo>
                        <a:pt x="51" y="48"/>
                      </a:lnTo>
                      <a:lnTo>
                        <a:pt x="53" y="49"/>
                      </a:lnTo>
                      <a:lnTo>
                        <a:pt x="53" y="52"/>
                      </a:lnTo>
                      <a:lnTo>
                        <a:pt x="53" y="58"/>
                      </a:lnTo>
                      <a:lnTo>
                        <a:pt x="54" y="64"/>
                      </a:lnTo>
                      <a:lnTo>
                        <a:pt x="56" y="66"/>
                      </a:lnTo>
                      <a:lnTo>
                        <a:pt x="59" y="68"/>
                      </a:lnTo>
                      <a:lnTo>
                        <a:pt x="61" y="70"/>
                      </a:lnTo>
                      <a:lnTo>
                        <a:pt x="65" y="70"/>
                      </a:lnTo>
                      <a:lnTo>
                        <a:pt x="68" y="70"/>
                      </a:lnTo>
                      <a:lnTo>
                        <a:pt x="69" y="68"/>
                      </a:lnTo>
                      <a:lnTo>
                        <a:pt x="72" y="66"/>
                      </a:lnTo>
                      <a:lnTo>
                        <a:pt x="72" y="64"/>
                      </a:lnTo>
                      <a:lnTo>
                        <a:pt x="70" y="60"/>
                      </a:lnTo>
                      <a:lnTo>
                        <a:pt x="70" y="58"/>
                      </a:lnTo>
                      <a:lnTo>
                        <a:pt x="70" y="56"/>
                      </a:lnTo>
                      <a:lnTo>
                        <a:pt x="84" y="41"/>
                      </a:lnTo>
                      <a:lnTo>
                        <a:pt x="98" y="27"/>
                      </a:lnTo>
                      <a:lnTo>
                        <a:pt x="100" y="29"/>
                      </a:lnTo>
                      <a:lnTo>
                        <a:pt x="100" y="33"/>
                      </a:lnTo>
                      <a:lnTo>
                        <a:pt x="97" y="38"/>
                      </a:lnTo>
                      <a:lnTo>
                        <a:pt x="97" y="42"/>
                      </a:lnTo>
                      <a:lnTo>
                        <a:pt x="98" y="53"/>
                      </a:lnTo>
                      <a:lnTo>
                        <a:pt x="100" y="55"/>
                      </a:lnTo>
                      <a:lnTo>
                        <a:pt x="101" y="56"/>
                      </a:lnTo>
                      <a:lnTo>
                        <a:pt x="103" y="58"/>
                      </a:lnTo>
                      <a:lnTo>
                        <a:pt x="105" y="56"/>
                      </a:lnTo>
                      <a:lnTo>
                        <a:pt x="107" y="52"/>
                      </a:lnTo>
                      <a:lnTo>
                        <a:pt x="112" y="48"/>
                      </a:lnTo>
                      <a:lnTo>
                        <a:pt x="117" y="45"/>
                      </a:lnTo>
                      <a:lnTo>
                        <a:pt x="122" y="40"/>
                      </a:lnTo>
                      <a:lnTo>
                        <a:pt x="122" y="39"/>
                      </a:lnTo>
                      <a:lnTo>
                        <a:pt x="122" y="35"/>
                      </a:lnTo>
                      <a:lnTo>
                        <a:pt x="122" y="36"/>
                      </a:lnTo>
                      <a:lnTo>
                        <a:pt x="122" y="33"/>
                      </a:lnTo>
                      <a:lnTo>
                        <a:pt x="125" y="30"/>
                      </a:lnTo>
                      <a:lnTo>
                        <a:pt x="130" y="27"/>
                      </a:lnTo>
                      <a:lnTo>
                        <a:pt x="133" y="24"/>
                      </a:lnTo>
                      <a:lnTo>
                        <a:pt x="131" y="22"/>
                      </a:lnTo>
                      <a:lnTo>
                        <a:pt x="129" y="21"/>
                      </a:lnTo>
                      <a:lnTo>
                        <a:pt x="127" y="1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9" name="Freeform 983">
                  <a:extLst>
                    <a:ext uri="{FF2B5EF4-FFF2-40B4-BE49-F238E27FC236}">
                      <a16:creationId xmlns:a16="http://schemas.microsoft.com/office/drawing/2014/main" id="{BB33DFB2-2EC8-FB4F-B405-3F91FFF31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420" y="2145495"/>
                  <a:ext cx="51796" cy="36997"/>
                </a:xfrm>
                <a:custGeom>
                  <a:avLst/>
                  <a:gdLst>
                    <a:gd name="T0" fmla="*/ 2147483647 w 38"/>
                    <a:gd name="T1" fmla="*/ 2147483647 h 25"/>
                    <a:gd name="T2" fmla="*/ 2147483647 w 38"/>
                    <a:gd name="T3" fmla="*/ 2147483647 h 25"/>
                    <a:gd name="T4" fmla="*/ 2147483647 w 38"/>
                    <a:gd name="T5" fmla="*/ 2147483647 h 25"/>
                    <a:gd name="T6" fmla="*/ 2147483647 w 38"/>
                    <a:gd name="T7" fmla="*/ 2147483647 h 25"/>
                    <a:gd name="T8" fmla="*/ 2147483647 w 38"/>
                    <a:gd name="T9" fmla="*/ 2147483647 h 25"/>
                    <a:gd name="T10" fmla="*/ 2147483647 w 38"/>
                    <a:gd name="T11" fmla="*/ 2147483647 h 25"/>
                    <a:gd name="T12" fmla="*/ 2147483647 w 38"/>
                    <a:gd name="T13" fmla="*/ 0 h 25"/>
                    <a:gd name="T14" fmla="*/ 2147483647 w 38"/>
                    <a:gd name="T15" fmla="*/ 0 h 25"/>
                    <a:gd name="T16" fmla="*/ 2147483647 w 38"/>
                    <a:gd name="T17" fmla="*/ 0 h 25"/>
                    <a:gd name="T18" fmla="*/ 2147483647 w 38"/>
                    <a:gd name="T19" fmla="*/ 0 h 25"/>
                    <a:gd name="T20" fmla="*/ 0 w 38"/>
                    <a:gd name="T21" fmla="*/ 2147483647 h 25"/>
                    <a:gd name="T22" fmla="*/ 0 w 38"/>
                    <a:gd name="T23" fmla="*/ 2147483647 h 25"/>
                    <a:gd name="T24" fmla="*/ 2147483647 w 38"/>
                    <a:gd name="T25" fmla="*/ 2147483647 h 25"/>
                    <a:gd name="T26" fmla="*/ 2147483647 w 38"/>
                    <a:gd name="T27" fmla="*/ 2147483647 h 25"/>
                    <a:gd name="T28" fmla="*/ 2147483647 w 38"/>
                    <a:gd name="T29" fmla="*/ 2147483647 h 25"/>
                    <a:gd name="T30" fmla="*/ 2147483647 w 38"/>
                    <a:gd name="T31" fmla="*/ 2147483647 h 25"/>
                    <a:gd name="T32" fmla="*/ 2147483647 w 38"/>
                    <a:gd name="T33" fmla="*/ 2147483647 h 25"/>
                    <a:gd name="T34" fmla="*/ 2147483647 w 38"/>
                    <a:gd name="T35" fmla="*/ 2147483647 h 25"/>
                    <a:gd name="T36" fmla="*/ 2147483647 w 38"/>
                    <a:gd name="T37" fmla="*/ 2147483647 h 25"/>
                    <a:gd name="T38" fmla="*/ 2147483647 w 38"/>
                    <a:gd name="T39" fmla="*/ 2147483647 h 25"/>
                    <a:gd name="T40" fmla="*/ 2147483647 w 38"/>
                    <a:gd name="T41" fmla="*/ 2147483647 h 25"/>
                    <a:gd name="T42" fmla="*/ 2147483647 w 38"/>
                    <a:gd name="T43" fmla="*/ 2147483647 h 2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8"/>
                    <a:gd name="T67" fmla="*/ 0 h 25"/>
                    <a:gd name="T68" fmla="*/ 38 w 38"/>
                    <a:gd name="T69" fmla="*/ 25 h 2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8" h="25">
                      <a:moveTo>
                        <a:pt x="32" y="16"/>
                      </a:moveTo>
                      <a:lnTo>
                        <a:pt x="34" y="11"/>
                      </a:lnTo>
                      <a:lnTo>
                        <a:pt x="37" y="7"/>
                      </a:lnTo>
                      <a:lnTo>
                        <a:pt x="38" y="6"/>
                      </a:lnTo>
                      <a:lnTo>
                        <a:pt x="37" y="5"/>
                      </a:lnTo>
                      <a:lnTo>
                        <a:pt x="33" y="2"/>
                      </a:lnTo>
                      <a:lnTo>
                        <a:pt x="29" y="0"/>
                      </a:ln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5" y="6"/>
                      </a:lnTo>
                      <a:lnTo>
                        <a:pt x="9" y="8"/>
                      </a:lnTo>
                      <a:lnTo>
                        <a:pt x="14" y="13"/>
                      </a:lnTo>
                      <a:lnTo>
                        <a:pt x="19" y="19"/>
                      </a:lnTo>
                      <a:lnTo>
                        <a:pt x="24" y="24"/>
                      </a:lnTo>
                      <a:lnTo>
                        <a:pt x="25" y="25"/>
                      </a:lnTo>
                      <a:lnTo>
                        <a:pt x="26" y="24"/>
                      </a:lnTo>
                      <a:lnTo>
                        <a:pt x="28" y="21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984">
                  <a:extLst>
                    <a:ext uri="{FF2B5EF4-FFF2-40B4-BE49-F238E27FC236}">
                      <a16:creationId xmlns:a16="http://schemas.microsoft.com/office/drawing/2014/main" id="{4C659E21-31CC-7444-B99F-367A470C8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3018" y="2475508"/>
                  <a:ext cx="167226" cy="124309"/>
                </a:xfrm>
                <a:custGeom>
                  <a:avLst/>
                  <a:gdLst>
                    <a:gd name="T0" fmla="*/ 2147483647 w 122"/>
                    <a:gd name="T1" fmla="*/ 2147483647 h 84"/>
                    <a:gd name="T2" fmla="*/ 2147483647 w 122"/>
                    <a:gd name="T3" fmla="*/ 2147483647 h 84"/>
                    <a:gd name="T4" fmla="*/ 2147483647 w 122"/>
                    <a:gd name="T5" fmla="*/ 2147483647 h 84"/>
                    <a:gd name="T6" fmla="*/ 2147483647 w 122"/>
                    <a:gd name="T7" fmla="*/ 2147483647 h 84"/>
                    <a:gd name="T8" fmla="*/ 2147483647 w 122"/>
                    <a:gd name="T9" fmla="*/ 2147483647 h 84"/>
                    <a:gd name="T10" fmla="*/ 2147483647 w 122"/>
                    <a:gd name="T11" fmla="*/ 2147483647 h 84"/>
                    <a:gd name="T12" fmla="*/ 2147483647 w 122"/>
                    <a:gd name="T13" fmla="*/ 2147483647 h 84"/>
                    <a:gd name="T14" fmla="*/ 2147483647 w 122"/>
                    <a:gd name="T15" fmla="*/ 2147483647 h 84"/>
                    <a:gd name="T16" fmla="*/ 2147483647 w 122"/>
                    <a:gd name="T17" fmla="*/ 2147483647 h 84"/>
                    <a:gd name="T18" fmla="*/ 2147483647 w 122"/>
                    <a:gd name="T19" fmla="*/ 2147483647 h 84"/>
                    <a:gd name="T20" fmla="*/ 2147483647 w 122"/>
                    <a:gd name="T21" fmla="*/ 2147483647 h 84"/>
                    <a:gd name="T22" fmla="*/ 2147483647 w 122"/>
                    <a:gd name="T23" fmla="*/ 0 h 84"/>
                    <a:gd name="T24" fmla="*/ 2147483647 w 122"/>
                    <a:gd name="T25" fmla="*/ 2147483647 h 84"/>
                    <a:gd name="T26" fmla="*/ 2147483647 w 122"/>
                    <a:gd name="T27" fmla="*/ 2147483647 h 84"/>
                    <a:gd name="T28" fmla="*/ 2147483647 w 122"/>
                    <a:gd name="T29" fmla="*/ 2147483647 h 84"/>
                    <a:gd name="T30" fmla="*/ 2147483647 w 122"/>
                    <a:gd name="T31" fmla="*/ 2147483647 h 84"/>
                    <a:gd name="T32" fmla="*/ 0 w 122"/>
                    <a:gd name="T33" fmla="*/ 2147483647 h 84"/>
                    <a:gd name="T34" fmla="*/ 2147483647 w 122"/>
                    <a:gd name="T35" fmla="*/ 2147483647 h 84"/>
                    <a:gd name="T36" fmla="*/ 2147483647 w 122"/>
                    <a:gd name="T37" fmla="*/ 2147483647 h 84"/>
                    <a:gd name="T38" fmla="*/ 2147483647 w 122"/>
                    <a:gd name="T39" fmla="*/ 2147483647 h 84"/>
                    <a:gd name="T40" fmla="*/ 2147483647 w 122"/>
                    <a:gd name="T41" fmla="*/ 2147483647 h 84"/>
                    <a:gd name="T42" fmla="*/ 2147483647 w 122"/>
                    <a:gd name="T43" fmla="*/ 2147483647 h 84"/>
                    <a:gd name="T44" fmla="*/ 2147483647 w 122"/>
                    <a:gd name="T45" fmla="*/ 2147483647 h 84"/>
                    <a:gd name="T46" fmla="*/ 2147483647 w 122"/>
                    <a:gd name="T47" fmla="*/ 2147483647 h 84"/>
                    <a:gd name="T48" fmla="*/ 2147483647 w 122"/>
                    <a:gd name="T49" fmla="*/ 2147483647 h 84"/>
                    <a:gd name="T50" fmla="*/ 2147483647 w 122"/>
                    <a:gd name="T51" fmla="*/ 2147483647 h 84"/>
                    <a:gd name="T52" fmla="*/ 2147483647 w 122"/>
                    <a:gd name="T53" fmla="*/ 2147483647 h 84"/>
                    <a:gd name="T54" fmla="*/ 2147483647 w 122"/>
                    <a:gd name="T55" fmla="*/ 2147483647 h 84"/>
                    <a:gd name="T56" fmla="*/ 2147483647 w 122"/>
                    <a:gd name="T57" fmla="*/ 2147483647 h 84"/>
                    <a:gd name="T58" fmla="*/ 2147483647 w 122"/>
                    <a:gd name="T59" fmla="*/ 2147483647 h 84"/>
                    <a:gd name="T60" fmla="*/ 2147483647 w 122"/>
                    <a:gd name="T61" fmla="*/ 2147483647 h 84"/>
                    <a:gd name="T62" fmla="*/ 2147483647 w 122"/>
                    <a:gd name="T63" fmla="*/ 2147483647 h 84"/>
                    <a:gd name="T64" fmla="*/ 2147483647 w 122"/>
                    <a:gd name="T65" fmla="*/ 2147483647 h 84"/>
                    <a:gd name="T66" fmla="*/ 2147483647 w 122"/>
                    <a:gd name="T67" fmla="*/ 2147483647 h 84"/>
                    <a:gd name="T68" fmla="*/ 2147483647 w 122"/>
                    <a:gd name="T69" fmla="*/ 2147483647 h 84"/>
                    <a:gd name="T70" fmla="*/ 2147483647 w 122"/>
                    <a:gd name="T71" fmla="*/ 2147483647 h 84"/>
                    <a:gd name="T72" fmla="*/ 2147483647 w 122"/>
                    <a:gd name="T73" fmla="*/ 2147483647 h 84"/>
                    <a:gd name="T74" fmla="*/ 2147483647 w 122"/>
                    <a:gd name="T75" fmla="*/ 2147483647 h 84"/>
                    <a:gd name="T76" fmla="*/ 2147483647 w 122"/>
                    <a:gd name="T77" fmla="*/ 2147483647 h 84"/>
                    <a:gd name="T78" fmla="*/ 2147483647 w 122"/>
                    <a:gd name="T79" fmla="*/ 2147483647 h 84"/>
                    <a:gd name="T80" fmla="*/ 2147483647 w 122"/>
                    <a:gd name="T81" fmla="*/ 2147483647 h 84"/>
                    <a:gd name="T82" fmla="*/ 2147483647 w 122"/>
                    <a:gd name="T83" fmla="*/ 2147483647 h 84"/>
                    <a:gd name="T84" fmla="*/ 2147483647 w 122"/>
                    <a:gd name="T85" fmla="*/ 2147483647 h 84"/>
                    <a:gd name="T86" fmla="*/ 2147483647 w 122"/>
                    <a:gd name="T87" fmla="*/ 2147483647 h 84"/>
                    <a:gd name="T88" fmla="*/ 2147483647 w 122"/>
                    <a:gd name="T89" fmla="*/ 2147483647 h 84"/>
                    <a:gd name="T90" fmla="*/ 2147483647 w 122"/>
                    <a:gd name="T91" fmla="*/ 2147483647 h 84"/>
                    <a:gd name="T92" fmla="*/ 2147483647 w 122"/>
                    <a:gd name="T93" fmla="*/ 2147483647 h 84"/>
                    <a:gd name="T94" fmla="*/ 2147483647 w 122"/>
                    <a:gd name="T95" fmla="*/ 2147483647 h 84"/>
                    <a:gd name="T96" fmla="*/ 2147483647 w 122"/>
                    <a:gd name="T97" fmla="*/ 2147483647 h 84"/>
                    <a:gd name="T98" fmla="*/ 2147483647 w 122"/>
                    <a:gd name="T99" fmla="*/ 2147483647 h 84"/>
                    <a:gd name="T100" fmla="*/ 2147483647 w 122"/>
                    <a:gd name="T101" fmla="*/ 2147483647 h 8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22"/>
                    <a:gd name="T154" fmla="*/ 0 h 84"/>
                    <a:gd name="T155" fmla="*/ 122 w 122"/>
                    <a:gd name="T156" fmla="*/ 84 h 8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22" h="84">
                      <a:moveTo>
                        <a:pt x="69" y="26"/>
                      </a:moveTo>
                      <a:lnTo>
                        <a:pt x="65" y="25"/>
                      </a:lnTo>
                      <a:lnTo>
                        <a:pt x="62" y="26"/>
                      </a:lnTo>
                      <a:lnTo>
                        <a:pt x="60" y="27"/>
                      </a:lnTo>
                      <a:lnTo>
                        <a:pt x="56" y="26"/>
                      </a:lnTo>
                      <a:lnTo>
                        <a:pt x="54" y="25"/>
                      </a:lnTo>
                      <a:lnTo>
                        <a:pt x="52" y="23"/>
                      </a:lnTo>
                      <a:lnTo>
                        <a:pt x="48" y="18"/>
                      </a:lnTo>
                      <a:lnTo>
                        <a:pt x="47" y="18"/>
                      </a:lnTo>
                      <a:lnTo>
                        <a:pt x="46" y="18"/>
                      </a:lnTo>
                      <a:lnTo>
                        <a:pt x="42" y="20"/>
                      </a:lnTo>
                      <a:lnTo>
                        <a:pt x="41" y="21"/>
                      </a:lnTo>
                      <a:lnTo>
                        <a:pt x="38" y="23"/>
                      </a:lnTo>
                      <a:lnTo>
                        <a:pt x="36" y="21"/>
                      </a:lnTo>
                      <a:lnTo>
                        <a:pt x="34" y="19"/>
                      </a:lnTo>
                      <a:lnTo>
                        <a:pt x="34" y="17"/>
                      </a:lnTo>
                      <a:lnTo>
                        <a:pt x="36" y="14"/>
                      </a:lnTo>
                      <a:lnTo>
                        <a:pt x="38" y="11"/>
                      </a:lnTo>
                      <a:lnTo>
                        <a:pt x="40" y="9"/>
                      </a:lnTo>
                      <a:lnTo>
                        <a:pt x="38" y="7"/>
                      </a:lnTo>
                      <a:lnTo>
                        <a:pt x="36" y="4"/>
                      </a:lnTo>
                      <a:lnTo>
                        <a:pt x="33" y="1"/>
                      </a:lnTo>
                      <a:lnTo>
                        <a:pt x="31" y="0"/>
                      </a:lnTo>
                      <a:lnTo>
                        <a:pt x="29" y="0"/>
                      </a:lnTo>
                      <a:lnTo>
                        <a:pt x="27" y="1"/>
                      </a:lnTo>
                      <a:lnTo>
                        <a:pt x="26" y="2"/>
                      </a:lnTo>
                      <a:lnTo>
                        <a:pt x="21" y="13"/>
                      </a:lnTo>
                      <a:lnTo>
                        <a:pt x="17" y="24"/>
                      </a:lnTo>
                      <a:lnTo>
                        <a:pt x="14" y="34"/>
                      </a:lnTo>
                      <a:lnTo>
                        <a:pt x="12" y="45"/>
                      </a:lnTo>
                      <a:lnTo>
                        <a:pt x="9" y="51"/>
                      </a:lnTo>
                      <a:lnTo>
                        <a:pt x="5" y="56"/>
                      </a:lnTo>
                      <a:lnTo>
                        <a:pt x="1" y="60"/>
                      </a:lnTo>
                      <a:lnTo>
                        <a:pt x="0" y="65"/>
                      </a:lnTo>
                      <a:lnTo>
                        <a:pt x="0" y="66"/>
                      </a:lnTo>
                      <a:lnTo>
                        <a:pt x="1" y="68"/>
                      </a:lnTo>
                      <a:lnTo>
                        <a:pt x="5" y="69"/>
                      </a:lnTo>
                      <a:lnTo>
                        <a:pt x="7" y="70"/>
                      </a:lnTo>
                      <a:lnTo>
                        <a:pt x="14" y="69"/>
                      </a:lnTo>
                      <a:lnTo>
                        <a:pt x="18" y="68"/>
                      </a:lnTo>
                      <a:lnTo>
                        <a:pt x="22" y="69"/>
                      </a:lnTo>
                      <a:lnTo>
                        <a:pt x="23" y="71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6"/>
                      </a:lnTo>
                      <a:lnTo>
                        <a:pt x="23" y="77"/>
                      </a:lnTo>
                      <a:lnTo>
                        <a:pt x="23" y="79"/>
                      </a:lnTo>
                      <a:lnTo>
                        <a:pt x="24" y="82"/>
                      </a:lnTo>
                      <a:lnTo>
                        <a:pt x="26" y="84"/>
                      </a:lnTo>
                      <a:lnTo>
                        <a:pt x="28" y="83"/>
                      </a:lnTo>
                      <a:lnTo>
                        <a:pt x="31" y="83"/>
                      </a:lnTo>
                      <a:lnTo>
                        <a:pt x="32" y="83"/>
                      </a:lnTo>
                      <a:lnTo>
                        <a:pt x="33" y="84"/>
                      </a:lnTo>
                      <a:lnTo>
                        <a:pt x="34" y="84"/>
                      </a:lnTo>
                      <a:lnTo>
                        <a:pt x="40" y="81"/>
                      </a:lnTo>
                      <a:lnTo>
                        <a:pt x="47" y="78"/>
                      </a:lnTo>
                      <a:lnTo>
                        <a:pt x="50" y="77"/>
                      </a:lnTo>
                      <a:lnTo>
                        <a:pt x="52" y="75"/>
                      </a:lnTo>
                      <a:lnTo>
                        <a:pt x="55" y="72"/>
                      </a:lnTo>
                      <a:lnTo>
                        <a:pt x="56" y="69"/>
                      </a:lnTo>
                      <a:lnTo>
                        <a:pt x="57" y="55"/>
                      </a:lnTo>
                      <a:lnTo>
                        <a:pt x="60" y="52"/>
                      </a:lnTo>
                      <a:lnTo>
                        <a:pt x="62" y="51"/>
                      </a:lnTo>
                      <a:lnTo>
                        <a:pt x="66" y="50"/>
                      </a:lnTo>
                      <a:lnTo>
                        <a:pt x="70" y="50"/>
                      </a:lnTo>
                      <a:lnTo>
                        <a:pt x="73" y="51"/>
                      </a:lnTo>
                      <a:lnTo>
                        <a:pt x="74" y="53"/>
                      </a:lnTo>
                      <a:lnTo>
                        <a:pt x="76" y="58"/>
                      </a:lnTo>
                      <a:lnTo>
                        <a:pt x="79" y="63"/>
                      </a:lnTo>
                      <a:lnTo>
                        <a:pt x="81" y="68"/>
                      </a:lnTo>
                      <a:lnTo>
                        <a:pt x="83" y="69"/>
                      </a:lnTo>
                      <a:lnTo>
                        <a:pt x="84" y="70"/>
                      </a:lnTo>
                      <a:lnTo>
                        <a:pt x="87" y="69"/>
                      </a:lnTo>
                      <a:lnTo>
                        <a:pt x="89" y="70"/>
                      </a:lnTo>
                      <a:lnTo>
                        <a:pt x="94" y="72"/>
                      </a:lnTo>
                      <a:lnTo>
                        <a:pt x="97" y="74"/>
                      </a:lnTo>
                      <a:lnTo>
                        <a:pt x="101" y="75"/>
                      </a:lnTo>
                      <a:lnTo>
                        <a:pt x="102" y="76"/>
                      </a:lnTo>
                      <a:lnTo>
                        <a:pt x="103" y="76"/>
                      </a:lnTo>
                      <a:lnTo>
                        <a:pt x="104" y="75"/>
                      </a:lnTo>
                      <a:lnTo>
                        <a:pt x="113" y="70"/>
                      </a:lnTo>
                      <a:lnTo>
                        <a:pt x="121" y="64"/>
                      </a:lnTo>
                      <a:lnTo>
                        <a:pt x="122" y="63"/>
                      </a:lnTo>
                      <a:lnTo>
                        <a:pt x="122" y="62"/>
                      </a:lnTo>
                      <a:lnTo>
                        <a:pt x="112" y="55"/>
                      </a:lnTo>
                      <a:lnTo>
                        <a:pt x="106" y="52"/>
                      </a:lnTo>
                      <a:lnTo>
                        <a:pt x="103" y="52"/>
                      </a:lnTo>
                      <a:lnTo>
                        <a:pt x="101" y="53"/>
                      </a:lnTo>
                      <a:lnTo>
                        <a:pt x="98" y="55"/>
                      </a:lnTo>
                      <a:lnTo>
                        <a:pt x="97" y="56"/>
                      </a:lnTo>
                      <a:lnTo>
                        <a:pt x="95" y="56"/>
                      </a:lnTo>
                      <a:lnTo>
                        <a:pt x="93" y="52"/>
                      </a:lnTo>
                      <a:lnTo>
                        <a:pt x="92" y="49"/>
                      </a:lnTo>
                      <a:lnTo>
                        <a:pt x="92" y="45"/>
                      </a:lnTo>
                      <a:lnTo>
                        <a:pt x="95" y="43"/>
                      </a:lnTo>
                      <a:lnTo>
                        <a:pt x="95" y="41"/>
                      </a:lnTo>
                      <a:lnTo>
                        <a:pt x="95" y="40"/>
                      </a:lnTo>
                      <a:lnTo>
                        <a:pt x="93" y="39"/>
                      </a:lnTo>
                      <a:lnTo>
                        <a:pt x="89" y="38"/>
                      </a:lnTo>
                      <a:lnTo>
                        <a:pt x="87" y="37"/>
                      </a:lnTo>
                      <a:lnTo>
                        <a:pt x="78" y="31"/>
                      </a:lnTo>
                      <a:lnTo>
                        <a:pt x="69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1" name="Freeform 985">
                  <a:extLst>
                    <a:ext uri="{FF2B5EF4-FFF2-40B4-BE49-F238E27FC236}">
                      <a16:creationId xmlns:a16="http://schemas.microsoft.com/office/drawing/2014/main" id="{D7357557-8648-B641-ACA6-3FB575D5C2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0938" y="2144019"/>
                  <a:ext cx="51795" cy="36996"/>
                </a:xfrm>
                <a:custGeom>
                  <a:avLst/>
                  <a:gdLst>
                    <a:gd name="T0" fmla="*/ 2147483647 w 38"/>
                    <a:gd name="T1" fmla="*/ 2147483647 h 25"/>
                    <a:gd name="T2" fmla="*/ 2147483647 w 38"/>
                    <a:gd name="T3" fmla="*/ 2147483647 h 25"/>
                    <a:gd name="T4" fmla="*/ 2147483647 w 38"/>
                    <a:gd name="T5" fmla="*/ 2147483647 h 25"/>
                    <a:gd name="T6" fmla="*/ 2147483647 w 38"/>
                    <a:gd name="T7" fmla="*/ 2147483647 h 25"/>
                    <a:gd name="T8" fmla="*/ 2147483647 w 38"/>
                    <a:gd name="T9" fmla="*/ 2147483647 h 25"/>
                    <a:gd name="T10" fmla="*/ 2147483647 w 38"/>
                    <a:gd name="T11" fmla="*/ 2147483647 h 25"/>
                    <a:gd name="T12" fmla="*/ 2147483647 w 38"/>
                    <a:gd name="T13" fmla="*/ 2147483647 h 25"/>
                    <a:gd name="T14" fmla="*/ 2147483647 w 38"/>
                    <a:gd name="T15" fmla="*/ 2147483647 h 25"/>
                    <a:gd name="T16" fmla="*/ 2147483647 w 38"/>
                    <a:gd name="T17" fmla="*/ 2147483647 h 25"/>
                    <a:gd name="T18" fmla="*/ 2147483647 w 38"/>
                    <a:gd name="T19" fmla="*/ 0 h 25"/>
                    <a:gd name="T20" fmla="*/ 2147483647 w 38"/>
                    <a:gd name="T21" fmla="*/ 0 h 25"/>
                    <a:gd name="T22" fmla="*/ 2147483647 w 38"/>
                    <a:gd name="T23" fmla="*/ 0 h 25"/>
                    <a:gd name="T24" fmla="*/ 2147483647 w 38"/>
                    <a:gd name="T25" fmla="*/ 0 h 25"/>
                    <a:gd name="T26" fmla="*/ 0 w 38"/>
                    <a:gd name="T27" fmla="*/ 2147483647 h 25"/>
                    <a:gd name="T28" fmla="*/ 0 w 38"/>
                    <a:gd name="T29" fmla="*/ 2147483647 h 25"/>
                    <a:gd name="T30" fmla="*/ 0 w 38"/>
                    <a:gd name="T31" fmla="*/ 2147483647 h 25"/>
                    <a:gd name="T32" fmla="*/ 2147483647 w 38"/>
                    <a:gd name="T33" fmla="*/ 2147483647 h 25"/>
                    <a:gd name="T34" fmla="*/ 2147483647 w 38"/>
                    <a:gd name="T35" fmla="*/ 2147483647 h 25"/>
                    <a:gd name="T36" fmla="*/ 2147483647 w 38"/>
                    <a:gd name="T37" fmla="*/ 2147483647 h 25"/>
                    <a:gd name="T38" fmla="*/ 2147483647 w 38"/>
                    <a:gd name="T39" fmla="*/ 2147483647 h 25"/>
                    <a:gd name="T40" fmla="*/ 2147483647 w 38"/>
                    <a:gd name="T41" fmla="*/ 2147483647 h 25"/>
                    <a:gd name="T42" fmla="*/ 2147483647 w 38"/>
                    <a:gd name="T43" fmla="*/ 2147483647 h 25"/>
                    <a:gd name="T44" fmla="*/ 2147483647 w 38"/>
                    <a:gd name="T45" fmla="*/ 2147483647 h 25"/>
                    <a:gd name="T46" fmla="*/ 2147483647 w 38"/>
                    <a:gd name="T47" fmla="*/ 2147483647 h 25"/>
                    <a:gd name="T48" fmla="*/ 2147483647 w 38"/>
                    <a:gd name="T49" fmla="*/ 2147483647 h 25"/>
                    <a:gd name="T50" fmla="*/ 2147483647 w 38"/>
                    <a:gd name="T51" fmla="*/ 2147483647 h 25"/>
                    <a:gd name="T52" fmla="*/ 2147483647 w 38"/>
                    <a:gd name="T53" fmla="*/ 2147483647 h 25"/>
                    <a:gd name="T54" fmla="*/ 2147483647 w 38"/>
                    <a:gd name="T55" fmla="*/ 2147483647 h 25"/>
                    <a:gd name="T56" fmla="*/ 2147483647 w 38"/>
                    <a:gd name="T57" fmla="*/ 2147483647 h 25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38"/>
                    <a:gd name="T88" fmla="*/ 0 h 25"/>
                    <a:gd name="T89" fmla="*/ 38 w 38"/>
                    <a:gd name="T90" fmla="*/ 25 h 25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38" h="25">
                      <a:moveTo>
                        <a:pt x="31" y="15"/>
                      </a:moveTo>
                      <a:lnTo>
                        <a:pt x="31" y="15"/>
                      </a:lnTo>
                      <a:lnTo>
                        <a:pt x="34" y="11"/>
                      </a:lnTo>
                      <a:lnTo>
                        <a:pt x="36" y="7"/>
                      </a:lnTo>
                      <a:lnTo>
                        <a:pt x="38" y="6"/>
                      </a:lnTo>
                      <a:lnTo>
                        <a:pt x="36" y="5"/>
                      </a:lnTo>
                      <a:lnTo>
                        <a:pt x="33" y="2"/>
                      </a:lnTo>
                      <a:lnTo>
                        <a:pt x="29" y="0"/>
                      </a:ln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5" y="6"/>
                      </a:lnTo>
                      <a:lnTo>
                        <a:pt x="8" y="8"/>
                      </a:lnTo>
                      <a:lnTo>
                        <a:pt x="14" y="13"/>
                      </a:lnTo>
                      <a:lnTo>
                        <a:pt x="19" y="19"/>
                      </a:lnTo>
                      <a:lnTo>
                        <a:pt x="24" y="24"/>
                      </a:lnTo>
                      <a:lnTo>
                        <a:pt x="25" y="25"/>
                      </a:lnTo>
                      <a:lnTo>
                        <a:pt x="26" y="24"/>
                      </a:lnTo>
                      <a:lnTo>
                        <a:pt x="27" y="21"/>
                      </a:lnTo>
                      <a:lnTo>
                        <a:pt x="31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2" name="Freeform 986">
                  <a:extLst>
                    <a:ext uri="{FF2B5EF4-FFF2-40B4-BE49-F238E27FC236}">
                      <a16:creationId xmlns:a16="http://schemas.microsoft.com/office/drawing/2014/main" id="{815CD2A6-54DE-B144-9D40-9A0A8B9886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1538" y="2474029"/>
                  <a:ext cx="167224" cy="124309"/>
                </a:xfrm>
                <a:custGeom>
                  <a:avLst/>
                  <a:gdLst>
                    <a:gd name="T0" fmla="*/ 2147483647 w 122"/>
                    <a:gd name="T1" fmla="*/ 2147483647 h 84"/>
                    <a:gd name="T2" fmla="*/ 2147483647 w 122"/>
                    <a:gd name="T3" fmla="*/ 2147483647 h 84"/>
                    <a:gd name="T4" fmla="*/ 2147483647 w 122"/>
                    <a:gd name="T5" fmla="*/ 2147483647 h 84"/>
                    <a:gd name="T6" fmla="*/ 2147483647 w 122"/>
                    <a:gd name="T7" fmla="*/ 2147483647 h 84"/>
                    <a:gd name="T8" fmla="*/ 2147483647 w 122"/>
                    <a:gd name="T9" fmla="*/ 2147483647 h 84"/>
                    <a:gd name="T10" fmla="*/ 2147483647 w 122"/>
                    <a:gd name="T11" fmla="*/ 2147483647 h 84"/>
                    <a:gd name="T12" fmla="*/ 2147483647 w 122"/>
                    <a:gd name="T13" fmla="*/ 2147483647 h 84"/>
                    <a:gd name="T14" fmla="*/ 2147483647 w 122"/>
                    <a:gd name="T15" fmla="*/ 2147483647 h 84"/>
                    <a:gd name="T16" fmla="*/ 2147483647 w 122"/>
                    <a:gd name="T17" fmla="*/ 2147483647 h 84"/>
                    <a:gd name="T18" fmla="*/ 2147483647 w 122"/>
                    <a:gd name="T19" fmla="*/ 0 h 84"/>
                    <a:gd name="T20" fmla="*/ 2147483647 w 122"/>
                    <a:gd name="T21" fmla="*/ 2147483647 h 84"/>
                    <a:gd name="T22" fmla="*/ 2147483647 w 122"/>
                    <a:gd name="T23" fmla="*/ 2147483647 h 84"/>
                    <a:gd name="T24" fmla="*/ 2147483647 w 122"/>
                    <a:gd name="T25" fmla="*/ 2147483647 h 84"/>
                    <a:gd name="T26" fmla="*/ 2147483647 w 122"/>
                    <a:gd name="T27" fmla="*/ 2147483647 h 84"/>
                    <a:gd name="T28" fmla="*/ 0 w 122"/>
                    <a:gd name="T29" fmla="*/ 2147483647 h 84"/>
                    <a:gd name="T30" fmla="*/ 2147483647 w 122"/>
                    <a:gd name="T31" fmla="*/ 2147483647 h 84"/>
                    <a:gd name="T32" fmla="*/ 2147483647 w 122"/>
                    <a:gd name="T33" fmla="*/ 2147483647 h 84"/>
                    <a:gd name="T34" fmla="*/ 2147483647 w 122"/>
                    <a:gd name="T35" fmla="*/ 2147483647 h 84"/>
                    <a:gd name="T36" fmla="*/ 2147483647 w 122"/>
                    <a:gd name="T37" fmla="*/ 2147483647 h 84"/>
                    <a:gd name="T38" fmla="*/ 2147483647 w 122"/>
                    <a:gd name="T39" fmla="*/ 2147483647 h 84"/>
                    <a:gd name="T40" fmla="*/ 2147483647 w 122"/>
                    <a:gd name="T41" fmla="*/ 2147483647 h 84"/>
                    <a:gd name="T42" fmla="*/ 2147483647 w 122"/>
                    <a:gd name="T43" fmla="*/ 2147483647 h 84"/>
                    <a:gd name="T44" fmla="*/ 2147483647 w 122"/>
                    <a:gd name="T45" fmla="*/ 2147483647 h 84"/>
                    <a:gd name="T46" fmla="*/ 2147483647 w 122"/>
                    <a:gd name="T47" fmla="*/ 2147483647 h 84"/>
                    <a:gd name="T48" fmla="*/ 2147483647 w 122"/>
                    <a:gd name="T49" fmla="*/ 2147483647 h 84"/>
                    <a:gd name="T50" fmla="*/ 2147483647 w 122"/>
                    <a:gd name="T51" fmla="*/ 2147483647 h 84"/>
                    <a:gd name="T52" fmla="*/ 2147483647 w 122"/>
                    <a:gd name="T53" fmla="*/ 2147483647 h 84"/>
                    <a:gd name="T54" fmla="*/ 2147483647 w 122"/>
                    <a:gd name="T55" fmla="*/ 2147483647 h 84"/>
                    <a:gd name="T56" fmla="*/ 2147483647 w 122"/>
                    <a:gd name="T57" fmla="*/ 2147483647 h 84"/>
                    <a:gd name="T58" fmla="*/ 2147483647 w 122"/>
                    <a:gd name="T59" fmla="*/ 2147483647 h 84"/>
                    <a:gd name="T60" fmla="*/ 2147483647 w 122"/>
                    <a:gd name="T61" fmla="*/ 2147483647 h 84"/>
                    <a:gd name="T62" fmla="*/ 2147483647 w 122"/>
                    <a:gd name="T63" fmla="*/ 2147483647 h 84"/>
                    <a:gd name="T64" fmla="*/ 2147483647 w 122"/>
                    <a:gd name="T65" fmla="*/ 2147483647 h 84"/>
                    <a:gd name="T66" fmla="*/ 2147483647 w 122"/>
                    <a:gd name="T67" fmla="*/ 2147483647 h 84"/>
                    <a:gd name="T68" fmla="*/ 2147483647 w 122"/>
                    <a:gd name="T69" fmla="*/ 2147483647 h 84"/>
                    <a:gd name="T70" fmla="*/ 2147483647 w 122"/>
                    <a:gd name="T71" fmla="*/ 2147483647 h 84"/>
                    <a:gd name="T72" fmla="*/ 2147483647 w 122"/>
                    <a:gd name="T73" fmla="*/ 2147483647 h 84"/>
                    <a:gd name="T74" fmla="*/ 2147483647 w 122"/>
                    <a:gd name="T75" fmla="*/ 2147483647 h 84"/>
                    <a:gd name="T76" fmla="*/ 2147483647 w 122"/>
                    <a:gd name="T77" fmla="*/ 2147483647 h 84"/>
                    <a:gd name="T78" fmla="*/ 2147483647 w 122"/>
                    <a:gd name="T79" fmla="*/ 2147483647 h 84"/>
                    <a:gd name="T80" fmla="*/ 2147483647 w 122"/>
                    <a:gd name="T81" fmla="*/ 2147483647 h 84"/>
                    <a:gd name="T82" fmla="*/ 2147483647 w 122"/>
                    <a:gd name="T83" fmla="*/ 2147483647 h 84"/>
                    <a:gd name="T84" fmla="*/ 2147483647 w 122"/>
                    <a:gd name="T85" fmla="*/ 2147483647 h 84"/>
                    <a:gd name="T86" fmla="*/ 2147483647 w 122"/>
                    <a:gd name="T87" fmla="*/ 2147483647 h 84"/>
                    <a:gd name="T88" fmla="*/ 2147483647 w 122"/>
                    <a:gd name="T89" fmla="*/ 2147483647 h 84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22"/>
                    <a:gd name="T136" fmla="*/ 0 h 84"/>
                    <a:gd name="T137" fmla="*/ 122 w 122"/>
                    <a:gd name="T138" fmla="*/ 84 h 84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22" h="84">
                      <a:moveTo>
                        <a:pt x="69" y="26"/>
                      </a:moveTo>
                      <a:lnTo>
                        <a:pt x="69" y="26"/>
                      </a:lnTo>
                      <a:lnTo>
                        <a:pt x="65" y="25"/>
                      </a:lnTo>
                      <a:lnTo>
                        <a:pt x="62" y="26"/>
                      </a:lnTo>
                      <a:lnTo>
                        <a:pt x="60" y="27"/>
                      </a:lnTo>
                      <a:lnTo>
                        <a:pt x="56" y="26"/>
                      </a:lnTo>
                      <a:lnTo>
                        <a:pt x="53" y="25"/>
                      </a:lnTo>
                      <a:lnTo>
                        <a:pt x="52" y="22"/>
                      </a:lnTo>
                      <a:lnTo>
                        <a:pt x="48" y="18"/>
                      </a:lnTo>
                      <a:lnTo>
                        <a:pt x="47" y="18"/>
                      </a:lnTo>
                      <a:lnTo>
                        <a:pt x="46" y="18"/>
                      </a:lnTo>
                      <a:lnTo>
                        <a:pt x="42" y="20"/>
                      </a:lnTo>
                      <a:lnTo>
                        <a:pt x="41" y="21"/>
                      </a:lnTo>
                      <a:lnTo>
                        <a:pt x="38" y="22"/>
                      </a:lnTo>
                      <a:lnTo>
                        <a:pt x="35" y="21"/>
                      </a:lnTo>
                      <a:lnTo>
                        <a:pt x="34" y="19"/>
                      </a:lnTo>
                      <a:lnTo>
                        <a:pt x="34" y="16"/>
                      </a:lnTo>
                      <a:lnTo>
                        <a:pt x="35" y="14"/>
                      </a:lnTo>
                      <a:lnTo>
                        <a:pt x="38" y="10"/>
                      </a:lnTo>
                      <a:lnTo>
                        <a:pt x="39" y="9"/>
                      </a:lnTo>
                      <a:lnTo>
                        <a:pt x="38" y="7"/>
                      </a:lnTo>
                      <a:lnTo>
                        <a:pt x="35" y="3"/>
                      </a:lnTo>
                      <a:lnTo>
                        <a:pt x="33" y="1"/>
                      </a:lnTo>
                      <a:lnTo>
                        <a:pt x="30" y="0"/>
                      </a:lnTo>
                      <a:lnTo>
                        <a:pt x="29" y="0"/>
                      </a:lnTo>
                      <a:lnTo>
                        <a:pt x="27" y="1"/>
                      </a:lnTo>
                      <a:lnTo>
                        <a:pt x="25" y="2"/>
                      </a:lnTo>
                      <a:lnTo>
                        <a:pt x="20" y="13"/>
                      </a:lnTo>
                      <a:lnTo>
                        <a:pt x="16" y="24"/>
                      </a:lnTo>
                      <a:lnTo>
                        <a:pt x="14" y="34"/>
                      </a:lnTo>
                      <a:lnTo>
                        <a:pt x="11" y="45"/>
                      </a:lnTo>
                      <a:lnTo>
                        <a:pt x="9" y="51"/>
                      </a:lnTo>
                      <a:lnTo>
                        <a:pt x="5" y="56"/>
                      </a:lnTo>
                      <a:lnTo>
                        <a:pt x="1" y="60"/>
                      </a:lnTo>
                      <a:lnTo>
                        <a:pt x="0" y="65"/>
                      </a:lnTo>
                      <a:lnTo>
                        <a:pt x="0" y="66"/>
                      </a:lnTo>
                      <a:lnTo>
                        <a:pt x="1" y="67"/>
                      </a:lnTo>
                      <a:lnTo>
                        <a:pt x="5" y="69"/>
                      </a:lnTo>
                      <a:lnTo>
                        <a:pt x="6" y="70"/>
                      </a:lnTo>
                      <a:lnTo>
                        <a:pt x="14" y="69"/>
                      </a:lnTo>
                      <a:lnTo>
                        <a:pt x="18" y="67"/>
                      </a:lnTo>
                      <a:lnTo>
                        <a:pt x="22" y="69"/>
                      </a:lnTo>
                      <a:lnTo>
                        <a:pt x="23" y="71"/>
                      </a:lnTo>
                      <a:lnTo>
                        <a:pt x="22" y="72"/>
                      </a:lnTo>
                      <a:lnTo>
                        <a:pt x="20" y="73"/>
                      </a:lnTo>
                      <a:lnTo>
                        <a:pt x="20" y="76"/>
                      </a:lnTo>
                      <a:lnTo>
                        <a:pt x="23" y="77"/>
                      </a:lnTo>
                      <a:lnTo>
                        <a:pt x="23" y="79"/>
                      </a:lnTo>
                      <a:lnTo>
                        <a:pt x="24" y="82"/>
                      </a:lnTo>
                      <a:lnTo>
                        <a:pt x="25" y="84"/>
                      </a:lnTo>
                      <a:lnTo>
                        <a:pt x="28" y="83"/>
                      </a:lnTo>
                      <a:lnTo>
                        <a:pt x="30" y="83"/>
                      </a:lnTo>
                      <a:lnTo>
                        <a:pt x="32" y="83"/>
                      </a:lnTo>
                      <a:lnTo>
                        <a:pt x="33" y="84"/>
                      </a:lnTo>
                      <a:lnTo>
                        <a:pt x="34" y="84"/>
                      </a:lnTo>
                      <a:lnTo>
                        <a:pt x="39" y="80"/>
                      </a:lnTo>
                      <a:lnTo>
                        <a:pt x="47" y="78"/>
                      </a:lnTo>
                      <a:lnTo>
                        <a:pt x="49" y="77"/>
                      </a:lnTo>
                      <a:lnTo>
                        <a:pt x="52" y="75"/>
                      </a:lnTo>
                      <a:lnTo>
                        <a:pt x="55" y="72"/>
                      </a:lnTo>
                      <a:lnTo>
                        <a:pt x="56" y="69"/>
                      </a:lnTo>
                      <a:lnTo>
                        <a:pt x="57" y="54"/>
                      </a:lnTo>
                      <a:lnTo>
                        <a:pt x="60" y="52"/>
                      </a:lnTo>
                      <a:lnTo>
                        <a:pt x="62" y="51"/>
                      </a:lnTo>
                      <a:lnTo>
                        <a:pt x="66" y="50"/>
                      </a:lnTo>
                      <a:lnTo>
                        <a:pt x="70" y="50"/>
                      </a:lnTo>
                      <a:lnTo>
                        <a:pt x="72" y="51"/>
                      </a:lnTo>
                      <a:lnTo>
                        <a:pt x="74" y="53"/>
                      </a:lnTo>
                      <a:lnTo>
                        <a:pt x="76" y="58"/>
                      </a:lnTo>
                      <a:lnTo>
                        <a:pt x="79" y="63"/>
                      </a:lnTo>
                      <a:lnTo>
                        <a:pt x="81" y="67"/>
                      </a:lnTo>
                      <a:lnTo>
                        <a:pt x="82" y="69"/>
                      </a:lnTo>
                      <a:lnTo>
                        <a:pt x="84" y="70"/>
                      </a:lnTo>
                      <a:lnTo>
                        <a:pt x="86" y="69"/>
                      </a:lnTo>
                      <a:lnTo>
                        <a:pt x="89" y="70"/>
                      </a:lnTo>
                      <a:lnTo>
                        <a:pt x="94" y="72"/>
                      </a:lnTo>
                      <a:lnTo>
                        <a:pt x="96" y="73"/>
                      </a:lnTo>
                      <a:lnTo>
                        <a:pt x="100" y="75"/>
                      </a:lnTo>
                      <a:lnTo>
                        <a:pt x="102" y="76"/>
                      </a:lnTo>
                      <a:lnTo>
                        <a:pt x="103" y="76"/>
                      </a:lnTo>
                      <a:lnTo>
                        <a:pt x="104" y="75"/>
                      </a:lnTo>
                      <a:lnTo>
                        <a:pt x="113" y="70"/>
                      </a:lnTo>
                      <a:lnTo>
                        <a:pt x="121" y="64"/>
                      </a:lnTo>
                      <a:lnTo>
                        <a:pt x="122" y="63"/>
                      </a:lnTo>
                      <a:lnTo>
                        <a:pt x="122" y="61"/>
                      </a:lnTo>
                      <a:lnTo>
                        <a:pt x="112" y="54"/>
                      </a:lnTo>
                      <a:lnTo>
                        <a:pt x="105" y="52"/>
                      </a:lnTo>
                      <a:lnTo>
                        <a:pt x="103" y="52"/>
                      </a:lnTo>
                      <a:lnTo>
                        <a:pt x="100" y="53"/>
                      </a:lnTo>
                      <a:lnTo>
                        <a:pt x="98" y="54"/>
                      </a:lnTo>
                      <a:lnTo>
                        <a:pt x="96" y="56"/>
                      </a:lnTo>
                      <a:lnTo>
                        <a:pt x="95" y="56"/>
                      </a:lnTo>
                      <a:lnTo>
                        <a:pt x="93" y="52"/>
                      </a:lnTo>
                      <a:lnTo>
                        <a:pt x="91" y="48"/>
                      </a:lnTo>
                      <a:lnTo>
                        <a:pt x="91" y="45"/>
                      </a:lnTo>
                      <a:lnTo>
                        <a:pt x="95" y="42"/>
                      </a:lnTo>
                      <a:lnTo>
                        <a:pt x="95" y="41"/>
                      </a:lnTo>
                      <a:lnTo>
                        <a:pt x="95" y="40"/>
                      </a:lnTo>
                      <a:lnTo>
                        <a:pt x="93" y="39"/>
                      </a:lnTo>
                      <a:lnTo>
                        <a:pt x="89" y="38"/>
                      </a:lnTo>
                      <a:lnTo>
                        <a:pt x="86" y="37"/>
                      </a:lnTo>
                      <a:lnTo>
                        <a:pt x="77" y="31"/>
                      </a:lnTo>
                      <a:lnTo>
                        <a:pt x="69" y="2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3" name="Freeform 987">
                  <a:extLst>
                    <a:ext uri="{FF2B5EF4-FFF2-40B4-BE49-F238E27FC236}">
                      <a16:creationId xmlns:a16="http://schemas.microsoft.com/office/drawing/2014/main" id="{EED48C94-E22C-9341-96AB-D5FD2C3941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8807" y="2963865"/>
                  <a:ext cx="29597" cy="19238"/>
                </a:xfrm>
                <a:custGeom>
                  <a:avLst/>
                  <a:gdLst>
                    <a:gd name="T0" fmla="*/ 2147483647 w 22"/>
                    <a:gd name="T1" fmla="*/ 2147483647 h 13"/>
                    <a:gd name="T2" fmla="*/ 2147483647 w 22"/>
                    <a:gd name="T3" fmla="*/ 2147483647 h 13"/>
                    <a:gd name="T4" fmla="*/ 2147483647 w 22"/>
                    <a:gd name="T5" fmla="*/ 2147483647 h 13"/>
                    <a:gd name="T6" fmla="*/ 2147483647 w 22"/>
                    <a:gd name="T7" fmla="*/ 2147483647 h 13"/>
                    <a:gd name="T8" fmla="*/ 2147483647 w 22"/>
                    <a:gd name="T9" fmla="*/ 2147483647 h 13"/>
                    <a:gd name="T10" fmla="*/ 2147483647 w 22"/>
                    <a:gd name="T11" fmla="*/ 2147483647 h 13"/>
                    <a:gd name="T12" fmla="*/ 2147483647 w 22"/>
                    <a:gd name="T13" fmla="*/ 0 h 13"/>
                    <a:gd name="T14" fmla="*/ 2147483647 w 22"/>
                    <a:gd name="T15" fmla="*/ 0 h 13"/>
                    <a:gd name="T16" fmla="*/ 2147483647 w 22"/>
                    <a:gd name="T17" fmla="*/ 2147483647 h 13"/>
                    <a:gd name="T18" fmla="*/ 0 w 22"/>
                    <a:gd name="T19" fmla="*/ 2147483647 h 13"/>
                    <a:gd name="T20" fmla="*/ 0 w 22"/>
                    <a:gd name="T21" fmla="*/ 2147483647 h 13"/>
                    <a:gd name="T22" fmla="*/ 2147483647 w 22"/>
                    <a:gd name="T23" fmla="*/ 2147483647 h 13"/>
                    <a:gd name="T24" fmla="*/ 2147483647 w 22"/>
                    <a:gd name="T25" fmla="*/ 2147483647 h 13"/>
                    <a:gd name="T26" fmla="*/ 2147483647 w 22"/>
                    <a:gd name="T27" fmla="*/ 2147483647 h 13"/>
                    <a:gd name="T28" fmla="*/ 2147483647 w 22"/>
                    <a:gd name="T29" fmla="*/ 2147483647 h 13"/>
                    <a:gd name="T30" fmla="*/ 2147483647 w 22"/>
                    <a:gd name="T31" fmla="*/ 2147483647 h 13"/>
                    <a:gd name="T32" fmla="*/ 2147483647 w 22"/>
                    <a:gd name="T33" fmla="*/ 2147483647 h 13"/>
                    <a:gd name="T34" fmla="*/ 2147483647 w 22"/>
                    <a:gd name="T35" fmla="*/ 2147483647 h 13"/>
                    <a:gd name="T36" fmla="*/ 2147483647 w 22"/>
                    <a:gd name="T37" fmla="*/ 2147483647 h 13"/>
                    <a:gd name="T38" fmla="*/ 2147483647 w 22"/>
                    <a:gd name="T39" fmla="*/ 2147483647 h 13"/>
                    <a:gd name="T40" fmla="*/ 2147483647 w 22"/>
                    <a:gd name="T41" fmla="*/ 2147483647 h 13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2"/>
                    <a:gd name="T64" fmla="*/ 0 h 13"/>
                    <a:gd name="T65" fmla="*/ 22 w 22"/>
                    <a:gd name="T66" fmla="*/ 13 h 13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2" h="13">
                      <a:moveTo>
                        <a:pt x="21" y="7"/>
                      </a:moveTo>
                      <a:lnTo>
                        <a:pt x="20" y="6"/>
                      </a:lnTo>
                      <a:lnTo>
                        <a:pt x="20" y="4"/>
                      </a:lnTo>
                      <a:lnTo>
                        <a:pt x="20" y="3"/>
                      </a:lnTo>
                      <a:lnTo>
                        <a:pt x="19" y="2"/>
                      </a:lnTo>
                      <a:lnTo>
                        <a:pt x="11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10" y="9"/>
                      </a:lnTo>
                      <a:lnTo>
                        <a:pt x="14" y="9"/>
                      </a:lnTo>
                      <a:lnTo>
                        <a:pt x="17" y="11"/>
                      </a:lnTo>
                      <a:lnTo>
                        <a:pt x="20" y="13"/>
                      </a:lnTo>
                      <a:lnTo>
                        <a:pt x="21" y="11"/>
                      </a:lnTo>
                      <a:lnTo>
                        <a:pt x="22" y="10"/>
                      </a:lnTo>
                      <a:lnTo>
                        <a:pt x="22" y="9"/>
                      </a:lnTo>
                      <a:lnTo>
                        <a:pt x="22" y="8"/>
                      </a:lnTo>
                      <a:lnTo>
                        <a:pt x="21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988">
                  <a:extLst>
                    <a:ext uri="{FF2B5EF4-FFF2-40B4-BE49-F238E27FC236}">
                      <a16:creationId xmlns:a16="http://schemas.microsoft.com/office/drawing/2014/main" id="{DD7EAA4E-FDD5-E04B-B178-B8721C2DE7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252" y="3185846"/>
                  <a:ext cx="4439" cy="16278"/>
                </a:xfrm>
                <a:custGeom>
                  <a:avLst/>
                  <a:gdLst>
                    <a:gd name="T0" fmla="*/ 2147483647 w 3"/>
                    <a:gd name="T1" fmla="*/ 0 h 11"/>
                    <a:gd name="T2" fmla="*/ 0 w 3"/>
                    <a:gd name="T3" fmla="*/ 2147483647 h 11"/>
                    <a:gd name="T4" fmla="*/ 0 w 3"/>
                    <a:gd name="T5" fmla="*/ 2147483647 h 11"/>
                    <a:gd name="T6" fmla="*/ 0 w 3"/>
                    <a:gd name="T7" fmla="*/ 2147483647 h 11"/>
                    <a:gd name="T8" fmla="*/ 2147483647 w 3"/>
                    <a:gd name="T9" fmla="*/ 2147483647 h 11"/>
                    <a:gd name="T10" fmla="*/ 2147483647 w 3"/>
                    <a:gd name="T11" fmla="*/ 2147483647 h 11"/>
                    <a:gd name="T12" fmla="*/ 2147483647 w 3"/>
                    <a:gd name="T13" fmla="*/ 0 h 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"/>
                    <a:gd name="T22" fmla="*/ 0 h 11"/>
                    <a:gd name="T23" fmla="*/ 3 w 3"/>
                    <a:gd name="T24" fmla="*/ 11 h 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" h="11">
                      <a:moveTo>
                        <a:pt x="3" y="0"/>
                      </a:move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3" y="1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5" name="Freeform 989">
                  <a:extLst>
                    <a:ext uri="{FF2B5EF4-FFF2-40B4-BE49-F238E27FC236}">
                      <a16:creationId xmlns:a16="http://schemas.microsoft.com/office/drawing/2014/main" id="{A0A64DE3-892E-1A4D-AF48-FE01EA70E5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5850" y="2960908"/>
                  <a:ext cx="31077" cy="19238"/>
                </a:xfrm>
                <a:custGeom>
                  <a:avLst/>
                  <a:gdLst>
                    <a:gd name="T0" fmla="*/ 2147483647 w 23"/>
                    <a:gd name="T1" fmla="*/ 2147483647 h 13"/>
                    <a:gd name="T2" fmla="*/ 2147483647 w 23"/>
                    <a:gd name="T3" fmla="*/ 2147483647 h 13"/>
                    <a:gd name="T4" fmla="*/ 2147483647 w 23"/>
                    <a:gd name="T5" fmla="*/ 2147483647 h 13"/>
                    <a:gd name="T6" fmla="*/ 2147483647 w 23"/>
                    <a:gd name="T7" fmla="*/ 2147483647 h 13"/>
                    <a:gd name="T8" fmla="*/ 2147483647 w 23"/>
                    <a:gd name="T9" fmla="*/ 2147483647 h 13"/>
                    <a:gd name="T10" fmla="*/ 2147483647 w 23"/>
                    <a:gd name="T11" fmla="*/ 2147483647 h 13"/>
                    <a:gd name="T12" fmla="*/ 2147483647 w 23"/>
                    <a:gd name="T13" fmla="*/ 2147483647 h 13"/>
                    <a:gd name="T14" fmla="*/ 2147483647 w 23"/>
                    <a:gd name="T15" fmla="*/ 2147483647 h 13"/>
                    <a:gd name="T16" fmla="*/ 2147483647 w 23"/>
                    <a:gd name="T17" fmla="*/ 0 h 13"/>
                    <a:gd name="T18" fmla="*/ 2147483647 w 23"/>
                    <a:gd name="T19" fmla="*/ 0 h 13"/>
                    <a:gd name="T20" fmla="*/ 2147483647 w 23"/>
                    <a:gd name="T21" fmla="*/ 0 h 13"/>
                    <a:gd name="T22" fmla="*/ 2147483647 w 23"/>
                    <a:gd name="T23" fmla="*/ 2147483647 h 13"/>
                    <a:gd name="T24" fmla="*/ 0 w 23"/>
                    <a:gd name="T25" fmla="*/ 2147483647 h 13"/>
                    <a:gd name="T26" fmla="*/ 0 w 23"/>
                    <a:gd name="T27" fmla="*/ 2147483647 h 13"/>
                    <a:gd name="T28" fmla="*/ 0 w 23"/>
                    <a:gd name="T29" fmla="*/ 2147483647 h 13"/>
                    <a:gd name="T30" fmla="*/ 2147483647 w 23"/>
                    <a:gd name="T31" fmla="*/ 2147483647 h 13"/>
                    <a:gd name="T32" fmla="*/ 2147483647 w 23"/>
                    <a:gd name="T33" fmla="*/ 2147483647 h 13"/>
                    <a:gd name="T34" fmla="*/ 2147483647 w 23"/>
                    <a:gd name="T35" fmla="*/ 2147483647 h 13"/>
                    <a:gd name="T36" fmla="*/ 2147483647 w 23"/>
                    <a:gd name="T37" fmla="*/ 2147483647 h 13"/>
                    <a:gd name="T38" fmla="*/ 2147483647 w 23"/>
                    <a:gd name="T39" fmla="*/ 2147483647 h 13"/>
                    <a:gd name="T40" fmla="*/ 2147483647 w 23"/>
                    <a:gd name="T41" fmla="*/ 2147483647 h 13"/>
                    <a:gd name="T42" fmla="*/ 2147483647 w 23"/>
                    <a:gd name="T43" fmla="*/ 2147483647 h 13"/>
                    <a:gd name="T44" fmla="*/ 2147483647 w 23"/>
                    <a:gd name="T45" fmla="*/ 2147483647 h 13"/>
                    <a:gd name="T46" fmla="*/ 2147483647 w 23"/>
                    <a:gd name="T47" fmla="*/ 2147483647 h 13"/>
                    <a:gd name="T48" fmla="*/ 2147483647 w 23"/>
                    <a:gd name="T49" fmla="*/ 2147483647 h 13"/>
                    <a:gd name="T50" fmla="*/ 2147483647 w 23"/>
                    <a:gd name="T51" fmla="*/ 2147483647 h 13"/>
                    <a:gd name="T52" fmla="*/ 2147483647 w 23"/>
                    <a:gd name="T53" fmla="*/ 2147483647 h 13"/>
                    <a:gd name="T54" fmla="*/ 2147483647 w 23"/>
                    <a:gd name="T55" fmla="*/ 2147483647 h 13"/>
                    <a:gd name="T56" fmla="*/ 2147483647 w 23"/>
                    <a:gd name="T57" fmla="*/ 2147483647 h 1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3"/>
                    <a:gd name="T88" fmla="*/ 0 h 13"/>
                    <a:gd name="T89" fmla="*/ 23 w 23"/>
                    <a:gd name="T90" fmla="*/ 13 h 1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3" h="13">
                      <a:moveTo>
                        <a:pt x="22" y="8"/>
                      </a:moveTo>
                      <a:lnTo>
                        <a:pt x="22" y="8"/>
                      </a:lnTo>
                      <a:lnTo>
                        <a:pt x="21" y="6"/>
                      </a:lnTo>
                      <a:lnTo>
                        <a:pt x="21" y="5"/>
                      </a:lnTo>
                      <a:lnTo>
                        <a:pt x="21" y="4"/>
                      </a:lnTo>
                      <a:lnTo>
                        <a:pt x="19" y="3"/>
                      </a:lnTo>
                      <a:lnTo>
                        <a:pt x="12" y="2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3" y="10"/>
                      </a:lnTo>
                      <a:lnTo>
                        <a:pt x="11" y="10"/>
                      </a:lnTo>
                      <a:lnTo>
                        <a:pt x="14" y="10"/>
                      </a:lnTo>
                      <a:lnTo>
                        <a:pt x="18" y="12"/>
                      </a:lnTo>
                      <a:lnTo>
                        <a:pt x="21" y="13"/>
                      </a:lnTo>
                      <a:lnTo>
                        <a:pt x="22" y="12"/>
                      </a:lnTo>
                      <a:lnTo>
                        <a:pt x="23" y="11"/>
                      </a:lnTo>
                      <a:lnTo>
                        <a:pt x="23" y="10"/>
                      </a:lnTo>
                      <a:lnTo>
                        <a:pt x="23" y="9"/>
                      </a:lnTo>
                      <a:lnTo>
                        <a:pt x="22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6" name="Freeform 990">
                  <a:extLst>
                    <a:ext uri="{FF2B5EF4-FFF2-40B4-BE49-F238E27FC236}">
                      <a16:creationId xmlns:a16="http://schemas.microsoft.com/office/drawing/2014/main" id="{61A8F836-8DA1-784B-B8C3-71313939CB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5772" y="3184369"/>
                  <a:ext cx="4440" cy="16279"/>
                </a:xfrm>
                <a:custGeom>
                  <a:avLst/>
                  <a:gdLst>
                    <a:gd name="T0" fmla="*/ 2147483647 w 3"/>
                    <a:gd name="T1" fmla="*/ 0 h 11"/>
                    <a:gd name="T2" fmla="*/ 2147483647 w 3"/>
                    <a:gd name="T3" fmla="*/ 0 h 11"/>
                    <a:gd name="T4" fmla="*/ 0 w 3"/>
                    <a:gd name="T5" fmla="*/ 2147483647 h 11"/>
                    <a:gd name="T6" fmla="*/ 0 w 3"/>
                    <a:gd name="T7" fmla="*/ 2147483647 h 11"/>
                    <a:gd name="T8" fmla="*/ 0 w 3"/>
                    <a:gd name="T9" fmla="*/ 2147483647 h 11"/>
                    <a:gd name="T10" fmla="*/ 0 w 3"/>
                    <a:gd name="T11" fmla="*/ 2147483647 h 11"/>
                    <a:gd name="T12" fmla="*/ 2147483647 w 3"/>
                    <a:gd name="T13" fmla="*/ 2147483647 h 11"/>
                    <a:gd name="T14" fmla="*/ 2147483647 w 3"/>
                    <a:gd name="T15" fmla="*/ 2147483647 h 1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"/>
                    <a:gd name="T25" fmla="*/ 0 h 11"/>
                    <a:gd name="T26" fmla="*/ 3 w 3"/>
                    <a:gd name="T27" fmla="*/ 11 h 11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" h="11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9"/>
                      </a:lnTo>
                      <a:lnTo>
                        <a:pt x="3" y="11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991">
                  <a:extLst>
                    <a:ext uri="{FF2B5EF4-FFF2-40B4-BE49-F238E27FC236}">
                      <a16:creationId xmlns:a16="http://schemas.microsoft.com/office/drawing/2014/main" id="{8FBE089C-1857-3D4C-B8EB-622CF37DB2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6892" y="3083738"/>
                  <a:ext cx="71034" cy="44396"/>
                </a:xfrm>
                <a:custGeom>
                  <a:avLst/>
                  <a:gdLst>
                    <a:gd name="T0" fmla="*/ 2147483647 w 52"/>
                    <a:gd name="T1" fmla="*/ 2147483647 h 30"/>
                    <a:gd name="T2" fmla="*/ 2147483647 w 52"/>
                    <a:gd name="T3" fmla="*/ 2147483647 h 30"/>
                    <a:gd name="T4" fmla="*/ 2147483647 w 52"/>
                    <a:gd name="T5" fmla="*/ 2147483647 h 30"/>
                    <a:gd name="T6" fmla="*/ 0 w 52"/>
                    <a:gd name="T7" fmla="*/ 2147483647 h 30"/>
                    <a:gd name="T8" fmla="*/ 2147483647 w 52"/>
                    <a:gd name="T9" fmla="*/ 2147483647 h 30"/>
                    <a:gd name="T10" fmla="*/ 2147483647 w 52"/>
                    <a:gd name="T11" fmla="*/ 0 h 30"/>
                    <a:gd name="T12" fmla="*/ 2147483647 w 52"/>
                    <a:gd name="T13" fmla="*/ 2147483647 h 30"/>
                    <a:gd name="T14" fmla="*/ 2147483647 w 52"/>
                    <a:gd name="T15" fmla="*/ 2147483647 h 30"/>
                    <a:gd name="T16" fmla="*/ 2147483647 w 52"/>
                    <a:gd name="T17" fmla="*/ 2147483647 h 30"/>
                    <a:gd name="T18" fmla="*/ 2147483647 w 52"/>
                    <a:gd name="T19" fmla="*/ 2147483647 h 30"/>
                    <a:gd name="T20" fmla="*/ 2147483647 w 52"/>
                    <a:gd name="T21" fmla="*/ 2147483647 h 30"/>
                    <a:gd name="T22" fmla="*/ 2147483647 w 52"/>
                    <a:gd name="T23" fmla="*/ 2147483647 h 30"/>
                    <a:gd name="T24" fmla="*/ 2147483647 w 52"/>
                    <a:gd name="T25" fmla="*/ 2147483647 h 30"/>
                    <a:gd name="T26" fmla="*/ 2147483647 w 52"/>
                    <a:gd name="T27" fmla="*/ 2147483647 h 30"/>
                    <a:gd name="T28" fmla="*/ 2147483647 w 52"/>
                    <a:gd name="T29" fmla="*/ 2147483647 h 30"/>
                    <a:gd name="T30" fmla="*/ 2147483647 w 52"/>
                    <a:gd name="T31" fmla="*/ 2147483647 h 30"/>
                    <a:gd name="T32" fmla="*/ 2147483647 w 52"/>
                    <a:gd name="T33" fmla="*/ 2147483647 h 30"/>
                    <a:gd name="T34" fmla="*/ 2147483647 w 52"/>
                    <a:gd name="T35" fmla="*/ 2147483647 h 30"/>
                    <a:gd name="T36" fmla="*/ 2147483647 w 52"/>
                    <a:gd name="T37" fmla="*/ 2147483647 h 30"/>
                    <a:gd name="T38" fmla="*/ 2147483647 w 52"/>
                    <a:gd name="T39" fmla="*/ 2147483647 h 30"/>
                    <a:gd name="T40" fmla="*/ 2147483647 w 52"/>
                    <a:gd name="T41" fmla="*/ 2147483647 h 30"/>
                    <a:gd name="T42" fmla="*/ 2147483647 w 52"/>
                    <a:gd name="T43" fmla="*/ 2147483647 h 30"/>
                    <a:gd name="T44" fmla="*/ 2147483647 w 52"/>
                    <a:gd name="T45" fmla="*/ 2147483647 h 30"/>
                    <a:gd name="T46" fmla="*/ 2147483647 w 52"/>
                    <a:gd name="T47" fmla="*/ 2147483647 h 30"/>
                    <a:gd name="T48" fmla="*/ 2147483647 w 52"/>
                    <a:gd name="T49" fmla="*/ 2147483647 h 30"/>
                    <a:gd name="T50" fmla="*/ 2147483647 w 52"/>
                    <a:gd name="T51" fmla="*/ 2147483647 h 30"/>
                    <a:gd name="T52" fmla="*/ 2147483647 w 52"/>
                    <a:gd name="T53" fmla="*/ 2147483647 h 30"/>
                    <a:gd name="T54" fmla="*/ 2147483647 w 52"/>
                    <a:gd name="T55" fmla="*/ 2147483647 h 3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52"/>
                    <a:gd name="T85" fmla="*/ 0 h 30"/>
                    <a:gd name="T86" fmla="*/ 52 w 52"/>
                    <a:gd name="T87" fmla="*/ 30 h 3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52" h="30">
                      <a:moveTo>
                        <a:pt x="9" y="9"/>
                      </a:moveTo>
                      <a:lnTo>
                        <a:pt x="7" y="6"/>
                      </a:lnTo>
                      <a:lnTo>
                        <a:pt x="5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12" y="3"/>
                      </a:lnTo>
                      <a:lnTo>
                        <a:pt x="15" y="3"/>
                      </a:lnTo>
                      <a:lnTo>
                        <a:pt x="21" y="2"/>
                      </a:lnTo>
                      <a:lnTo>
                        <a:pt x="25" y="2"/>
                      </a:lnTo>
                      <a:lnTo>
                        <a:pt x="26" y="3"/>
                      </a:lnTo>
                      <a:lnTo>
                        <a:pt x="31" y="5"/>
                      </a:lnTo>
                      <a:lnTo>
                        <a:pt x="38" y="12"/>
                      </a:lnTo>
                      <a:lnTo>
                        <a:pt x="47" y="19"/>
                      </a:lnTo>
                      <a:lnTo>
                        <a:pt x="50" y="24"/>
                      </a:lnTo>
                      <a:lnTo>
                        <a:pt x="52" y="29"/>
                      </a:lnTo>
                      <a:lnTo>
                        <a:pt x="50" y="29"/>
                      </a:lnTo>
                      <a:lnTo>
                        <a:pt x="49" y="30"/>
                      </a:lnTo>
                      <a:lnTo>
                        <a:pt x="37" y="25"/>
                      </a:lnTo>
                      <a:lnTo>
                        <a:pt x="30" y="24"/>
                      </a:lnTo>
                      <a:lnTo>
                        <a:pt x="24" y="24"/>
                      </a:lnTo>
                      <a:lnTo>
                        <a:pt x="20" y="23"/>
                      </a:lnTo>
                      <a:lnTo>
                        <a:pt x="19" y="22"/>
                      </a:lnTo>
                      <a:lnTo>
                        <a:pt x="17" y="21"/>
                      </a:lnTo>
                      <a:lnTo>
                        <a:pt x="16" y="16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8" name="Freeform 992">
                  <a:extLst>
                    <a:ext uri="{FF2B5EF4-FFF2-40B4-BE49-F238E27FC236}">
                      <a16:creationId xmlns:a16="http://schemas.microsoft.com/office/drawing/2014/main" id="{E8817C8A-8D59-4F40-8E13-E1DD46D702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50" y="3224326"/>
                  <a:ext cx="22198" cy="13319"/>
                </a:xfrm>
                <a:custGeom>
                  <a:avLst/>
                  <a:gdLst>
                    <a:gd name="T0" fmla="*/ 2147483647 w 16"/>
                    <a:gd name="T1" fmla="*/ 2147483647 h 9"/>
                    <a:gd name="T2" fmla="*/ 2147483647 w 16"/>
                    <a:gd name="T3" fmla="*/ 2147483647 h 9"/>
                    <a:gd name="T4" fmla="*/ 2147483647 w 16"/>
                    <a:gd name="T5" fmla="*/ 2147483647 h 9"/>
                    <a:gd name="T6" fmla="*/ 2147483647 w 16"/>
                    <a:gd name="T7" fmla="*/ 2147483647 h 9"/>
                    <a:gd name="T8" fmla="*/ 2147483647 w 16"/>
                    <a:gd name="T9" fmla="*/ 2147483647 h 9"/>
                    <a:gd name="T10" fmla="*/ 2147483647 w 16"/>
                    <a:gd name="T11" fmla="*/ 2147483647 h 9"/>
                    <a:gd name="T12" fmla="*/ 2147483647 w 16"/>
                    <a:gd name="T13" fmla="*/ 2147483647 h 9"/>
                    <a:gd name="T14" fmla="*/ 0 w 16"/>
                    <a:gd name="T15" fmla="*/ 2147483647 h 9"/>
                    <a:gd name="T16" fmla="*/ 0 w 16"/>
                    <a:gd name="T17" fmla="*/ 2147483647 h 9"/>
                    <a:gd name="T18" fmla="*/ 0 w 16"/>
                    <a:gd name="T19" fmla="*/ 0 h 9"/>
                    <a:gd name="T20" fmla="*/ 2147483647 w 16"/>
                    <a:gd name="T21" fmla="*/ 2147483647 h 9"/>
                    <a:gd name="T22" fmla="*/ 2147483647 w 16"/>
                    <a:gd name="T23" fmla="*/ 2147483647 h 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"/>
                    <a:gd name="T37" fmla="*/ 0 h 9"/>
                    <a:gd name="T38" fmla="*/ 16 w 16"/>
                    <a:gd name="T39" fmla="*/ 9 h 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" h="9">
                      <a:moveTo>
                        <a:pt x="11" y="3"/>
                      </a:move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6" y="7"/>
                      </a:lnTo>
                      <a:lnTo>
                        <a:pt x="13" y="9"/>
                      </a:lnTo>
                      <a:lnTo>
                        <a:pt x="11" y="9"/>
                      </a:lnTo>
                      <a:lnTo>
                        <a:pt x="5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6" y="1"/>
                      </a:lnTo>
                      <a:lnTo>
                        <a:pt x="1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9" name="Freeform 993">
                  <a:extLst>
                    <a:ext uri="{FF2B5EF4-FFF2-40B4-BE49-F238E27FC236}">
                      <a16:creationId xmlns:a16="http://schemas.microsoft.com/office/drawing/2014/main" id="{E2C58E75-E3E2-CB42-B3DA-13F8C1632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5412" y="3082259"/>
                  <a:ext cx="71034" cy="44396"/>
                </a:xfrm>
                <a:custGeom>
                  <a:avLst/>
                  <a:gdLst>
                    <a:gd name="T0" fmla="*/ 2147483647 w 52"/>
                    <a:gd name="T1" fmla="*/ 2147483647 h 30"/>
                    <a:gd name="T2" fmla="*/ 2147483647 w 52"/>
                    <a:gd name="T3" fmla="*/ 2147483647 h 30"/>
                    <a:gd name="T4" fmla="*/ 2147483647 w 52"/>
                    <a:gd name="T5" fmla="*/ 2147483647 h 30"/>
                    <a:gd name="T6" fmla="*/ 2147483647 w 52"/>
                    <a:gd name="T7" fmla="*/ 2147483647 h 30"/>
                    <a:gd name="T8" fmla="*/ 0 w 52"/>
                    <a:gd name="T9" fmla="*/ 2147483647 h 30"/>
                    <a:gd name="T10" fmla="*/ 0 w 52"/>
                    <a:gd name="T11" fmla="*/ 2147483647 h 30"/>
                    <a:gd name="T12" fmla="*/ 2147483647 w 52"/>
                    <a:gd name="T13" fmla="*/ 2147483647 h 30"/>
                    <a:gd name="T14" fmla="*/ 2147483647 w 52"/>
                    <a:gd name="T15" fmla="*/ 0 h 30"/>
                    <a:gd name="T16" fmla="*/ 2147483647 w 52"/>
                    <a:gd name="T17" fmla="*/ 0 h 30"/>
                    <a:gd name="T18" fmla="*/ 2147483647 w 52"/>
                    <a:gd name="T19" fmla="*/ 2147483647 h 30"/>
                    <a:gd name="T20" fmla="*/ 2147483647 w 52"/>
                    <a:gd name="T21" fmla="*/ 2147483647 h 30"/>
                    <a:gd name="T22" fmla="*/ 2147483647 w 52"/>
                    <a:gd name="T23" fmla="*/ 2147483647 h 30"/>
                    <a:gd name="T24" fmla="*/ 2147483647 w 52"/>
                    <a:gd name="T25" fmla="*/ 2147483647 h 30"/>
                    <a:gd name="T26" fmla="*/ 2147483647 w 52"/>
                    <a:gd name="T27" fmla="*/ 2147483647 h 30"/>
                    <a:gd name="T28" fmla="*/ 2147483647 w 52"/>
                    <a:gd name="T29" fmla="*/ 2147483647 h 30"/>
                    <a:gd name="T30" fmla="*/ 2147483647 w 52"/>
                    <a:gd name="T31" fmla="*/ 2147483647 h 30"/>
                    <a:gd name="T32" fmla="*/ 2147483647 w 52"/>
                    <a:gd name="T33" fmla="*/ 2147483647 h 30"/>
                    <a:gd name="T34" fmla="*/ 2147483647 w 52"/>
                    <a:gd name="T35" fmla="*/ 2147483647 h 30"/>
                    <a:gd name="T36" fmla="*/ 2147483647 w 52"/>
                    <a:gd name="T37" fmla="*/ 2147483647 h 30"/>
                    <a:gd name="T38" fmla="*/ 2147483647 w 52"/>
                    <a:gd name="T39" fmla="*/ 2147483647 h 30"/>
                    <a:gd name="T40" fmla="*/ 2147483647 w 52"/>
                    <a:gd name="T41" fmla="*/ 2147483647 h 30"/>
                    <a:gd name="T42" fmla="*/ 2147483647 w 52"/>
                    <a:gd name="T43" fmla="*/ 2147483647 h 30"/>
                    <a:gd name="T44" fmla="*/ 2147483647 w 52"/>
                    <a:gd name="T45" fmla="*/ 2147483647 h 30"/>
                    <a:gd name="T46" fmla="*/ 2147483647 w 52"/>
                    <a:gd name="T47" fmla="*/ 2147483647 h 30"/>
                    <a:gd name="T48" fmla="*/ 2147483647 w 52"/>
                    <a:gd name="T49" fmla="*/ 2147483647 h 30"/>
                    <a:gd name="T50" fmla="*/ 2147483647 w 52"/>
                    <a:gd name="T51" fmla="*/ 2147483647 h 30"/>
                    <a:gd name="T52" fmla="*/ 2147483647 w 52"/>
                    <a:gd name="T53" fmla="*/ 2147483647 h 30"/>
                    <a:gd name="T54" fmla="*/ 2147483647 w 52"/>
                    <a:gd name="T55" fmla="*/ 2147483647 h 30"/>
                    <a:gd name="T56" fmla="*/ 2147483647 w 52"/>
                    <a:gd name="T57" fmla="*/ 2147483647 h 30"/>
                    <a:gd name="T58" fmla="*/ 2147483647 w 52"/>
                    <a:gd name="T59" fmla="*/ 2147483647 h 30"/>
                    <a:gd name="T60" fmla="*/ 2147483647 w 52"/>
                    <a:gd name="T61" fmla="*/ 2147483647 h 30"/>
                    <a:gd name="T62" fmla="*/ 2147483647 w 52"/>
                    <a:gd name="T63" fmla="*/ 2147483647 h 30"/>
                    <a:gd name="T64" fmla="*/ 2147483647 w 52"/>
                    <a:gd name="T65" fmla="*/ 2147483647 h 30"/>
                    <a:gd name="T66" fmla="*/ 2147483647 w 52"/>
                    <a:gd name="T67" fmla="*/ 2147483647 h 30"/>
                    <a:gd name="T68" fmla="*/ 2147483647 w 52"/>
                    <a:gd name="T69" fmla="*/ 2147483647 h 30"/>
                    <a:gd name="T70" fmla="*/ 2147483647 w 52"/>
                    <a:gd name="T71" fmla="*/ 2147483647 h 30"/>
                    <a:gd name="T72" fmla="*/ 2147483647 w 52"/>
                    <a:gd name="T73" fmla="*/ 2147483647 h 30"/>
                    <a:gd name="T74" fmla="*/ 2147483647 w 52"/>
                    <a:gd name="T75" fmla="*/ 2147483647 h 3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52"/>
                    <a:gd name="T115" fmla="*/ 0 h 30"/>
                    <a:gd name="T116" fmla="*/ 52 w 52"/>
                    <a:gd name="T117" fmla="*/ 30 h 3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52" h="30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8" y="6"/>
                      </a:lnTo>
                      <a:lnTo>
                        <a:pt x="6" y="5"/>
                      </a:lnTo>
                      <a:lnTo>
                        <a:pt x="0" y="3"/>
                      </a:ln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13" y="3"/>
                      </a:lnTo>
                      <a:lnTo>
                        <a:pt x="16" y="3"/>
                      </a:lnTo>
                      <a:lnTo>
                        <a:pt x="22" y="1"/>
                      </a:lnTo>
                      <a:lnTo>
                        <a:pt x="26" y="1"/>
                      </a:lnTo>
                      <a:lnTo>
                        <a:pt x="27" y="3"/>
                      </a:lnTo>
                      <a:lnTo>
                        <a:pt x="32" y="5"/>
                      </a:lnTo>
                      <a:lnTo>
                        <a:pt x="39" y="12"/>
                      </a:lnTo>
                      <a:lnTo>
                        <a:pt x="47" y="19"/>
                      </a:lnTo>
                      <a:lnTo>
                        <a:pt x="51" y="24"/>
                      </a:lnTo>
                      <a:lnTo>
                        <a:pt x="52" y="29"/>
                      </a:lnTo>
                      <a:lnTo>
                        <a:pt x="51" y="29"/>
                      </a:lnTo>
                      <a:lnTo>
                        <a:pt x="50" y="30"/>
                      </a:lnTo>
                      <a:lnTo>
                        <a:pt x="37" y="25"/>
                      </a:lnTo>
                      <a:lnTo>
                        <a:pt x="31" y="24"/>
                      </a:lnTo>
                      <a:lnTo>
                        <a:pt x="25" y="24"/>
                      </a:lnTo>
                      <a:lnTo>
                        <a:pt x="21" y="23"/>
                      </a:lnTo>
                      <a:lnTo>
                        <a:pt x="19" y="22"/>
                      </a:lnTo>
                      <a:lnTo>
                        <a:pt x="18" y="20"/>
                      </a:lnTo>
                      <a:lnTo>
                        <a:pt x="17" y="16"/>
                      </a:lnTo>
                      <a:lnTo>
                        <a:pt x="16" y="13"/>
                      </a:lnTo>
                      <a:lnTo>
                        <a:pt x="12" y="11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994">
                  <a:extLst>
                    <a:ext uri="{FF2B5EF4-FFF2-40B4-BE49-F238E27FC236}">
                      <a16:creationId xmlns:a16="http://schemas.microsoft.com/office/drawing/2014/main" id="{EDD7634D-A7D5-BF4F-B008-C433F161EB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3289" y="3222842"/>
                  <a:ext cx="23678" cy="11839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2147483647 h 8"/>
                    <a:gd name="T4" fmla="*/ 2147483647 w 17"/>
                    <a:gd name="T5" fmla="*/ 2147483647 h 8"/>
                    <a:gd name="T6" fmla="*/ 2147483647 w 17"/>
                    <a:gd name="T7" fmla="*/ 2147483647 h 8"/>
                    <a:gd name="T8" fmla="*/ 2147483647 w 17"/>
                    <a:gd name="T9" fmla="*/ 2147483647 h 8"/>
                    <a:gd name="T10" fmla="*/ 2147483647 w 17"/>
                    <a:gd name="T11" fmla="*/ 2147483647 h 8"/>
                    <a:gd name="T12" fmla="*/ 2147483647 w 17"/>
                    <a:gd name="T13" fmla="*/ 2147483647 h 8"/>
                    <a:gd name="T14" fmla="*/ 2147483647 w 17"/>
                    <a:gd name="T15" fmla="*/ 2147483647 h 8"/>
                    <a:gd name="T16" fmla="*/ 2147483647 w 17"/>
                    <a:gd name="T17" fmla="*/ 2147483647 h 8"/>
                    <a:gd name="T18" fmla="*/ 0 w 17"/>
                    <a:gd name="T19" fmla="*/ 2147483647 h 8"/>
                    <a:gd name="T20" fmla="*/ 0 w 17"/>
                    <a:gd name="T21" fmla="*/ 2147483647 h 8"/>
                    <a:gd name="T22" fmla="*/ 0 w 17"/>
                    <a:gd name="T23" fmla="*/ 0 h 8"/>
                    <a:gd name="T24" fmla="*/ 0 w 17"/>
                    <a:gd name="T25" fmla="*/ 0 h 8"/>
                    <a:gd name="T26" fmla="*/ 2147483647 w 17"/>
                    <a:gd name="T27" fmla="*/ 2147483647 h 8"/>
                    <a:gd name="T28" fmla="*/ 2147483647 w 17"/>
                    <a:gd name="T29" fmla="*/ 2147483647 h 8"/>
                    <a:gd name="T30" fmla="*/ 2147483647 w 17"/>
                    <a:gd name="T31" fmla="*/ 2147483647 h 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7"/>
                    <a:gd name="T49" fmla="*/ 0 h 8"/>
                    <a:gd name="T50" fmla="*/ 17 w 17"/>
                    <a:gd name="T51" fmla="*/ 8 h 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7" h="8">
                      <a:moveTo>
                        <a:pt x="12" y="2"/>
                      </a:moveTo>
                      <a:lnTo>
                        <a:pt x="12" y="2"/>
                      </a:lnTo>
                      <a:lnTo>
                        <a:pt x="15" y="5"/>
                      </a:lnTo>
                      <a:lnTo>
                        <a:pt x="17" y="6"/>
                      </a:lnTo>
                      <a:lnTo>
                        <a:pt x="17" y="7"/>
                      </a:lnTo>
                      <a:lnTo>
                        <a:pt x="14" y="8"/>
                      </a:lnTo>
                      <a:lnTo>
                        <a:pt x="12" y="8"/>
                      </a:lnTo>
                      <a:lnTo>
                        <a:pt x="5" y="6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12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1" name="Freeform 995">
                  <a:extLst>
                    <a:ext uri="{FF2B5EF4-FFF2-40B4-BE49-F238E27FC236}">
                      <a16:creationId xmlns:a16="http://schemas.microsoft.com/office/drawing/2014/main" id="{5C88DF9B-6933-5D49-9550-00A61EB7FC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2932" y="3332353"/>
                  <a:ext cx="105071" cy="38477"/>
                </a:xfrm>
                <a:custGeom>
                  <a:avLst/>
                  <a:gdLst>
                    <a:gd name="T0" fmla="*/ 2147483647 w 76"/>
                    <a:gd name="T1" fmla="*/ 2147483647 h 26"/>
                    <a:gd name="T2" fmla="*/ 2147483647 w 76"/>
                    <a:gd name="T3" fmla="*/ 2147483647 h 26"/>
                    <a:gd name="T4" fmla="*/ 2147483647 w 76"/>
                    <a:gd name="T5" fmla="*/ 2147483647 h 26"/>
                    <a:gd name="T6" fmla="*/ 2147483647 w 76"/>
                    <a:gd name="T7" fmla="*/ 2147483647 h 26"/>
                    <a:gd name="T8" fmla="*/ 2147483647 w 76"/>
                    <a:gd name="T9" fmla="*/ 2147483647 h 26"/>
                    <a:gd name="T10" fmla="*/ 2147483647 w 76"/>
                    <a:gd name="T11" fmla="*/ 2147483647 h 26"/>
                    <a:gd name="T12" fmla="*/ 2147483647 w 76"/>
                    <a:gd name="T13" fmla="*/ 2147483647 h 26"/>
                    <a:gd name="T14" fmla="*/ 2147483647 w 76"/>
                    <a:gd name="T15" fmla="*/ 2147483647 h 26"/>
                    <a:gd name="T16" fmla="*/ 2147483647 w 76"/>
                    <a:gd name="T17" fmla="*/ 2147483647 h 26"/>
                    <a:gd name="T18" fmla="*/ 2147483647 w 76"/>
                    <a:gd name="T19" fmla="*/ 2147483647 h 26"/>
                    <a:gd name="T20" fmla="*/ 0 w 76"/>
                    <a:gd name="T21" fmla="*/ 2147483647 h 26"/>
                    <a:gd name="T22" fmla="*/ 2147483647 w 76"/>
                    <a:gd name="T23" fmla="*/ 2147483647 h 26"/>
                    <a:gd name="T24" fmla="*/ 2147483647 w 76"/>
                    <a:gd name="T25" fmla="*/ 2147483647 h 26"/>
                    <a:gd name="T26" fmla="*/ 2147483647 w 76"/>
                    <a:gd name="T27" fmla="*/ 2147483647 h 26"/>
                    <a:gd name="T28" fmla="*/ 2147483647 w 76"/>
                    <a:gd name="T29" fmla="*/ 2147483647 h 26"/>
                    <a:gd name="T30" fmla="*/ 2147483647 w 76"/>
                    <a:gd name="T31" fmla="*/ 2147483647 h 26"/>
                    <a:gd name="T32" fmla="*/ 2147483647 w 76"/>
                    <a:gd name="T33" fmla="*/ 2147483647 h 26"/>
                    <a:gd name="T34" fmla="*/ 2147483647 w 76"/>
                    <a:gd name="T35" fmla="*/ 2147483647 h 26"/>
                    <a:gd name="T36" fmla="*/ 2147483647 w 76"/>
                    <a:gd name="T37" fmla="*/ 0 h 26"/>
                    <a:gd name="T38" fmla="*/ 2147483647 w 76"/>
                    <a:gd name="T39" fmla="*/ 0 h 26"/>
                    <a:gd name="T40" fmla="*/ 2147483647 w 76"/>
                    <a:gd name="T41" fmla="*/ 0 h 26"/>
                    <a:gd name="T42" fmla="*/ 2147483647 w 76"/>
                    <a:gd name="T43" fmla="*/ 2147483647 h 26"/>
                    <a:gd name="T44" fmla="*/ 2147483647 w 76"/>
                    <a:gd name="T45" fmla="*/ 2147483647 h 26"/>
                    <a:gd name="T46" fmla="*/ 2147483647 w 76"/>
                    <a:gd name="T47" fmla="*/ 2147483647 h 2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76"/>
                    <a:gd name="T73" fmla="*/ 0 h 26"/>
                    <a:gd name="T74" fmla="*/ 76 w 76"/>
                    <a:gd name="T75" fmla="*/ 26 h 2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76" h="26">
                      <a:moveTo>
                        <a:pt x="67" y="8"/>
                      </a:moveTo>
                      <a:lnTo>
                        <a:pt x="61" y="13"/>
                      </a:lnTo>
                      <a:lnTo>
                        <a:pt x="53" y="17"/>
                      </a:lnTo>
                      <a:lnTo>
                        <a:pt x="45" y="20"/>
                      </a:lnTo>
                      <a:lnTo>
                        <a:pt x="36" y="21"/>
                      </a:lnTo>
                      <a:lnTo>
                        <a:pt x="34" y="22"/>
                      </a:lnTo>
                      <a:lnTo>
                        <a:pt x="30" y="24"/>
                      </a:lnTo>
                      <a:lnTo>
                        <a:pt x="21" y="24"/>
                      </a:lnTo>
                      <a:lnTo>
                        <a:pt x="14" y="26"/>
                      </a:lnTo>
                      <a:lnTo>
                        <a:pt x="7" y="24"/>
                      </a:lnTo>
                      <a:lnTo>
                        <a:pt x="0" y="20"/>
                      </a:lnTo>
                      <a:lnTo>
                        <a:pt x="6" y="16"/>
                      </a:lnTo>
                      <a:lnTo>
                        <a:pt x="12" y="13"/>
                      </a:lnTo>
                      <a:lnTo>
                        <a:pt x="19" y="10"/>
                      </a:lnTo>
                      <a:lnTo>
                        <a:pt x="25" y="9"/>
                      </a:lnTo>
                      <a:lnTo>
                        <a:pt x="40" y="7"/>
                      </a:lnTo>
                      <a:lnTo>
                        <a:pt x="54" y="4"/>
                      </a:lnTo>
                      <a:lnTo>
                        <a:pt x="63" y="2"/>
                      </a:lnTo>
                      <a:lnTo>
                        <a:pt x="71" y="0"/>
                      </a:lnTo>
                      <a:lnTo>
                        <a:pt x="75" y="0"/>
                      </a:lnTo>
                      <a:lnTo>
                        <a:pt x="76" y="0"/>
                      </a:lnTo>
                      <a:lnTo>
                        <a:pt x="75" y="2"/>
                      </a:lnTo>
                      <a:lnTo>
                        <a:pt x="73" y="4"/>
                      </a:lnTo>
                      <a:lnTo>
                        <a:pt x="67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996">
                  <a:extLst>
                    <a:ext uri="{FF2B5EF4-FFF2-40B4-BE49-F238E27FC236}">
                      <a16:creationId xmlns:a16="http://schemas.microsoft.com/office/drawing/2014/main" id="{4B7A77BE-5735-9D44-96A1-89B012276E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7642" y="3279078"/>
                  <a:ext cx="90273" cy="38477"/>
                </a:xfrm>
                <a:custGeom>
                  <a:avLst/>
                  <a:gdLst>
                    <a:gd name="T0" fmla="*/ 2147483647 w 66"/>
                    <a:gd name="T1" fmla="*/ 0 h 26"/>
                    <a:gd name="T2" fmla="*/ 2147483647 w 66"/>
                    <a:gd name="T3" fmla="*/ 2147483647 h 26"/>
                    <a:gd name="T4" fmla="*/ 2147483647 w 66"/>
                    <a:gd name="T5" fmla="*/ 2147483647 h 26"/>
                    <a:gd name="T6" fmla="*/ 2147483647 w 66"/>
                    <a:gd name="T7" fmla="*/ 2147483647 h 26"/>
                    <a:gd name="T8" fmla="*/ 2147483647 w 66"/>
                    <a:gd name="T9" fmla="*/ 2147483647 h 26"/>
                    <a:gd name="T10" fmla="*/ 2147483647 w 66"/>
                    <a:gd name="T11" fmla="*/ 2147483647 h 26"/>
                    <a:gd name="T12" fmla="*/ 2147483647 w 66"/>
                    <a:gd name="T13" fmla="*/ 2147483647 h 26"/>
                    <a:gd name="T14" fmla="*/ 2147483647 w 66"/>
                    <a:gd name="T15" fmla="*/ 2147483647 h 26"/>
                    <a:gd name="T16" fmla="*/ 2147483647 w 66"/>
                    <a:gd name="T17" fmla="*/ 2147483647 h 26"/>
                    <a:gd name="T18" fmla="*/ 2147483647 w 66"/>
                    <a:gd name="T19" fmla="*/ 2147483647 h 26"/>
                    <a:gd name="T20" fmla="*/ 2147483647 w 66"/>
                    <a:gd name="T21" fmla="*/ 2147483647 h 26"/>
                    <a:gd name="T22" fmla="*/ 2147483647 w 66"/>
                    <a:gd name="T23" fmla="*/ 2147483647 h 26"/>
                    <a:gd name="T24" fmla="*/ 2147483647 w 66"/>
                    <a:gd name="T25" fmla="*/ 2147483647 h 26"/>
                    <a:gd name="T26" fmla="*/ 2147483647 w 66"/>
                    <a:gd name="T27" fmla="*/ 2147483647 h 26"/>
                    <a:gd name="T28" fmla="*/ 0 w 66"/>
                    <a:gd name="T29" fmla="*/ 2147483647 h 26"/>
                    <a:gd name="T30" fmla="*/ 0 w 66"/>
                    <a:gd name="T31" fmla="*/ 2147483647 h 26"/>
                    <a:gd name="T32" fmla="*/ 0 w 66"/>
                    <a:gd name="T33" fmla="*/ 2147483647 h 26"/>
                    <a:gd name="T34" fmla="*/ 2147483647 w 66"/>
                    <a:gd name="T35" fmla="*/ 2147483647 h 26"/>
                    <a:gd name="T36" fmla="*/ 2147483647 w 66"/>
                    <a:gd name="T37" fmla="*/ 2147483647 h 26"/>
                    <a:gd name="T38" fmla="*/ 2147483647 w 66"/>
                    <a:gd name="T39" fmla="*/ 2147483647 h 26"/>
                    <a:gd name="T40" fmla="*/ 2147483647 w 66"/>
                    <a:gd name="T41" fmla="*/ 2147483647 h 26"/>
                    <a:gd name="T42" fmla="*/ 2147483647 w 66"/>
                    <a:gd name="T43" fmla="*/ 2147483647 h 26"/>
                    <a:gd name="T44" fmla="*/ 2147483647 w 66"/>
                    <a:gd name="T45" fmla="*/ 2147483647 h 26"/>
                    <a:gd name="T46" fmla="*/ 2147483647 w 66"/>
                    <a:gd name="T47" fmla="*/ 2147483647 h 26"/>
                    <a:gd name="T48" fmla="*/ 2147483647 w 66"/>
                    <a:gd name="T49" fmla="*/ 2147483647 h 26"/>
                    <a:gd name="T50" fmla="*/ 2147483647 w 66"/>
                    <a:gd name="T51" fmla="*/ 2147483647 h 26"/>
                    <a:gd name="T52" fmla="*/ 2147483647 w 66"/>
                    <a:gd name="T53" fmla="*/ 2147483647 h 26"/>
                    <a:gd name="T54" fmla="*/ 2147483647 w 66"/>
                    <a:gd name="T55" fmla="*/ 2147483647 h 26"/>
                    <a:gd name="T56" fmla="*/ 2147483647 w 66"/>
                    <a:gd name="T57" fmla="*/ 2147483647 h 26"/>
                    <a:gd name="T58" fmla="*/ 2147483647 w 66"/>
                    <a:gd name="T59" fmla="*/ 2147483647 h 26"/>
                    <a:gd name="T60" fmla="*/ 2147483647 w 66"/>
                    <a:gd name="T61" fmla="*/ 2147483647 h 26"/>
                    <a:gd name="T62" fmla="*/ 2147483647 w 66"/>
                    <a:gd name="T63" fmla="*/ 2147483647 h 26"/>
                    <a:gd name="T64" fmla="*/ 2147483647 w 66"/>
                    <a:gd name="T65" fmla="*/ 2147483647 h 26"/>
                    <a:gd name="T66" fmla="*/ 2147483647 w 66"/>
                    <a:gd name="T67" fmla="*/ 2147483647 h 26"/>
                    <a:gd name="T68" fmla="*/ 2147483647 w 66"/>
                    <a:gd name="T69" fmla="*/ 2147483647 h 26"/>
                    <a:gd name="T70" fmla="*/ 2147483647 w 66"/>
                    <a:gd name="T71" fmla="*/ 2147483647 h 26"/>
                    <a:gd name="T72" fmla="*/ 2147483647 w 66"/>
                    <a:gd name="T73" fmla="*/ 0 h 26"/>
                    <a:gd name="T74" fmla="*/ 2147483647 w 66"/>
                    <a:gd name="T75" fmla="*/ 0 h 2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66"/>
                    <a:gd name="T115" fmla="*/ 0 h 26"/>
                    <a:gd name="T116" fmla="*/ 66 w 66"/>
                    <a:gd name="T117" fmla="*/ 26 h 2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66" h="26">
                      <a:moveTo>
                        <a:pt x="54" y="0"/>
                      </a:moveTo>
                      <a:lnTo>
                        <a:pt x="47" y="1"/>
                      </a:lnTo>
                      <a:lnTo>
                        <a:pt x="44" y="2"/>
                      </a:lnTo>
                      <a:lnTo>
                        <a:pt x="42" y="5"/>
                      </a:lnTo>
                      <a:lnTo>
                        <a:pt x="44" y="8"/>
                      </a:lnTo>
                      <a:lnTo>
                        <a:pt x="44" y="9"/>
                      </a:lnTo>
                      <a:lnTo>
                        <a:pt x="44" y="11"/>
                      </a:lnTo>
                      <a:lnTo>
                        <a:pt x="41" y="12"/>
                      </a:lnTo>
                      <a:lnTo>
                        <a:pt x="30" y="9"/>
                      </a:lnTo>
                      <a:lnTo>
                        <a:pt x="25" y="8"/>
                      </a:lnTo>
                      <a:lnTo>
                        <a:pt x="20" y="9"/>
                      </a:lnTo>
                      <a:lnTo>
                        <a:pt x="14" y="11"/>
                      </a:lnTo>
                      <a:lnTo>
                        <a:pt x="9" y="12"/>
                      </a:lnTo>
                      <a:lnTo>
                        <a:pt x="4" y="15"/>
                      </a:lnTo>
                      <a:lnTo>
                        <a:pt x="0" y="19"/>
                      </a:lnTo>
                      <a:lnTo>
                        <a:pt x="0" y="20"/>
                      </a:lnTo>
                      <a:lnTo>
                        <a:pt x="0" y="21"/>
                      </a:lnTo>
                      <a:lnTo>
                        <a:pt x="3" y="23"/>
                      </a:lnTo>
                      <a:lnTo>
                        <a:pt x="14" y="26"/>
                      </a:lnTo>
                      <a:lnTo>
                        <a:pt x="21" y="26"/>
                      </a:lnTo>
                      <a:lnTo>
                        <a:pt x="27" y="25"/>
                      </a:lnTo>
                      <a:lnTo>
                        <a:pt x="30" y="25"/>
                      </a:lnTo>
                      <a:lnTo>
                        <a:pt x="33" y="25"/>
                      </a:lnTo>
                      <a:lnTo>
                        <a:pt x="37" y="25"/>
                      </a:lnTo>
                      <a:lnTo>
                        <a:pt x="42" y="24"/>
                      </a:lnTo>
                      <a:lnTo>
                        <a:pt x="50" y="24"/>
                      </a:lnTo>
                      <a:lnTo>
                        <a:pt x="54" y="23"/>
                      </a:lnTo>
                      <a:lnTo>
                        <a:pt x="56" y="20"/>
                      </a:lnTo>
                      <a:lnTo>
                        <a:pt x="59" y="18"/>
                      </a:lnTo>
                      <a:lnTo>
                        <a:pt x="59" y="15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3" y="6"/>
                      </a:lnTo>
                      <a:lnTo>
                        <a:pt x="66" y="4"/>
                      </a:lnTo>
                      <a:lnTo>
                        <a:pt x="66" y="2"/>
                      </a:lnTo>
                      <a:lnTo>
                        <a:pt x="64" y="1"/>
                      </a:lnTo>
                      <a:lnTo>
                        <a:pt x="61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3" name="Freeform 997">
                  <a:extLst>
                    <a:ext uri="{FF2B5EF4-FFF2-40B4-BE49-F238E27FC236}">
                      <a16:creationId xmlns:a16="http://schemas.microsoft.com/office/drawing/2014/main" id="{C0772EE1-5370-3449-9D61-11963B360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1450" y="3329395"/>
                  <a:ext cx="105070" cy="38477"/>
                </a:xfrm>
                <a:custGeom>
                  <a:avLst/>
                  <a:gdLst>
                    <a:gd name="T0" fmla="*/ 2147483647 w 77"/>
                    <a:gd name="T1" fmla="*/ 2147483647 h 26"/>
                    <a:gd name="T2" fmla="*/ 2147483647 w 77"/>
                    <a:gd name="T3" fmla="*/ 2147483647 h 26"/>
                    <a:gd name="T4" fmla="*/ 2147483647 w 77"/>
                    <a:gd name="T5" fmla="*/ 2147483647 h 26"/>
                    <a:gd name="T6" fmla="*/ 2147483647 w 77"/>
                    <a:gd name="T7" fmla="*/ 2147483647 h 26"/>
                    <a:gd name="T8" fmla="*/ 2147483647 w 77"/>
                    <a:gd name="T9" fmla="*/ 2147483647 h 26"/>
                    <a:gd name="T10" fmla="*/ 2147483647 w 77"/>
                    <a:gd name="T11" fmla="*/ 2147483647 h 26"/>
                    <a:gd name="T12" fmla="*/ 2147483647 w 77"/>
                    <a:gd name="T13" fmla="*/ 2147483647 h 26"/>
                    <a:gd name="T14" fmla="*/ 2147483647 w 77"/>
                    <a:gd name="T15" fmla="*/ 2147483647 h 26"/>
                    <a:gd name="T16" fmla="*/ 2147483647 w 77"/>
                    <a:gd name="T17" fmla="*/ 2147483647 h 26"/>
                    <a:gd name="T18" fmla="*/ 2147483647 w 77"/>
                    <a:gd name="T19" fmla="*/ 2147483647 h 26"/>
                    <a:gd name="T20" fmla="*/ 2147483647 w 77"/>
                    <a:gd name="T21" fmla="*/ 2147483647 h 26"/>
                    <a:gd name="T22" fmla="*/ 2147483647 w 77"/>
                    <a:gd name="T23" fmla="*/ 2147483647 h 26"/>
                    <a:gd name="T24" fmla="*/ 2147483647 w 77"/>
                    <a:gd name="T25" fmla="*/ 2147483647 h 26"/>
                    <a:gd name="T26" fmla="*/ 0 w 77"/>
                    <a:gd name="T27" fmla="*/ 2147483647 h 26"/>
                    <a:gd name="T28" fmla="*/ 0 w 77"/>
                    <a:gd name="T29" fmla="*/ 2147483647 h 26"/>
                    <a:gd name="T30" fmla="*/ 2147483647 w 77"/>
                    <a:gd name="T31" fmla="*/ 2147483647 h 26"/>
                    <a:gd name="T32" fmla="*/ 2147483647 w 77"/>
                    <a:gd name="T33" fmla="*/ 2147483647 h 26"/>
                    <a:gd name="T34" fmla="*/ 2147483647 w 77"/>
                    <a:gd name="T35" fmla="*/ 2147483647 h 26"/>
                    <a:gd name="T36" fmla="*/ 2147483647 w 77"/>
                    <a:gd name="T37" fmla="*/ 2147483647 h 26"/>
                    <a:gd name="T38" fmla="*/ 2147483647 w 77"/>
                    <a:gd name="T39" fmla="*/ 2147483647 h 26"/>
                    <a:gd name="T40" fmla="*/ 2147483647 w 77"/>
                    <a:gd name="T41" fmla="*/ 2147483647 h 26"/>
                    <a:gd name="T42" fmla="*/ 2147483647 w 77"/>
                    <a:gd name="T43" fmla="*/ 2147483647 h 26"/>
                    <a:gd name="T44" fmla="*/ 2147483647 w 77"/>
                    <a:gd name="T45" fmla="*/ 2147483647 h 26"/>
                    <a:gd name="T46" fmla="*/ 2147483647 w 77"/>
                    <a:gd name="T47" fmla="*/ 0 h 26"/>
                    <a:gd name="T48" fmla="*/ 2147483647 w 77"/>
                    <a:gd name="T49" fmla="*/ 0 h 26"/>
                    <a:gd name="T50" fmla="*/ 2147483647 w 77"/>
                    <a:gd name="T51" fmla="*/ 0 h 26"/>
                    <a:gd name="T52" fmla="*/ 2147483647 w 77"/>
                    <a:gd name="T53" fmla="*/ 0 h 26"/>
                    <a:gd name="T54" fmla="*/ 2147483647 w 77"/>
                    <a:gd name="T55" fmla="*/ 0 h 26"/>
                    <a:gd name="T56" fmla="*/ 2147483647 w 77"/>
                    <a:gd name="T57" fmla="*/ 2147483647 h 26"/>
                    <a:gd name="T58" fmla="*/ 2147483647 w 77"/>
                    <a:gd name="T59" fmla="*/ 2147483647 h 26"/>
                    <a:gd name="T60" fmla="*/ 2147483647 w 77"/>
                    <a:gd name="T61" fmla="*/ 2147483647 h 2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7"/>
                    <a:gd name="T94" fmla="*/ 0 h 26"/>
                    <a:gd name="T95" fmla="*/ 77 w 77"/>
                    <a:gd name="T96" fmla="*/ 26 h 2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7" h="26">
                      <a:moveTo>
                        <a:pt x="68" y="9"/>
                      </a:moveTo>
                      <a:lnTo>
                        <a:pt x="68" y="9"/>
                      </a:lnTo>
                      <a:lnTo>
                        <a:pt x="61" y="13"/>
                      </a:lnTo>
                      <a:lnTo>
                        <a:pt x="54" y="18"/>
                      </a:lnTo>
                      <a:lnTo>
                        <a:pt x="46" y="21"/>
                      </a:lnTo>
                      <a:lnTo>
                        <a:pt x="37" y="22"/>
                      </a:lnTo>
                      <a:lnTo>
                        <a:pt x="35" y="23"/>
                      </a:lnTo>
                      <a:lnTo>
                        <a:pt x="31" y="25"/>
                      </a:lnTo>
                      <a:lnTo>
                        <a:pt x="22" y="25"/>
                      </a:lnTo>
                      <a:lnTo>
                        <a:pt x="14" y="26"/>
                      </a:lnTo>
                      <a:lnTo>
                        <a:pt x="8" y="25"/>
                      </a:lnTo>
                      <a:lnTo>
                        <a:pt x="0" y="21"/>
                      </a:lnTo>
                      <a:lnTo>
                        <a:pt x="7" y="17"/>
                      </a:lnTo>
                      <a:lnTo>
                        <a:pt x="13" y="13"/>
                      </a:lnTo>
                      <a:lnTo>
                        <a:pt x="19" y="11"/>
                      </a:lnTo>
                      <a:lnTo>
                        <a:pt x="26" y="10"/>
                      </a:lnTo>
                      <a:lnTo>
                        <a:pt x="41" y="7"/>
                      </a:lnTo>
                      <a:lnTo>
                        <a:pt x="55" y="5"/>
                      </a:lnTo>
                      <a:lnTo>
                        <a:pt x="64" y="3"/>
                      </a:lnTo>
                      <a:lnTo>
                        <a:pt x="71" y="0"/>
                      </a:lnTo>
                      <a:lnTo>
                        <a:pt x="75" y="0"/>
                      </a:lnTo>
                      <a:lnTo>
                        <a:pt x="77" y="0"/>
                      </a:lnTo>
                      <a:lnTo>
                        <a:pt x="75" y="3"/>
                      </a:lnTo>
                      <a:lnTo>
                        <a:pt x="74" y="5"/>
                      </a:lnTo>
                      <a:lnTo>
                        <a:pt x="68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998">
                  <a:extLst>
                    <a:ext uri="{FF2B5EF4-FFF2-40B4-BE49-F238E27FC236}">
                      <a16:creationId xmlns:a16="http://schemas.microsoft.com/office/drawing/2014/main" id="{C072F902-7920-A04A-9EA7-D0C29A32A4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6166" y="3277601"/>
                  <a:ext cx="90272" cy="38477"/>
                </a:xfrm>
                <a:custGeom>
                  <a:avLst/>
                  <a:gdLst>
                    <a:gd name="T0" fmla="*/ 2147483647 w 66"/>
                    <a:gd name="T1" fmla="*/ 0 h 26"/>
                    <a:gd name="T2" fmla="*/ 2147483647 w 66"/>
                    <a:gd name="T3" fmla="*/ 0 h 26"/>
                    <a:gd name="T4" fmla="*/ 2147483647 w 66"/>
                    <a:gd name="T5" fmla="*/ 2147483647 h 26"/>
                    <a:gd name="T6" fmla="*/ 2147483647 w 66"/>
                    <a:gd name="T7" fmla="*/ 2147483647 h 26"/>
                    <a:gd name="T8" fmla="*/ 2147483647 w 66"/>
                    <a:gd name="T9" fmla="*/ 2147483647 h 26"/>
                    <a:gd name="T10" fmla="*/ 2147483647 w 66"/>
                    <a:gd name="T11" fmla="*/ 2147483647 h 26"/>
                    <a:gd name="T12" fmla="*/ 2147483647 w 66"/>
                    <a:gd name="T13" fmla="*/ 2147483647 h 26"/>
                    <a:gd name="T14" fmla="*/ 2147483647 w 66"/>
                    <a:gd name="T15" fmla="*/ 2147483647 h 26"/>
                    <a:gd name="T16" fmla="*/ 2147483647 w 66"/>
                    <a:gd name="T17" fmla="*/ 2147483647 h 26"/>
                    <a:gd name="T18" fmla="*/ 2147483647 w 66"/>
                    <a:gd name="T19" fmla="*/ 2147483647 h 26"/>
                    <a:gd name="T20" fmla="*/ 2147483647 w 66"/>
                    <a:gd name="T21" fmla="*/ 2147483647 h 26"/>
                    <a:gd name="T22" fmla="*/ 2147483647 w 66"/>
                    <a:gd name="T23" fmla="*/ 2147483647 h 26"/>
                    <a:gd name="T24" fmla="*/ 2147483647 w 66"/>
                    <a:gd name="T25" fmla="*/ 2147483647 h 26"/>
                    <a:gd name="T26" fmla="*/ 2147483647 w 66"/>
                    <a:gd name="T27" fmla="*/ 2147483647 h 26"/>
                    <a:gd name="T28" fmla="*/ 2147483647 w 66"/>
                    <a:gd name="T29" fmla="*/ 2147483647 h 26"/>
                    <a:gd name="T30" fmla="*/ 2147483647 w 66"/>
                    <a:gd name="T31" fmla="*/ 2147483647 h 26"/>
                    <a:gd name="T32" fmla="*/ 2147483647 w 66"/>
                    <a:gd name="T33" fmla="*/ 2147483647 h 26"/>
                    <a:gd name="T34" fmla="*/ 2147483647 w 66"/>
                    <a:gd name="T35" fmla="*/ 2147483647 h 26"/>
                    <a:gd name="T36" fmla="*/ 0 w 66"/>
                    <a:gd name="T37" fmla="*/ 2147483647 h 26"/>
                    <a:gd name="T38" fmla="*/ 0 w 66"/>
                    <a:gd name="T39" fmla="*/ 2147483647 h 26"/>
                    <a:gd name="T40" fmla="*/ 0 w 66"/>
                    <a:gd name="T41" fmla="*/ 2147483647 h 26"/>
                    <a:gd name="T42" fmla="*/ 0 w 66"/>
                    <a:gd name="T43" fmla="*/ 2147483647 h 26"/>
                    <a:gd name="T44" fmla="*/ 2147483647 w 66"/>
                    <a:gd name="T45" fmla="*/ 2147483647 h 26"/>
                    <a:gd name="T46" fmla="*/ 2147483647 w 66"/>
                    <a:gd name="T47" fmla="*/ 2147483647 h 26"/>
                    <a:gd name="T48" fmla="*/ 2147483647 w 66"/>
                    <a:gd name="T49" fmla="*/ 2147483647 h 26"/>
                    <a:gd name="T50" fmla="*/ 2147483647 w 66"/>
                    <a:gd name="T51" fmla="*/ 2147483647 h 26"/>
                    <a:gd name="T52" fmla="*/ 2147483647 w 66"/>
                    <a:gd name="T53" fmla="*/ 2147483647 h 26"/>
                    <a:gd name="T54" fmla="*/ 2147483647 w 66"/>
                    <a:gd name="T55" fmla="*/ 2147483647 h 26"/>
                    <a:gd name="T56" fmla="*/ 2147483647 w 66"/>
                    <a:gd name="T57" fmla="*/ 2147483647 h 26"/>
                    <a:gd name="T58" fmla="*/ 2147483647 w 66"/>
                    <a:gd name="T59" fmla="*/ 2147483647 h 26"/>
                    <a:gd name="T60" fmla="*/ 2147483647 w 66"/>
                    <a:gd name="T61" fmla="*/ 2147483647 h 26"/>
                    <a:gd name="T62" fmla="*/ 2147483647 w 66"/>
                    <a:gd name="T63" fmla="*/ 2147483647 h 26"/>
                    <a:gd name="T64" fmla="*/ 2147483647 w 66"/>
                    <a:gd name="T65" fmla="*/ 2147483647 h 26"/>
                    <a:gd name="T66" fmla="*/ 2147483647 w 66"/>
                    <a:gd name="T67" fmla="*/ 2147483647 h 26"/>
                    <a:gd name="T68" fmla="*/ 2147483647 w 66"/>
                    <a:gd name="T69" fmla="*/ 2147483647 h 26"/>
                    <a:gd name="T70" fmla="*/ 2147483647 w 66"/>
                    <a:gd name="T71" fmla="*/ 2147483647 h 26"/>
                    <a:gd name="T72" fmla="*/ 2147483647 w 66"/>
                    <a:gd name="T73" fmla="*/ 2147483647 h 26"/>
                    <a:gd name="T74" fmla="*/ 2147483647 w 66"/>
                    <a:gd name="T75" fmla="*/ 2147483647 h 26"/>
                    <a:gd name="T76" fmla="*/ 2147483647 w 66"/>
                    <a:gd name="T77" fmla="*/ 2147483647 h 26"/>
                    <a:gd name="T78" fmla="*/ 2147483647 w 66"/>
                    <a:gd name="T79" fmla="*/ 2147483647 h 26"/>
                    <a:gd name="T80" fmla="*/ 2147483647 w 66"/>
                    <a:gd name="T81" fmla="*/ 2147483647 h 26"/>
                    <a:gd name="T82" fmla="*/ 2147483647 w 66"/>
                    <a:gd name="T83" fmla="*/ 2147483647 h 26"/>
                    <a:gd name="T84" fmla="*/ 2147483647 w 66"/>
                    <a:gd name="T85" fmla="*/ 2147483647 h 26"/>
                    <a:gd name="T86" fmla="*/ 2147483647 w 66"/>
                    <a:gd name="T87" fmla="*/ 2147483647 h 26"/>
                    <a:gd name="T88" fmla="*/ 2147483647 w 66"/>
                    <a:gd name="T89" fmla="*/ 2147483647 h 26"/>
                    <a:gd name="T90" fmla="*/ 2147483647 w 66"/>
                    <a:gd name="T91" fmla="*/ 2147483647 h 26"/>
                    <a:gd name="T92" fmla="*/ 2147483647 w 66"/>
                    <a:gd name="T93" fmla="*/ 2147483647 h 26"/>
                    <a:gd name="T94" fmla="*/ 2147483647 w 66"/>
                    <a:gd name="T95" fmla="*/ 2147483647 h 26"/>
                    <a:gd name="T96" fmla="*/ 2147483647 w 66"/>
                    <a:gd name="T97" fmla="*/ 2147483647 h 26"/>
                    <a:gd name="T98" fmla="*/ 2147483647 w 66"/>
                    <a:gd name="T99" fmla="*/ 0 h 26"/>
                    <a:gd name="T100" fmla="*/ 2147483647 w 66"/>
                    <a:gd name="T101" fmla="*/ 0 h 26"/>
                    <a:gd name="T102" fmla="*/ 2147483647 w 66"/>
                    <a:gd name="T103" fmla="*/ 0 h 2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6"/>
                    <a:gd name="T157" fmla="*/ 0 h 26"/>
                    <a:gd name="T158" fmla="*/ 66 w 66"/>
                    <a:gd name="T159" fmla="*/ 26 h 2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6" h="26">
                      <a:moveTo>
                        <a:pt x="54" y="0"/>
                      </a:moveTo>
                      <a:lnTo>
                        <a:pt x="54" y="0"/>
                      </a:lnTo>
                      <a:lnTo>
                        <a:pt x="47" y="1"/>
                      </a:lnTo>
                      <a:lnTo>
                        <a:pt x="43" y="2"/>
                      </a:lnTo>
                      <a:lnTo>
                        <a:pt x="42" y="5"/>
                      </a:lnTo>
                      <a:lnTo>
                        <a:pt x="43" y="8"/>
                      </a:lnTo>
                      <a:lnTo>
                        <a:pt x="43" y="9"/>
                      </a:lnTo>
                      <a:lnTo>
                        <a:pt x="43" y="10"/>
                      </a:lnTo>
                      <a:lnTo>
                        <a:pt x="41" y="12"/>
                      </a:lnTo>
                      <a:lnTo>
                        <a:pt x="29" y="9"/>
                      </a:lnTo>
                      <a:lnTo>
                        <a:pt x="24" y="8"/>
                      </a:lnTo>
                      <a:lnTo>
                        <a:pt x="19" y="9"/>
                      </a:lnTo>
                      <a:lnTo>
                        <a:pt x="14" y="10"/>
                      </a:lnTo>
                      <a:lnTo>
                        <a:pt x="9" y="12"/>
                      </a:lnTo>
                      <a:lnTo>
                        <a:pt x="4" y="15"/>
                      </a:lnTo>
                      <a:lnTo>
                        <a:pt x="0" y="19"/>
                      </a:lnTo>
                      <a:lnTo>
                        <a:pt x="0" y="20"/>
                      </a:lnTo>
                      <a:lnTo>
                        <a:pt x="0" y="21"/>
                      </a:lnTo>
                      <a:lnTo>
                        <a:pt x="3" y="22"/>
                      </a:lnTo>
                      <a:lnTo>
                        <a:pt x="14" y="26"/>
                      </a:lnTo>
                      <a:lnTo>
                        <a:pt x="21" y="26"/>
                      </a:lnTo>
                      <a:lnTo>
                        <a:pt x="27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7" y="25"/>
                      </a:lnTo>
                      <a:lnTo>
                        <a:pt x="42" y="24"/>
                      </a:lnTo>
                      <a:lnTo>
                        <a:pt x="50" y="24"/>
                      </a:lnTo>
                      <a:lnTo>
                        <a:pt x="54" y="22"/>
                      </a:lnTo>
                      <a:lnTo>
                        <a:pt x="56" y="20"/>
                      </a:lnTo>
                      <a:lnTo>
                        <a:pt x="59" y="18"/>
                      </a:lnTo>
                      <a:lnTo>
                        <a:pt x="59" y="15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2" y="6"/>
                      </a:lnTo>
                      <a:lnTo>
                        <a:pt x="66" y="3"/>
                      </a:lnTo>
                      <a:lnTo>
                        <a:pt x="66" y="2"/>
                      </a:lnTo>
                      <a:lnTo>
                        <a:pt x="64" y="1"/>
                      </a:lnTo>
                      <a:lnTo>
                        <a:pt x="61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5" name="Freeform 999">
                  <a:extLst>
                    <a:ext uri="{FF2B5EF4-FFF2-40B4-BE49-F238E27FC236}">
                      <a16:creationId xmlns:a16="http://schemas.microsoft.com/office/drawing/2014/main" id="{BC25512E-A922-FD4D-B87B-CD4E4F1049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3345" y="3054136"/>
                  <a:ext cx="116910" cy="90273"/>
                </a:xfrm>
                <a:custGeom>
                  <a:avLst/>
                  <a:gdLst>
                    <a:gd name="T0" fmla="*/ 2147483647 w 85"/>
                    <a:gd name="T1" fmla="*/ 2147483647 h 61"/>
                    <a:gd name="T2" fmla="*/ 2147483647 w 85"/>
                    <a:gd name="T3" fmla="*/ 2147483647 h 61"/>
                    <a:gd name="T4" fmla="*/ 2147483647 w 85"/>
                    <a:gd name="T5" fmla="*/ 2147483647 h 61"/>
                    <a:gd name="T6" fmla="*/ 2147483647 w 85"/>
                    <a:gd name="T7" fmla="*/ 2147483647 h 61"/>
                    <a:gd name="T8" fmla="*/ 2147483647 w 85"/>
                    <a:gd name="T9" fmla="*/ 2147483647 h 61"/>
                    <a:gd name="T10" fmla="*/ 2147483647 w 85"/>
                    <a:gd name="T11" fmla="*/ 2147483647 h 61"/>
                    <a:gd name="T12" fmla="*/ 2147483647 w 85"/>
                    <a:gd name="T13" fmla="*/ 2147483647 h 61"/>
                    <a:gd name="T14" fmla="*/ 0 w 85"/>
                    <a:gd name="T15" fmla="*/ 2147483647 h 61"/>
                    <a:gd name="T16" fmla="*/ 2147483647 w 85"/>
                    <a:gd name="T17" fmla="*/ 2147483647 h 61"/>
                    <a:gd name="T18" fmla="*/ 2147483647 w 85"/>
                    <a:gd name="T19" fmla="*/ 2147483647 h 61"/>
                    <a:gd name="T20" fmla="*/ 2147483647 w 85"/>
                    <a:gd name="T21" fmla="*/ 0 h 61"/>
                    <a:gd name="T22" fmla="*/ 2147483647 w 85"/>
                    <a:gd name="T23" fmla="*/ 2147483647 h 61"/>
                    <a:gd name="T24" fmla="*/ 2147483647 w 85"/>
                    <a:gd name="T25" fmla="*/ 2147483647 h 61"/>
                    <a:gd name="T26" fmla="*/ 2147483647 w 85"/>
                    <a:gd name="T27" fmla="*/ 2147483647 h 61"/>
                    <a:gd name="T28" fmla="*/ 2147483647 w 85"/>
                    <a:gd name="T29" fmla="*/ 2147483647 h 61"/>
                    <a:gd name="T30" fmla="*/ 2147483647 w 85"/>
                    <a:gd name="T31" fmla="*/ 2147483647 h 61"/>
                    <a:gd name="T32" fmla="*/ 2147483647 w 85"/>
                    <a:gd name="T33" fmla="*/ 2147483647 h 61"/>
                    <a:gd name="T34" fmla="*/ 2147483647 w 85"/>
                    <a:gd name="T35" fmla="*/ 2147483647 h 61"/>
                    <a:gd name="T36" fmla="*/ 2147483647 w 85"/>
                    <a:gd name="T37" fmla="*/ 2147483647 h 61"/>
                    <a:gd name="T38" fmla="*/ 2147483647 w 85"/>
                    <a:gd name="T39" fmla="*/ 2147483647 h 61"/>
                    <a:gd name="T40" fmla="*/ 2147483647 w 85"/>
                    <a:gd name="T41" fmla="*/ 2147483647 h 61"/>
                    <a:gd name="T42" fmla="*/ 2147483647 w 85"/>
                    <a:gd name="T43" fmla="*/ 2147483647 h 61"/>
                    <a:gd name="T44" fmla="*/ 2147483647 w 85"/>
                    <a:gd name="T45" fmla="*/ 2147483647 h 61"/>
                    <a:gd name="T46" fmla="*/ 2147483647 w 85"/>
                    <a:gd name="T47" fmla="*/ 2147483647 h 61"/>
                    <a:gd name="T48" fmla="*/ 2147483647 w 85"/>
                    <a:gd name="T49" fmla="*/ 2147483647 h 61"/>
                    <a:gd name="T50" fmla="*/ 2147483647 w 85"/>
                    <a:gd name="T51" fmla="*/ 2147483647 h 61"/>
                    <a:gd name="T52" fmla="*/ 2147483647 w 85"/>
                    <a:gd name="T53" fmla="*/ 2147483647 h 61"/>
                    <a:gd name="T54" fmla="*/ 2147483647 w 85"/>
                    <a:gd name="T55" fmla="*/ 2147483647 h 61"/>
                    <a:gd name="T56" fmla="*/ 2147483647 w 85"/>
                    <a:gd name="T57" fmla="*/ 2147483647 h 61"/>
                    <a:gd name="T58" fmla="*/ 2147483647 w 85"/>
                    <a:gd name="T59" fmla="*/ 2147483647 h 61"/>
                    <a:gd name="T60" fmla="*/ 2147483647 w 85"/>
                    <a:gd name="T61" fmla="*/ 2147483647 h 61"/>
                    <a:gd name="T62" fmla="*/ 2147483647 w 85"/>
                    <a:gd name="T63" fmla="*/ 2147483647 h 61"/>
                    <a:gd name="T64" fmla="*/ 2147483647 w 85"/>
                    <a:gd name="T65" fmla="*/ 2147483647 h 61"/>
                    <a:gd name="T66" fmla="*/ 2147483647 w 85"/>
                    <a:gd name="T67" fmla="*/ 2147483647 h 61"/>
                    <a:gd name="T68" fmla="*/ 2147483647 w 85"/>
                    <a:gd name="T69" fmla="*/ 2147483647 h 61"/>
                    <a:gd name="T70" fmla="*/ 2147483647 w 85"/>
                    <a:gd name="T71" fmla="*/ 2147483647 h 61"/>
                    <a:gd name="T72" fmla="*/ 2147483647 w 85"/>
                    <a:gd name="T73" fmla="*/ 2147483647 h 61"/>
                    <a:gd name="T74" fmla="*/ 2147483647 w 85"/>
                    <a:gd name="T75" fmla="*/ 2147483647 h 61"/>
                    <a:gd name="T76" fmla="*/ 2147483647 w 85"/>
                    <a:gd name="T77" fmla="*/ 2147483647 h 61"/>
                    <a:gd name="T78" fmla="*/ 2147483647 w 85"/>
                    <a:gd name="T79" fmla="*/ 2147483647 h 61"/>
                    <a:gd name="T80" fmla="*/ 2147483647 w 85"/>
                    <a:gd name="T81" fmla="*/ 2147483647 h 61"/>
                    <a:gd name="T82" fmla="*/ 2147483647 w 85"/>
                    <a:gd name="T83" fmla="*/ 2147483647 h 61"/>
                    <a:gd name="T84" fmla="*/ 2147483647 w 85"/>
                    <a:gd name="T85" fmla="*/ 2147483647 h 61"/>
                    <a:gd name="T86" fmla="*/ 2147483647 w 85"/>
                    <a:gd name="T87" fmla="*/ 2147483647 h 61"/>
                    <a:gd name="T88" fmla="*/ 2147483647 w 85"/>
                    <a:gd name="T89" fmla="*/ 2147483647 h 61"/>
                    <a:gd name="T90" fmla="*/ 2147483647 w 85"/>
                    <a:gd name="T91" fmla="*/ 2147483647 h 61"/>
                    <a:gd name="T92" fmla="*/ 2147483647 w 85"/>
                    <a:gd name="T93" fmla="*/ 2147483647 h 61"/>
                    <a:gd name="T94" fmla="*/ 2147483647 w 85"/>
                    <a:gd name="T95" fmla="*/ 2147483647 h 61"/>
                    <a:gd name="T96" fmla="*/ 2147483647 w 85"/>
                    <a:gd name="T97" fmla="*/ 2147483647 h 61"/>
                    <a:gd name="T98" fmla="*/ 2147483647 w 85"/>
                    <a:gd name="T99" fmla="*/ 2147483647 h 61"/>
                    <a:gd name="T100" fmla="*/ 2147483647 w 85"/>
                    <a:gd name="T101" fmla="*/ 2147483647 h 6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85"/>
                    <a:gd name="T154" fmla="*/ 0 h 61"/>
                    <a:gd name="T155" fmla="*/ 85 w 85"/>
                    <a:gd name="T156" fmla="*/ 61 h 61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85" h="61">
                      <a:moveTo>
                        <a:pt x="30" y="37"/>
                      </a:moveTo>
                      <a:lnTo>
                        <a:pt x="24" y="36"/>
                      </a:lnTo>
                      <a:lnTo>
                        <a:pt x="19" y="32"/>
                      </a:lnTo>
                      <a:lnTo>
                        <a:pt x="18" y="28"/>
                      </a:lnTo>
                      <a:lnTo>
                        <a:pt x="15" y="24"/>
                      </a:lnTo>
                      <a:lnTo>
                        <a:pt x="5" y="14"/>
                      </a:lnTo>
                      <a:lnTo>
                        <a:pt x="1" y="9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6" y="1"/>
                      </a:lnTo>
                      <a:lnTo>
                        <a:pt x="12" y="4"/>
                      </a:lnTo>
                      <a:lnTo>
                        <a:pt x="16" y="5"/>
                      </a:lnTo>
                      <a:lnTo>
                        <a:pt x="19" y="7"/>
                      </a:lnTo>
                      <a:lnTo>
                        <a:pt x="21" y="11"/>
                      </a:lnTo>
                      <a:lnTo>
                        <a:pt x="24" y="13"/>
                      </a:lnTo>
                      <a:lnTo>
                        <a:pt x="26" y="13"/>
                      </a:lnTo>
                      <a:lnTo>
                        <a:pt x="29" y="13"/>
                      </a:lnTo>
                      <a:lnTo>
                        <a:pt x="33" y="14"/>
                      </a:lnTo>
                      <a:lnTo>
                        <a:pt x="38" y="14"/>
                      </a:lnTo>
                      <a:lnTo>
                        <a:pt x="42" y="14"/>
                      </a:lnTo>
                      <a:lnTo>
                        <a:pt x="44" y="14"/>
                      </a:lnTo>
                      <a:lnTo>
                        <a:pt x="44" y="16"/>
                      </a:lnTo>
                      <a:lnTo>
                        <a:pt x="51" y="25"/>
                      </a:lnTo>
                      <a:lnTo>
                        <a:pt x="58" y="33"/>
                      </a:lnTo>
                      <a:lnTo>
                        <a:pt x="67" y="39"/>
                      </a:lnTo>
                      <a:lnTo>
                        <a:pt x="72" y="42"/>
                      </a:lnTo>
                      <a:lnTo>
                        <a:pt x="77" y="43"/>
                      </a:lnTo>
                      <a:lnTo>
                        <a:pt x="80" y="44"/>
                      </a:lnTo>
                      <a:lnTo>
                        <a:pt x="82" y="45"/>
                      </a:lnTo>
                      <a:lnTo>
                        <a:pt x="85" y="50"/>
                      </a:lnTo>
                      <a:lnTo>
                        <a:pt x="85" y="55"/>
                      </a:lnTo>
                      <a:lnTo>
                        <a:pt x="84" y="60"/>
                      </a:lnTo>
                      <a:lnTo>
                        <a:pt x="82" y="61"/>
                      </a:lnTo>
                      <a:lnTo>
                        <a:pt x="80" y="61"/>
                      </a:lnTo>
                      <a:lnTo>
                        <a:pt x="76" y="58"/>
                      </a:lnTo>
                      <a:lnTo>
                        <a:pt x="71" y="56"/>
                      </a:lnTo>
                      <a:lnTo>
                        <a:pt x="68" y="55"/>
                      </a:lnTo>
                      <a:lnTo>
                        <a:pt x="66" y="54"/>
                      </a:lnTo>
                      <a:lnTo>
                        <a:pt x="59" y="54"/>
                      </a:lnTo>
                      <a:lnTo>
                        <a:pt x="56" y="52"/>
                      </a:lnTo>
                      <a:lnTo>
                        <a:pt x="54" y="50"/>
                      </a:lnTo>
                      <a:lnTo>
                        <a:pt x="53" y="46"/>
                      </a:lnTo>
                      <a:lnTo>
                        <a:pt x="52" y="45"/>
                      </a:lnTo>
                      <a:lnTo>
                        <a:pt x="51" y="44"/>
                      </a:lnTo>
                      <a:lnTo>
                        <a:pt x="48" y="45"/>
                      </a:lnTo>
                      <a:lnTo>
                        <a:pt x="44" y="46"/>
                      </a:lnTo>
                      <a:lnTo>
                        <a:pt x="39" y="45"/>
                      </a:lnTo>
                      <a:lnTo>
                        <a:pt x="34" y="42"/>
                      </a:lnTo>
                      <a:lnTo>
                        <a:pt x="30" y="3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6" name="Freeform 1000">
                  <a:extLst>
                    <a:ext uri="{FF2B5EF4-FFF2-40B4-BE49-F238E27FC236}">
                      <a16:creationId xmlns:a16="http://schemas.microsoft.com/office/drawing/2014/main" id="{0265E44B-EEBC-0947-814B-54855D12B9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110" y="2975705"/>
                  <a:ext cx="29597" cy="39956"/>
                </a:xfrm>
                <a:custGeom>
                  <a:avLst/>
                  <a:gdLst>
                    <a:gd name="T0" fmla="*/ 2147483647 w 21"/>
                    <a:gd name="T1" fmla="*/ 2147483647 h 27"/>
                    <a:gd name="T2" fmla="*/ 2147483647 w 21"/>
                    <a:gd name="T3" fmla="*/ 2147483647 h 27"/>
                    <a:gd name="T4" fmla="*/ 2147483647 w 21"/>
                    <a:gd name="T5" fmla="*/ 2147483647 h 27"/>
                    <a:gd name="T6" fmla="*/ 2147483647 w 21"/>
                    <a:gd name="T7" fmla="*/ 2147483647 h 27"/>
                    <a:gd name="T8" fmla="*/ 2147483647 w 21"/>
                    <a:gd name="T9" fmla="*/ 2147483647 h 27"/>
                    <a:gd name="T10" fmla="*/ 2147483647 w 21"/>
                    <a:gd name="T11" fmla="*/ 2147483647 h 27"/>
                    <a:gd name="T12" fmla="*/ 2147483647 w 21"/>
                    <a:gd name="T13" fmla="*/ 0 h 27"/>
                    <a:gd name="T14" fmla="*/ 0 w 21"/>
                    <a:gd name="T15" fmla="*/ 2147483647 h 27"/>
                    <a:gd name="T16" fmla="*/ 0 w 21"/>
                    <a:gd name="T17" fmla="*/ 2147483647 h 27"/>
                    <a:gd name="T18" fmla="*/ 0 w 21"/>
                    <a:gd name="T19" fmla="*/ 2147483647 h 27"/>
                    <a:gd name="T20" fmla="*/ 0 w 21"/>
                    <a:gd name="T21" fmla="*/ 2147483647 h 27"/>
                    <a:gd name="T22" fmla="*/ 2147483647 w 21"/>
                    <a:gd name="T23" fmla="*/ 2147483647 h 27"/>
                    <a:gd name="T24" fmla="*/ 2147483647 w 21"/>
                    <a:gd name="T25" fmla="*/ 2147483647 h 27"/>
                    <a:gd name="T26" fmla="*/ 2147483647 w 21"/>
                    <a:gd name="T27" fmla="*/ 2147483647 h 27"/>
                    <a:gd name="T28" fmla="*/ 2147483647 w 21"/>
                    <a:gd name="T29" fmla="*/ 2147483647 h 27"/>
                    <a:gd name="T30" fmla="*/ 2147483647 w 21"/>
                    <a:gd name="T31" fmla="*/ 2147483647 h 27"/>
                    <a:gd name="T32" fmla="*/ 2147483647 w 21"/>
                    <a:gd name="T33" fmla="*/ 2147483647 h 27"/>
                    <a:gd name="T34" fmla="*/ 2147483647 w 21"/>
                    <a:gd name="T35" fmla="*/ 2147483647 h 27"/>
                    <a:gd name="T36" fmla="*/ 2147483647 w 21"/>
                    <a:gd name="T37" fmla="*/ 2147483647 h 27"/>
                    <a:gd name="T38" fmla="*/ 2147483647 w 21"/>
                    <a:gd name="T39" fmla="*/ 2147483647 h 27"/>
                    <a:gd name="T40" fmla="*/ 2147483647 w 21"/>
                    <a:gd name="T41" fmla="*/ 2147483647 h 2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1"/>
                    <a:gd name="T64" fmla="*/ 0 h 27"/>
                    <a:gd name="T65" fmla="*/ 21 w 21"/>
                    <a:gd name="T66" fmla="*/ 27 h 27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1" h="27">
                      <a:moveTo>
                        <a:pt x="19" y="20"/>
                      </a:moveTo>
                      <a:lnTo>
                        <a:pt x="18" y="16"/>
                      </a:lnTo>
                      <a:lnTo>
                        <a:pt x="16" y="13"/>
                      </a:lnTo>
                      <a:lnTo>
                        <a:pt x="14" y="9"/>
                      </a:lnTo>
                      <a:lnTo>
                        <a:pt x="11" y="2"/>
                      </a:lnTo>
                      <a:lnTo>
                        <a:pt x="8" y="1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11"/>
                      </a:lnTo>
                      <a:lnTo>
                        <a:pt x="7" y="15"/>
                      </a:lnTo>
                      <a:lnTo>
                        <a:pt x="8" y="19"/>
                      </a:lnTo>
                      <a:lnTo>
                        <a:pt x="13" y="25"/>
                      </a:lnTo>
                      <a:lnTo>
                        <a:pt x="16" y="26"/>
                      </a:lnTo>
                      <a:lnTo>
                        <a:pt x="18" y="27"/>
                      </a:lnTo>
                      <a:lnTo>
                        <a:pt x="19" y="27"/>
                      </a:lnTo>
                      <a:lnTo>
                        <a:pt x="21" y="27"/>
                      </a:lnTo>
                      <a:lnTo>
                        <a:pt x="21" y="25"/>
                      </a:lnTo>
                      <a:lnTo>
                        <a:pt x="19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7" name="Freeform 1001">
                  <a:extLst>
                    <a:ext uri="{FF2B5EF4-FFF2-40B4-BE49-F238E27FC236}">
                      <a16:creationId xmlns:a16="http://schemas.microsoft.com/office/drawing/2014/main" id="{61778D31-E883-6A4E-AD8B-4052B149C0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0382" y="3052661"/>
                  <a:ext cx="118390" cy="90272"/>
                </a:xfrm>
                <a:custGeom>
                  <a:avLst/>
                  <a:gdLst>
                    <a:gd name="T0" fmla="*/ 2147483647 w 86"/>
                    <a:gd name="T1" fmla="*/ 2147483647 h 61"/>
                    <a:gd name="T2" fmla="*/ 2147483647 w 86"/>
                    <a:gd name="T3" fmla="*/ 2147483647 h 61"/>
                    <a:gd name="T4" fmla="*/ 2147483647 w 86"/>
                    <a:gd name="T5" fmla="*/ 2147483647 h 61"/>
                    <a:gd name="T6" fmla="*/ 2147483647 w 86"/>
                    <a:gd name="T7" fmla="*/ 2147483647 h 61"/>
                    <a:gd name="T8" fmla="*/ 2147483647 w 86"/>
                    <a:gd name="T9" fmla="*/ 2147483647 h 61"/>
                    <a:gd name="T10" fmla="*/ 2147483647 w 86"/>
                    <a:gd name="T11" fmla="*/ 2147483647 h 61"/>
                    <a:gd name="T12" fmla="*/ 2147483647 w 86"/>
                    <a:gd name="T13" fmla="*/ 2147483647 h 61"/>
                    <a:gd name="T14" fmla="*/ 2147483647 w 86"/>
                    <a:gd name="T15" fmla="*/ 2147483647 h 61"/>
                    <a:gd name="T16" fmla="*/ 2147483647 w 86"/>
                    <a:gd name="T17" fmla="*/ 2147483647 h 61"/>
                    <a:gd name="T18" fmla="*/ 2147483647 w 86"/>
                    <a:gd name="T19" fmla="*/ 2147483647 h 61"/>
                    <a:gd name="T20" fmla="*/ 2147483647 w 86"/>
                    <a:gd name="T21" fmla="*/ 2147483647 h 61"/>
                    <a:gd name="T22" fmla="*/ 2147483647 w 86"/>
                    <a:gd name="T23" fmla="*/ 2147483647 h 61"/>
                    <a:gd name="T24" fmla="*/ 2147483647 w 86"/>
                    <a:gd name="T25" fmla="*/ 2147483647 h 61"/>
                    <a:gd name="T26" fmla="*/ 2147483647 w 86"/>
                    <a:gd name="T27" fmla="*/ 2147483647 h 61"/>
                    <a:gd name="T28" fmla="*/ 2147483647 w 86"/>
                    <a:gd name="T29" fmla="*/ 2147483647 h 61"/>
                    <a:gd name="T30" fmla="*/ 2147483647 w 86"/>
                    <a:gd name="T31" fmla="*/ 2147483647 h 61"/>
                    <a:gd name="T32" fmla="*/ 2147483647 w 86"/>
                    <a:gd name="T33" fmla="*/ 2147483647 h 61"/>
                    <a:gd name="T34" fmla="*/ 2147483647 w 86"/>
                    <a:gd name="T35" fmla="*/ 2147483647 h 61"/>
                    <a:gd name="T36" fmla="*/ 2147483647 w 86"/>
                    <a:gd name="T37" fmla="*/ 2147483647 h 61"/>
                    <a:gd name="T38" fmla="*/ 2147483647 w 86"/>
                    <a:gd name="T39" fmla="*/ 2147483647 h 61"/>
                    <a:gd name="T40" fmla="*/ 2147483647 w 86"/>
                    <a:gd name="T41" fmla="*/ 2147483647 h 61"/>
                    <a:gd name="T42" fmla="*/ 2147483647 w 86"/>
                    <a:gd name="T43" fmla="*/ 2147483647 h 61"/>
                    <a:gd name="T44" fmla="*/ 2147483647 w 86"/>
                    <a:gd name="T45" fmla="*/ 2147483647 h 61"/>
                    <a:gd name="T46" fmla="*/ 2147483647 w 86"/>
                    <a:gd name="T47" fmla="*/ 2147483647 h 61"/>
                    <a:gd name="T48" fmla="*/ 2147483647 w 86"/>
                    <a:gd name="T49" fmla="*/ 2147483647 h 61"/>
                    <a:gd name="T50" fmla="*/ 2147483647 w 86"/>
                    <a:gd name="T51" fmla="*/ 2147483647 h 61"/>
                    <a:gd name="T52" fmla="*/ 2147483647 w 86"/>
                    <a:gd name="T53" fmla="*/ 2147483647 h 61"/>
                    <a:gd name="T54" fmla="*/ 2147483647 w 86"/>
                    <a:gd name="T55" fmla="*/ 2147483647 h 61"/>
                    <a:gd name="T56" fmla="*/ 2147483647 w 86"/>
                    <a:gd name="T57" fmla="*/ 2147483647 h 61"/>
                    <a:gd name="T58" fmla="*/ 2147483647 w 86"/>
                    <a:gd name="T59" fmla="*/ 2147483647 h 61"/>
                    <a:gd name="T60" fmla="*/ 2147483647 w 86"/>
                    <a:gd name="T61" fmla="*/ 2147483647 h 61"/>
                    <a:gd name="T62" fmla="*/ 2147483647 w 86"/>
                    <a:gd name="T63" fmla="*/ 2147483647 h 6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86"/>
                    <a:gd name="T97" fmla="*/ 0 h 61"/>
                    <a:gd name="T98" fmla="*/ 86 w 86"/>
                    <a:gd name="T99" fmla="*/ 61 h 6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86" h="61">
                      <a:moveTo>
                        <a:pt x="31" y="37"/>
                      </a:moveTo>
                      <a:lnTo>
                        <a:pt x="31" y="37"/>
                      </a:lnTo>
                      <a:lnTo>
                        <a:pt x="25" y="36"/>
                      </a:lnTo>
                      <a:lnTo>
                        <a:pt x="20" y="32"/>
                      </a:lnTo>
                      <a:lnTo>
                        <a:pt x="18" y="27"/>
                      </a:lnTo>
                      <a:lnTo>
                        <a:pt x="16" y="24"/>
                      </a:lnTo>
                      <a:lnTo>
                        <a:pt x="6" y="14"/>
                      </a:lnTo>
                      <a:lnTo>
                        <a:pt x="2" y="8"/>
                      </a:ln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7" y="1"/>
                      </a:lnTo>
                      <a:lnTo>
                        <a:pt x="13" y="4"/>
                      </a:lnTo>
                      <a:lnTo>
                        <a:pt x="17" y="5"/>
                      </a:lnTo>
                      <a:lnTo>
                        <a:pt x="20" y="7"/>
                      </a:lnTo>
                      <a:lnTo>
                        <a:pt x="22" y="11"/>
                      </a:lnTo>
                      <a:lnTo>
                        <a:pt x="25" y="13"/>
                      </a:lnTo>
                      <a:lnTo>
                        <a:pt x="27" y="13"/>
                      </a:lnTo>
                      <a:lnTo>
                        <a:pt x="30" y="13"/>
                      </a:lnTo>
                      <a:lnTo>
                        <a:pt x="33" y="14"/>
                      </a:lnTo>
                      <a:lnTo>
                        <a:pt x="39" y="14"/>
                      </a:lnTo>
                      <a:lnTo>
                        <a:pt x="42" y="14"/>
                      </a:lnTo>
                      <a:lnTo>
                        <a:pt x="45" y="14"/>
                      </a:lnTo>
                      <a:lnTo>
                        <a:pt x="45" y="15"/>
                      </a:lnTo>
                      <a:lnTo>
                        <a:pt x="51" y="25"/>
                      </a:lnTo>
                      <a:lnTo>
                        <a:pt x="59" y="33"/>
                      </a:lnTo>
                      <a:lnTo>
                        <a:pt x="68" y="39"/>
                      </a:lnTo>
                      <a:lnTo>
                        <a:pt x="73" y="42"/>
                      </a:lnTo>
                      <a:lnTo>
                        <a:pt x="78" y="43"/>
                      </a:lnTo>
                      <a:lnTo>
                        <a:pt x="80" y="44"/>
                      </a:lnTo>
                      <a:lnTo>
                        <a:pt x="83" y="45"/>
                      </a:lnTo>
                      <a:lnTo>
                        <a:pt x="86" y="50"/>
                      </a:lnTo>
                      <a:lnTo>
                        <a:pt x="86" y="55"/>
                      </a:lnTo>
                      <a:lnTo>
                        <a:pt x="84" y="59"/>
                      </a:lnTo>
                      <a:lnTo>
                        <a:pt x="83" y="61"/>
                      </a:lnTo>
                      <a:lnTo>
                        <a:pt x="80" y="61"/>
                      </a:lnTo>
                      <a:lnTo>
                        <a:pt x="77" y="58"/>
                      </a:lnTo>
                      <a:lnTo>
                        <a:pt x="72" y="56"/>
                      </a:lnTo>
                      <a:lnTo>
                        <a:pt x="69" y="55"/>
                      </a:lnTo>
                      <a:lnTo>
                        <a:pt x="67" y="53"/>
                      </a:lnTo>
                      <a:lnTo>
                        <a:pt x="60" y="53"/>
                      </a:lnTo>
                      <a:lnTo>
                        <a:pt x="56" y="52"/>
                      </a:lnTo>
                      <a:lnTo>
                        <a:pt x="55" y="50"/>
                      </a:lnTo>
                      <a:lnTo>
                        <a:pt x="54" y="46"/>
                      </a:lnTo>
                      <a:lnTo>
                        <a:pt x="53" y="45"/>
                      </a:lnTo>
                      <a:lnTo>
                        <a:pt x="51" y="44"/>
                      </a:lnTo>
                      <a:lnTo>
                        <a:pt x="49" y="45"/>
                      </a:lnTo>
                      <a:lnTo>
                        <a:pt x="45" y="46"/>
                      </a:lnTo>
                      <a:lnTo>
                        <a:pt x="40" y="45"/>
                      </a:lnTo>
                      <a:lnTo>
                        <a:pt x="35" y="42"/>
                      </a:lnTo>
                      <a:lnTo>
                        <a:pt x="31" y="3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8" name="Freeform 1002">
                  <a:extLst>
                    <a:ext uri="{FF2B5EF4-FFF2-40B4-BE49-F238E27FC236}">
                      <a16:creationId xmlns:a16="http://schemas.microsoft.com/office/drawing/2014/main" id="{F58A415B-BFE6-564D-B74A-4F967573DD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8633" y="2974228"/>
                  <a:ext cx="28118" cy="39957"/>
                </a:xfrm>
                <a:custGeom>
                  <a:avLst/>
                  <a:gdLst>
                    <a:gd name="T0" fmla="*/ 2147483647 w 20"/>
                    <a:gd name="T1" fmla="*/ 2147483647 h 27"/>
                    <a:gd name="T2" fmla="*/ 2147483647 w 20"/>
                    <a:gd name="T3" fmla="*/ 2147483647 h 27"/>
                    <a:gd name="T4" fmla="*/ 2147483647 w 20"/>
                    <a:gd name="T5" fmla="*/ 2147483647 h 27"/>
                    <a:gd name="T6" fmla="*/ 2147483647 w 20"/>
                    <a:gd name="T7" fmla="*/ 2147483647 h 27"/>
                    <a:gd name="T8" fmla="*/ 2147483647 w 20"/>
                    <a:gd name="T9" fmla="*/ 2147483647 h 27"/>
                    <a:gd name="T10" fmla="*/ 2147483647 w 20"/>
                    <a:gd name="T11" fmla="*/ 2147483647 h 27"/>
                    <a:gd name="T12" fmla="*/ 2147483647 w 20"/>
                    <a:gd name="T13" fmla="*/ 2147483647 h 27"/>
                    <a:gd name="T14" fmla="*/ 2147483647 w 20"/>
                    <a:gd name="T15" fmla="*/ 2147483647 h 27"/>
                    <a:gd name="T16" fmla="*/ 2147483647 w 20"/>
                    <a:gd name="T17" fmla="*/ 2147483647 h 27"/>
                    <a:gd name="T18" fmla="*/ 2147483647 w 20"/>
                    <a:gd name="T19" fmla="*/ 0 h 27"/>
                    <a:gd name="T20" fmla="*/ 0 w 20"/>
                    <a:gd name="T21" fmla="*/ 2147483647 h 27"/>
                    <a:gd name="T22" fmla="*/ 0 w 20"/>
                    <a:gd name="T23" fmla="*/ 2147483647 h 27"/>
                    <a:gd name="T24" fmla="*/ 0 w 20"/>
                    <a:gd name="T25" fmla="*/ 2147483647 h 27"/>
                    <a:gd name="T26" fmla="*/ 0 w 20"/>
                    <a:gd name="T27" fmla="*/ 2147483647 h 27"/>
                    <a:gd name="T28" fmla="*/ 0 w 20"/>
                    <a:gd name="T29" fmla="*/ 2147483647 h 27"/>
                    <a:gd name="T30" fmla="*/ 2147483647 w 20"/>
                    <a:gd name="T31" fmla="*/ 2147483647 h 27"/>
                    <a:gd name="T32" fmla="*/ 2147483647 w 20"/>
                    <a:gd name="T33" fmla="*/ 2147483647 h 27"/>
                    <a:gd name="T34" fmla="*/ 2147483647 w 20"/>
                    <a:gd name="T35" fmla="*/ 2147483647 h 27"/>
                    <a:gd name="T36" fmla="*/ 2147483647 w 20"/>
                    <a:gd name="T37" fmla="*/ 2147483647 h 27"/>
                    <a:gd name="T38" fmla="*/ 2147483647 w 20"/>
                    <a:gd name="T39" fmla="*/ 2147483647 h 27"/>
                    <a:gd name="T40" fmla="*/ 2147483647 w 20"/>
                    <a:gd name="T41" fmla="*/ 2147483647 h 27"/>
                    <a:gd name="T42" fmla="*/ 2147483647 w 20"/>
                    <a:gd name="T43" fmla="*/ 2147483647 h 27"/>
                    <a:gd name="T44" fmla="*/ 2147483647 w 20"/>
                    <a:gd name="T45" fmla="*/ 2147483647 h 27"/>
                    <a:gd name="T46" fmla="*/ 2147483647 w 20"/>
                    <a:gd name="T47" fmla="*/ 2147483647 h 27"/>
                    <a:gd name="T48" fmla="*/ 2147483647 w 20"/>
                    <a:gd name="T49" fmla="*/ 2147483647 h 27"/>
                    <a:gd name="T50" fmla="*/ 2147483647 w 20"/>
                    <a:gd name="T51" fmla="*/ 2147483647 h 27"/>
                    <a:gd name="T52" fmla="*/ 2147483647 w 20"/>
                    <a:gd name="T53" fmla="*/ 2147483647 h 27"/>
                    <a:gd name="T54" fmla="*/ 2147483647 w 20"/>
                    <a:gd name="T55" fmla="*/ 2147483647 h 27"/>
                    <a:gd name="T56" fmla="*/ 2147483647 w 20"/>
                    <a:gd name="T57" fmla="*/ 2147483647 h 2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"/>
                    <a:gd name="T88" fmla="*/ 0 h 27"/>
                    <a:gd name="T89" fmla="*/ 20 w 20"/>
                    <a:gd name="T90" fmla="*/ 27 h 2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" h="27">
                      <a:moveTo>
                        <a:pt x="19" y="20"/>
                      </a:moveTo>
                      <a:lnTo>
                        <a:pt x="19" y="20"/>
                      </a:lnTo>
                      <a:lnTo>
                        <a:pt x="18" y="16"/>
                      </a:lnTo>
                      <a:lnTo>
                        <a:pt x="15" y="13"/>
                      </a:lnTo>
                      <a:lnTo>
                        <a:pt x="14" y="9"/>
                      </a:lnTo>
                      <a:lnTo>
                        <a:pt x="10" y="2"/>
                      </a:lnTo>
                      <a:lnTo>
                        <a:pt x="8" y="1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10"/>
                      </a:lnTo>
                      <a:lnTo>
                        <a:pt x="7" y="15"/>
                      </a:lnTo>
                      <a:lnTo>
                        <a:pt x="8" y="19"/>
                      </a:lnTo>
                      <a:lnTo>
                        <a:pt x="13" y="25"/>
                      </a:lnTo>
                      <a:lnTo>
                        <a:pt x="15" y="26"/>
                      </a:lnTo>
                      <a:lnTo>
                        <a:pt x="18" y="27"/>
                      </a:lnTo>
                      <a:lnTo>
                        <a:pt x="19" y="27"/>
                      </a:lnTo>
                      <a:lnTo>
                        <a:pt x="20" y="27"/>
                      </a:lnTo>
                      <a:lnTo>
                        <a:pt x="20" y="25"/>
                      </a:lnTo>
                      <a:lnTo>
                        <a:pt x="19" y="2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9" name="Freeform 1003">
                  <a:extLst>
                    <a:ext uri="{FF2B5EF4-FFF2-40B4-BE49-F238E27FC236}">
                      <a16:creationId xmlns:a16="http://schemas.microsoft.com/office/drawing/2014/main" id="{5CDE72A7-CC08-E047-9CE9-99C77CB2DF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2930" y="2231330"/>
                  <a:ext cx="2011146" cy="1124703"/>
                </a:xfrm>
                <a:custGeom>
                  <a:avLst/>
                  <a:gdLst>
                    <a:gd name="T0" fmla="*/ 2147483647 w 1472"/>
                    <a:gd name="T1" fmla="*/ 2147483647 h 760"/>
                    <a:gd name="T2" fmla="*/ 2147483647 w 1472"/>
                    <a:gd name="T3" fmla="*/ 2147483647 h 760"/>
                    <a:gd name="T4" fmla="*/ 2147483647 w 1472"/>
                    <a:gd name="T5" fmla="*/ 2147483647 h 760"/>
                    <a:gd name="T6" fmla="*/ 2147483647 w 1472"/>
                    <a:gd name="T7" fmla="*/ 2147483647 h 760"/>
                    <a:gd name="T8" fmla="*/ 2147483647 w 1472"/>
                    <a:gd name="T9" fmla="*/ 2147483647 h 760"/>
                    <a:gd name="T10" fmla="*/ 2147483647 w 1472"/>
                    <a:gd name="T11" fmla="*/ 2147483647 h 760"/>
                    <a:gd name="T12" fmla="*/ 2147483647 w 1472"/>
                    <a:gd name="T13" fmla="*/ 2147483647 h 760"/>
                    <a:gd name="T14" fmla="*/ 2147483647 w 1472"/>
                    <a:gd name="T15" fmla="*/ 2147483647 h 760"/>
                    <a:gd name="T16" fmla="*/ 2147483647 w 1472"/>
                    <a:gd name="T17" fmla="*/ 2147483647 h 760"/>
                    <a:gd name="T18" fmla="*/ 2147483647 w 1472"/>
                    <a:gd name="T19" fmla="*/ 2147483647 h 760"/>
                    <a:gd name="T20" fmla="*/ 2147483647 w 1472"/>
                    <a:gd name="T21" fmla="*/ 2147483647 h 760"/>
                    <a:gd name="T22" fmla="*/ 2147483647 w 1472"/>
                    <a:gd name="T23" fmla="*/ 2147483647 h 760"/>
                    <a:gd name="T24" fmla="*/ 2147483647 w 1472"/>
                    <a:gd name="T25" fmla="*/ 2147483647 h 760"/>
                    <a:gd name="T26" fmla="*/ 2147483647 w 1472"/>
                    <a:gd name="T27" fmla="*/ 2147483647 h 760"/>
                    <a:gd name="T28" fmla="*/ 2147483647 w 1472"/>
                    <a:gd name="T29" fmla="*/ 2147483647 h 760"/>
                    <a:gd name="T30" fmla="*/ 2147483647 w 1472"/>
                    <a:gd name="T31" fmla="*/ 2147483647 h 760"/>
                    <a:gd name="T32" fmla="*/ 2147483647 w 1472"/>
                    <a:gd name="T33" fmla="*/ 2147483647 h 760"/>
                    <a:gd name="T34" fmla="*/ 2147483647 w 1472"/>
                    <a:gd name="T35" fmla="*/ 2147483647 h 760"/>
                    <a:gd name="T36" fmla="*/ 2147483647 w 1472"/>
                    <a:gd name="T37" fmla="*/ 2147483647 h 760"/>
                    <a:gd name="T38" fmla="*/ 2147483647 w 1472"/>
                    <a:gd name="T39" fmla="*/ 2147483647 h 760"/>
                    <a:gd name="T40" fmla="*/ 2147483647 w 1472"/>
                    <a:gd name="T41" fmla="*/ 2147483647 h 760"/>
                    <a:gd name="T42" fmla="*/ 2147483647 w 1472"/>
                    <a:gd name="T43" fmla="*/ 2147483647 h 760"/>
                    <a:gd name="T44" fmla="*/ 2147483647 w 1472"/>
                    <a:gd name="T45" fmla="*/ 2147483647 h 760"/>
                    <a:gd name="T46" fmla="*/ 2147483647 w 1472"/>
                    <a:gd name="T47" fmla="*/ 2147483647 h 760"/>
                    <a:gd name="T48" fmla="*/ 2147483647 w 1472"/>
                    <a:gd name="T49" fmla="*/ 2147483647 h 760"/>
                    <a:gd name="T50" fmla="*/ 2147483647 w 1472"/>
                    <a:gd name="T51" fmla="*/ 2147483647 h 760"/>
                    <a:gd name="T52" fmla="*/ 2147483647 w 1472"/>
                    <a:gd name="T53" fmla="*/ 2147483647 h 760"/>
                    <a:gd name="T54" fmla="*/ 2147483647 w 1472"/>
                    <a:gd name="T55" fmla="*/ 2147483647 h 760"/>
                    <a:gd name="T56" fmla="*/ 2147483647 w 1472"/>
                    <a:gd name="T57" fmla="*/ 2147483647 h 760"/>
                    <a:gd name="T58" fmla="*/ 2147483647 w 1472"/>
                    <a:gd name="T59" fmla="*/ 2147483647 h 760"/>
                    <a:gd name="T60" fmla="*/ 2147483647 w 1472"/>
                    <a:gd name="T61" fmla="*/ 2147483647 h 760"/>
                    <a:gd name="T62" fmla="*/ 2147483647 w 1472"/>
                    <a:gd name="T63" fmla="*/ 2147483647 h 760"/>
                    <a:gd name="T64" fmla="*/ 2147483647 w 1472"/>
                    <a:gd name="T65" fmla="*/ 2147483647 h 760"/>
                    <a:gd name="T66" fmla="*/ 2147483647 w 1472"/>
                    <a:gd name="T67" fmla="*/ 2147483647 h 760"/>
                    <a:gd name="T68" fmla="*/ 2147483647 w 1472"/>
                    <a:gd name="T69" fmla="*/ 2147483647 h 760"/>
                    <a:gd name="T70" fmla="*/ 2147483647 w 1472"/>
                    <a:gd name="T71" fmla="*/ 2147483647 h 760"/>
                    <a:gd name="T72" fmla="*/ 2147483647 w 1472"/>
                    <a:gd name="T73" fmla="*/ 2147483647 h 760"/>
                    <a:gd name="T74" fmla="*/ 2147483647 w 1472"/>
                    <a:gd name="T75" fmla="*/ 2147483647 h 760"/>
                    <a:gd name="T76" fmla="*/ 2147483647 w 1472"/>
                    <a:gd name="T77" fmla="*/ 2147483647 h 760"/>
                    <a:gd name="T78" fmla="*/ 2147483647 w 1472"/>
                    <a:gd name="T79" fmla="*/ 2147483647 h 760"/>
                    <a:gd name="T80" fmla="*/ 2147483647 w 1472"/>
                    <a:gd name="T81" fmla="*/ 2147483647 h 760"/>
                    <a:gd name="T82" fmla="*/ 2147483647 w 1472"/>
                    <a:gd name="T83" fmla="*/ 2147483647 h 760"/>
                    <a:gd name="T84" fmla="*/ 2147483647 w 1472"/>
                    <a:gd name="T85" fmla="*/ 2147483647 h 760"/>
                    <a:gd name="T86" fmla="*/ 2147483647 w 1472"/>
                    <a:gd name="T87" fmla="*/ 2147483647 h 760"/>
                    <a:gd name="T88" fmla="*/ 2147483647 w 1472"/>
                    <a:gd name="T89" fmla="*/ 2147483647 h 760"/>
                    <a:gd name="T90" fmla="*/ 2147483647 w 1472"/>
                    <a:gd name="T91" fmla="*/ 2147483647 h 760"/>
                    <a:gd name="T92" fmla="*/ 2147483647 w 1472"/>
                    <a:gd name="T93" fmla="*/ 2147483647 h 760"/>
                    <a:gd name="T94" fmla="*/ 2147483647 w 1472"/>
                    <a:gd name="T95" fmla="*/ 2147483647 h 760"/>
                    <a:gd name="T96" fmla="*/ 2147483647 w 1472"/>
                    <a:gd name="T97" fmla="*/ 2147483647 h 760"/>
                    <a:gd name="T98" fmla="*/ 2147483647 w 1472"/>
                    <a:gd name="T99" fmla="*/ 2147483647 h 760"/>
                    <a:gd name="T100" fmla="*/ 2147483647 w 1472"/>
                    <a:gd name="T101" fmla="*/ 2147483647 h 760"/>
                    <a:gd name="T102" fmla="*/ 2147483647 w 1472"/>
                    <a:gd name="T103" fmla="*/ 2147483647 h 760"/>
                    <a:gd name="T104" fmla="*/ 2147483647 w 1472"/>
                    <a:gd name="T105" fmla="*/ 2147483647 h 760"/>
                    <a:gd name="T106" fmla="*/ 2147483647 w 1472"/>
                    <a:gd name="T107" fmla="*/ 2147483647 h 760"/>
                    <a:gd name="T108" fmla="*/ 2147483647 w 1472"/>
                    <a:gd name="T109" fmla="*/ 2147483647 h 760"/>
                    <a:gd name="T110" fmla="*/ 2147483647 w 1472"/>
                    <a:gd name="T111" fmla="*/ 2147483647 h 760"/>
                    <a:gd name="T112" fmla="*/ 2147483647 w 1472"/>
                    <a:gd name="T113" fmla="*/ 2147483647 h 760"/>
                    <a:gd name="T114" fmla="*/ 2147483647 w 1472"/>
                    <a:gd name="T115" fmla="*/ 2147483647 h 760"/>
                    <a:gd name="T116" fmla="*/ 2147483647 w 1472"/>
                    <a:gd name="T117" fmla="*/ 2147483647 h 760"/>
                    <a:gd name="T118" fmla="*/ 2147483647 w 1472"/>
                    <a:gd name="T119" fmla="*/ 2147483647 h 760"/>
                    <a:gd name="T120" fmla="*/ 2147483647 w 1472"/>
                    <a:gd name="T121" fmla="*/ 2147483647 h 760"/>
                    <a:gd name="T122" fmla="*/ 2147483647 w 1472"/>
                    <a:gd name="T123" fmla="*/ 2147483647 h 76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472"/>
                    <a:gd name="T187" fmla="*/ 0 h 760"/>
                    <a:gd name="T188" fmla="*/ 1472 w 1472"/>
                    <a:gd name="T189" fmla="*/ 760 h 76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472" h="760">
                      <a:moveTo>
                        <a:pt x="184" y="458"/>
                      </a:moveTo>
                      <a:lnTo>
                        <a:pt x="184" y="460"/>
                      </a:lnTo>
                      <a:lnTo>
                        <a:pt x="185" y="463"/>
                      </a:lnTo>
                      <a:lnTo>
                        <a:pt x="185" y="469"/>
                      </a:lnTo>
                      <a:lnTo>
                        <a:pt x="188" y="473"/>
                      </a:lnTo>
                      <a:lnTo>
                        <a:pt x="189" y="478"/>
                      </a:lnTo>
                      <a:lnTo>
                        <a:pt x="191" y="486"/>
                      </a:lnTo>
                      <a:lnTo>
                        <a:pt x="192" y="490"/>
                      </a:lnTo>
                      <a:lnTo>
                        <a:pt x="194" y="493"/>
                      </a:lnTo>
                      <a:lnTo>
                        <a:pt x="197" y="496"/>
                      </a:lnTo>
                      <a:lnTo>
                        <a:pt x="201" y="501"/>
                      </a:lnTo>
                      <a:lnTo>
                        <a:pt x="202" y="504"/>
                      </a:lnTo>
                      <a:lnTo>
                        <a:pt x="203" y="508"/>
                      </a:lnTo>
                      <a:lnTo>
                        <a:pt x="203" y="509"/>
                      </a:lnTo>
                      <a:lnTo>
                        <a:pt x="201" y="509"/>
                      </a:lnTo>
                      <a:lnTo>
                        <a:pt x="198" y="509"/>
                      </a:lnTo>
                      <a:lnTo>
                        <a:pt x="198" y="510"/>
                      </a:lnTo>
                      <a:lnTo>
                        <a:pt x="201" y="515"/>
                      </a:lnTo>
                      <a:lnTo>
                        <a:pt x="205" y="519"/>
                      </a:lnTo>
                      <a:lnTo>
                        <a:pt x="206" y="518"/>
                      </a:lnTo>
                      <a:lnTo>
                        <a:pt x="208" y="515"/>
                      </a:lnTo>
                      <a:lnTo>
                        <a:pt x="210" y="512"/>
                      </a:lnTo>
                      <a:lnTo>
                        <a:pt x="211" y="511"/>
                      </a:lnTo>
                      <a:lnTo>
                        <a:pt x="213" y="512"/>
                      </a:lnTo>
                      <a:lnTo>
                        <a:pt x="215" y="515"/>
                      </a:lnTo>
                      <a:lnTo>
                        <a:pt x="217" y="517"/>
                      </a:lnTo>
                      <a:lnTo>
                        <a:pt x="222" y="523"/>
                      </a:lnTo>
                      <a:lnTo>
                        <a:pt x="227" y="530"/>
                      </a:lnTo>
                      <a:lnTo>
                        <a:pt x="231" y="538"/>
                      </a:lnTo>
                      <a:lnTo>
                        <a:pt x="234" y="546"/>
                      </a:lnTo>
                      <a:lnTo>
                        <a:pt x="235" y="550"/>
                      </a:lnTo>
                      <a:lnTo>
                        <a:pt x="239" y="555"/>
                      </a:lnTo>
                      <a:lnTo>
                        <a:pt x="244" y="557"/>
                      </a:lnTo>
                      <a:lnTo>
                        <a:pt x="249" y="557"/>
                      </a:lnTo>
                      <a:lnTo>
                        <a:pt x="257" y="561"/>
                      </a:lnTo>
                      <a:lnTo>
                        <a:pt x="264" y="563"/>
                      </a:lnTo>
                      <a:lnTo>
                        <a:pt x="272" y="565"/>
                      </a:lnTo>
                      <a:lnTo>
                        <a:pt x="278" y="567"/>
                      </a:lnTo>
                      <a:lnTo>
                        <a:pt x="282" y="570"/>
                      </a:lnTo>
                      <a:lnTo>
                        <a:pt x="285" y="573"/>
                      </a:lnTo>
                      <a:lnTo>
                        <a:pt x="291" y="581"/>
                      </a:lnTo>
                      <a:lnTo>
                        <a:pt x="295" y="585"/>
                      </a:lnTo>
                      <a:lnTo>
                        <a:pt x="298" y="587"/>
                      </a:lnTo>
                      <a:lnTo>
                        <a:pt x="304" y="588"/>
                      </a:lnTo>
                      <a:lnTo>
                        <a:pt x="309" y="588"/>
                      </a:lnTo>
                      <a:lnTo>
                        <a:pt x="310" y="588"/>
                      </a:lnTo>
                      <a:lnTo>
                        <a:pt x="310" y="591"/>
                      </a:lnTo>
                      <a:lnTo>
                        <a:pt x="310" y="595"/>
                      </a:lnTo>
                      <a:lnTo>
                        <a:pt x="310" y="597"/>
                      </a:lnTo>
                      <a:lnTo>
                        <a:pt x="310" y="598"/>
                      </a:lnTo>
                      <a:lnTo>
                        <a:pt x="312" y="600"/>
                      </a:lnTo>
                      <a:lnTo>
                        <a:pt x="318" y="602"/>
                      </a:lnTo>
                      <a:lnTo>
                        <a:pt x="796" y="598"/>
                      </a:lnTo>
                      <a:lnTo>
                        <a:pt x="806" y="606"/>
                      </a:lnTo>
                      <a:lnTo>
                        <a:pt x="814" y="611"/>
                      </a:lnTo>
                      <a:lnTo>
                        <a:pt x="817" y="612"/>
                      </a:lnTo>
                      <a:lnTo>
                        <a:pt x="819" y="613"/>
                      </a:lnTo>
                      <a:lnTo>
                        <a:pt x="833" y="610"/>
                      </a:lnTo>
                      <a:lnTo>
                        <a:pt x="839" y="608"/>
                      </a:lnTo>
                      <a:lnTo>
                        <a:pt x="842" y="608"/>
                      </a:lnTo>
                      <a:lnTo>
                        <a:pt x="845" y="610"/>
                      </a:lnTo>
                      <a:lnTo>
                        <a:pt x="848" y="613"/>
                      </a:lnTo>
                      <a:lnTo>
                        <a:pt x="852" y="616"/>
                      </a:lnTo>
                      <a:lnTo>
                        <a:pt x="856" y="616"/>
                      </a:lnTo>
                      <a:lnTo>
                        <a:pt x="865" y="616"/>
                      </a:lnTo>
                      <a:lnTo>
                        <a:pt x="875" y="616"/>
                      </a:lnTo>
                      <a:lnTo>
                        <a:pt x="884" y="618"/>
                      </a:lnTo>
                      <a:lnTo>
                        <a:pt x="894" y="620"/>
                      </a:lnTo>
                      <a:lnTo>
                        <a:pt x="897" y="620"/>
                      </a:lnTo>
                      <a:lnTo>
                        <a:pt x="898" y="619"/>
                      </a:lnTo>
                      <a:lnTo>
                        <a:pt x="900" y="618"/>
                      </a:lnTo>
                      <a:lnTo>
                        <a:pt x="903" y="616"/>
                      </a:lnTo>
                      <a:lnTo>
                        <a:pt x="911" y="616"/>
                      </a:lnTo>
                      <a:lnTo>
                        <a:pt x="914" y="617"/>
                      </a:lnTo>
                      <a:lnTo>
                        <a:pt x="917" y="618"/>
                      </a:lnTo>
                      <a:lnTo>
                        <a:pt x="931" y="629"/>
                      </a:lnTo>
                      <a:lnTo>
                        <a:pt x="946" y="638"/>
                      </a:lnTo>
                      <a:lnTo>
                        <a:pt x="961" y="645"/>
                      </a:lnTo>
                      <a:lnTo>
                        <a:pt x="978" y="651"/>
                      </a:lnTo>
                      <a:lnTo>
                        <a:pt x="980" y="653"/>
                      </a:lnTo>
                      <a:lnTo>
                        <a:pt x="983" y="657"/>
                      </a:lnTo>
                      <a:lnTo>
                        <a:pt x="988" y="669"/>
                      </a:lnTo>
                      <a:lnTo>
                        <a:pt x="991" y="674"/>
                      </a:lnTo>
                      <a:lnTo>
                        <a:pt x="994" y="678"/>
                      </a:lnTo>
                      <a:lnTo>
                        <a:pt x="999" y="682"/>
                      </a:lnTo>
                      <a:lnTo>
                        <a:pt x="1003" y="687"/>
                      </a:lnTo>
                      <a:lnTo>
                        <a:pt x="1012" y="699"/>
                      </a:lnTo>
                      <a:lnTo>
                        <a:pt x="1017" y="710"/>
                      </a:lnTo>
                      <a:lnTo>
                        <a:pt x="1021" y="722"/>
                      </a:lnTo>
                      <a:lnTo>
                        <a:pt x="1021" y="727"/>
                      </a:lnTo>
                      <a:lnTo>
                        <a:pt x="1020" y="731"/>
                      </a:lnTo>
                      <a:lnTo>
                        <a:pt x="1015" y="739"/>
                      </a:lnTo>
                      <a:lnTo>
                        <a:pt x="1003" y="753"/>
                      </a:lnTo>
                      <a:lnTo>
                        <a:pt x="1003" y="754"/>
                      </a:lnTo>
                      <a:lnTo>
                        <a:pt x="1003" y="755"/>
                      </a:lnTo>
                      <a:lnTo>
                        <a:pt x="1006" y="758"/>
                      </a:lnTo>
                      <a:lnTo>
                        <a:pt x="1012" y="760"/>
                      </a:lnTo>
                      <a:lnTo>
                        <a:pt x="1020" y="760"/>
                      </a:lnTo>
                      <a:lnTo>
                        <a:pt x="1029" y="759"/>
                      </a:lnTo>
                      <a:lnTo>
                        <a:pt x="1039" y="757"/>
                      </a:lnTo>
                      <a:lnTo>
                        <a:pt x="1058" y="751"/>
                      </a:lnTo>
                      <a:lnTo>
                        <a:pt x="1076" y="742"/>
                      </a:lnTo>
                      <a:lnTo>
                        <a:pt x="1078" y="740"/>
                      </a:lnTo>
                      <a:lnTo>
                        <a:pt x="1081" y="736"/>
                      </a:lnTo>
                      <a:lnTo>
                        <a:pt x="1082" y="734"/>
                      </a:lnTo>
                      <a:lnTo>
                        <a:pt x="1086" y="732"/>
                      </a:lnTo>
                      <a:lnTo>
                        <a:pt x="1090" y="729"/>
                      </a:lnTo>
                      <a:lnTo>
                        <a:pt x="1093" y="727"/>
                      </a:lnTo>
                      <a:lnTo>
                        <a:pt x="1101" y="722"/>
                      </a:lnTo>
                      <a:lnTo>
                        <a:pt x="1104" y="722"/>
                      </a:lnTo>
                      <a:lnTo>
                        <a:pt x="1105" y="722"/>
                      </a:lnTo>
                      <a:lnTo>
                        <a:pt x="1109" y="723"/>
                      </a:lnTo>
                      <a:lnTo>
                        <a:pt x="1112" y="722"/>
                      </a:lnTo>
                      <a:lnTo>
                        <a:pt x="1118" y="721"/>
                      </a:lnTo>
                      <a:lnTo>
                        <a:pt x="1121" y="720"/>
                      </a:lnTo>
                      <a:lnTo>
                        <a:pt x="1124" y="716"/>
                      </a:lnTo>
                      <a:lnTo>
                        <a:pt x="1137" y="701"/>
                      </a:lnTo>
                      <a:lnTo>
                        <a:pt x="1140" y="697"/>
                      </a:lnTo>
                      <a:lnTo>
                        <a:pt x="1144" y="694"/>
                      </a:lnTo>
                      <a:lnTo>
                        <a:pt x="1149" y="693"/>
                      </a:lnTo>
                      <a:lnTo>
                        <a:pt x="1154" y="691"/>
                      </a:lnTo>
                      <a:lnTo>
                        <a:pt x="1166" y="693"/>
                      </a:lnTo>
                      <a:lnTo>
                        <a:pt x="1177" y="694"/>
                      </a:lnTo>
                      <a:lnTo>
                        <a:pt x="1187" y="694"/>
                      </a:lnTo>
                      <a:lnTo>
                        <a:pt x="1192" y="693"/>
                      </a:lnTo>
                      <a:lnTo>
                        <a:pt x="1198" y="691"/>
                      </a:lnTo>
                      <a:lnTo>
                        <a:pt x="1208" y="684"/>
                      </a:lnTo>
                      <a:lnTo>
                        <a:pt x="1217" y="676"/>
                      </a:lnTo>
                      <a:lnTo>
                        <a:pt x="1224" y="666"/>
                      </a:lnTo>
                      <a:lnTo>
                        <a:pt x="1231" y="658"/>
                      </a:lnTo>
                      <a:lnTo>
                        <a:pt x="1236" y="651"/>
                      </a:lnTo>
                      <a:lnTo>
                        <a:pt x="1238" y="648"/>
                      </a:lnTo>
                      <a:lnTo>
                        <a:pt x="1241" y="645"/>
                      </a:lnTo>
                      <a:lnTo>
                        <a:pt x="1247" y="643"/>
                      </a:lnTo>
                      <a:lnTo>
                        <a:pt x="1253" y="643"/>
                      </a:lnTo>
                      <a:lnTo>
                        <a:pt x="1260" y="643"/>
                      </a:lnTo>
                      <a:lnTo>
                        <a:pt x="1266" y="643"/>
                      </a:lnTo>
                      <a:lnTo>
                        <a:pt x="1266" y="650"/>
                      </a:lnTo>
                      <a:lnTo>
                        <a:pt x="1267" y="658"/>
                      </a:lnTo>
                      <a:lnTo>
                        <a:pt x="1270" y="668"/>
                      </a:lnTo>
                      <a:lnTo>
                        <a:pt x="1272" y="677"/>
                      </a:lnTo>
                      <a:lnTo>
                        <a:pt x="1275" y="684"/>
                      </a:lnTo>
                      <a:lnTo>
                        <a:pt x="1278" y="687"/>
                      </a:lnTo>
                      <a:lnTo>
                        <a:pt x="1280" y="689"/>
                      </a:lnTo>
                      <a:lnTo>
                        <a:pt x="1284" y="685"/>
                      </a:lnTo>
                      <a:lnTo>
                        <a:pt x="1289" y="683"/>
                      </a:lnTo>
                      <a:lnTo>
                        <a:pt x="1300" y="682"/>
                      </a:lnTo>
                      <a:lnTo>
                        <a:pt x="1303" y="681"/>
                      </a:lnTo>
                      <a:lnTo>
                        <a:pt x="1304" y="680"/>
                      </a:lnTo>
                      <a:lnTo>
                        <a:pt x="1307" y="678"/>
                      </a:lnTo>
                      <a:lnTo>
                        <a:pt x="1309" y="678"/>
                      </a:lnTo>
                      <a:lnTo>
                        <a:pt x="1312" y="677"/>
                      </a:lnTo>
                      <a:lnTo>
                        <a:pt x="1317" y="674"/>
                      </a:lnTo>
                      <a:lnTo>
                        <a:pt x="1321" y="674"/>
                      </a:lnTo>
                      <a:lnTo>
                        <a:pt x="1322" y="674"/>
                      </a:lnTo>
                      <a:lnTo>
                        <a:pt x="1323" y="675"/>
                      </a:lnTo>
                      <a:lnTo>
                        <a:pt x="1322" y="676"/>
                      </a:lnTo>
                      <a:lnTo>
                        <a:pt x="1322" y="677"/>
                      </a:lnTo>
                      <a:lnTo>
                        <a:pt x="1319" y="681"/>
                      </a:lnTo>
                      <a:lnTo>
                        <a:pt x="1317" y="683"/>
                      </a:lnTo>
                      <a:lnTo>
                        <a:pt x="1317" y="684"/>
                      </a:lnTo>
                      <a:lnTo>
                        <a:pt x="1318" y="685"/>
                      </a:lnTo>
                      <a:lnTo>
                        <a:pt x="1321" y="688"/>
                      </a:lnTo>
                      <a:lnTo>
                        <a:pt x="1323" y="689"/>
                      </a:lnTo>
                      <a:lnTo>
                        <a:pt x="1328" y="689"/>
                      </a:lnTo>
                      <a:lnTo>
                        <a:pt x="1335" y="688"/>
                      </a:lnTo>
                      <a:lnTo>
                        <a:pt x="1340" y="684"/>
                      </a:lnTo>
                      <a:lnTo>
                        <a:pt x="1342" y="684"/>
                      </a:lnTo>
                      <a:lnTo>
                        <a:pt x="1341" y="688"/>
                      </a:lnTo>
                      <a:lnTo>
                        <a:pt x="1338" y="690"/>
                      </a:lnTo>
                      <a:lnTo>
                        <a:pt x="1336" y="691"/>
                      </a:lnTo>
                      <a:lnTo>
                        <a:pt x="1332" y="693"/>
                      </a:lnTo>
                      <a:lnTo>
                        <a:pt x="1326" y="694"/>
                      </a:lnTo>
                      <a:lnTo>
                        <a:pt x="1319" y="695"/>
                      </a:lnTo>
                      <a:lnTo>
                        <a:pt x="1313" y="699"/>
                      </a:lnTo>
                      <a:lnTo>
                        <a:pt x="1307" y="703"/>
                      </a:lnTo>
                      <a:lnTo>
                        <a:pt x="1303" y="704"/>
                      </a:lnTo>
                      <a:lnTo>
                        <a:pt x="1299" y="704"/>
                      </a:lnTo>
                      <a:lnTo>
                        <a:pt x="1297" y="704"/>
                      </a:lnTo>
                      <a:lnTo>
                        <a:pt x="1295" y="707"/>
                      </a:lnTo>
                      <a:lnTo>
                        <a:pt x="1295" y="712"/>
                      </a:lnTo>
                      <a:lnTo>
                        <a:pt x="1295" y="715"/>
                      </a:lnTo>
                      <a:lnTo>
                        <a:pt x="1295" y="719"/>
                      </a:lnTo>
                      <a:lnTo>
                        <a:pt x="1294" y="721"/>
                      </a:lnTo>
                      <a:lnTo>
                        <a:pt x="1291" y="722"/>
                      </a:lnTo>
                      <a:lnTo>
                        <a:pt x="1291" y="725"/>
                      </a:lnTo>
                      <a:lnTo>
                        <a:pt x="1294" y="726"/>
                      </a:lnTo>
                      <a:lnTo>
                        <a:pt x="1298" y="727"/>
                      </a:lnTo>
                      <a:lnTo>
                        <a:pt x="1299" y="729"/>
                      </a:lnTo>
                      <a:lnTo>
                        <a:pt x="1300" y="732"/>
                      </a:lnTo>
                      <a:lnTo>
                        <a:pt x="1300" y="735"/>
                      </a:lnTo>
                      <a:lnTo>
                        <a:pt x="1302" y="736"/>
                      </a:lnTo>
                      <a:lnTo>
                        <a:pt x="1307" y="734"/>
                      </a:lnTo>
                      <a:lnTo>
                        <a:pt x="1309" y="732"/>
                      </a:lnTo>
                      <a:lnTo>
                        <a:pt x="1316" y="725"/>
                      </a:lnTo>
                      <a:lnTo>
                        <a:pt x="1318" y="723"/>
                      </a:lnTo>
                      <a:lnTo>
                        <a:pt x="1319" y="722"/>
                      </a:lnTo>
                      <a:lnTo>
                        <a:pt x="1321" y="719"/>
                      </a:lnTo>
                      <a:lnTo>
                        <a:pt x="1323" y="715"/>
                      </a:lnTo>
                      <a:lnTo>
                        <a:pt x="1330" y="709"/>
                      </a:lnTo>
                      <a:lnTo>
                        <a:pt x="1336" y="704"/>
                      </a:lnTo>
                      <a:lnTo>
                        <a:pt x="1345" y="701"/>
                      </a:lnTo>
                      <a:lnTo>
                        <a:pt x="1352" y="700"/>
                      </a:lnTo>
                      <a:lnTo>
                        <a:pt x="1360" y="696"/>
                      </a:lnTo>
                      <a:lnTo>
                        <a:pt x="1374" y="689"/>
                      </a:lnTo>
                      <a:lnTo>
                        <a:pt x="1375" y="689"/>
                      </a:lnTo>
                      <a:lnTo>
                        <a:pt x="1377" y="689"/>
                      </a:lnTo>
                      <a:lnTo>
                        <a:pt x="1378" y="690"/>
                      </a:lnTo>
                      <a:lnTo>
                        <a:pt x="1379" y="689"/>
                      </a:lnTo>
                      <a:lnTo>
                        <a:pt x="1379" y="685"/>
                      </a:lnTo>
                      <a:lnTo>
                        <a:pt x="1378" y="682"/>
                      </a:lnTo>
                      <a:lnTo>
                        <a:pt x="1374" y="678"/>
                      </a:lnTo>
                      <a:lnTo>
                        <a:pt x="1370" y="677"/>
                      </a:lnTo>
                      <a:lnTo>
                        <a:pt x="1364" y="677"/>
                      </a:lnTo>
                      <a:lnTo>
                        <a:pt x="1358" y="677"/>
                      </a:lnTo>
                      <a:lnTo>
                        <a:pt x="1351" y="677"/>
                      </a:lnTo>
                      <a:lnTo>
                        <a:pt x="1344" y="676"/>
                      </a:lnTo>
                      <a:lnTo>
                        <a:pt x="1338" y="674"/>
                      </a:lnTo>
                      <a:lnTo>
                        <a:pt x="1333" y="669"/>
                      </a:lnTo>
                      <a:lnTo>
                        <a:pt x="1328" y="664"/>
                      </a:lnTo>
                      <a:lnTo>
                        <a:pt x="1326" y="657"/>
                      </a:lnTo>
                      <a:lnTo>
                        <a:pt x="1323" y="652"/>
                      </a:lnTo>
                      <a:lnTo>
                        <a:pt x="1319" y="649"/>
                      </a:lnTo>
                      <a:lnTo>
                        <a:pt x="1316" y="646"/>
                      </a:lnTo>
                      <a:lnTo>
                        <a:pt x="1311" y="644"/>
                      </a:lnTo>
                      <a:lnTo>
                        <a:pt x="1311" y="642"/>
                      </a:lnTo>
                      <a:lnTo>
                        <a:pt x="1317" y="638"/>
                      </a:lnTo>
                      <a:lnTo>
                        <a:pt x="1325" y="633"/>
                      </a:lnTo>
                      <a:lnTo>
                        <a:pt x="1327" y="631"/>
                      </a:lnTo>
                      <a:lnTo>
                        <a:pt x="1328" y="629"/>
                      </a:lnTo>
                      <a:lnTo>
                        <a:pt x="1328" y="627"/>
                      </a:lnTo>
                      <a:lnTo>
                        <a:pt x="1327" y="625"/>
                      </a:lnTo>
                      <a:lnTo>
                        <a:pt x="1323" y="624"/>
                      </a:lnTo>
                      <a:lnTo>
                        <a:pt x="1319" y="623"/>
                      </a:lnTo>
                      <a:lnTo>
                        <a:pt x="1311" y="625"/>
                      </a:lnTo>
                      <a:lnTo>
                        <a:pt x="1302" y="626"/>
                      </a:lnTo>
                      <a:lnTo>
                        <a:pt x="1297" y="626"/>
                      </a:lnTo>
                      <a:lnTo>
                        <a:pt x="1293" y="626"/>
                      </a:lnTo>
                      <a:lnTo>
                        <a:pt x="1288" y="625"/>
                      </a:lnTo>
                      <a:lnTo>
                        <a:pt x="1283" y="624"/>
                      </a:lnTo>
                      <a:lnTo>
                        <a:pt x="1285" y="621"/>
                      </a:lnTo>
                      <a:lnTo>
                        <a:pt x="1288" y="620"/>
                      </a:lnTo>
                      <a:lnTo>
                        <a:pt x="1295" y="619"/>
                      </a:lnTo>
                      <a:lnTo>
                        <a:pt x="1309" y="619"/>
                      </a:lnTo>
                      <a:lnTo>
                        <a:pt x="1314" y="618"/>
                      </a:lnTo>
                      <a:lnTo>
                        <a:pt x="1318" y="617"/>
                      </a:lnTo>
                      <a:lnTo>
                        <a:pt x="1322" y="614"/>
                      </a:lnTo>
                      <a:lnTo>
                        <a:pt x="1326" y="611"/>
                      </a:lnTo>
                      <a:lnTo>
                        <a:pt x="1327" y="607"/>
                      </a:lnTo>
                      <a:lnTo>
                        <a:pt x="1328" y="605"/>
                      </a:lnTo>
                      <a:lnTo>
                        <a:pt x="1328" y="601"/>
                      </a:lnTo>
                      <a:lnTo>
                        <a:pt x="1327" y="599"/>
                      </a:lnTo>
                      <a:lnTo>
                        <a:pt x="1321" y="595"/>
                      </a:lnTo>
                      <a:lnTo>
                        <a:pt x="1314" y="593"/>
                      </a:lnTo>
                      <a:lnTo>
                        <a:pt x="1307" y="592"/>
                      </a:lnTo>
                      <a:lnTo>
                        <a:pt x="1299" y="593"/>
                      </a:lnTo>
                      <a:lnTo>
                        <a:pt x="1290" y="594"/>
                      </a:lnTo>
                      <a:lnTo>
                        <a:pt x="1284" y="598"/>
                      </a:lnTo>
                      <a:lnTo>
                        <a:pt x="1276" y="601"/>
                      </a:lnTo>
                      <a:lnTo>
                        <a:pt x="1271" y="607"/>
                      </a:lnTo>
                      <a:lnTo>
                        <a:pt x="1258" y="617"/>
                      </a:lnTo>
                      <a:lnTo>
                        <a:pt x="1253" y="623"/>
                      </a:lnTo>
                      <a:lnTo>
                        <a:pt x="1248" y="629"/>
                      </a:lnTo>
                      <a:lnTo>
                        <a:pt x="1243" y="632"/>
                      </a:lnTo>
                      <a:lnTo>
                        <a:pt x="1239" y="636"/>
                      </a:lnTo>
                      <a:lnTo>
                        <a:pt x="1236" y="640"/>
                      </a:lnTo>
                      <a:lnTo>
                        <a:pt x="1229" y="643"/>
                      </a:lnTo>
                      <a:lnTo>
                        <a:pt x="1224" y="644"/>
                      </a:lnTo>
                      <a:lnTo>
                        <a:pt x="1219" y="644"/>
                      </a:lnTo>
                      <a:lnTo>
                        <a:pt x="1219" y="643"/>
                      </a:lnTo>
                      <a:lnTo>
                        <a:pt x="1219" y="640"/>
                      </a:lnTo>
                      <a:lnTo>
                        <a:pt x="1224" y="633"/>
                      </a:lnTo>
                      <a:lnTo>
                        <a:pt x="1227" y="627"/>
                      </a:lnTo>
                      <a:lnTo>
                        <a:pt x="1228" y="621"/>
                      </a:lnTo>
                      <a:lnTo>
                        <a:pt x="1231" y="618"/>
                      </a:lnTo>
                      <a:lnTo>
                        <a:pt x="1234" y="614"/>
                      </a:lnTo>
                      <a:lnTo>
                        <a:pt x="1239" y="611"/>
                      </a:lnTo>
                      <a:lnTo>
                        <a:pt x="1243" y="607"/>
                      </a:lnTo>
                      <a:lnTo>
                        <a:pt x="1247" y="604"/>
                      </a:lnTo>
                      <a:lnTo>
                        <a:pt x="1252" y="599"/>
                      </a:lnTo>
                      <a:lnTo>
                        <a:pt x="1262" y="591"/>
                      </a:lnTo>
                      <a:lnTo>
                        <a:pt x="1267" y="589"/>
                      </a:lnTo>
                      <a:lnTo>
                        <a:pt x="1271" y="589"/>
                      </a:lnTo>
                      <a:lnTo>
                        <a:pt x="1276" y="589"/>
                      </a:lnTo>
                      <a:lnTo>
                        <a:pt x="1278" y="588"/>
                      </a:lnTo>
                      <a:lnTo>
                        <a:pt x="1278" y="587"/>
                      </a:lnTo>
                      <a:lnTo>
                        <a:pt x="1278" y="582"/>
                      </a:lnTo>
                      <a:lnTo>
                        <a:pt x="1279" y="578"/>
                      </a:lnTo>
                      <a:lnTo>
                        <a:pt x="1280" y="576"/>
                      </a:lnTo>
                      <a:lnTo>
                        <a:pt x="1281" y="575"/>
                      </a:lnTo>
                      <a:lnTo>
                        <a:pt x="1285" y="574"/>
                      </a:lnTo>
                      <a:lnTo>
                        <a:pt x="1290" y="568"/>
                      </a:lnTo>
                      <a:lnTo>
                        <a:pt x="1293" y="567"/>
                      </a:lnTo>
                      <a:lnTo>
                        <a:pt x="1297" y="566"/>
                      </a:lnTo>
                      <a:lnTo>
                        <a:pt x="1305" y="568"/>
                      </a:lnTo>
                      <a:lnTo>
                        <a:pt x="1312" y="569"/>
                      </a:lnTo>
                      <a:lnTo>
                        <a:pt x="1318" y="568"/>
                      </a:lnTo>
                      <a:lnTo>
                        <a:pt x="1330" y="565"/>
                      </a:lnTo>
                      <a:lnTo>
                        <a:pt x="1335" y="562"/>
                      </a:lnTo>
                      <a:lnTo>
                        <a:pt x="1337" y="562"/>
                      </a:lnTo>
                      <a:lnTo>
                        <a:pt x="1338" y="562"/>
                      </a:lnTo>
                      <a:lnTo>
                        <a:pt x="1345" y="566"/>
                      </a:lnTo>
                      <a:lnTo>
                        <a:pt x="1351" y="567"/>
                      </a:lnTo>
                      <a:lnTo>
                        <a:pt x="1358" y="568"/>
                      </a:lnTo>
                      <a:lnTo>
                        <a:pt x="1364" y="567"/>
                      </a:lnTo>
                      <a:lnTo>
                        <a:pt x="1375" y="565"/>
                      </a:lnTo>
                      <a:lnTo>
                        <a:pt x="1380" y="565"/>
                      </a:lnTo>
                      <a:lnTo>
                        <a:pt x="1385" y="566"/>
                      </a:lnTo>
                      <a:lnTo>
                        <a:pt x="1391" y="567"/>
                      </a:lnTo>
                      <a:lnTo>
                        <a:pt x="1396" y="566"/>
                      </a:lnTo>
                      <a:lnTo>
                        <a:pt x="1415" y="555"/>
                      </a:lnTo>
                      <a:lnTo>
                        <a:pt x="1416" y="554"/>
                      </a:lnTo>
                      <a:lnTo>
                        <a:pt x="1417" y="553"/>
                      </a:lnTo>
                      <a:lnTo>
                        <a:pt x="1420" y="546"/>
                      </a:lnTo>
                      <a:lnTo>
                        <a:pt x="1421" y="542"/>
                      </a:lnTo>
                      <a:lnTo>
                        <a:pt x="1425" y="538"/>
                      </a:lnTo>
                      <a:lnTo>
                        <a:pt x="1427" y="537"/>
                      </a:lnTo>
                      <a:lnTo>
                        <a:pt x="1430" y="537"/>
                      </a:lnTo>
                      <a:lnTo>
                        <a:pt x="1435" y="538"/>
                      </a:lnTo>
                      <a:lnTo>
                        <a:pt x="1439" y="541"/>
                      </a:lnTo>
                      <a:lnTo>
                        <a:pt x="1441" y="542"/>
                      </a:lnTo>
                      <a:lnTo>
                        <a:pt x="1444" y="542"/>
                      </a:lnTo>
                      <a:lnTo>
                        <a:pt x="1450" y="541"/>
                      </a:lnTo>
                      <a:lnTo>
                        <a:pt x="1457" y="537"/>
                      </a:lnTo>
                      <a:lnTo>
                        <a:pt x="1462" y="534"/>
                      </a:lnTo>
                      <a:lnTo>
                        <a:pt x="1467" y="530"/>
                      </a:lnTo>
                      <a:lnTo>
                        <a:pt x="1471" y="525"/>
                      </a:lnTo>
                      <a:lnTo>
                        <a:pt x="1472" y="519"/>
                      </a:lnTo>
                      <a:lnTo>
                        <a:pt x="1472" y="514"/>
                      </a:lnTo>
                      <a:lnTo>
                        <a:pt x="1468" y="506"/>
                      </a:lnTo>
                      <a:lnTo>
                        <a:pt x="1468" y="503"/>
                      </a:lnTo>
                      <a:lnTo>
                        <a:pt x="1468" y="501"/>
                      </a:lnTo>
                      <a:lnTo>
                        <a:pt x="1467" y="498"/>
                      </a:lnTo>
                      <a:lnTo>
                        <a:pt x="1467" y="495"/>
                      </a:lnTo>
                      <a:lnTo>
                        <a:pt x="1467" y="492"/>
                      </a:lnTo>
                      <a:lnTo>
                        <a:pt x="1467" y="490"/>
                      </a:lnTo>
                      <a:lnTo>
                        <a:pt x="1465" y="487"/>
                      </a:lnTo>
                      <a:lnTo>
                        <a:pt x="1464" y="486"/>
                      </a:lnTo>
                      <a:lnTo>
                        <a:pt x="1459" y="486"/>
                      </a:lnTo>
                      <a:lnTo>
                        <a:pt x="1459" y="487"/>
                      </a:lnTo>
                      <a:lnTo>
                        <a:pt x="1454" y="487"/>
                      </a:lnTo>
                      <a:lnTo>
                        <a:pt x="1450" y="487"/>
                      </a:lnTo>
                      <a:lnTo>
                        <a:pt x="1449" y="487"/>
                      </a:lnTo>
                      <a:lnTo>
                        <a:pt x="1448" y="484"/>
                      </a:lnTo>
                      <a:lnTo>
                        <a:pt x="1450" y="478"/>
                      </a:lnTo>
                      <a:lnTo>
                        <a:pt x="1450" y="473"/>
                      </a:lnTo>
                      <a:lnTo>
                        <a:pt x="1448" y="469"/>
                      </a:lnTo>
                      <a:lnTo>
                        <a:pt x="1444" y="466"/>
                      </a:lnTo>
                      <a:lnTo>
                        <a:pt x="1441" y="466"/>
                      </a:lnTo>
                      <a:lnTo>
                        <a:pt x="1439" y="466"/>
                      </a:lnTo>
                      <a:lnTo>
                        <a:pt x="1431" y="470"/>
                      </a:lnTo>
                      <a:lnTo>
                        <a:pt x="1424" y="476"/>
                      </a:lnTo>
                      <a:lnTo>
                        <a:pt x="1410" y="487"/>
                      </a:lnTo>
                      <a:lnTo>
                        <a:pt x="1408" y="489"/>
                      </a:lnTo>
                      <a:lnTo>
                        <a:pt x="1406" y="489"/>
                      </a:lnTo>
                      <a:lnTo>
                        <a:pt x="1405" y="487"/>
                      </a:lnTo>
                      <a:lnTo>
                        <a:pt x="1403" y="486"/>
                      </a:lnTo>
                      <a:lnTo>
                        <a:pt x="1402" y="483"/>
                      </a:lnTo>
                      <a:lnTo>
                        <a:pt x="1402" y="480"/>
                      </a:lnTo>
                      <a:lnTo>
                        <a:pt x="1403" y="477"/>
                      </a:lnTo>
                      <a:lnTo>
                        <a:pt x="1406" y="474"/>
                      </a:lnTo>
                      <a:lnTo>
                        <a:pt x="1413" y="471"/>
                      </a:lnTo>
                      <a:lnTo>
                        <a:pt x="1421" y="466"/>
                      </a:lnTo>
                      <a:lnTo>
                        <a:pt x="1426" y="464"/>
                      </a:lnTo>
                      <a:lnTo>
                        <a:pt x="1432" y="463"/>
                      </a:lnTo>
                      <a:lnTo>
                        <a:pt x="1438" y="461"/>
                      </a:lnTo>
                      <a:lnTo>
                        <a:pt x="1444" y="459"/>
                      </a:lnTo>
                      <a:lnTo>
                        <a:pt x="1446" y="457"/>
                      </a:lnTo>
                      <a:lnTo>
                        <a:pt x="1446" y="455"/>
                      </a:lnTo>
                      <a:lnTo>
                        <a:pt x="1445" y="452"/>
                      </a:lnTo>
                      <a:lnTo>
                        <a:pt x="1443" y="451"/>
                      </a:lnTo>
                      <a:lnTo>
                        <a:pt x="1436" y="450"/>
                      </a:lnTo>
                      <a:lnTo>
                        <a:pt x="1431" y="451"/>
                      </a:lnTo>
                      <a:lnTo>
                        <a:pt x="1425" y="453"/>
                      </a:lnTo>
                      <a:lnTo>
                        <a:pt x="1424" y="453"/>
                      </a:lnTo>
                      <a:lnTo>
                        <a:pt x="1422" y="453"/>
                      </a:lnTo>
                      <a:lnTo>
                        <a:pt x="1420" y="451"/>
                      </a:lnTo>
                      <a:lnTo>
                        <a:pt x="1417" y="450"/>
                      </a:lnTo>
                      <a:lnTo>
                        <a:pt x="1412" y="448"/>
                      </a:lnTo>
                      <a:lnTo>
                        <a:pt x="1411" y="447"/>
                      </a:lnTo>
                      <a:lnTo>
                        <a:pt x="1410" y="446"/>
                      </a:lnTo>
                      <a:lnTo>
                        <a:pt x="1410" y="445"/>
                      </a:lnTo>
                      <a:lnTo>
                        <a:pt x="1407" y="444"/>
                      </a:lnTo>
                      <a:lnTo>
                        <a:pt x="1405" y="442"/>
                      </a:lnTo>
                      <a:lnTo>
                        <a:pt x="1401" y="445"/>
                      </a:lnTo>
                      <a:lnTo>
                        <a:pt x="1398" y="446"/>
                      </a:lnTo>
                      <a:lnTo>
                        <a:pt x="1396" y="446"/>
                      </a:lnTo>
                      <a:lnTo>
                        <a:pt x="1393" y="445"/>
                      </a:lnTo>
                      <a:lnTo>
                        <a:pt x="1392" y="441"/>
                      </a:lnTo>
                      <a:lnTo>
                        <a:pt x="1392" y="438"/>
                      </a:lnTo>
                      <a:lnTo>
                        <a:pt x="1391" y="434"/>
                      </a:lnTo>
                      <a:lnTo>
                        <a:pt x="1389" y="433"/>
                      </a:lnTo>
                      <a:lnTo>
                        <a:pt x="1388" y="432"/>
                      </a:lnTo>
                      <a:lnTo>
                        <a:pt x="1384" y="433"/>
                      </a:lnTo>
                      <a:lnTo>
                        <a:pt x="1383" y="433"/>
                      </a:lnTo>
                      <a:lnTo>
                        <a:pt x="1382" y="433"/>
                      </a:lnTo>
                      <a:lnTo>
                        <a:pt x="1379" y="428"/>
                      </a:lnTo>
                      <a:lnTo>
                        <a:pt x="1375" y="425"/>
                      </a:lnTo>
                      <a:lnTo>
                        <a:pt x="1374" y="422"/>
                      </a:lnTo>
                      <a:lnTo>
                        <a:pt x="1374" y="420"/>
                      </a:lnTo>
                      <a:lnTo>
                        <a:pt x="1374" y="415"/>
                      </a:lnTo>
                      <a:lnTo>
                        <a:pt x="1373" y="414"/>
                      </a:lnTo>
                      <a:lnTo>
                        <a:pt x="1373" y="410"/>
                      </a:lnTo>
                      <a:lnTo>
                        <a:pt x="1373" y="408"/>
                      </a:lnTo>
                      <a:lnTo>
                        <a:pt x="1370" y="403"/>
                      </a:lnTo>
                      <a:lnTo>
                        <a:pt x="1370" y="401"/>
                      </a:lnTo>
                      <a:lnTo>
                        <a:pt x="1370" y="400"/>
                      </a:lnTo>
                      <a:lnTo>
                        <a:pt x="1373" y="396"/>
                      </a:lnTo>
                      <a:lnTo>
                        <a:pt x="1377" y="393"/>
                      </a:lnTo>
                      <a:lnTo>
                        <a:pt x="1380" y="389"/>
                      </a:lnTo>
                      <a:lnTo>
                        <a:pt x="1380" y="387"/>
                      </a:lnTo>
                      <a:lnTo>
                        <a:pt x="1380" y="384"/>
                      </a:lnTo>
                      <a:lnTo>
                        <a:pt x="1379" y="383"/>
                      </a:lnTo>
                      <a:lnTo>
                        <a:pt x="1378" y="382"/>
                      </a:lnTo>
                      <a:lnTo>
                        <a:pt x="1375" y="383"/>
                      </a:lnTo>
                      <a:lnTo>
                        <a:pt x="1374" y="384"/>
                      </a:lnTo>
                      <a:lnTo>
                        <a:pt x="1371" y="388"/>
                      </a:lnTo>
                      <a:lnTo>
                        <a:pt x="1369" y="389"/>
                      </a:lnTo>
                      <a:lnTo>
                        <a:pt x="1368" y="388"/>
                      </a:lnTo>
                      <a:lnTo>
                        <a:pt x="1365" y="388"/>
                      </a:lnTo>
                      <a:lnTo>
                        <a:pt x="1365" y="387"/>
                      </a:lnTo>
                      <a:lnTo>
                        <a:pt x="1364" y="382"/>
                      </a:lnTo>
                      <a:lnTo>
                        <a:pt x="1363" y="378"/>
                      </a:lnTo>
                      <a:lnTo>
                        <a:pt x="1359" y="372"/>
                      </a:lnTo>
                      <a:lnTo>
                        <a:pt x="1354" y="368"/>
                      </a:lnTo>
                      <a:lnTo>
                        <a:pt x="1347" y="363"/>
                      </a:lnTo>
                      <a:lnTo>
                        <a:pt x="1345" y="361"/>
                      </a:lnTo>
                      <a:lnTo>
                        <a:pt x="1344" y="358"/>
                      </a:lnTo>
                      <a:lnTo>
                        <a:pt x="1342" y="351"/>
                      </a:lnTo>
                      <a:lnTo>
                        <a:pt x="1338" y="344"/>
                      </a:lnTo>
                      <a:lnTo>
                        <a:pt x="1336" y="337"/>
                      </a:lnTo>
                      <a:lnTo>
                        <a:pt x="1332" y="330"/>
                      </a:lnTo>
                      <a:lnTo>
                        <a:pt x="1332" y="324"/>
                      </a:lnTo>
                      <a:lnTo>
                        <a:pt x="1333" y="319"/>
                      </a:lnTo>
                      <a:lnTo>
                        <a:pt x="1332" y="317"/>
                      </a:lnTo>
                      <a:lnTo>
                        <a:pt x="1330" y="314"/>
                      </a:lnTo>
                      <a:lnTo>
                        <a:pt x="1326" y="316"/>
                      </a:lnTo>
                      <a:lnTo>
                        <a:pt x="1323" y="316"/>
                      </a:lnTo>
                      <a:lnTo>
                        <a:pt x="1322" y="316"/>
                      </a:lnTo>
                      <a:lnTo>
                        <a:pt x="1317" y="320"/>
                      </a:lnTo>
                      <a:lnTo>
                        <a:pt x="1313" y="325"/>
                      </a:lnTo>
                      <a:lnTo>
                        <a:pt x="1309" y="330"/>
                      </a:lnTo>
                      <a:lnTo>
                        <a:pt x="1304" y="335"/>
                      </a:lnTo>
                      <a:lnTo>
                        <a:pt x="1300" y="339"/>
                      </a:lnTo>
                      <a:lnTo>
                        <a:pt x="1298" y="345"/>
                      </a:lnTo>
                      <a:lnTo>
                        <a:pt x="1295" y="349"/>
                      </a:lnTo>
                      <a:lnTo>
                        <a:pt x="1293" y="351"/>
                      </a:lnTo>
                      <a:lnTo>
                        <a:pt x="1286" y="356"/>
                      </a:lnTo>
                      <a:lnTo>
                        <a:pt x="1283" y="359"/>
                      </a:lnTo>
                      <a:lnTo>
                        <a:pt x="1279" y="364"/>
                      </a:lnTo>
                      <a:lnTo>
                        <a:pt x="1276" y="365"/>
                      </a:lnTo>
                      <a:lnTo>
                        <a:pt x="1274" y="365"/>
                      </a:lnTo>
                      <a:lnTo>
                        <a:pt x="1271" y="364"/>
                      </a:lnTo>
                      <a:lnTo>
                        <a:pt x="1266" y="363"/>
                      </a:lnTo>
                      <a:lnTo>
                        <a:pt x="1264" y="362"/>
                      </a:lnTo>
                      <a:lnTo>
                        <a:pt x="1260" y="359"/>
                      </a:lnTo>
                      <a:lnTo>
                        <a:pt x="1257" y="356"/>
                      </a:lnTo>
                      <a:lnTo>
                        <a:pt x="1256" y="356"/>
                      </a:lnTo>
                      <a:lnTo>
                        <a:pt x="1255" y="356"/>
                      </a:lnTo>
                      <a:lnTo>
                        <a:pt x="1252" y="359"/>
                      </a:lnTo>
                      <a:lnTo>
                        <a:pt x="1248" y="361"/>
                      </a:lnTo>
                      <a:lnTo>
                        <a:pt x="1245" y="362"/>
                      </a:lnTo>
                      <a:lnTo>
                        <a:pt x="1242" y="359"/>
                      </a:lnTo>
                      <a:lnTo>
                        <a:pt x="1241" y="357"/>
                      </a:lnTo>
                      <a:lnTo>
                        <a:pt x="1242" y="355"/>
                      </a:lnTo>
                      <a:lnTo>
                        <a:pt x="1243" y="352"/>
                      </a:lnTo>
                      <a:lnTo>
                        <a:pt x="1243" y="351"/>
                      </a:lnTo>
                      <a:lnTo>
                        <a:pt x="1241" y="349"/>
                      </a:lnTo>
                      <a:lnTo>
                        <a:pt x="1236" y="346"/>
                      </a:lnTo>
                      <a:lnTo>
                        <a:pt x="1233" y="344"/>
                      </a:lnTo>
                      <a:lnTo>
                        <a:pt x="1233" y="343"/>
                      </a:lnTo>
                      <a:lnTo>
                        <a:pt x="1233" y="340"/>
                      </a:lnTo>
                      <a:lnTo>
                        <a:pt x="1236" y="336"/>
                      </a:lnTo>
                      <a:lnTo>
                        <a:pt x="1236" y="333"/>
                      </a:lnTo>
                      <a:lnTo>
                        <a:pt x="1237" y="331"/>
                      </a:lnTo>
                      <a:lnTo>
                        <a:pt x="1234" y="321"/>
                      </a:lnTo>
                      <a:lnTo>
                        <a:pt x="1234" y="317"/>
                      </a:lnTo>
                      <a:lnTo>
                        <a:pt x="1236" y="311"/>
                      </a:lnTo>
                      <a:lnTo>
                        <a:pt x="1236" y="307"/>
                      </a:lnTo>
                      <a:lnTo>
                        <a:pt x="1237" y="305"/>
                      </a:lnTo>
                      <a:lnTo>
                        <a:pt x="1238" y="304"/>
                      </a:lnTo>
                      <a:lnTo>
                        <a:pt x="1239" y="301"/>
                      </a:lnTo>
                      <a:lnTo>
                        <a:pt x="1241" y="299"/>
                      </a:lnTo>
                      <a:lnTo>
                        <a:pt x="1236" y="301"/>
                      </a:lnTo>
                      <a:lnTo>
                        <a:pt x="1233" y="301"/>
                      </a:lnTo>
                      <a:lnTo>
                        <a:pt x="1232" y="301"/>
                      </a:lnTo>
                      <a:lnTo>
                        <a:pt x="1223" y="299"/>
                      </a:lnTo>
                      <a:lnTo>
                        <a:pt x="1214" y="299"/>
                      </a:lnTo>
                      <a:lnTo>
                        <a:pt x="1210" y="299"/>
                      </a:lnTo>
                      <a:lnTo>
                        <a:pt x="1206" y="298"/>
                      </a:lnTo>
                      <a:lnTo>
                        <a:pt x="1204" y="295"/>
                      </a:lnTo>
                      <a:lnTo>
                        <a:pt x="1201" y="293"/>
                      </a:lnTo>
                      <a:lnTo>
                        <a:pt x="1196" y="287"/>
                      </a:lnTo>
                      <a:lnTo>
                        <a:pt x="1191" y="280"/>
                      </a:lnTo>
                      <a:lnTo>
                        <a:pt x="1190" y="279"/>
                      </a:lnTo>
                      <a:lnTo>
                        <a:pt x="1189" y="279"/>
                      </a:lnTo>
                      <a:lnTo>
                        <a:pt x="1185" y="278"/>
                      </a:lnTo>
                      <a:lnTo>
                        <a:pt x="1181" y="278"/>
                      </a:lnTo>
                      <a:lnTo>
                        <a:pt x="1178" y="278"/>
                      </a:lnTo>
                      <a:lnTo>
                        <a:pt x="1177" y="275"/>
                      </a:lnTo>
                      <a:lnTo>
                        <a:pt x="1172" y="269"/>
                      </a:lnTo>
                      <a:lnTo>
                        <a:pt x="1170" y="267"/>
                      </a:lnTo>
                      <a:lnTo>
                        <a:pt x="1166" y="267"/>
                      </a:lnTo>
                      <a:lnTo>
                        <a:pt x="1156" y="266"/>
                      </a:lnTo>
                      <a:lnTo>
                        <a:pt x="1145" y="265"/>
                      </a:lnTo>
                      <a:lnTo>
                        <a:pt x="1137" y="262"/>
                      </a:lnTo>
                      <a:lnTo>
                        <a:pt x="1126" y="262"/>
                      </a:lnTo>
                      <a:lnTo>
                        <a:pt x="1120" y="263"/>
                      </a:lnTo>
                      <a:lnTo>
                        <a:pt x="1118" y="263"/>
                      </a:lnTo>
                      <a:lnTo>
                        <a:pt x="1114" y="263"/>
                      </a:lnTo>
                      <a:lnTo>
                        <a:pt x="1109" y="261"/>
                      </a:lnTo>
                      <a:lnTo>
                        <a:pt x="1104" y="259"/>
                      </a:lnTo>
                      <a:lnTo>
                        <a:pt x="1098" y="256"/>
                      </a:lnTo>
                      <a:lnTo>
                        <a:pt x="1095" y="252"/>
                      </a:lnTo>
                      <a:lnTo>
                        <a:pt x="1095" y="253"/>
                      </a:lnTo>
                      <a:lnTo>
                        <a:pt x="1093" y="253"/>
                      </a:lnTo>
                      <a:lnTo>
                        <a:pt x="1095" y="259"/>
                      </a:lnTo>
                      <a:lnTo>
                        <a:pt x="1095" y="262"/>
                      </a:lnTo>
                      <a:lnTo>
                        <a:pt x="1095" y="265"/>
                      </a:lnTo>
                      <a:lnTo>
                        <a:pt x="1092" y="273"/>
                      </a:lnTo>
                      <a:lnTo>
                        <a:pt x="1090" y="280"/>
                      </a:lnTo>
                      <a:lnTo>
                        <a:pt x="1088" y="295"/>
                      </a:lnTo>
                      <a:lnTo>
                        <a:pt x="1088" y="298"/>
                      </a:lnTo>
                      <a:lnTo>
                        <a:pt x="1086" y="301"/>
                      </a:lnTo>
                      <a:lnTo>
                        <a:pt x="1085" y="304"/>
                      </a:lnTo>
                      <a:lnTo>
                        <a:pt x="1086" y="306"/>
                      </a:lnTo>
                      <a:lnTo>
                        <a:pt x="1091" y="317"/>
                      </a:lnTo>
                      <a:lnTo>
                        <a:pt x="1093" y="319"/>
                      </a:lnTo>
                      <a:lnTo>
                        <a:pt x="1096" y="320"/>
                      </a:lnTo>
                      <a:lnTo>
                        <a:pt x="1101" y="323"/>
                      </a:lnTo>
                      <a:lnTo>
                        <a:pt x="1104" y="324"/>
                      </a:lnTo>
                      <a:lnTo>
                        <a:pt x="1105" y="326"/>
                      </a:lnTo>
                      <a:lnTo>
                        <a:pt x="1104" y="330"/>
                      </a:lnTo>
                      <a:lnTo>
                        <a:pt x="1102" y="335"/>
                      </a:lnTo>
                      <a:lnTo>
                        <a:pt x="1098" y="338"/>
                      </a:lnTo>
                      <a:lnTo>
                        <a:pt x="1085" y="349"/>
                      </a:lnTo>
                      <a:lnTo>
                        <a:pt x="1079" y="355"/>
                      </a:lnTo>
                      <a:lnTo>
                        <a:pt x="1078" y="358"/>
                      </a:lnTo>
                      <a:lnTo>
                        <a:pt x="1077" y="362"/>
                      </a:lnTo>
                      <a:lnTo>
                        <a:pt x="1078" y="364"/>
                      </a:lnTo>
                      <a:lnTo>
                        <a:pt x="1081" y="364"/>
                      </a:lnTo>
                      <a:lnTo>
                        <a:pt x="1086" y="365"/>
                      </a:lnTo>
                      <a:lnTo>
                        <a:pt x="1090" y="368"/>
                      </a:lnTo>
                      <a:lnTo>
                        <a:pt x="1091" y="370"/>
                      </a:lnTo>
                      <a:lnTo>
                        <a:pt x="1095" y="378"/>
                      </a:lnTo>
                      <a:lnTo>
                        <a:pt x="1101" y="387"/>
                      </a:lnTo>
                      <a:lnTo>
                        <a:pt x="1104" y="391"/>
                      </a:lnTo>
                      <a:lnTo>
                        <a:pt x="1105" y="397"/>
                      </a:lnTo>
                      <a:lnTo>
                        <a:pt x="1106" y="402"/>
                      </a:lnTo>
                      <a:lnTo>
                        <a:pt x="1109" y="408"/>
                      </a:lnTo>
                      <a:lnTo>
                        <a:pt x="1109" y="410"/>
                      </a:lnTo>
                      <a:lnTo>
                        <a:pt x="1109" y="413"/>
                      </a:lnTo>
                      <a:lnTo>
                        <a:pt x="1109" y="415"/>
                      </a:lnTo>
                      <a:lnTo>
                        <a:pt x="1107" y="419"/>
                      </a:lnTo>
                      <a:lnTo>
                        <a:pt x="1102" y="427"/>
                      </a:lnTo>
                      <a:lnTo>
                        <a:pt x="1097" y="435"/>
                      </a:lnTo>
                      <a:lnTo>
                        <a:pt x="1096" y="439"/>
                      </a:lnTo>
                      <a:lnTo>
                        <a:pt x="1092" y="440"/>
                      </a:lnTo>
                      <a:lnTo>
                        <a:pt x="1083" y="445"/>
                      </a:lnTo>
                      <a:lnTo>
                        <a:pt x="1076" y="448"/>
                      </a:lnTo>
                      <a:lnTo>
                        <a:pt x="1068" y="454"/>
                      </a:lnTo>
                      <a:lnTo>
                        <a:pt x="1065" y="458"/>
                      </a:lnTo>
                      <a:lnTo>
                        <a:pt x="1064" y="461"/>
                      </a:lnTo>
                      <a:lnTo>
                        <a:pt x="1065" y="464"/>
                      </a:lnTo>
                      <a:lnTo>
                        <a:pt x="1069" y="467"/>
                      </a:lnTo>
                      <a:lnTo>
                        <a:pt x="1082" y="492"/>
                      </a:lnTo>
                      <a:lnTo>
                        <a:pt x="1082" y="496"/>
                      </a:lnTo>
                      <a:lnTo>
                        <a:pt x="1082" y="501"/>
                      </a:lnTo>
                      <a:lnTo>
                        <a:pt x="1083" y="504"/>
                      </a:lnTo>
                      <a:lnTo>
                        <a:pt x="1085" y="508"/>
                      </a:lnTo>
                      <a:lnTo>
                        <a:pt x="1087" y="515"/>
                      </a:lnTo>
                      <a:lnTo>
                        <a:pt x="1090" y="522"/>
                      </a:lnTo>
                      <a:lnTo>
                        <a:pt x="1090" y="529"/>
                      </a:lnTo>
                      <a:lnTo>
                        <a:pt x="1088" y="536"/>
                      </a:lnTo>
                      <a:lnTo>
                        <a:pt x="1086" y="540"/>
                      </a:lnTo>
                      <a:lnTo>
                        <a:pt x="1083" y="543"/>
                      </a:lnTo>
                      <a:lnTo>
                        <a:pt x="1079" y="546"/>
                      </a:lnTo>
                      <a:lnTo>
                        <a:pt x="1076" y="547"/>
                      </a:lnTo>
                      <a:lnTo>
                        <a:pt x="1076" y="544"/>
                      </a:lnTo>
                      <a:lnTo>
                        <a:pt x="1074" y="541"/>
                      </a:lnTo>
                      <a:lnTo>
                        <a:pt x="1073" y="540"/>
                      </a:lnTo>
                      <a:lnTo>
                        <a:pt x="1071" y="540"/>
                      </a:lnTo>
                      <a:lnTo>
                        <a:pt x="1068" y="541"/>
                      </a:lnTo>
                      <a:lnTo>
                        <a:pt x="1068" y="542"/>
                      </a:lnTo>
                      <a:lnTo>
                        <a:pt x="1067" y="547"/>
                      </a:lnTo>
                      <a:lnTo>
                        <a:pt x="1064" y="550"/>
                      </a:lnTo>
                      <a:lnTo>
                        <a:pt x="1063" y="550"/>
                      </a:lnTo>
                      <a:lnTo>
                        <a:pt x="1060" y="550"/>
                      </a:lnTo>
                      <a:lnTo>
                        <a:pt x="1054" y="547"/>
                      </a:lnTo>
                      <a:lnTo>
                        <a:pt x="1050" y="546"/>
                      </a:lnTo>
                      <a:lnTo>
                        <a:pt x="1046" y="546"/>
                      </a:lnTo>
                      <a:lnTo>
                        <a:pt x="1045" y="544"/>
                      </a:lnTo>
                      <a:lnTo>
                        <a:pt x="1045" y="543"/>
                      </a:lnTo>
                      <a:lnTo>
                        <a:pt x="1045" y="541"/>
                      </a:lnTo>
                      <a:lnTo>
                        <a:pt x="1046" y="540"/>
                      </a:lnTo>
                      <a:lnTo>
                        <a:pt x="1046" y="538"/>
                      </a:lnTo>
                      <a:lnTo>
                        <a:pt x="1046" y="537"/>
                      </a:lnTo>
                      <a:lnTo>
                        <a:pt x="1036" y="528"/>
                      </a:lnTo>
                      <a:lnTo>
                        <a:pt x="1032" y="524"/>
                      </a:lnTo>
                      <a:lnTo>
                        <a:pt x="1027" y="518"/>
                      </a:lnTo>
                      <a:lnTo>
                        <a:pt x="1026" y="517"/>
                      </a:lnTo>
                      <a:lnTo>
                        <a:pt x="1024" y="517"/>
                      </a:lnTo>
                      <a:lnTo>
                        <a:pt x="1021" y="516"/>
                      </a:lnTo>
                      <a:lnTo>
                        <a:pt x="1018" y="515"/>
                      </a:lnTo>
                      <a:lnTo>
                        <a:pt x="1017" y="511"/>
                      </a:lnTo>
                      <a:lnTo>
                        <a:pt x="1017" y="509"/>
                      </a:lnTo>
                      <a:lnTo>
                        <a:pt x="1017" y="498"/>
                      </a:lnTo>
                      <a:lnTo>
                        <a:pt x="1017" y="487"/>
                      </a:lnTo>
                      <a:lnTo>
                        <a:pt x="1018" y="483"/>
                      </a:lnTo>
                      <a:lnTo>
                        <a:pt x="1018" y="480"/>
                      </a:lnTo>
                      <a:lnTo>
                        <a:pt x="1017" y="478"/>
                      </a:lnTo>
                      <a:lnTo>
                        <a:pt x="1015" y="476"/>
                      </a:lnTo>
                      <a:lnTo>
                        <a:pt x="1012" y="472"/>
                      </a:lnTo>
                      <a:lnTo>
                        <a:pt x="1011" y="466"/>
                      </a:lnTo>
                      <a:lnTo>
                        <a:pt x="1011" y="454"/>
                      </a:lnTo>
                      <a:lnTo>
                        <a:pt x="1011" y="453"/>
                      </a:lnTo>
                      <a:lnTo>
                        <a:pt x="1008" y="452"/>
                      </a:lnTo>
                      <a:lnTo>
                        <a:pt x="1005" y="452"/>
                      </a:lnTo>
                      <a:lnTo>
                        <a:pt x="998" y="453"/>
                      </a:lnTo>
                      <a:lnTo>
                        <a:pt x="994" y="453"/>
                      </a:lnTo>
                      <a:lnTo>
                        <a:pt x="988" y="451"/>
                      </a:lnTo>
                      <a:lnTo>
                        <a:pt x="983" y="448"/>
                      </a:lnTo>
                      <a:lnTo>
                        <a:pt x="980" y="448"/>
                      </a:lnTo>
                      <a:lnTo>
                        <a:pt x="978" y="448"/>
                      </a:lnTo>
                      <a:lnTo>
                        <a:pt x="975" y="450"/>
                      </a:lnTo>
                      <a:lnTo>
                        <a:pt x="973" y="448"/>
                      </a:lnTo>
                      <a:lnTo>
                        <a:pt x="971" y="448"/>
                      </a:lnTo>
                      <a:lnTo>
                        <a:pt x="970" y="446"/>
                      </a:lnTo>
                      <a:lnTo>
                        <a:pt x="968" y="444"/>
                      </a:lnTo>
                      <a:lnTo>
                        <a:pt x="963" y="441"/>
                      </a:lnTo>
                      <a:lnTo>
                        <a:pt x="959" y="439"/>
                      </a:lnTo>
                      <a:lnTo>
                        <a:pt x="955" y="435"/>
                      </a:lnTo>
                      <a:lnTo>
                        <a:pt x="951" y="432"/>
                      </a:lnTo>
                      <a:lnTo>
                        <a:pt x="949" y="432"/>
                      </a:lnTo>
                      <a:lnTo>
                        <a:pt x="946" y="432"/>
                      </a:lnTo>
                      <a:lnTo>
                        <a:pt x="944" y="431"/>
                      </a:lnTo>
                      <a:lnTo>
                        <a:pt x="940" y="429"/>
                      </a:lnTo>
                      <a:lnTo>
                        <a:pt x="936" y="426"/>
                      </a:lnTo>
                      <a:lnTo>
                        <a:pt x="933" y="425"/>
                      </a:lnTo>
                      <a:lnTo>
                        <a:pt x="931" y="423"/>
                      </a:lnTo>
                      <a:lnTo>
                        <a:pt x="927" y="418"/>
                      </a:lnTo>
                      <a:lnTo>
                        <a:pt x="925" y="413"/>
                      </a:lnTo>
                      <a:lnTo>
                        <a:pt x="922" y="412"/>
                      </a:lnTo>
                      <a:lnTo>
                        <a:pt x="921" y="413"/>
                      </a:lnTo>
                      <a:lnTo>
                        <a:pt x="918" y="413"/>
                      </a:lnTo>
                      <a:lnTo>
                        <a:pt x="916" y="413"/>
                      </a:lnTo>
                      <a:lnTo>
                        <a:pt x="913" y="410"/>
                      </a:lnTo>
                      <a:lnTo>
                        <a:pt x="911" y="408"/>
                      </a:lnTo>
                      <a:lnTo>
                        <a:pt x="908" y="407"/>
                      </a:lnTo>
                      <a:lnTo>
                        <a:pt x="904" y="406"/>
                      </a:lnTo>
                      <a:lnTo>
                        <a:pt x="898" y="402"/>
                      </a:lnTo>
                      <a:lnTo>
                        <a:pt x="893" y="401"/>
                      </a:lnTo>
                      <a:lnTo>
                        <a:pt x="886" y="400"/>
                      </a:lnTo>
                      <a:lnTo>
                        <a:pt x="880" y="400"/>
                      </a:lnTo>
                      <a:lnTo>
                        <a:pt x="872" y="399"/>
                      </a:lnTo>
                      <a:lnTo>
                        <a:pt x="869" y="397"/>
                      </a:lnTo>
                      <a:lnTo>
                        <a:pt x="865" y="396"/>
                      </a:lnTo>
                      <a:lnTo>
                        <a:pt x="852" y="395"/>
                      </a:lnTo>
                      <a:lnTo>
                        <a:pt x="848" y="396"/>
                      </a:lnTo>
                      <a:lnTo>
                        <a:pt x="843" y="397"/>
                      </a:lnTo>
                      <a:lnTo>
                        <a:pt x="839" y="399"/>
                      </a:lnTo>
                      <a:lnTo>
                        <a:pt x="838" y="399"/>
                      </a:lnTo>
                      <a:lnTo>
                        <a:pt x="836" y="397"/>
                      </a:lnTo>
                      <a:lnTo>
                        <a:pt x="836" y="396"/>
                      </a:lnTo>
                      <a:lnTo>
                        <a:pt x="836" y="394"/>
                      </a:lnTo>
                      <a:lnTo>
                        <a:pt x="837" y="390"/>
                      </a:lnTo>
                      <a:lnTo>
                        <a:pt x="837" y="388"/>
                      </a:lnTo>
                      <a:lnTo>
                        <a:pt x="836" y="386"/>
                      </a:lnTo>
                      <a:lnTo>
                        <a:pt x="834" y="384"/>
                      </a:lnTo>
                      <a:lnTo>
                        <a:pt x="833" y="382"/>
                      </a:lnTo>
                      <a:lnTo>
                        <a:pt x="833" y="378"/>
                      </a:lnTo>
                      <a:lnTo>
                        <a:pt x="834" y="376"/>
                      </a:lnTo>
                      <a:lnTo>
                        <a:pt x="836" y="374"/>
                      </a:lnTo>
                      <a:lnTo>
                        <a:pt x="836" y="370"/>
                      </a:lnTo>
                      <a:lnTo>
                        <a:pt x="834" y="369"/>
                      </a:lnTo>
                      <a:lnTo>
                        <a:pt x="833" y="368"/>
                      </a:lnTo>
                      <a:lnTo>
                        <a:pt x="832" y="365"/>
                      </a:lnTo>
                      <a:lnTo>
                        <a:pt x="832" y="364"/>
                      </a:lnTo>
                      <a:lnTo>
                        <a:pt x="833" y="363"/>
                      </a:lnTo>
                      <a:lnTo>
                        <a:pt x="834" y="359"/>
                      </a:lnTo>
                      <a:lnTo>
                        <a:pt x="836" y="357"/>
                      </a:lnTo>
                      <a:lnTo>
                        <a:pt x="833" y="356"/>
                      </a:lnTo>
                      <a:lnTo>
                        <a:pt x="827" y="356"/>
                      </a:lnTo>
                      <a:lnTo>
                        <a:pt x="820" y="358"/>
                      </a:lnTo>
                      <a:lnTo>
                        <a:pt x="813" y="361"/>
                      </a:lnTo>
                      <a:lnTo>
                        <a:pt x="810" y="362"/>
                      </a:lnTo>
                      <a:lnTo>
                        <a:pt x="809" y="364"/>
                      </a:lnTo>
                      <a:lnTo>
                        <a:pt x="808" y="364"/>
                      </a:lnTo>
                      <a:lnTo>
                        <a:pt x="806" y="363"/>
                      </a:lnTo>
                      <a:lnTo>
                        <a:pt x="805" y="358"/>
                      </a:lnTo>
                      <a:lnTo>
                        <a:pt x="805" y="355"/>
                      </a:lnTo>
                      <a:lnTo>
                        <a:pt x="808" y="348"/>
                      </a:lnTo>
                      <a:lnTo>
                        <a:pt x="809" y="343"/>
                      </a:lnTo>
                      <a:lnTo>
                        <a:pt x="809" y="337"/>
                      </a:lnTo>
                      <a:lnTo>
                        <a:pt x="806" y="326"/>
                      </a:lnTo>
                      <a:lnTo>
                        <a:pt x="805" y="317"/>
                      </a:lnTo>
                      <a:lnTo>
                        <a:pt x="805" y="311"/>
                      </a:lnTo>
                      <a:lnTo>
                        <a:pt x="805" y="307"/>
                      </a:lnTo>
                      <a:lnTo>
                        <a:pt x="808" y="305"/>
                      </a:lnTo>
                      <a:lnTo>
                        <a:pt x="809" y="303"/>
                      </a:lnTo>
                      <a:lnTo>
                        <a:pt x="811" y="300"/>
                      </a:lnTo>
                      <a:lnTo>
                        <a:pt x="813" y="298"/>
                      </a:lnTo>
                      <a:lnTo>
                        <a:pt x="815" y="291"/>
                      </a:lnTo>
                      <a:lnTo>
                        <a:pt x="817" y="282"/>
                      </a:lnTo>
                      <a:lnTo>
                        <a:pt x="818" y="280"/>
                      </a:lnTo>
                      <a:lnTo>
                        <a:pt x="820" y="279"/>
                      </a:lnTo>
                      <a:lnTo>
                        <a:pt x="828" y="278"/>
                      </a:lnTo>
                      <a:lnTo>
                        <a:pt x="829" y="276"/>
                      </a:lnTo>
                      <a:lnTo>
                        <a:pt x="832" y="274"/>
                      </a:lnTo>
                      <a:lnTo>
                        <a:pt x="834" y="269"/>
                      </a:lnTo>
                      <a:lnTo>
                        <a:pt x="837" y="267"/>
                      </a:lnTo>
                      <a:lnTo>
                        <a:pt x="839" y="266"/>
                      </a:lnTo>
                      <a:lnTo>
                        <a:pt x="842" y="263"/>
                      </a:lnTo>
                      <a:lnTo>
                        <a:pt x="845" y="261"/>
                      </a:lnTo>
                      <a:lnTo>
                        <a:pt x="846" y="257"/>
                      </a:lnTo>
                      <a:lnTo>
                        <a:pt x="846" y="255"/>
                      </a:lnTo>
                      <a:lnTo>
                        <a:pt x="845" y="253"/>
                      </a:lnTo>
                      <a:lnTo>
                        <a:pt x="843" y="250"/>
                      </a:lnTo>
                      <a:lnTo>
                        <a:pt x="838" y="246"/>
                      </a:lnTo>
                      <a:lnTo>
                        <a:pt x="833" y="242"/>
                      </a:lnTo>
                      <a:lnTo>
                        <a:pt x="834" y="241"/>
                      </a:lnTo>
                      <a:lnTo>
                        <a:pt x="837" y="241"/>
                      </a:lnTo>
                      <a:lnTo>
                        <a:pt x="839" y="242"/>
                      </a:lnTo>
                      <a:lnTo>
                        <a:pt x="843" y="243"/>
                      </a:lnTo>
                      <a:lnTo>
                        <a:pt x="847" y="243"/>
                      </a:lnTo>
                      <a:lnTo>
                        <a:pt x="851" y="244"/>
                      </a:lnTo>
                      <a:lnTo>
                        <a:pt x="860" y="248"/>
                      </a:lnTo>
                      <a:lnTo>
                        <a:pt x="862" y="249"/>
                      </a:lnTo>
                      <a:lnTo>
                        <a:pt x="864" y="249"/>
                      </a:lnTo>
                      <a:lnTo>
                        <a:pt x="865" y="248"/>
                      </a:lnTo>
                      <a:lnTo>
                        <a:pt x="866" y="246"/>
                      </a:lnTo>
                      <a:lnTo>
                        <a:pt x="865" y="244"/>
                      </a:lnTo>
                      <a:lnTo>
                        <a:pt x="855" y="239"/>
                      </a:lnTo>
                      <a:lnTo>
                        <a:pt x="850" y="236"/>
                      </a:lnTo>
                      <a:lnTo>
                        <a:pt x="845" y="235"/>
                      </a:lnTo>
                      <a:lnTo>
                        <a:pt x="827" y="230"/>
                      </a:lnTo>
                      <a:lnTo>
                        <a:pt x="819" y="227"/>
                      </a:lnTo>
                      <a:lnTo>
                        <a:pt x="810" y="222"/>
                      </a:lnTo>
                      <a:lnTo>
                        <a:pt x="804" y="220"/>
                      </a:lnTo>
                      <a:lnTo>
                        <a:pt x="798" y="216"/>
                      </a:lnTo>
                      <a:lnTo>
                        <a:pt x="794" y="216"/>
                      </a:lnTo>
                      <a:lnTo>
                        <a:pt x="791" y="217"/>
                      </a:lnTo>
                      <a:lnTo>
                        <a:pt x="784" y="221"/>
                      </a:lnTo>
                      <a:lnTo>
                        <a:pt x="781" y="221"/>
                      </a:lnTo>
                      <a:lnTo>
                        <a:pt x="780" y="218"/>
                      </a:lnTo>
                      <a:lnTo>
                        <a:pt x="777" y="216"/>
                      </a:lnTo>
                      <a:lnTo>
                        <a:pt x="775" y="212"/>
                      </a:lnTo>
                      <a:lnTo>
                        <a:pt x="770" y="208"/>
                      </a:lnTo>
                      <a:lnTo>
                        <a:pt x="770" y="206"/>
                      </a:lnTo>
                      <a:lnTo>
                        <a:pt x="772" y="206"/>
                      </a:lnTo>
                      <a:lnTo>
                        <a:pt x="775" y="208"/>
                      </a:lnTo>
                      <a:lnTo>
                        <a:pt x="778" y="206"/>
                      </a:lnTo>
                      <a:lnTo>
                        <a:pt x="782" y="206"/>
                      </a:lnTo>
                      <a:lnTo>
                        <a:pt x="785" y="208"/>
                      </a:lnTo>
                      <a:lnTo>
                        <a:pt x="808" y="215"/>
                      </a:lnTo>
                      <a:lnTo>
                        <a:pt x="818" y="218"/>
                      </a:lnTo>
                      <a:lnTo>
                        <a:pt x="831" y="222"/>
                      </a:lnTo>
                      <a:lnTo>
                        <a:pt x="833" y="223"/>
                      </a:lnTo>
                      <a:lnTo>
                        <a:pt x="837" y="224"/>
                      </a:lnTo>
                      <a:lnTo>
                        <a:pt x="841" y="224"/>
                      </a:lnTo>
                      <a:lnTo>
                        <a:pt x="846" y="224"/>
                      </a:lnTo>
                      <a:lnTo>
                        <a:pt x="855" y="228"/>
                      </a:lnTo>
                      <a:lnTo>
                        <a:pt x="864" y="233"/>
                      </a:lnTo>
                      <a:lnTo>
                        <a:pt x="871" y="239"/>
                      </a:lnTo>
                      <a:lnTo>
                        <a:pt x="876" y="241"/>
                      </a:lnTo>
                      <a:lnTo>
                        <a:pt x="879" y="241"/>
                      </a:lnTo>
                      <a:lnTo>
                        <a:pt x="881" y="240"/>
                      </a:lnTo>
                      <a:lnTo>
                        <a:pt x="884" y="239"/>
                      </a:lnTo>
                      <a:lnTo>
                        <a:pt x="885" y="237"/>
                      </a:lnTo>
                      <a:lnTo>
                        <a:pt x="884" y="236"/>
                      </a:lnTo>
                      <a:lnTo>
                        <a:pt x="881" y="231"/>
                      </a:lnTo>
                      <a:lnTo>
                        <a:pt x="878" y="228"/>
                      </a:lnTo>
                      <a:lnTo>
                        <a:pt x="878" y="227"/>
                      </a:lnTo>
                      <a:lnTo>
                        <a:pt x="876" y="225"/>
                      </a:lnTo>
                      <a:lnTo>
                        <a:pt x="879" y="224"/>
                      </a:lnTo>
                      <a:lnTo>
                        <a:pt x="881" y="222"/>
                      </a:lnTo>
                      <a:lnTo>
                        <a:pt x="884" y="222"/>
                      </a:lnTo>
                      <a:lnTo>
                        <a:pt x="890" y="221"/>
                      </a:lnTo>
                      <a:lnTo>
                        <a:pt x="895" y="220"/>
                      </a:lnTo>
                      <a:lnTo>
                        <a:pt x="902" y="218"/>
                      </a:lnTo>
                      <a:lnTo>
                        <a:pt x="907" y="217"/>
                      </a:lnTo>
                      <a:lnTo>
                        <a:pt x="911" y="214"/>
                      </a:lnTo>
                      <a:lnTo>
                        <a:pt x="916" y="211"/>
                      </a:lnTo>
                      <a:lnTo>
                        <a:pt x="922" y="203"/>
                      </a:lnTo>
                      <a:lnTo>
                        <a:pt x="927" y="193"/>
                      </a:lnTo>
                      <a:lnTo>
                        <a:pt x="927" y="192"/>
                      </a:lnTo>
                      <a:lnTo>
                        <a:pt x="925" y="191"/>
                      </a:lnTo>
                      <a:lnTo>
                        <a:pt x="919" y="190"/>
                      </a:lnTo>
                      <a:lnTo>
                        <a:pt x="918" y="190"/>
                      </a:lnTo>
                      <a:lnTo>
                        <a:pt x="916" y="190"/>
                      </a:lnTo>
                      <a:lnTo>
                        <a:pt x="912" y="188"/>
                      </a:lnTo>
                      <a:lnTo>
                        <a:pt x="907" y="186"/>
                      </a:lnTo>
                      <a:lnTo>
                        <a:pt x="898" y="186"/>
                      </a:lnTo>
                      <a:lnTo>
                        <a:pt x="897" y="186"/>
                      </a:lnTo>
                      <a:lnTo>
                        <a:pt x="894" y="184"/>
                      </a:lnTo>
                      <a:lnTo>
                        <a:pt x="894" y="182"/>
                      </a:lnTo>
                      <a:lnTo>
                        <a:pt x="893" y="179"/>
                      </a:lnTo>
                      <a:lnTo>
                        <a:pt x="886" y="174"/>
                      </a:lnTo>
                      <a:lnTo>
                        <a:pt x="885" y="173"/>
                      </a:lnTo>
                      <a:lnTo>
                        <a:pt x="884" y="172"/>
                      </a:lnTo>
                      <a:lnTo>
                        <a:pt x="885" y="171"/>
                      </a:lnTo>
                      <a:lnTo>
                        <a:pt x="886" y="170"/>
                      </a:lnTo>
                      <a:lnTo>
                        <a:pt x="888" y="169"/>
                      </a:lnTo>
                      <a:lnTo>
                        <a:pt x="893" y="170"/>
                      </a:lnTo>
                      <a:lnTo>
                        <a:pt x="897" y="173"/>
                      </a:lnTo>
                      <a:lnTo>
                        <a:pt x="902" y="174"/>
                      </a:lnTo>
                      <a:lnTo>
                        <a:pt x="916" y="177"/>
                      </a:lnTo>
                      <a:lnTo>
                        <a:pt x="930" y="180"/>
                      </a:lnTo>
                      <a:lnTo>
                        <a:pt x="931" y="178"/>
                      </a:lnTo>
                      <a:lnTo>
                        <a:pt x="932" y="177"/>
                      </a:lnTo>
                      <a:lnTo>
                        <a:pt x="933" y="174"/>
                      </a:lnTo>
                      <a:lnTo>
                        <a:pt x="938" y="173"/>
                      </a:lnTo>
                      <a:lnTo>
                        <a:pt x="941" y="173"/>
                      </a:lnTo>
                      <a:lnTo>
                        <a:pt x="942" y="171"/>
                      </a:lnTo>
                      <a:lnTo>
                        <a:pt x="944" y="167"/>
                      </a:lnTo>
                      <a:lnTo>
                        <a:pt x="944" y="165"/>
                      </a:lnTo>
                      <a:lnTo>
                        <a:pt x="944" y="158"/>
                      </a:lnTo>
                      <a:lnTo>
                        <a:pt x="942" y="151"/>
                      </a:lnTo>
                      <a:lnTo>
                        <a:pt x="944" y="147"/>
                      </a:lnTo>
                      <a:lnTo>
                        <a:pt x="946" y="146"/>
                      </a:lnTo>
                      <a:lnTo>
                        <a:pt x="952" y="145"/>
                      </a:lnTo>
                      <a:lnTo>
                        <a:pt x="955" y="145"/>
                      </a:lnTo>
                      <a:lnTo>
                        <a:pt x="958" y="142"/>
                      </a:lnTo>
                      <a:lnTo>
                        <a:pt x="959" y="142"/>
                      </a:lnTo>
                      <a:lnTo>
                        <a:pt x="960" y="144"/>
                      </a:lnTo>
                      <a:lnTo>
                        <a:pt x="960" y="151"/>
                      </a:lnTo>
                      <a:lnTo>
                        <a:pt x="961" y="153"/>
                      </a:lnTo>
                      <a:lnTo>
                        <a:pt x="963" y="154"/>
                      </a:lnTo>
                      <a:lnTo>
                        <a:pt x="965" y="154"/>
                      </a:lnTo>
                      <a:lnTo>
                        <a:pt x="977" y="153"/>
                      </a:lnTo>
                      <a:lnTo>
                        <a:pt x="982" y="154"/>
                      </a:lnTo>
                      <a:lnTo>
                        <a:pt x="987" y="156"/>
                      </a:lnTo>
                      <a:lnTo>
                        <a:pt x="987" y="152"/>
                      </a:lnTo>
                      <a:lnTo>
                        <a:pt x="984" y="148"/>
                      </a:lnTo>
                      <a:lnTo>
                        <a:pt x="979" y="145"/>
                      </a:lnTo>
                      <a:lnTo>
                        <a:pt x="975" y="141"/>
                      </a:lnTo>
                      <a:lnTo>
                        <a:pt x="973" y="137"/>
                      </a:lnTo>
                      <a:lnTo>
                        <a:pt x="973" y="135"/>
                      </a:lnTo>
                      <a:lnTo>
                        <a:pt x="973" y="133"/>
                      </a:lnTo>
                      <a:lnTo>
                        <a:pt x="975" y="132"/>
                      </a:lnTo>
                      <a:lnTo>
                        <a:pt x="978" y="133"/>
                      </a:lnTo>
                      <a:lnTo>
                        <a:pt x="983" y="137"/>
                      </a:lnTo>
                      <a:lnTo>
                        <a:pt x="987" y="138"/>
                      </a:lnTo>
                      <a:lnTo>
                        <a:pt x="988" y="140"/>
                      </a:lnTo>
                      <a:lnTo>
                        <a:pt x="993" y="147"/>
                      </a:lnTo>
                      <a:lnTo>
                        <a:pt x="997" y="150"/>
                      </a:lnTo>
                      <a:lnTo>
                        <a:pt x="1001" y="152"/>
                      </a:lnTo>
                      <a:lnTo>
                        <a:pt x="1003" y="153"/>
                      </a:lnTo>
                      <a:lnTo>
                        <a:pt x="1006" y="156"/>
                      </a:lnTo>
                      <a:lnTo>
                        <a:pt x="1008" y="158"/>
                      </a:lnTo>
                      <a:lnTo>
                        <a:pt x="1011" y="158"/>
                      </a:lnTo>
                      <a:lnTo>
                        <a:pt x="1012" y="157"/>
                      </a:lnTo>
                      <a:lnTo>
                        <a:pt x="1013" y="154"/>
                      </a:lnTo>
                      <a:lnTo>
                        <a:pt x="1012" y="152"/>
                      </a:lnTo>
                      <a:lnTo>
                        <a:pt x="1011" y="150"/>
                      </a:lnTo>
                      <a:lnTo>
                        <a:pt x="1010" y="147"/>
                      </a:lnTo>
                      <a:lnTo>
                        <a:pt x="1010" y="145"/>
                      </a:lnTo>
                      <a:lnTo>
                        <a:pt x="1011" y="142"/>
                      </a:lnTo>
                      <a:lnTo>
                        <a:pt x="1013" y="140"/>
                      </a:lnTo>
                      <a:lnTo>
                        <a:pt x="1020" y="138"/>
                      </a:lnTo>
                      <a:lnTo>
                        <a:pt x="1022" y="135"/>
                      </a:lnTo>
                      <a:lnTo>
                        <a:pt x="1024" y="133"/>
                      </a:lnTo>
                      <a:lnTo>
                        <a:pt x="1026" y="132"/>
                      </a:lnTo>
                      <a:lnTo>
                        <a:pt x="1029" y="131"/>
                      </a:lnTo>
                      <a:lnTo>
                        <a:pt x="1031" y="131"/>
                      </a:lnTo>
                      <a:lnTo>
                        <a:pt x="1034" y="129"/>
                      </a:lnTo>
                      <a:lnTo>
                        <a:pt x="1036" y="127"/>
                      </a:lnTo>
                      <a:lnTo>
                        <a:pt x="1038" y="126"/>
                      </a:lnTo>
                      <a:lnTo>
                        <a:pt x="1038" y="125"/>
                      </a:lnTo>
                      <a:lnTo>
                        <a:pt x="1036" y="124"/>
                      </a:lnTo>
                      <a:lnTo>
                        <a:pt x="1035" y="125"/>
                      </a:lnTo>
                      <a:lnTo>
                        <a:pt x="1031" y="126"/>
                      </a:lnTo>
                      <a:lnTo>
                        <a:pt x="1030" y="126"/>
                      </a:lnTo>
                      <a:lnTo>
                        <a:pt x="1029" y="126"/>
                      </a:lnTo>
                      <a:lnTo>
                        <a:pt x="1026" y="124"/>
                      </a:lnTo>
                      <a:lnTo>
                        <a:pt x="1024" y="118"/>
                      </a:lnTo>
                      <a:lnTo>
                        <a:pt x="1021" y="110"/>
                      </a:lnTo>
                      <a:lnTo>
                        <a:pt x="1018" y="105"/>
                      </a:lnTo>
                      <a:lnTo>
                        <a:pt x="1016" y="101"/>
                      </a:lnTo>
                      <a:lnTo>
                        <a:pt x="1013" y="99"/>
                      </a:lnTo>
                      <a:lnTo>
                        <a:pt x="1012" y="97"/>
                      </a:lnTo>
                      <a:lnTo>
                        <a:pt x="1012" y="95"/>
                      </a:lnTo>
                      <a:lnTo>
                        <a:pt x="1013" y="94"/>
                      </a:lnTo>
                      <a:lnTo>
                        <a:pt x="1016" y="94"/>
                      </a:lnTo>
                      <a:lnTo>
                        <a:pt x="1021" y="94"/>
                      </a:lnTo>
                      <a:lnTo>
                        <a:pt x="1025" y="95"/>
                      </a:lnTo>
                      <a:lnTo>
                        <a:pt x="1030" y="96"/>
                      </a:lnTo>
                      <a:lnTo>
                        <a:pt x="1031" y="95"/>
                      </a:lnTo>
                      <a:lnTo>
                        <a:pt x="1034" y="93"/>
                      </a:lnTo>
                      <a:lnTo>
                        <a:pt x="1034" y="90"/>
                      </a:lnTo>
                      <a:lnTo>
                        <a:pt x="1034" y="88"/>
                      </a:lnTo>
                      <a:lnTo>
                        <a:pt x="1034" y="82"/>
                      </a:lnTo>
                      <a:lnTo>
                        <a:pt x="1036" y="77"/>
                      </a:lnTo>
                      <a:lnTo>
                        <a:pt x="1036" y="76"/>
                      </a:lnTo>
                      <a:lnTo>
                        <a:pt x="1036" y="75"/>
                      </a:lnTo>
                      <a:lnTo>
                        <a:pt x="1030" y="75"/>
                      </a:lnTo>
                      <a:lnTo>
                        <a:pt x="1024" y="74"/>
                      </a:lnTo>
                      <a:lnTo>
                        <a:pt x="1018" y="71"/>
                      </a:lnTo>
                      <a:lnTo>
                        <a:pt x="1016" y="70"/>
                      </a:lnTo>
                      <a:lnTo>
                        <a:pt x="1015" y="68"/>
                      </a:lnTo>
                      <a:lnTo>
                        <a:pt x="1016" y="65"/>
                      </a:lnTo>
                      <a:lnTo>
                        <a:pt x="1016" y="63"/>
                      </a:lnTo>
                      <a:lnTo>
                        <a:pt x="1003" y="63"/>
                      </a:lnTo>
                      <a:lnTo>
                        <a:pt x="992" y="63"/>
                      </a:lnTo>
                      <a:lnTo>
                        <a:pt x="985" y="63"/>
                      </a:lnTo>
                      <a:lnTo>
                        <a:pt x="980" y="62"/>
                      </a:lnTo>
                      <a:lnTo>
                        <a:pt x="975" y="59"/>
                      </a:lnTo>
                      <a:lnTo>
                        <a:pt x="970" y="56"/>
                      </a:lnTo>
                      <a:lnTo>
                        <a:pt x="968" y="55"/>
                      </a:lnTo>
                      <a:lnTo>
                        <a:pt x="966" y="55"/>
                      </a:lnTo>
                      <a:lnTo>
                        <a:pt x="964" y="56"/>
                      </a:lnTo>
                      <a:lnTo>
                        <a:pt x="964" y="58"/>
                      </a:lnTo>
                      <a:lnTo>
                        <a:pt x="963" y="62"/>
                      </a:lnTo>
                      <a:lnTo>
                        <a:pt x="964" y="65"/>
                      </a:lnTo>
                      <a:lnTo>
                        <a:pt x="966" y="71"/>
                      </a:lnTo>
                      <a:lnTo>
                        <a:pt x="970" y="76"/>
                      </a:lnTo>
                      <a:lnTo>
                        <a:pt x="975" y="81"/>
                      </a:lnTo>
                      <a:lnTo>
                        <a:pt x="975" y="82"/>
                      </a:lnTo>
                      <a:lnTo>
                        <a:pt x="975" y="83"/>
                      </a:lnTo>
                      <a:lnTo>
                        <a:pt x="968" y="87"/>
                      </a:lnTo>
                      <a:lnTo>
                        <a:pt x="961" y="91"/>
                      </a:lnTo>
                      <a:lnTo>
                        <a:pt x="956" y="97"/>
                      </a:lnTo>
                      <a:lnTo>
                        <a:pt x="952" y="105"/>
                      </a:lnTo>
                      <a:lnTo>
                        <a:pt x="952" y="109"/>
                      </a:lnTo>
                      <a:lnTo>
                        <a:pt x="951" y="114"/>
                      </a:lnTo>
                      <a:lnTo>
                        <a:pt x="951" y="119"/>
                      </a:lnTo>
                      <a:lnTo>
                        <a:pt x="949" y="122"/>
                      </a:lnTo>
                      <a:lnTo>
                        <a:pt x="942" y="126"/>
                      </a:lnTo>
                      <a:lnTo>
                        <a:pt x="937" y="132"/>
                      </a:lnTo>
                      <a:lnTo>
                        <a:pt x="936" y="133"/>
                      </a:lnTo>
                      <a:lnTo>
                        <a:pt x="935" y="133"/>
                      </a:lnTo>
                      <a:lnTo>
                        <a:pt x="932" y="132"/>
                      </a:lnTo>
                      <a:lnTo>
                        <a:pt x="930" y="128"/>
                      </a:lnTo>
                      <a:lnTo>
                        <a:pt x="927" y="126"/>
                      </a:lnTo>
                      <a:lnTo>
                        <a:pt x="923" y="125"/>
                      </a:lnTo>
                      <a:lnTo>
                        <a:pt x="919" y="121"/>
                      </a:lnTo>
                      <a:lnTo>
                        <a:pt x="916" y="113"/>
                      </a:lnTo>
                      <a:lnTo>
                        <a:pt x="914" y="103"/>
                      </a:lnTo>
                      <a:lnTo>
                        <a:pt x="914" y="95"/>
                      </a:lnTo>
                      <a:lnTo>
                        <a:pt x="916" y="86"/>
                      </a:lnTo>
                      <a:lnTo>
                        <a:pt x="917" y="82"/>
                      </a:lnTo>
                      <a:lnTo>
                        <a:pt x="917" y="80"/>
                      </a:lnTo>
                      <a:lnTo>
                        <a:pt x="916" y="77"/>
                      </a:lnTo>
                      <a:lnTo>
                        <a:pt x="908" y="70"/>
                      </a:lnTo>
                      <a:lnTo>
                        <a:pt x="905" y="67"/>
                      </a:lnTo>
                      <a:lnTo>
                        <a:pt x="903" y="63"/>
                      </a:lnTo>
                      <a:lnTo>
                        <a:pt x="902" y="63"/>
                      </a:lnTo>
                      <a:lnTo>
                        <a:pt x="899" y="65"/>
                      </a:lnTo>
                      <a:lnTo>
                        <a:pt x="897" y="68"/>
                      </a:lnTo>
                      <a:lnTo>
                        <a:pt x="893" y="69"/>
                      </a:lnTo>
                      <a:lnTo>
                        <a:pt x="891" y="73"/>
                      </a:lnTo>
                      <a:lnTo>
                        <a:pt x="891" y="75"/>
                      </a:lnTo>
                      <a:lnTo>
                        <a:pt x="893" y="77"/>
                      </a:lnTo>
                      <a:lnTo>
                        <a:pt x="894" y="80"/>
                      </a:lnTo>
                      <a:lnTo>
                        <a:pt x="894" y="82"/>
                      </a:lnTo>
                      <a:lnTo>
                        <a:pt x="889" y="88"/>
                      </a:lnTo>
                      <a:lnTo>
                        <a:pt x="883" y="95"/>
                      </a:lnTo>
                      <a:lnTo>
                        <a:pt x="880" y="96"/>
                      </a:lnTo>
                      <a:lnTo>
                        <a:pt x="876" y="97"/>
                      </a:lnTo>
                      <a:lnTo>
                        <a:pt x="874" y="96"/>
                      </a:lnTo>
                      <a:lnTo>
                        <a:pt x="871" y="95"/>
                      </a:lnTo>
                      <a:lnTo>
                        <a:pt x="869" y="93"/>
                      </a:lnTo>
                      <a:lnTo>
                        <a:pt x="869" y="89"/>
                      </a:lnTo>
                      <a:lnTo>
                        <a:pt x="869" y="86"/>
                      </a:lnTo>
                      <a:lnTo>
                        <a:pt x="870" y="82"/>
                      </a:lnTo>
                      <a:lnTo>
                        <a:pt x="870" y="81"/>
                      </a:lnTo>
                      <a:lnTo>
                        <a:pt x="869" y="78"/>
                      </a:lnTo>
                      <a:lnTo>
                        <a:pt x="865" y="76"/>
                      </a:lnTo>
                      <a:lnTo>
                        <a:pt x="862" y="75"/>
                      </a:lnTo>
                      <a:lnTo>
                        <a:pt x="861" y="74"/>
                      </a:lnTo>
                      <a:lnTo>
                        <a:pt x="861" y="71"/>
                      </a:lnTo>
                      <a:lnTo>
                        <a:pt x="862" y="69"/>
                      </a:lnTo>
                      <a:lnTo>
                        <a:pt x="864" y="68"/>
                      </a:lnTo>
                      <a:lnTo>
                        <a:pt x="862" y="65"/>
                      </a:lnTo>
                      <a:lnTo>
                        <a:pt x="860" y="63"/>
                      </a:lnTo>
                      <a:lnTo>
                        <a:pt x="858" y="62"/>
                      </a:lnTo>
                      <a:lnTo>
                        <a:pt x="857" y="62"/>
                      </a:lnTo>
                      <a:lnTo>
                        <a:pt x="855" y="65"/>
                      </a:lnTo>
                      <a:lnTo>
                        <a:pt x="853" y="68"/>
                      </a:lnTo>
                      <a:lnTo>
                        <a:pt x="853" y="75"/>
                      </a:lnTo>
                      <a:lnTo>
                        <a:pt x="848" y="74"/>
                      </a:lnTo>
                      <a:lnTo>
                        <a:pt x="846" y="70"/>
                      </a:lnTo>
                      <a:lnTo>
                        <a:pt x="845" y="68"/>
                      </a:lnTo>
                      <a:lnTo>
                        <a:pt x="842" y="65"/>
                      </a:lnTo>
                      <a:lnTo>
                        <a:pt x="838" y="62"/>
                      </a:lnTo>
                      <a:lnTo>
                        <a:pt x="838" y="59"/>
                      </a:lnTo>
                      <a:lnTo>
                        <a:pt x="838" y="58"/>
                      </a:lnTo>
                      <a:lnTo>
                        <a:pt x="842" y="55"/>
                      </a:lnTo>
                      <a:lnTo>
                        <a:pt x="852" y="50"/>
                      </a:lnTo>
                      <a:lnTo>
                        <a:pt x="858" y="45"/>
                      </a:lnTo>
                      <a:lnTo>
                        <a:pt x="861" y="42"/>
                      </a:lnTo>
                      <a:lnTo>
                        <a:pt x="861" y="41"/>
                      </a:lnTo>
                      <a:lnTo>
                        <a:pt x="861" y="39"/>
                      </a:lnTo>
                      <a:lnTo>
                        <a:pt x="856" y="35"/>
                      </a:lnTo>
                      <a:lnTo>
                        <a:pt x="850" y="31"/>
                      </a:lnTo>
                      <a:lnTo>
                        <a:pt x="843" y="26"/>
                      </a:lnTo>
                      <a:lnTo>
                        <a:pt x="838" y="22"/>
                      </a:lnTo>
                      <a:lnTo>
                        <a:pt x="832" y="18"/>
                      </a:lnTo>
                      <a:lnTo>
                        <a:pt x="825" y="16"/>
                      </a:lnTo>
                      <a:lnTo>
                        <a:pt x="823" y="14"/>
                      </a:lnTo>
                      <a:lnTo>
                        <a:pt x="823" y="12"/>
                      </a:lnTo>
                      <a:lnTo>
                        <a:pt x="820" y="6"/>
                      </a:lnTo>
                      <a:lnTo>
                        <a:pt x="818" y="3"/>
                      </a:lnTo>
                      <a:lnTo>
                        <a:pt x="814" y="0"/>
                      </a:lnTo>
                      <a:lnTo>
                        <a:pt x="810" y="0"/>
                      </a:lnTo>
                      <a:lnTo>
                        <a:pt x="806" y="0"/>
                      </a:lnTo>
                      <a:lnTo>
                        <a:pt x="798" y="0"/>
                      </a:lnTo>
                      <a:lnTo>
                        <a:pt x="789" y="0"/>
                      </a:lnTo>
                      <a:lnTo>
                        <a:pt x="789" y="4"/>
                      </a:lnTo>
                      <a:lnTo>
                        <a:pt x="790" y="6"/>
                      </a:lnTo>
                      <a:lnTo>
                        <a:pt x="791" y="10"/>
                      </a:lnTo>
                      <a:lnTo>
                        <a:pt x="790" y="12"/>
                      </a:lnTo>
                      <a:lnTo>
                        <a:pt x="787" y="17"/>
                      </a:lnTo>
                      <a:lnTo>
                        <a:pt x="787" y="22"/>
                      </a:lnTo>
                      <a:lnTo>
                        <a:pt x="785" y="19"/>
                      </a:lnTo>
                      <a:lnTo>
                        <a:pt x="785" y="18"/>
                      </a:lnTo>
                      <a:lnTo>
                        <a:pt x="784" y="16"/>
                      </a:lnTo>
                      <a:lnTo>
                        <a:pt x="782" y="14"/>
                      </a:lnTo>
                      <a:lnTo>
                        <a:pt x="780" y="14"/>
                      </a:lnTo>
                      <a:lnTo>
                        <a:pt x="777" y="14"/>
                      </a:lnTo>
                      <a:lnTo>
                        <a:pt x="776" y="17"/>
                      </a:lnTo>
                      <a:lnTo>
                        <a:pt x="775" y="19"/>
                      </a:lnTo>
                      <a:lnTo>
                        <a:pt x="773" y="30"/>
                      </a:lnTo>
                      <a:lnTo>
                        <a:pt x="770" y="37"/>
                      </a:lnTo>
                      <a:lnTo>
                        <a:pt x="768" y="41"/>
                      </a:lnTo>
                      <a:lnTo>
                        <a:pt x="770" y="44"/>
                      </a:lnTo>
                      <a:lnTo>
                        <a:pt x="773" y="46"/>
                      </a:lnTo>
                      <a:lnTo>
                        <a:pt x="780" y="49"/>
                      </a:lnTo>
                      <a:lnTo>
                        <a:pt x="785" y="51"/>
                      </a:lnTo>
                      <a:lnTo>
                        <a:pt x="787" y="52"/>
                      </a:lnTo>
                      <a:lnTo>
                        <a:pt x="790" y="55"/>
                      </a:lnTo>
                      <a:lnTo>
                        <a:pt x="792" y="57"/>
                      </a:lnTo>
                      <a:lnTo>
                        <a:pt x="795" y="57"/>
                      </a:lnTo>
                      <a:lnTo>
                        <a:pt x="799" y="57"/>
                      </a:lnTo>
                      <a:lnTo>
                        <a:pt x="801" y="58"/>
                      </a:lnTo>
                      <a:lnTo>
                        <a:pt x="808" y="63"/>
                      </a:lnTo>
                      <a:lnTo>
                        <a:pt x="814" y="69"/>
                      </a:lnTo>
                      <a:lnTo>
                        <a:pt x="820" y="75"/>
                      </a:lnTo>
                      <a:lnTo>
                        <a:pt x="822" y="78"/>
                      </a:lnTo>
                      <a:lnTo>
                        <a:pt x="823" y="82"/>
                      </a:lnTo>
                      <a:lnTo>
                        <a:pt x="823" y="86"/>
                      </a:lnTo>
                      <a:lnTo>
                        <a:pt x="822" y="89"/>
                      </a:lnTo>
                      <a:lnTo>
                        <a:pt x="817" y="95"/>
                      </a:lnTo>
                      <a:lnTo>
                        <a:pt x="810" y="101"/>
                      </a:lnTo>
                      <a:lnTo>
                        <a:pt x="804" y="105"/>
                      </a:lnTo>
                      <a:lnTo>
                        <a:pt x="796" y="108"/>
                      </a:lnTo>
                      <a:lnTo>
                        <a:pt x="792" y="110"/>
                      </a:lnTo>
                      <a:lnTo>
                        <a:pt x="787" y="115"/>
                      </a:lnTo>
                      <a:lnTo>
                        <a:pt x="787" y="116"/>
                      </a:lnTo>
                      <a:lnTo>
                        <a:pt x="787" y="119"/>
                      </a:lnTo>
                      <a:lnTo>
                        <a:pt x="790" y="121"/>
                      </a:lnTo>
                      <a:lnTo>
                        <a:pt x="792" y="124"/>
                      </a:lnTo>
                      <a:lnTo>
                        <a:pt x="794" y="127"/>
                      </a:lnTo>
                      <a:lnTo>
                        <a:pt x="794" y="129"/>
                      </a:lnTo>
                      <a:lnTo>
                        <a:pt x="792" y="133"/>
                      </a:lnTo>
                      <a:lnTo>
                        <a:pt x="791" y="135"/>
                      </a:lnTo>
                      <a:lnTo>
                        <a:pt x="787" y="137"/>
                      </a:lnTo>
                      <a:lnTo>
                        <a:pt x="786" y="137"/>
                      </a:lnTo>
                      <a:lnTo>
                        <a:pt x="785" y="137"/>
                      </a:lnTo>
                      <a:lnTo>
                        <a:pt x="784" y="134"/>
                      </a:lnTo>
                      <a:lnTo>
                        <a:pt x="784" y="132"/>
                      </a:lnTo>
                      <a:lnTo>
                        <a:pt x="782" y="131"/>
                      </a:lnTo>
                      <a:lnTo>
                        <a:pt x="781" y="129"/>
                      </a:lnTo>
                      <a:lnTo>
                        <a:pt x="776" y="129"/>
                      </a:lnTo>
                      <a:lnTo>
                        <a:pt x="772" y="127"/>
                      </a:lnTo>
                      <a:lnTo>
                        <a:pt x="768" y="124"/>
                      </a:lnTo>
                      <a:lnTo>
                        <a:pt x="767" y="120"/>
                      </a:lnTo>
                      <a:lnTo>
                        <a:pt x="770" y="116"/>
                      </a:lnTo>
                      <a:lnTo>
                        <a:pt x="772" y="113"/>
                      </a:lnTo>
                      <a:lnTo>
                        <a:pt x="773" y="110"/>
                      </a:lnTo>
                      <a:lnTo>
                        <a:pt x="773" y="109"/>
                      </a:lnTo>
                      <a:lnTo>
                        <a:pt x="772" y="108"/>
                      </a:lnTo>
                      <a:lnTo>
                        <a:pt x="761" y="106"/>
                      </a:lnTo>
                      <a:lnTo>
                        <a:pt x="748" y="102"/>
                      </a:lnTo>
                      <a:lnTo>
                        <a:pt x="744" y="102"/>
                      </a:lnTo>
                      <a:lnTo>
                        <a:pt x="740" y="103"/>
                      </a:lnTo>
                      <a:lnTo>
                        <a:pt x="739" y="105"/>
                      </a:lnTo>
                      <a:lnTo>
                        <a:pt x="738" y="107"/>
                      </a:lnTo>
                      <a:lnTo>
                        <a:pt x="739" y="108"/>
                      </a:lnTo>
                      <a:lnTo>
                        <a:pt x="742" y="115"/>
                      </a:lnTo>
                      <a:lnTo>
                        <a:pt x="744" y="119"/>
                      </a:lnTo>
                      <a:lnTo>
                        <a:pt x="744" y="122"/>
                      </a:lnTo>
                      <a:lnTo>
                        <a:pt x="737" y="121"/>
                      </a:lnTo>
                      <a:lnTo>
                        <a:pt x="734" y="120"/>
                      </a:lnTo>
                      <a:lnTo>
                        <a:pt x="730" y="121"/>
                      </a:lnTo>
                      <a:lnTo>
                        <a:pt x="729" y="121"/>
                      </a:lnTo>
                      <a:lnTo>
                        <a:pt x="728" y="120"/>
                      </a:lnTo>
                      <a:lnTo>
                        <a:pt x="725" y="119"/>
                      </a:lnTo>
                      <a:lnTo>
                        <a:pt x="723" y="119"/>
                      </a:lnTo>
                      <a:lnTo>
                        <a:pt x="720" y="120"/>
                      </a:lnTo>
                      <a:lnTo>
                        <a:pt x="719" y="120"/>
                      </a:lnTo>
                      <a:lnTo>
                        <a:pt x="716" y="120"/>
                      </a:lnTo>
                      <a:lnTo>
                        <a:pt x="711" y="119"/>
                      </a:lnTo>
                      <a:lnTo>
                        <a:pt x="709" y="119"/>
                      </a:lnTo>
                      <a:lnTo>
                        <a:pt x="706" y="120"/>
                      </a:lnTo>
                      <a:lnTo>
                        <a:pt x="700" y="119"/>
                      </a:lnTo>
                      <a:lnTo>
                        <a:pt x="693" y="119"/>
                      </a:lnTo>
                      <a:lnTo>
                        <a:pt x="682" y="120"/>
                      </a:lnTo>
                      <a:lnTo>
                        <a:pt x="678" y="120"/>
                      </a:lnTo>
                      <a:lnTo>
                        <a:pt x="676" y="119"/>
                      </a:lnTo>
                      <a:lnTo>
                        <a:pt x="668" y="114"/>
                      </a:lnTo>
                      <a:lnTo>
                        <a:pt x="663" y="113"/>
                      </a:lnTo>
                      <a:lnTo>
                        <a:pt x="659" y="113"/>
                      </a:lnTo>
                      <a:lnTo>
                        <a:pt x="657" y="112"/>
                      </a:lnTo>
                      <a:lnTo>
                        <a:pt x="654" y="110"/>
                      </a:lnTo>
                      <a:lnTo>
                        <a:pt x="653" y="108"/>
                      </a:lnTo>
                      <a:lnTo>
                        <a:pt x="650" y="106"/>
                      </a:lnTo>
                      <a:lnTo>
                        <a:pt x="645" y="105"/>
                      </a:lnTo>
                      <a:lnTo>
                        <a:pt x="640" y="103"/>
                      </a:lnTo>
                      <a:lnTo>
                        <a:pt x="629" y="102"/>
                      </a:lnTo>
                      <a:lnTo>
                        <a:pt x="617" y="102"/>
                      </a:lnTo>
                      <a:lnTo>
                        <a:pt x="612" y="101"/>
                      </a:lnTo>
                      <a:lnTo>
                        <a:pt x="607" y="99"/>
                      </a:lnTo>
                      <a:lnTo>
                        <a:pt x="605" y="97"/>
                      </a:lnTo>
                      <a:lnTo>
                        <a:pt x="603" y="94"/>
                      </a:lnTo>
                      <a:lnTo>
                        <a:pt x="601" y="88"/>
                      </a:lnTo>
                      <a:lnTo>
                        <a:pt x="598" y="83"/>
                      </a:lnTo>
                      <a:lnTo>
                        <a:pt x="596" y="82"/>
                      </a:lnTo>
                      <a:lnTo>
                        <a:pt x="593" y="82"/>
                      </a:lnTo>
                      <a:lnTo>
                        <a:pt x="587" y="83"/>
                      </a:lnTo>
                      <a:lnTo>
                        <a:pt x="582" y="83"/>
                      </a:lnTo>
                      <a:lnTo>
                        <a:pt x="575" y="84"/>
                      </a:lnTo>
                      <a:lnTo>
                        <a:pt x="570" y="86"/>
                      </a:lnTo>
                      <a:lnTo>
                        <a:pt x="565" y="88"/>
                      </a:lnTo>
                      <a:lnTo>
                        <a:pt x="563" y="91"/>
                      </a:lnTo>
                      <a:lnTo>
                        <a:pt x="560" y="95"/>
                      </a:lnTo>
                      <a:lnTo>
                        <a:pt x="560" y="100"/>
                      </a:lnTo>
                      <a:lnTo>
                        <a:pt x="563" y="102"/>
                      </a:lnTo>
                      <a:lnTo>
                        <a:pt x="564" y="103"/>
                      </a:lnTo>
                      <a:lnTo>
                        <a:pt x="565" y="102"/>
                      </a:lnTo>
                      <a:lnTo>
                        <a:pt x="568" y="100"/>
                      </a:lnTo>
                      <a:lnTo>
                        <a:pt x="570" y="99"/>
                      </a:lnTo>
                      <a:lnTo>
                        <a:pt x="577" y="97"/>
                      </a:lnTo>
                      <a:lnTo>
                        <a:pt x="583" y="97"/>
                      </a:lnTo>
                      <a:lnTo>
                        <a:pt x="589" y="97"/>
                      </a:lnTo>
                      <a:lnTo>
                        <a:pt x="589" y="100"/>
                      </a:lnTo>
                      <a:lnTo>
                        <a:pt x="585" y="102"/>
                      </a:lnTo>
                      <a:lnTo>
                        <a:pt x="584" y="105"/>
                      </a:lnTo>
                      <a:lnTo>
                        <a:pt x="583" y="107"/>
                      </a:lnTo>
                      <a:lnTo>
                        <a:pt x="582" y="109"/>
                      </a:lnTo>
                      <a:lnTo>
                        <a:pt x="579" y="110"/>
                      </a:lnTo>
                      <a:lnTo>
                        <a:pt x="573" y="113"/>
                      </a:lnTo>
                      <a:lnTo>
                        <a:pt x="570" y="113"/>
                      </a:lnTo>
                      <a:lnTo>
                        <a:pt x="569" y="115"/>
                      </a:lnTo>
                      <a:lnTo>
                        <a:pt x="568" y="118"/>
                      </a:lnTo>
                      <a:lnTo>
                        <a:pt x="568" y="121"/>
                      </a:lnTo>
                      <a:lnTo>
                        <a:pt x="570" y="127"/>
                      </a:lnTo>
                      <a:lnTo>
                        <a:pt x="574" y="132"/>
                      </a:lnTo>
                      <a:lnTo>
                        <a:pt x="577" y="138"/>
                      </a:lnTo>
                      <a:lnTo>
                        <a:pt x="577" y="139"/>
                      </a:lnTo>
                      <a:lnTo>
                        <a:pt x="575" y="139"/>
                      </a:lnTo>
                      <a:lnTo>
                        <a:pt x="573" y="138"/>
                      </a:lnTo>
                      <a:lnTo>
                        <a:pt x="570" y="138"/>
                      </a:lnTo>
                      <a:lnTo>
                        <a:pt x="568" y="138"/>
                      </a:lnTo>
                      <a:lnTo>
                        <a:pt x="565" y="140"/>
                      </a:lnTo>
                      <a:lnTo>
                        <a:pt x="565" y="142"/>
                      </a:lnTo>
                      <a:lnTo>
                        <a:pt x="566" y="144"/>
                      </a:lnTo>
                      <a:lnTo>
                        <a:pt x="569" y="145"/>
                      </a:lnTo>
                      <a:lnTo>
                        <a:pt x="571" y="147"/>
                      </a:lnTo>
                      <a:lnTo>
                        <a:pt x="571" y="150"/>
                      </a:lnTo>
                      <a:lnTo>
                        <a:pt x="566" y="150"/>
                      </a:lnTo>
                      <a:lnTo>
                        <a:pt x="563" y="148"/>
                      </a:lnTo>
                      <a:lnTo>
                        <a:pt x="560" y="146"/>
                      </a:lnTo>
                      <a:lnTo>
                        <a:pt x="556" y="144"/>
                      </a:lnTo>
                      <a:lnTo>
                        <a:pt x="545" y="129"/>
                      </a:lnTo>
                      <a:lnTo>
                        <a:pt x="544" y="128"/>
                      </a:lnTo>
                      <a:lnTo>
                        <a:pt x="541" y="128"/>
                      </a:lnTo>
                      <a:lnTo>
                        <a:pt x="540" y="128"/>
                      </a:lnTo>
                      <a:lnTo>
                        <a:pt x="537" y="127"/>
                      </a:lnTo>
                      <a:lnTo>
                        <a:pt x="536" y="127"/>
                      </a:lnTo>
                      <a:lnTo>
                        <a:pt x="535" y="126"/>
                      </a:lnTo>
                      <a:lnTo>
                        <a:pt x="533" y="122"/>
                      </a:lnTo>
                      <a:lnTo>
                        <a:pt x="532" y="120"/>
                      </a:lnTo>
                      <a:lnTo>
                        <a:pt x="528" y="115"/>
                      </a:lnTo>
                      <a:lnTo>
                        <a:pt x="527" y="114"/>
                      </a:lnTo>
                      <a:lnTo>
                        <a:pt x="528" y="113"/>
                      </a:lnTo>
                      <a:lnTo>
                        <a:pt x="528" y="109"/>
                      </a:lnTo>
                      <a:lnTo>
                        <a:pt x="528" y="108"/>
                      </a:lnTo>
                      <a:lnTo>
                        <a:pt x="527" y="108"/>
                      </a:lnTo>
                      <a:lnTo>
                        <a:pt x="525" y="109"/>
                      </a:lnTo>
                      <a:lnTo>
                        <a:pt x="519" y="118"/>
                      </a:lnTo>
                      <a:lnTo>
                        <a:pt x="518" y="121"/>
                      </a:lnTo>
                      <a:lnTo>
                        <a:pt x="514" y="124"/>
                      </a:lnTo>
                      <a:lnTo>
                        <a:pt x="511" y="125"/>
                      </a:lnTo>
                      <a:lnTo>
                        <a:pt x="505" y="125"/>
                      </a:lnTo>
                      <a:lnTo>
                        <a:pt x="500" y="124"/>
                      </a:lnTo>
                      <a:lnTo>
                        <a:pt x="495" y="124"/>
                      </a:lnTo>
                      <a:lnTo>
                        <a:pt x="472" y="125"/>
                      </a:lnTo>
                      <a:lnTo>
                        <a:pt x="461" y="124"/>
                      </a:lnTo>
                      <a:lnTo>
                        <a:pt x="450" y="122"/>
                      </a:lnTo>
                      <a:lnTo>
                        <a:pt x="446" y="120"/>
                      </a:lnTo>
                      <a:lnTo>
                        <a:pt x="441" y="118"/>
                      </a:lnTo>
                      <a:lnTo>
                        <a:pt x="438" y="114"/>
                      </a:lnTo>
                      <a:lnTo>
                        <a:pt x="439" y="112"/>
                      </a:lnTo>
                      <a:lnTo>
                        <a:pt x="441" y="110"/>
                      </a:lnTo>
                      <a:lnTo>
                        <a:pt x="446" y="107"/>
                      </a:lnTo>
                      <a:lnTo>
                        <a:pt x="452" y="103"/>
                      </a:lnTo>
                      <a:lnTo>
                        <a:pt x="460" y="101"/>
                      </a:lnTo>
                      <a:lnTo>
                        <a:pt x="467" y="101"/>
                      </a:lnTo>
                      <a:lnTo>
                        <a:pt x="469" y="100"/>
                      </a:lnTo>
                      <a:lnTo>
                        <a:pt x="467" y="99"/>
                      </a:lnTo>
                      <a:lnTo>
                        <a:pt x="466" y="96"/>
                      </a:lnTo>
                      <a:lnTo>
                        <a:pt x="464" y="95"/>
                      </a:lnTo>
                      <a:lnTo>
                        <a:pt x="458" y="93"/>
                      </a:lnTo>
                      <a:lnTo>
                        <a:pt x="453" y="90"/>
                      </a:lnTo>
                      <a:lnTo>
                        <a:pt x="451" y="88"/>
                      </a:lnTo>
                      <a:lnTo>
                        <a:pt x="451" y="86"/>
                      </a:lnTo>
                      <a:lnTo>
                        <a:pt x="448" y="84"/>
                      </a:lnTo>
                      <a:lnTo>
                        <a:pt x="447" y="83"/>
                      </a:lnTo>
                      <a:lnTo>
                        <a:pt x="441" y="88"/>
                      </a:lnTo>
                      <a:lnTo>
                        <a:pt x="436" y="89"/>
                      </a:lnTo>
                      <a:lnTo>
                        <a:pt x="432" y="89"/>
                      </a:lnTo>
                      <a:lnTo>
                        <a:pt x="424" y="87"/>
                      </a:lnTo>
                      <a:lnTo>
                        <a:pt x="418" y="83"/>
                      </a:lnTo>
                      <a:lnTo>
                        <a:pt x="411" y="81"/>
                      </a:lnTo>
                      <a:lnTo>
                        <a:pt x="404" y="80"/>
                      </a:lnTo>
                      <a:lnTo>
                        <a:pt x="401" y="78"/>
                      </a:lnTo>
                      <a:lnTo>
                        <a:pt x="399" y="77"/>
                      </a:lnTo>
                      <a:lnTo>
                        <a:pt x="394" y="76"/>
                      </a:lnTo>
                      <a:lnTo>
                        <a:pt x="389" y="76"/>
                      </a:lnTo>
                      <a:lnTo>
                        <a:pt x="372" y="71"/>
                      </a:lnTo>
                      <a:lnTo>
                        <a:pt x="357" y="67"/>
                      </a:lnTo>
                      <a:lnTo>
                        <a:pt x="354" y="65"/>
                      </a:lnTo>
                      <a:lnTo>
                        <a:pt x="352" y="64"/>
                      </a:lnTo>
                      <a:lnTo>
                        <a:pt x="348" y="63"/>
                      </a:lnTo>
                      <a:lnTo>
                        <a:pt x="344" y="62"/>
                      </a:lnTo>
                      <a:lnTo>
                        <a:pt x="338" y="59"/>
                      </a:lnTo>
                      <a:lnTo>
                        <a:pt x="334" y="58"/>
                      </a:lnTo>
                      <a:lnTo>
                        <a:pt x="331" y="58"/>
                      </a:lnTo>
                      <a:lnTo>
                        <a:pt x="328" y="58"/>
                      </a:lnTo>
                      <a:lnTo>
                        <a:pt x="325" y="59"/>
                      </a:lnTo>
                      <a:lnTo>
                        <a:pt x="320" y="64"/>
                      </a:lnTo>
                      <a:lnTo>
                        <a:pt x="315" y="69"/>
                      </a:lnTo>
                      <a:lnTo>
                        <a:pt x="312" y="70"/>
                      </a:lnTo>
                      <a:lnTo>
                        <a:pt x="311" y="69"/>
                      </a:lnTo>
                      <a:lnTo>
                        <a:pt x="306" y="59"/>
                      </a:lnTo>
                      <a:lnTo>
                        <a:pt x="304" y="54"/>
                      </a:lnTo>
                      <a:lnTo>
                        <a:pt x="302" y="48"/>
                      </a:lnTo>
                      <a:lnTo>
                        <a:pt x="300" y="48"/>
                      </a:lnTo>
                      <a:lnTo>
                        <a:pt x="298" y="48"/>
                      </a:lnTo>
                      <a:lnTo>
                        <a:pt x="295" y="54"/>
                      </a:lnTo>
                      <a:lnTo>
                        <a:pt x="292" y="61"/>
                      </a:lnTo>
                      <a:lnTo>
                        <a:pt x="291" y="63"/>
                      </a:lnTo>
                      <a:lnTo>
                        <a:pt x="290" y="65"/>
                      </a:lnTo>
                      <a:lnTo>
                        <a:pt x="286" y="67"/>
                      </a:lnTo>
                      <a:lnTo>
                        <a:pt x="282" y="67"/>
                      </a:lnTo>
                      <a:lnTo>
                        <a:pt x="277" y="65"/>
                      </a:lnTo>
                      <a:lnTo>
                        <a:pt x="272" y="63"/>
                      </a:lnTo>
                      <a:lnTo>
                        <a:pt x="263" y="58"/>
                      </a:lnTo>
                      <a:lnTo>
                        <a:pt x="255" y="50"/>
                      </a:lnTo>
                      <a:lnTo>
                        <a:pt x="249" y="43"/>
                      </a:lnTo>
                      <a:lnTo>
                        <a:pt x="245" y="41"/>
                      </a:lnTo>
                      <a:lnTo>
                        <a:pt x="243" y="37"/>
                      </a:lnTo>
                      <a:lnTo>
                        <a:pt x="239" y="35"/>
                      </a:lnTo>
                      <a:lnTo>
                        <a:pt x="234" y="33"/>
                      </a:lnTo>
                      <a:lnTo>
                        <a:pt x="232" y="33"/>
                      </a:lnTo>
                      <a:lnTo>
                        <a:pt x="230" y="33"/>
                      </a:lnTo>
                      <a:lnTo>
                        <a:pt x="230" y="36"/>
                      </a:lnTo>
                      <a:lnTo>
                        <a:pt x="230" y="37"/>
                      </a:lnTo>
                      <a:lnTo>
                        <a:pt x="232" y="42"/>
                      </a:lnTo>
                      <a:lnTo>
                        <a:pt x="235" y="45"/>
                      </a:lnTo>
                      <a:lnTo>
                        <a:pt x="238" y="49"/>
                      </a:lnTo>
                      <a:lnTo>
                        <a:pt x="236" y="52"/>
                      </a:lnTo>
                      <a:lnTo>
                        <a:pt x="234" y="56"/>
                      </a:lnTo>
                      <a:lnTo>
                        <a:pt x="230" y="59"/>
                      </a:lnTo>
                      <a:lnTo>
                        <a:pt x="225" y="63"/>
                      </a:lnTo>
                      <a:lnTo>
                        <a:pt x="220" y="65"/>
                      </a:lnTo>
                      <a:lnTo>
                        <a:pt x="217" y="64"/>
                      </a:lnTo>
                      <a:lnTo>
                        <a:pt x="216" y="63"/>
                      </a:lnTo>
                      <a:lnTo>
                        <a:pt x="215" y="57"/>
                      </a:lnTo>
                      <a:lnTo>
                        <a:pt x="212" y="57"/>
                      </a:lnTo>
                      <a:lnTo>
                        <a:pt x="210" y="57"/>
                      </a:lnTo>
                      <a:lnTo>
                        <a:pt x="202" y="61"/>
                      </a:lnTo>
                      <a:lnTo>
                        <a:pt x="194" y="63"/>
                      </a:lnTo>
                      <a:lnTo>
                        <a:pt x="192" y="64"/>
                      </a:lnTo>
                      <a:lnTo>
                        <a:pt x="191" y="67"/>
                      </a:lnTo>
                      <a:lnTo>
                        <a:pt x="188" y="68"/>
                      </a:lnTo>
                      <a:lnTo>
                        <a:pt x="185" y="69"/>
                      </a:lnTo>
                      <a:lnTo>
                        <a:pt x="185" y="68"/>
                      </a:lnTo>
                      <a:lnTo>
                        <a:pt x="185" y="67"/>
                      </a:lnTo>
                      <a:lnTo>
                        <a:pt x="185" y="64"/>
                      </a:lnTo>
                      <a:lnTo>
                        <a:pt x="197" y="57"/>
                      </a:lnTo>
                      <a:lnTo>
                        <a:pt x="201" y="52"/>
                      </a:lnTo>
                      <a:lnTo>
                        <a:pt x="203" y="50"/>
                      </a:lnTo>
                      <a:lnTo>
                        <a:pt x="203" y="46"/>
                      </a:lnTo>
                      <a:lnTo>
                        <a:pt x="193" y="48"/>
                      </a:lnTo>
                      <a:lnTo>
                        <a:pt x="188" y="49"/>
                      </a:lnTo>
                      <a:lnTo>
                        <a:pt x="184" y="52"/>
                      </a:lnTo>
                      <a:lnTo>
                        <a:pt x="180" y="58"/>
                      </a:lnTo>
                      <a:lnTo>
                        <a:pt x="178" y="59"/>
                      </a:lnTo>
                      <a:lnTo>
                        <a:pt x="174" y="61"/>
                      </a:lnTo>
                      <a:lnTo>
                        <a:pt x="166" y="63"/>
                      </a:lnTo>
                      <a:lnTo>
                        <a:pt x="165" y="64"/>
                      </a:lnTo>
                      <a:lnTo>
                        <a:pt x="164" y="65"/>
                      </a:lnTo>
                      <a:lnTo>
                        <a:pt x="164" y="67"/>
                      </a:lnTo>
                      <a:lnTo>
                        <a:pt x="163" y="67"/>
                      </a:lnTo>
                      <a:lnTo>
                        <a:pt x="158" y="65"/>
                      </a:lnTo>
                      <a:lnTo>
                        <a:pt x="152" y="65"/>
                      </a:lnTo>
                      <a:lnTo>
                        <a:pt x="149" y="67"/>
                      </a:lnTo>
                      <a:lnTo>
                        <a:pt x="144" y="69"/>
                      </a:lnTo>
                      <a:lnTo>
                        <a:pt x="136" y="73"/>
                      </a:lnTo>
                      <a:lnTo>
                        <a:pt x="132" y="74"/>
                      </a:lnTo>
                      <a:lnTo>
                        <a:pt x="127" y="75"/>
                      </a:lnTo>
                      <a:lnTo>
                        <a:pt x="127" y="74"/>
                      </a:lnTo>
                      <a:lnTo>
                        <a:pt x="126" y="74"/>
                      </a:lnTo>
                      <a:lnTo>
                        <a:pt x="127" y="71"/>
                      </a:lnTo>
                      <a:lnTo>
                        <a:pt x="128" y="69"/>
                      </a:lnTo>
                      <a:lnTo>
                        <a:pt x="128" y="67"/>
                      </a:lnTo>
                      <a:lnTo>
                        <a:pt x="126" y="64"/>
                      </a:lnTo>
                      <a:lnTo>
                        <a:pt x="122" y="62"/>
                      </a:lnTo>
                      <a:lnTo>
                        <a:pt x="118" y="61"/>
                      </a:lnTo>
                      <a:lnTo>
                        <a:pt x="114" y="62"/>
                      </a:lnTo>
                      <a:lnTo>
                        <a:pt x="112" y="63"/>
                      </a:lnTo>
                      <a:lnTo>
                        <a:pt x="109" y="65"/>
                      </a:lnTo>
                      <a:lnTo>
                        <a:pt x="107" y="71"/>
                      </a:lnTo>
                      <a:lnTo>
                        <a:pt x="105" y="77"/>
                      </a:lnTo>
                      <a:lnTo>
                        <a:pt x="102" y="83"/>
                      </a:lnTo>
                      <a:lnTo>
                        <a:pt x="98" y="86"/>
                      </a:lnTo>
                      <a:lnTo>
                        <a:pt x="94" y="88"/>
                      </a:lnTo>
                      <a:lnTo>
                        <a:pt x="89" y="89"/>
                      </a:lnTo>
                      <a:lnTo>
                        <a:pt x="84" y="89"/>
                      </a:lnTo>
                      <a:lnTo>
                        <a:pt x="79" y="89"/>
                      </a:lnTo>
                      <a:lnTo>
                        <a:pt x="74" y="87"/>
                      </a:lnTo>
                      <a:lnTo>
                        <a:pt x="70" y="84"/>
                      </a:lnTo>
                      <a:lnTo>
                        <a:pt x="66" y="81"/>
                      </a:lnTo>
                      <a:lnTo>
                        <a:pt x="65" y="80"/>
                      </a:lnTo>
                      <a:lnTo>
                        <a:pt x="62" y="80"/>
                      </a:lnTo>
                      <a:lnTo>
                        <a:pt x="58" y="78"/>
                      </a:lnTo>
                      <a:lnTo>
                        <a:pt x="38" y="70"/>
                      </a:lnTo>
                      <a:lnTo>
                        <a:pt x="28" y="67"/>
                      </a:lnTo>
                      <a:lnTo>
                        <a:pt x="18" y="62"/>
                      </a:lnTo>
                      <a:lnTo>
                        <a:pt x="13" y="59"/>
                      </a:lnTo>
                      <a:lnTo>
                        <a:pt x="6" y="59"/>
                      </a:lnTo>
                      <a:lnTo>
                        <a:pt x="0" y="59"/>
                      </a:lnTo>
                      <a:lnTo>
                        <a:pt x="3" y="318"/>
                      </a:lnTo>
                      <a:lnTo>
                        <a:pt x="10" y="316"/>
                      </a:lnTo>
                      <a:lnTo>
                        <a:pt x="17" y="314"/>
                      </a:lnTo>
                      <a:lnTo>
                        <a:pt x="20" y="316"/>
                      </a:lnTo>
                      <a:lnTo>
                        <a:pt x="23" y="317"/>
                      </a:lnTo>
                      <a:lnTo>
                        <a:pt x="31" y="325"/>
                      </a:lnTo>
                      <a:lnTo>
                        <a:pt x="42" y="337"/>
                      </a:lnTo>
                      <a:lnTo>
                        <a:pt x="48" y="344"/>
                      </a:lnTo>
                      <a:lnTo>
                        <a:pt x="55" y="349"/>
                      </a:lnTo>
                      <a:lnTo>
                        <a:pt x="60" y="352"/>
                      </a:lnTo>
                      <a:lnTo>
                        <a:pt x="65" y="352"/>
                      </a:lnTo>
                      <a:lnTo>
                        <a:pt x="69" y="351"/>
                      </a:lnTo>
                      <a:lnTo>
                        <a:pt x="72" y="349"/>
                      </a:lnTo>
                      <a:lnTo>
                        <a:pt x="79" y="343"/>
                      </a:lnTo>
                      <a:lnTo>
                        <a:pt x="86" y="336"/>
                      </a:lnTo>
                      <a:lnTo>
                        <a:pt x="88" y="333"/>
                      </a:lnTo>
                      <a:lnTo>
                        <a:pt x="90" y="333"/>
                      </a:lnTo>
                      <a:lnTo>
                        <a:pt x="93" y="335"/>
                      </a:lnTo>
                      <a:lnTo>
                        <a:pt x="102" y="342"/>
                      </a:lnTo>
                      <a:lnTo>
                        <a:pt x="109" y="346"/>
                      </a:lnTo>
                      <a:lnTo>
                        <a:pt x="113" y="349"/>
                      </a:lnTo>
                      <a:lnTo>
                        <a:pt x="118" y="354"/>
                      </a:lnTo>
                      <a:lnTo>
                        <a:pt x="125" y="361"/>
                      </a:lnTo>
                      <a:lnTo>
                        <a:pt x="131" y="367"/>
                      </a:lnTo>
                      <a:lnTo>
                        <a:pt x="140" y="376"/>
                      </a:lnTo>
                      <a:lnTo>
                        <a:pt x="149" y="390"/>
                      </a:lnTo>
                      <a:lnTo>
                        <a:pt x="156" y="400"/>
                      </a:lnTo>
                      <a:lnTo>
                        <a:pt x="165" y="407"/>
                      </a:lnTo>
                      <a:lnTo>
                        <a:pt x="174" y="414"/>
                      </a:lnTo>
                      <a:lnTo>
                        <a:pt x="179" y="419"/>
                      </a:lnTo>
                      <a:lnTo>
                        <a:pt x="182" y="423"/>
                      </a:lnTo>
                      <a:lnTo>
                        <a:pt x="184" y="429"/>
                      </a:lnTo>
                      <a:lnTo>
                        <a:pt x="185" y="438"/>
                      </a:lnTo>
                      <a:lnTo>
                        <a:pt x="185" y="446"/>
                      </a:lnTo>
                      <a:lnTo>
                        <a:pt x="184" y="45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0" name="Freeform 1004">
                  <a:extLst>
                    <a:ext uri="{FF2B5EF4-FFF2-40B4-BE49-F238E27FC236}">
                      <a16:creationId xmlns:a16="http://schemas.microsoft.com/office/drawing/2014/main" id="{E011B903-FDA9-6F45-9664-12FD5B128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0834" y="3390069"/>
                  <a:ext cx="44396" cy="23678"/>
                </a:xfrm>
                <a:custGeom>
                  <a:avLst/>
                  <a:gdLst>
                    <a:gd name="T0" fmla="*/ 2147483647 w 33"/>
                    <a:gd name="T1" fmla="*/ 2147483647 h 16"/>
                    <a:gd name="T2" fmla="*/ 2147483647 w 33"/>
                    <a:gd name="T3" fmla="*/ 2147483647 h 16"/>
                    <a:gd name="T4" fmla="*/ 2147483647 w 33"/>
                    <a:gd name="T5" fmla="*/ 2147483647 h 16"/>
                    <a:gd name="T6" fmla="*/ 2147483647 w 33"/>
                    <a:gd name="T7" fmla="*/ 2147483647 h 16"/>
                    <a:gd name="T8" fmla="*/ 2147483647 w 33"/>
                    <a:gd name="T9" fmla="*/ 2147483647 h 16"/>
                    <a:gd name="T10" fmla="*/ 2147483647 w 33"/>
                    <a:gd name="T11" fmla="*/ 0 h 16"/>
                    <a:gd name="T12" fmla="*/ 2147483647 w 33"/>
                    <a:gd name="T13" fmla="*/ 0 h 16"/>
                    <a:gd name="T14" fmla="*/ 2147483647 w 33"/>
                    <a:gd name="T15" fmla="*/ 2147483647 h 16"/>
                    <a:gd name="T16" fmla="*/ 2147483647 w 33"/>
                    <a:gd name="T17" fmla="*/ 2147483647 h 16"/>
                    <a:gd name="T18" fmla="*/ 2147483647 w 33"/>
                    <a:gd name="T19" fmla="*/ 2147483647 h 16"/>
                    <a:gd name="T20" fmla="*/ 2147483647 w 33"/>
                    <a:gd name="T21" fmla="*/ 2147483647 h 16"/>
                    <a:gd name="T22" fmla="*/ 2147483647 w 33"/>
                    <a:gd name="T23" fmla="*/ 2147483647 h 16"/>
                    <a:gd name="T24" fmla="*/ 2147483647 w 33"/>
                    <a:gd name="T25" fmla="*/ 2147483647 h 16"/>
                    <a:gd name="T26" fmla="*/ 0 w 33"/>
                    <a:gd name="T27" fmla="*/ 2147483647 h 16"/>
                    <a:gd name="T28" fmla="*/ 2147483647 w 33"/>
                    <a:gd name="T29" fmla="*/ 2147483647 h 16"/>
                    <a:gd name="T30" fmla="*/ 2147483647 w 33"/>
                    <a:gd name="T31" fmla="*/ 2147483647 h 16"/>
                    <a:gd name="T32" fmla="*/ 2147483647 w 33"/>
                    <a:gd name="T33" fmla="*/ 2147483647 h 16"/>
                    <a:gd name="T34" fmla="*/ 2147483647 w 33"/>
                    <a:gd name="T35" fmla="*/ 2147483647 h 16"/>
                    <a:gd name="T36" fmla="*/ 2147483647 w 33"/>
                    <a:gd name="T37" fmla="*/ 2147483647 h 1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33"/>
                    <a:gd name="T58" fmla="*/ 0 h 16"/>
                    <a:gd name="T59" fmla="*/ 33 w 33"/>
                    <a:gd name="T60" fmla="*/ 16 h 1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33" h="16">
                      <a:moveTo>
                        <a:pt x="27" y="6"/>
                      </a:moveTo>
                      <a:lnTo>
                        <a:pt x="29" y="4"/>
                      </a:lnTo>
                      <a:lnTo>
                        <a:pt x="30" y="3"/>
                      </a:lnTo>
                      <a:lnTo>
                        <a:pt x="33" y="2"/>
                      </a:lnTo>
                      <a:lnTo>
                        <a:pt x="33" y="1"/>
                      </a:lnTo>
                      <a:lnTo>
                        <a:pt x="32" y="0"/>
                      </a:lnTo>
                      <a:lnTo>
                        <a:pt x="28" y="0"/>
                      </a:lnTo>
                      <a:lnTo>
                        <a:pt x="23" y="3"/>
                      </a:lnTo>
                      <a:lnTo>
                        <a:pt x="16" y="6"/>
                      </a:lnTo>
                      <a:lnTo>
                        <a:pt x="9" y="7"/>
                      </a:lnTo>
                      <a:lnTo>
                        <a:pt x="6" y="8"/>
                      </a:lnTo>
                      <a:lnTo>
                        <a:pt x="3" y="10"/>
                      </a:lnTo>
                      <a:lnTo>
                        <a:pt x="1" y="13"/>
                      </a:lnTo>
                      <a:lnTo>
                        <a:pt x="0" y="16"/>
                      </a:lnTo>
                      <a:lnTo>
                        <a:pt x="8" y="15"/>
                      </a:lnTo>
                      <a:lnTo>
                        <a:pt x="15" y="14"/>
                      </a:lnTo>
                      <a:lnTo>
                        <a:pt x="23" y="10"/>
                      </a:lnTo>
                      <a:lnTo>
                        <a:pt x="25" y="8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1" name="Freeform 1005">
                  <a:extLst>
                    <a:ext uri="{FF2B5EF4-FFF2-40B4-BE49-F238E27FC236}">
                      <a16:creationId xmlns:a16="http://schemas.microsoft.com/office/drawing/2014/main" id="{2074E9CF-E0A1-B741-94C3-A6F3DAB7B1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450" y="2229849"/>
                  <a:ext cx="2011147" cy="1124703"/>
                </a:xfrm>
                <a:custGeom>
                  <a:avLst/>
                  <a:gdLst>
                    <a:gd name="T0" fmla="*/ 2147483647 w 1472"/>
                    <a:gd name="T1" fmla="*/ 2147483647 h 760"/>
                    <a:gd name="T2" fmla="*/ 2147483647 w 1472"/>
                    <a:gd name="T3" fmla="*/ 2147483647 h 760"/>
                    <a:gd name="T4" fmla="*/ 2147483647 w 1472"/>
                    <a:gd name="T5" fmla="*/ 2147483647 h 760"/>
                    <a:gd name="T6" fmla="*/ 2147483647 w 1472"/>
                    <a:gd name="T7" fmla="*/ 2147483647 h 760"/>
                    <a:gd name="T8" fmla="*/ 2147483647 w 1472"/>
                    <a:gd name="T9" fmla="*/ 2147483647 h 760"/>
                    <a:gd name="T10" fmla="*/ 2147483647 w 1472"/>
                    <a:gd name="T11" fmla="*/ 2147483647 h 760"/>
                    <a:gd name="T12" fmla="*/ 2147483647 w 1472"/>
                    <a:gd name="T13" fmla="*/ 2147483647 h 760"/>
                    <a:gd name="T14" fmla="*/ 2147483647 w 1472"/>
                    <a:gd name="T15" fmla="*/ 2147483647 h 760"/>
                    <a:gd name="T16" fmla="*/ 2147483647 w 1472"/>
                    <a:gd name="T17" fmla="*/ 2147483647 h 760"/>
                    <a:gd name="T18" fmla="*/ 2147483647 w 1472"/>
                    <a:gd name="T19" fmla="*/ 2147483647 h 760"/>
                    <a:gd name="T20" fmla="*/ 2147483647 w 1472"/>
                    <a:gd name="T21" fmla="*/ 2147483647 h 760"/>
                    <a:gd name="T22" fmla="*/ 2147483647 w 1472"/>
                    <a:gd name="T23" fmla="*/ 2147483647 h 760"/>
                    <a:gd name="T24" fmla="*/ 2147483647 w 1472"/>
                    <a:gd name="T25" fmla="*/ 2147483647 h 760"/>
                    <a:gd name="T26" fmla="*/ 2147483647 w 1472"/>
                    <a:gd name="T27" fmla="*/ 2147483647 h 760"/>
                    <a:gd name="T28" fmla="*/ 2147483647 w 1472"/>
                    <a:gd name="T29" fmla="*/ 2147483647 h 760"/>
                    <a:gd name="T30" fmla="*/ 2147483647 w 1472"/>
                    <a:gd name="T31" fmla="*/ 2147483647 h 760"/>
                    <a:gd name="T32" fmla="*/ 2147483647 w 1472"/>
                    <a:gd name="T33" fmla="*/ 2147483647 h 760"/>
                    <a:gd name="T34" fmla="*/ 2147483647 w 1472"/>
                    <a:gd name="T35" fmla="*/ 2147483647 h 760"/>
                    <a:gd name="T36" fmla="*/ 2147483647 w 1472"/>
                    <a:gd name="T37" fmla="*/ 2147483647 h 760"/>
                    <a:gd name="T38" fmla="*/ 2147483647 w 1472"/>
                    <a:gd name="T39" fmla="*/ 2147483647 h 760"/>
                    <a:gd name="T40" fmla="*/ 2147483647 w 1472"/>
                    <a:gd name="T41" fmla="*/ 2147483647 h 760"/>
                    <a:gd name="T42" fmla="*/ 2147483647 w 1472"/>
                    <a:gd name="T43" fmla="*/ 2147483647 h 760"/>
                    <a:gd name="T44" fmla="*/ 2147483647 w 1472"/>
                    <a:gd name="T45" fmla="*/ 2147483647 h 760"/>
                    <a:gd name="T46" fmla="*/ 2147483647 w 1472"/>
                    <a:gd name="T47" fmla="*/ 2147483647 h 760"/>
                    <a:gd name="T48" fmla="*/ 2147483647 w 1472"/>
                    <a:gd name="T49" fmla="*/ 2147483647 h 760"/>
                    <a:gd name="T50" fmla="*/ 2147483647 w 1472"/>
                    <a:gd name="T51" fmla="*/ 2147483647 h 760"/>
                    <a:gd name="T52" fmla="*/ 2147483647 w 1472"/>
                    <a:gd name="T53" fmla="*/ 2147483647 h 760"/>
                    <a:gd name="T54" fmla="*/ 2147483647 w 1472"/>
                    <a:gd name="T55" fmla="*/ 2147483647 h 760"/>
                    <a:gd name="T56" fmla="*/ 2147483647 w 1472"/>
                    <a:gd name="T57" fmla="*/ 2147483647 h 760"/>
                    <a:gd name="T58" fmla="*/ 2147483647 w 1472"/>
                    <a:gd name="T59" fmla="*/ 2147483647 h 760"/>
                    <a:gd name="T60" fmla="*/ 2147483647 w 1472"/>
                    <a:gd name="T61" fmla="*/ 2147483647 h 760"/>
                    <a:gd name="T62" fmla="*/ 2147483647 w 1472"/>
                    <a:gd name="T63" fmla="*/ 2147483647 h 760"/>
                    <a:gd name="T64" fmla="*/ 2147483647 w 1472"/>
                    <a:gd name="T65" fmla="*/ 2147483647 h 760"/>
                    <a:gd name="T66" fmla="*/ 2147483647 w 1472"/>
                    <a:gd name="T67" fmla="*/ 2147483647 h 760"/>
                    <a:gd name="T68" fmla="*/ 2147483647 w 1472"/>
                    <a:gd name="T69" fmla="*/ 2147483647 h 760"/>
                    <a:gd name="T70" fmla="*/ 2147483647 w 1472"/>
                    <a:gd name="T71" fmla="*/ 2147483647 h 760"/>
                    <a:gd name="T72" fmla="*/ 2147483647 w 1472"/>
                    <a:gd name="T73" fmla="*/ 2147483647 h 760"/>
                    <a:gd name="T74" fmla="*/ 2147483647 w 1472"/>
                    <a:gd name="T75" fmla="*/ 2147483647 h 760"/>
                    <a:gd name="T76" fmla="*/ 2147483647 w 1472"/>
                    <a:gd name="T77" fmla="*/ 2147483647 h 760"/>
                    <a:gd name="T78" fmla="*/ 2147483647 w 1472"/>
                    <a:gd name="T79" fmla="*/ 2147483647 h 760"/>
                    <a:gd name="T80" fmla="*/ 2147483647 w 1472"/>
                    <a:gd name="T81" fmla="*/ 2147483647 h 760"/>
                    <a:gd name="T82" fmla="*/ 2147483647 w 1472"/>
                    <a:gd name="T83" fmla="*/ 2147483647 h 760"/>
                    <a:gd name="T84" fmla="*/ 2147483647 w 1472"/>
                    <a:gd name="T85" fmla="*/ 2147483647 h 760"/>
                    <a:gd name="T86" fmla="*/ 2147483647 w 1472"/>
                    <a:gd name="T87" fmla="*/ 2147483647 h 760"/>
                    <a:gd name="T88" fmla="*/ 2147483647 w 1472"/>
                    <a:gd name="T89" fmla="*/ 2147483647 h 760"/>
                    <a:gd name="T90" fmla="*/ 2147483647 w 1472"/>
                    <a:gd name="T91" fmla="*/ 2147483647 h 760"/>
                    <a:gd name="T92" fmla="*/ 2147483647 w 1472"/>
                    <a:gd name="T93" fmla="*/ 2147483647 h 760"/>
                    <a:gd name="T94" fmla="*/ 2147483647 w 1472"/>
                    <a:gd name="T95" fmla="*/ 2147483647 h 760"/>
                    <a:gd name="T96" fmla="*/ 2147483647 w 1472"/>
                    <a:gd name="T97" fmla="*/ 2147483647 h 760"/>
                    <a:gd name="T98" fmla="*/ 2147483647 w 1472"/>
                    <a:gd name="T99" fmla="*/ 2147483647 h 760"/>
                    <a:gd name="T100" fmla="*/ 2147483647 w 1472"/>
                    <a:gd name="T101" fmla="*/ 2147483647 h 760"/>
                    <a:gd name="T102" fmla="*/ 2147483647 w 1472"/>
                    <a:gd name="T103" fmla="*/ 2147483647 h 760"/>
                    <a:gd name="T104" fmla="*/ 2147483647 w 1472"/>
                    <a:gd name="T105" fmla="*/ 2147483647 h 760"/>
                    <a:gd name="T106" fmla="*/ 2147483647 w 1472"/>
                    <a:gd name="T107" fmla="*/ 2147483647 h 760"/>
                    <a:gd name="T108" fmla="*/ 2147483647 w 1472"/>
                    <a:gd name="T109" fmla="*/ 2147483647 h 760"/>
                    <a:gd name="T110" fmla="*/ 2147483647 w 1472"/>
                    <a:gd name="T111" fmla="*/ 2147483647 h 760"/>
                    <a:gd name="T112" fmla="*/ 2147483647 w 1472"/>
                    <a:gd name="T113" fmla="*/ 2147483647 h 760"/>
                    <a:gd name="T114" fmla="*/ 2147483647 w 1472"/>
                    <a:gd name="T115" fmla="*/ 2147483647 h 760"/>
                    <a:gd name="T116" fmla="*/ 2147483647 w 1472"/>
                    <a:gd name="T117" fmla="*/ 2147483647 h 760"/>
                    <a:gd name="T118" fmla="*/ 2147483647 w 1472"/>
                    <a:gd name="T119" fmla="*/ 2147483647 h 760"/>
                    <a:gd name="T120" fmla="*/ 2147483647 w 1472"/>
                    <a:gd name="T121" fmla="*/ 2147483647 h 760"/>
                    <a:gd name="T122" fmla="*/ 2147483647 w 1472"/>
                    <a:gd name="T123" fmla="*/ 2147483647 h 760"/>
                    <a:gd name="T124" fmla="*/ 2147483647 w 1472"/>
                    <a:gd name="T125" fmla="*/ 2147483647 h 76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472"/>
                    <a:gd name="T190" fmla="*/ 0 h 760"/>
                    <a:gd name="T191" fmla="*/ 1472 w 1472"/>
                    <a:gd name="T192" fmla="*/ 760 h 76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472" h="760">
                      <a:moveTo>
                        <a:pt x="184" y="458"/>
                      </a:moveTo>
                      <a:lnTo>
                        <a:pt x="184" y="458"/>
                      </a:lnTo>
                      <a:lnTo>
                        <a:pt x="184" y="460"/>
                      </a:lnTo>
                      <a:lnTo>
                        <a:pt x="185" y="462"/>
                      </a:lnTo>
                      <a:lnTo>
                        <a:pt x="185" y="468"/>
                      </a:lnTo>
                      <a:lnTo>
                        <a:pt x="188" y="473"/>
                      </a:lnTo>
                      <a:lnTo>
                        <a:pt x="189" y="478"/>
                      </a:lnTo>
                      <a:lnTo>
                        <a:pt x="190" y="486"/>
                      </a:lnTo>
                      <a:lnTo>
                        <a:pt x="192" y="490"/>
                      </a:lnTo>
                      <a:lnTo>
                        <a:pt x="194" y="493"/>
                      </a:lnTo>
                      <a:lnTo>
                        <a:pt x="197" y="496"/>
                      </a:lnTo>
                      <a:lnTo>
                        <a:pt x="200" y="500"/>
                      </a:lnTo>
                      <a:lnTo>
                        <a:pt x="202" y="504"/>
                      </a:lnTo>
                      <a:lnTo>
                        <a:pt x="203" y="507"/>
                      </a:lnTo>
                      <a:lnTo>
                        <a:pt x="203" y="509"/>
                      </a:lnTo>
                      <a:lnTo>
                        <a:pt x="200" y="509"/>
                      </a:lnTo>
                      <a:lnTo>
                        <a:pt x="198" y="509"/>
                      </a:lnTo>
                      <a:lnTo>
                        <a:pt x="198" y="510"/>
                      </a:lnTo>
                      <a:lnTo>
                        <a:pt x="200" y="515"/>
                      </a:lnTo>
                      <a:lnTo>
                        <a:pt x="204" y="519"/>
                      </a:lnTo>
                      <a:lnTo>
                        <a:pt x="206" y="518"/>
                      </a:lnTo>
                      <a:lnTo>
                        <a:pt x="208" y="515"/>
                      </a:lnTo>
                      <a:lnTo>
                        <a:pt x="209" y="512"/>
                      </a:lnTo>
                      <a:lnTo>
                        <a:pt x="211" y="511"/>
                      </a:lnTo>
                      <a:lnTo>
                        <a:pt x="213" y="512"/>
                      </a:lnTo>
                      <a:lnTo>
                        <a:pt x="214" y="515"/>
                      </a:lnTo>
                      <a:lnTo>
                        <a:pt x="217" y="517"/>
                      </a:lnTo>
                      <a:lnTo>
                        <a:pt x="222" y="523"/>
                      </a:lnTo>
                      <a:lnTo>
                        <a:pt x="227" y="530"/>
                      </a:lnTo>
                      <a:lnTo>
                        <a:pt x="231" y="538"/>
                      </a:lnTo>
                      <a:lnTo>
                        <a:pt x="233" y="545"/>
                      </a:lnTo>
                      <a:lnTo>
                        <a:pt x="235" y="550"/>
                      </a:lnTo>
                      <a:lnTo>
                        <a:pt x="239" y="555"/>
                      </a:lnTo>
                      <a:lnTo>
                        <a:pt x="244" y="557"/>
                      </a:lnTo>
                      <a:lnTo>
                        <a:pt x="249" y="557"/>
                      </a:lnTo>
                      <a:lnTo>
                        <a:pt x="256" y="561"/>
                      </a:lnTo>
                      <a:lnTo>
                        <a:pt x="264" y="563"/>
                      </a:lnTo>
                      <a:lnTo>
                        <a:pt x="272" y="564"/>
                      </a:lnTo>
                      <a:lnTo>
                        <a:pt x="278" y="567"/>
                      </a:lnTo>
                      <a:lnTo>
                        <a:pt x="282" y="570"/>
                      </a:lnTo>
                      <a:lnTo>
                        <a:pt x="284" y="573"/>
                      </a:lnTo>
                      <a:lnTo>
                        <a:pt x="291" y="581"/>
                      </a:lnTo>
                      <a:lnTo>
                        <a:pt x="294" y="585"/>
                      </a:lnTo>
                      <a:lnTo>
                        <a:pt x="298" y="587"/>
                      </a:lnTo>
                      <a:lnTo>
                        <a:pt x="303" y="588"/>
                      </a:lnTo>
                      <a:lnTo>
                        <a:pt x="308" y="588"/>
                      </a:lnTo>
                      <a:lnTo>
                        <a:pt x="310" y="588"/>
                      </a:lnTo>
                      <a:lnTo>
                        <a:pt x="310" y="590"/>
                      </a:lnTo>
                      <a:lnTo>
                        <a:pt x="310" y="595"/>
                      </a:lnTo>
                      <a:lnTo>
                        <a:pt x="310" y="596"/>
                      </a:lnTo>
                      <a:lnTo>
                        <a:pt x="310" y="598"/>
                      </a:lnTo>
                      <a:lnTo>
                        <a:pt x="312" y="600"/>
                      </a:lnTo>
                      <a:lnTo>
                        <a:pt x="317" y="602"/>
                      </a:lnTo>
                      <a:lnTo>
                        <a:pt x="796" y="598"/>
                      </a:lnTo>
                      <a:lnTo>
                        <a:pt x="806" y="606"/>
                      </a:lnTo>
                      <a:lnTo>
                        <a:pt x="814" y="611"/>
                      </a:lnTo>
                      <a:lnTo>
                        <a:pt x="816" y="612"/>
                      </a:lnTo>
                      <a:lnTo>
                        <a:pt x="819" y="613"/>
                      </a:lnTo>
                      <a:lnTo>
                        <a:pt x="833" y="609"/>
                      </a:lnTo>
                      <a:lnTo>
                        <a:pt x="839" y="608"/>
                      </a:lnTo>
                      <a:lnTo>
                        <a:pt x="842" y="608"/>
                      </a:lnTo>
                      <a:lnTo>
                        <a:pt x="844" y="609"/>
                      </a:lnTo>
                      <a:lnTo>
                        <a:pt x="848" y="613"/>
                      </a:lnTo>
                      <a:lnTo>
                        <a:pt x="852" y="615"/>
                      </a:lnTo>
                      <a:lnTo>
                        <a:pt x="856" y="615"/>
                      </a:lnTo>
                      <a:lnTo>
                        <a:pt x="865" y="615"/>
                      </a:lnTo>
                      <a:lnTo>
                        <a:pt x="875" y="615"/>
                      </a:lnTo>
                      <a:lnTo>
                        <a:pt x="884" y="618"/>
                      </a:lnTo>
                      <a:lnTo>
                        <a:pt x="894" y="620"/>
                      </a:lnTo>
                      <a:lnTo>
                        <a:pt x="896" y="620"/>
                      </a:lnTo>
                      <a:lnTo>
                        <a:pt x="898" y="619"/>
                      </a:lnTo>
                      <a:lnTo>
                        <a:pt x="900" y="618"/>
                      </a:lnTo>
                      <a:lnTo>
                        <a:pt x="903" y="615"/>
                      </a:lnTo>
                      <a:lnTo>
                        <a:pt x="910" y="615"/>
                      </a:lnTo>
                      <a:lnTo>
                        <a:pt x="914" y="617"/>
                      </a:lnTo>
                      <a:lnTo>
                        <a:pt x="917" y="618"/>
                      </a:lnTo>
                      <a:lnTo>
                        <a:pt x="931" y="628"/>
                      </a:lnTo>
                      <a:lnTo>
                        <a:pt x="946" y="638"/>
                      </a:lnTo>
                      <a:lnTo>
                        <a:pt x="961" y="645"/>
                      </a:lnTo>
                      <a:lnTo>
                        <a:pt x="978" y="651"/>
                      </a:lnTo>
                      <a:lnTo>
                        <a:pt x="980" y="653"/>
                      </a:lnTo>
                      <a:lnTo>
                        <a:pt x="983" y="657"/>
                      </a:lnTo>
                      <a:lnTo>
                        <a:pt x="988" y="669"/>
                      </a:lnTo>
                      <a:lnTo>
                        <a:pt x="990" y="673"/>
                      </a:lnTo>
                      <a:lnTo>
                        <a:pt x="994" y="678"/>
                      </a:lnTo>
                      <a:lnTo>
                        <a:pt x="999" y="682"/>
                      </a:lnTo>
                      <a:lnTo>
                        <a:pt x="1003" y="686"/>
                      </a:lnTo>
                      <a:lnTo>
                        <a:pt x="1012" y="698"/>
                      </a:lnTo>
                      <a:lnTo>
                        <a:pt x="1017" y="710"/>
                      </a:lnTo>
                      <a:lnTo>
                        <a:pt x="1021" y="722"/>
                      </a:lnTo>
                      <a:lnTo>
                        <a:pt x="1021" y="727"/>
                      </a:lnTo>
                      <a:lnTo>
                        <a:pt x="1019" y="730"/>
                      </a:lnTo>
                      <a:lnTo>
                        <a:pt x="1014" y="739"/>
                      </a:lnTo>
                      <a:lnTo>
                        <a:pt x="1003" y="753"/>
                      </a:lnTo>
                      <a:lnTo>
                        <a:pt x="1003" y="754"/>
                      </a:lnTo>
                      <a:lnTo>
                        <a:pt x="1003" y="755"/>
                      </a:lnTo>
                      <a:lnTo>
                        <a:pt x="1006" y="758"/>
                      </a:lnTo>
                      <a:lnTo>
                        <a:pt x="1012" y="760"/>
                      </a:lnTo>
                      <a:lnTo>
                        <a:pt x="1019" y="760"/>
                      </a:lnTo>
                      <a:lnTo>
                        <a:pt x="1028" y="759"/>
                      </a:lnTo>
                      <a:lnTo>
                        <a:pt x="1039" y="756"/>
                      </a:lnTo>
                      <a:lnTo>
                        <a:pt x="1058" y="750"/>
                      </a:lnTo>
                      <a:lnTo>
                        <a:pt x="1075" y="742"/>
                      </a:lnTo>
                      <a:lnTo>
                        <a:pt x="1078" y="740"/>
                      </a:lnTo>
                      <a:lnTo>
                        <a:pt x="1080" y="736"/>
                      </a:lnTo>
                      <a:lnTo>
                        <a:pt x="1082" y="734"/>
                      </a:lnTo>
                      <a:lnTo>
                        <a:pt x="1086" y="732"/>
                      </a:lnTo>
                      <a:lnTo>
                        <a:pt x="1089" y="729"/>
                      </a:lnTo>
                      <a:lnTo>
                        <a:pt x="1093" y="727"/>
                      </a:lnTo>
                      <a:lnTo>
                        <a:pt x="1101" y="722"/>
                      </a:lnTo>
                      <a:lnTo>
                        <a:pt x="1103" y="722"/>
                      </a:lnTo>
                      <a:lnTo>
                        <a:pt x="1105" y="722"/>
                      </a:lnTo>
                      <a:lnTo>
                        <a:pt x="1108" y="723"/>
                      </a:lnTo>
                      <a:lnTo>
                        <a:pt x="1112" y="722"/>
                      </a:lnTo>
                      <a:lnTo>
                        <a:pt x="1117" y="721"/>
                      </a:lnTo>
                      <a:lnTo>
                        <a:pt x="1121" y="720"/>
                      </a:lnTo>
                      <a:lnTo>
                        <a:pt x="1124" y="716"/>
                      </a:lnTo>
                      <a:lnTo>
                        <a:pt x="1136" y="701"/>
                      </a:lnTo>
                      <a:lnTo>
                        <a:pt x="1140" y="697"/>
                      </a:lnTo>
                      <a:lnTo>
                        <a:pt x="1144" y="694"/>
                      </a:lnTo>
                      <a:lnTo>
                        <a:pt x="1149" y="692"/>
                      </a:lnTo>
                      <a:lnTo>
                        <a:pt x="1154" y="691"/>
                      </a:lnTo>
                      <a:lnTo>
                        <a:pt x="1166" y="692"/>
                      </a:lnTo>
                      <a:lnTo>
                        <a:pt x="1177" y="694"/>
                      </a:lnTo>
                      <a:lnTo>
                        <a:pt x="1187" y="694"/>
                      </a:lnTo>
                      <a:lnTo>
                        <a:pt x="1192" y="692"/>
                      </a:lnTo>
                      <a:lnTo>
                        <a:pt x="1197" y="691"/>
                      </a:lnTo>
                      <a:lnTo>
                        <a:pt x="1207" y="684"/>
                      </a:lnTo>
                      <a:lnTo>
                        <a:pt x="1216" y="676"/>
                      </a:lnTo>
                      <a:lnTo>
                        <a:pt x="1224" y="666"/>
                      </a:lnTo>
                      <a:lnTo>
                        <a:pt x="1230" y="658"/>
                      </a:lnTo>
                      <a:lnTo>
                        <a:pt x="1235" y="651"/>
                      </a:lnTo>
                      <a:lnTo>
                        <a:pt x="1238" y="647"/>
                      </a:lnTo>
                      <a:lnTo>
                        <a:pt x="1240" y="645"/>
                      </a:lnTo>
                      <a:lnTo>
                        <a:pt x="1247" y="643"/>
                      </a:lnTo>
                      <a:lnTo>
                        <a:pt x="1253" y="643"/>
                      </a:lnTo>
                      <a:lnTo>
                        <a:pt x="1259" y="643"/>
                      </a:lnTo>
                      <a:lnTo>
                        <a:pt x="1266" y="643"/>
                      </a:lnTo>
                      <a:lnTo>
                        <a:pt x="1266" y="650"/>
                      </a:lnTo>
                      <a:lnTo>
                        <a:pt x="1267" y="658"/>
                      </a:lnTo>
                      <a:lnTo>
                        <a:pt x="1270" y="667"/>
                      </a:lnTo>
                      <a:lnTo>
                        <a:pt x="1272" y="677"/>
                      </a:lnTo>
                      <a:lnTo>
                        <a:pt x="1275" y="684"/>
                      </a:lnTo>
                      <a:lnTo>
                        <a:pt x="1277" y="686"/>
                      </a:lnTo>
                      <a:lnTo>
                        <a:pt x="1280" y="689"/>
                      </a:lnTo>
                      <a:lnTo>
                        <a:pt x="1284" y="685"/>
                      </a:lnTo>
                      <a:lnTo>
                        <a:pt x="1289" y="683"/>
                      </a:lnTo>
                      <a:lnTo>
                        <a:pt x="1300" y="682"/>
                      </a:lnTo>
                      <a:lnTo>
                        <a:pt x="1303" y="681"/>
                      </a:lnTo>
                      <a:lnTo>
                        <a:pt x="1304" y="679"/>
                      </a:lnTo>
                      <a:lnTo>
                        <a:pt x="1306" y="678"/>
                      </a:lnTo>
                      <a:lnTo>
                        <a:pt x="1309" y="678"/>
                      </a:lnTo>
                      <a:lnTo>
                        <a:pt x="1312" y="677"/>
                      </a:lnTo>
                      <a:lnTo>
                        <a:pt x="1317" y="673"/>
                      </a:lnTo>
                      <a:lnTo>
                        <a:pt x="1320" y="673"/>
                      </a:lnTo>
                      <a:lnTo>
                        <a:pt x="1322" y="673"/>
                      </a:lnTo>
                      <a:lnTo>
                        <a:pt x="1323" y="675"/>
                      </a:lnTo>
                      <a:lnTo>
                        <a:pt x="1322" y="676"/>
                      </a:lnTo>
                      <a:lnTo>
                        <a:pt x="1322" y="677"/>
                      </a:lnTo>
                      <a:lnTo>
                        <a:pt x="1319" y="681"/>
                      </a:lnTo>
                      <a:lnTo>
                        <a:pt x="1317" y="683"/>
                      </a:lnTo>
                      <a:lnTo>
                        <a:pt x="1317" y="684"/>
                      </a:lnTo>
                      <a:lnTo>
                        <a:pt x="1318" y="685"/>
                      </a:lnTo>
                      <a:lnTo>
                        <a:pt x="1320" y="688"/>
                      </a:lnTo>
                      <a:lnTo>
                        <a:pt x="1323" y="689"/>
                      </a:lnTo>
                      <a:lnTo>
                        <a:pt x="1328" y="689"/>
                      </a:lnTo>
                      <a:lnTo>
                        <a:pt x="1334" y="688"/>
                      </a:lnTo>
                      <a:lnTo>
                        <a:pt x="1339" y="684"/>
                      </a:lnTo>
                      <a:lnTo>
                        <a:pt x="1342" y="684"/>
                      </a:lnTo>
                      <a:lnTo>
                        <a:pt x="1341" y="688"/>
                      </a:lnTo>
                      <a:lnTo>
                        <a:pt x="1338" y="690"/>
                      </a:lnTo>
                      <a:lnTo>
                        <a:pt x="1336" y="691"/>
                      </a:lnTo>
                      <a:lnTo>
                        <a:pt x="1332" y="692"/>
                      </a:lnTo>
                      <a:lnTo>
                        <a:pt x="1326" y="694"/>
                      </a:lnTo>
                      <a:lnTo>
                        <a:pt x="1319" y="695"/>
                      </a:lnTo>
                      <a:lnTo>
                        <a:pt x="1313" y="698"/>
                      </a:lnTo>
                      <a:lnTo>
                        <a:pt x="1306" y="703"/>
                      </a:lnTo>
                      <a:lnTo>
                        <a:pt x="1303" y="704"/>
                      </a:lnTo>
                      <a:lnTo>
                        <a:pt x="1299" y="704"/>
                      </a:lnTo>
                      <a:lnTo>
                        <a:pt x="1296" y="704"/>
                      </a:lnTo>
                      <a:lnTo>
                        <a:pt x="1295" y="707"/>
                      </a:lnTo>
                      <a:lnTo>
                        <a:pt x="1295" y="711"/>
                      </a:lnTo>
                      <a:lnTo>
                        <a:pt x="1295" y="715"/>
                      </a:lnTo>
                      <a:lnTo>
                        <a:pt x="1295" y="718"/>
                      </a:lnTo>
                      <a:lnTo>
                        <a:pt x="1294" y="721"/>
                      </a:lnTo>
                      <a:lnTo>
                        <a:pt x="1291" y="722"/>
                      </a:lnTo>
                      <a:lnTo>
                        <a:pt x="1291" y="724"/>
                      </a:lnTo>
                      <a:lnTo>
                        <a:pt x="1294" y="726"/>
                      </a:lnTo>
                      <a:lnTo>
                        <a:pt x="1298" y="727"/>
                      </a:lnTo>
                      <a:lnTo>
                        <a:pt x="1299" y="729"/>
                      </a:lnTo>
                      <a:lnTo>
                        <a:pt x="1300" y="732"/>
                      </a:lnTo>
                      <a:lnTo>
                        <a:pt x="1300" y="735"/>
                      </a:lnTo>
                      <a:lnTo>
                        <a:pt x="1301" y="736"/>
                      </a:lnTo>
                      <a:lnTo>
                        <a:pt x="1306" y="734"/>
                      </a:lnTo>
                      <a:lnTo>
                        <a:pt x="1309" y="732"/>
                      </a:lnTo>
                      <a:lnTo>
                        <a:pt x="1315" y="724"/>
                      </a:lnTo>
                      <a:lnTo>
                        <a:pt x="1318" y="723"/>
                      </a:lnTo>
                      <a:lnTo>
                        <a:pt x="1319" y="722"/>
                      </a:lnTo>
                      <a:lnTo>
                        <a:pt x="1320" y="718"/>
                      </a:lnTo>
                      <a:lnTo>
                        <a:pt x="1323" y="715"/>
                      </a:lnTo>
                      <a:lnTo>
                        <a:pt x="1329" y="709"/>
                      </a:lnTo>
                      <a:lnTo>
                        <a:pt x="1336" y="704"/>
                      </a:lnTo>
                      <a:lnTo>
                        <a:pt x="1345" y="701"/>
                      </a:lnTo>
                      <a:lnTo>
                        <a:pt x="1352" y="700"/>
                      </a:lnTo>
                      <a:lnTo>
                        <a:pt x="1360" y="696"/>
                      </a:lnTo>
                      <a:lnTo>
                        <a:pt x="1374" y="689"/>
                      </a:lnTo>
                      <a:lnTo>
                        <a:pt x="1375" y="689"/>
                      </a:lnTo>
                      <a:lnTo>
                        <a:pt x="1376" y="689"/>
                      </a:lnTo>
                      <a:lnTo>
                        <a:pt x="1378" y="690"/>
                      </a:lnTo>
                      <a:lnTo>
                        <a:pt x="1379" y="689"/>
                      </a:lnTo>
                      <a:lnTo>
                        <a:pt x="1379" y="685"/>
                      </a:lnTo>
                      <a:lnTo>
                        <a:pt x="1378" y="682"/>
                      </a:lnTo>
                      <a:lnTo>
                        <a:pt x="1374" y="678"/>
                      </a:lnTo>
                      <a:lnTo>
                        <a:pt x="1370" y="677"/>
                      </a:lnTo>
                      <a:lnTo>
                        <a:pt x="1364" y="677"/>
                      </a:lnTo>
                      <a:lnTo>
                        <a:pt x="1357" y="677"/>
                      </a:lnTo>
                      <a:lnTo>
                        <a:pt x="1351" y="677"/>
                      </a:lnTo>
                      <a:lnTo>
                        <a:pt x="1343" y="676"/>
                      </a:lnTo>
                      <a:lnTo>
                        <a:pt x="1338" y="673"/>
                      </a:lnTo>
                      <a:lnTo>
                        <a:pt x="1333" y="669"/>
                      </a:lnTo>
                      <a:lnTo>
                        <a:pt x="1328" y="664"/>
                      </a:lnTo>
                      <a:lnTo>
                        <a:pt x="1326" y="657"/>
                      </a:lnTo>
                      <a:lnTo>
                        <a:pt x="1323" y="652"/>
                      </a:lnTo>
                      <a:lnTo>
                        <a:pt x="1319" y="649"/>
                      </a:lnTo>
                      <a:lnTo>
                        <a:pt x="1315" y="646"/>
                      </a:lnTo>
                      <a:lnTo>
                        <a:pt x="1310" y="644"/>
                      </a:lnTo>
                      <a:lnTo>
                        <a:pt x="1310" y="641"/>
                      </a:lnTo>
                      <a:lnTo>
                        <a:pt x="1317" y="638"/>
                      </a:lnTo>
                      <a:lnTo>
                        <a:pt x="1324" y="633"/>
                      </a:lnTo>
                      <a:lnTo>
                        <a:pt x="1327" y="631"/>
                      </a:lnTo>
                      <a:lnTo>
                        <a:pt x="1328" y="628"/>
                      </a:lnTo>
                      <a:lnTo>
                        <a:pt x="1328" y="627"/>
                      </a:lnTo>
                      <a:lnTo>
                        <a:pt x="1327" y="625"/>
                      </a:lnTo>
                      <a:lnTo>
                        <a:pt x="1323" y="624"/>
                      </a:lnTo>
                      <a:lnTo>
                        <a:pt x="1319" y="622"/>
                      </a:lnTo>
                      <a:lnTo>
                        <a:pt x="1310" y="625"/>
                      </a:lnTo>
                      <a:lnTo>
                        <a:pt x="1301" y="626"/>
                      </a:lnTo>
                      <a:lnTo>
                        <a:pt x="1296" y="626"/>
                      </a:lnTo>
                      <a:lnTo>
                        <a:pt x="1292" y="626"/>
                      </a:lnTo>
                      <a:lnTo>
                        <a:pt x="1287" y="625"/>
                      </a:lnTo>
                      <a:lnTo>
                        <a:pt x="1282" y="624"/>
                      </a:lnTo>
                      <a:lnTo>
                        <a:pt x="1285" y="621"/>
                      </a:lnTo>
                      <a:lnTo>
                        <a:pt x="1287" y="620"/>
                      </a:lnTo>
                      <a:lnTo>
                        <a:pt x="1295" y="619"/>
                      </a:lnTo>
                      <a:lnTo>
                        <a:pt x="1309" y="619"/>
                      </a:lnTo>
                      <a:lnTo>
                        <a:pt x="1314" y="618"/>
                      </a:lnTo>
                      <a:lnTo>
                        <a:pt x="1318" y="617"/>
                      </a:lnTo>
                      <a:lnTo>
                        <a:pt x="1322" y="614"/>
                      </a:lnTo>
                      <a:lnTo>
                        <a:pt x="1326" y="611"/>
                      </a:lnTo>
                      <a:lnTo>
                        <a:pt x="1327" y="607"/>
                      </a:lnTo>
                      <a:lnTo>
                        <a:pt x="1328" y="605"/>
                      </a:lnTo>
                      <a:lnTo>
                        <a:pt x="1328" y="601"/>
                      </a:lnTo>
                      <a:lnTo>
                        <a:pt x="1327" y="599"/>
                      </a:lnTo>
                      <a:lnTo>
                        <a:pt x="1320" y="595"/>
                      </a:lnTo>
                      <a:lnTo>
                        <a:pt x="1314" y="593"/>
                      </a:lnTo>
                      <a:lnTo>
                        <a:pt x="1306" y="592"/>
                      </a:lnTo>
                      <a:lnTo>
                        <a:pt x="1299" y="593"/>
                      </a:lnTo>
                      <a:lnTo>
                        <a:pt x="1290" y="594"/>
                      </a:lnTo>
                      <a:lnTo>
                        <a:pt x="1284" y="598"/>
                      </a:lnTo>
                      <a:lnTo>
                        <a:pt x="1276" y="601"/>
                      </a:lnTo>
                      <a:lnTo>
                        <a:pt x="1271" y="607"/>
                      </a:lnTo>
                      <a:lnTo>
                        <a:pt x="1258" y="617"/>
                      </a:lnTo>
                      <a:lnTo>
                        <a:pt x="1253" y="622"/>
                      </a:lnTo>
                      <a:lnTo>
                        <a:pt x="1248" y="628"/>
                      </a:lnTo>
                      <a:lnTo>
                        <a:pt x="1243" y="632"/>
                      </a:lnTo>
                      <a:lnTo>
                        <a:pt x="1239" y="635"/>
                      </a:lnTo>
                      <a:lnTo>
                        <a:pt x="1235" y="640"/>
                      </a:lnTo>
                      <a:lnTo>
                        <a:pt x="1229" y="643"/>
                      </a:lnTo>
                      <a:lnTo>
                        <a:pt x="1224" y="644"/>
                      </a:lnTo>
                      <a:lnTo>
                        <a:pt x="1219" y="644"/>
                      </a:lnTo>
                      <a:lnTo>
                        <a:pt x="1219" y="643"/>
                      </a:lnTo>
                      <a:lnTo>
                        <a:pt x="1219" y="640"/>
                      </a:lnTo>
                      <a:lnTo>
                        <a:pt x="1224" y="633"/>
                      </a:lnTo>
                      <a:lnTo>
                        <a:pt x="1226" y="627"/>
                      </a:lnTo>
                      <a:lnTo>
                        <a:pt x="1228" y="621"/>
                      </a:lnTo>
                      <a:lnTo>
                        <a:pt x="1230" y="618"/>
                      </a:lnTo>
                      <a:lnTo>
                        <a:pt x="1234" y="614"/>
                      </a:lnTo>
                      <a:lnTo>
                        <a:pt x="1239" y="611"/>
                      </a:lnTo>
                      <a:lnTo>
                        <a:pt x="1243" y="607"/>
                      </a:lnTo>
                      <a:lnTo>
                        <a:pt x="1247" y="603"/>
                      </a:lnTo>
                      <a:lnTo>
                        <a:pt x="1252" y="599"/>
                      </a:lnTo>
                      <a:lnTo>
                        <a:pt x="1262" y="590"/>
                      </a:lnTo>
                      <a:lnTo>
                        <a:pt x="1267" y="589"/>
                      </a:lnTo>
                      <a:lnTo>
                        <a:pt x="1271" y="589"/>
                      </a:lnTo>
                      <a:lnTo>
                        <a:pt x="1276" y="589"/>
                      </a:lnTo>
                      <a:lnTo>
                        <a:pt x="1277" y="588"/>
                      </a:lnTo>
                      <a:lnTo>
                        <a:pt x="1277" y="587"/>
                      </a:lnTo>
                      <a:lnTo>
                        <a:pt x="1277" y="582"/>
                      </a:lnTo>
                      <a:lnTo>
                        <a:pt x="1279" y="577"/>
                      </a:lnTo>
                      <a:lnTo>
                        <a:pt x="1280" y="576"/>
                      </a:lnTo>
                      <a:lnTo>
                        <a:pt x="1281" y="575"/>
                      </a:lnTo>
                      <a:lnTo>
                        <a:pt x="1285" y="574"/>
                      </a:lnTo>
                      <a:lnTo>
                        <a:pt x="1290" y="568"/>
                      </a:lnTo>
                      <a:lnTo>
                        <a:pt x="1292" y="567"/>
                      </a:lnTo>
                      <a:lnTo>
                        <a:pt x="1296" y="566"/>
                      </a:lnTo>
                      <a:lnTo>
                        <a:pt x="1305" y="568"/>
                      </a:lnTo>
                      <a:lnTo>
                        <a:pt x="1312" y="569"/>
                      </a:lnTo>
                      <a:lnTo>
                        <a:pt x="1318" y="568"/>
                      </a:lnTo>
                      <a:lnTo>
                        <a:pt x="1329" y="564"/>
                      </a:lnTo>
                      <a:lnTo>
                        <a:pt x="1334" y="562"/>
                      </a:lnTo>
                      <a:lnTo>
                        <a:pt x="1337" y="562"/>
                      </a:lnTo>
                      <a:lnTo>
                        <a:pt x="1338" y="562"/>
                      </a:lnTo>
                      <a:lnTo>
                        <a:pt x="1345" y="566"/>
                      </a:lnTo>
                      <a:lnTo>
                        <a:pt x="1351" y="567"/>
                      </a:lnTo>
                      <a:lnTo>
                        <a:pt x="1357" y="568"/>
                      </a:lnTo>
                      <a:lnTo>
                        <a:pt x="1364" y="567"/>
                      </a:lnTo>
                      <a:lnTo>
                        <a:pt x="1375" y="564"/>
                      </a:lnTo>
                      <a:lnTo>
                        <a:pt x="1380" y="564"/>
                      </a:lnTo>
                      <a:lnTo>
                        <a:pt x="1385" y="566"/>
                      </a:lnTo>
                      <a:lnTo>
                        <a:pt x="1390" y="567"/>
                      </a:lnTo>
                      <a:lnTo>
                        <a:pt x="1395" y="566"/>
                      </a:lnTo>
                      <a:lnTo>
                        <a:pt x="1414" y="555"/>
                      </a:lnTo>
                      <a:lnTo>
                        <a:pt x="1416" y="554"/>
                      </a:lnTo>
                      <a:lnTo>
                        <a:pt x="1417" y="552"/>
                      </a:lnTo>
                      <a:lnTo>
                        <a:pt x="1419" y="545"/>
                      </a:lnTo>
                      <a:lnTo>
                        <a:pt x="1421" y="542"/>
                      </a:lnTo>
                      <a:lnTo>
                        <a:pt x="1425" y="538"/>
                      </a:lnTo>
                      <a:lnTo>
                        <a:pt x="1427" y="537"/>
                      </a:lnTo>
                      <a:lnTo>
                        <a:pt x="1430" y="537"/>
                      </a:lnTo>
                      <a:lnTo>
                        <a:pt x="1435" y="538"/>
                      </a:lnTo>
                      <a:lnTo>
                        <a:pt x="1439" y="541"/>
                      </a:lnTo>
                      <a:lnTo>
                        <a:pt x="1441" y="542"/>
                      </a:lnTo>
                      <a:lnTo>
                        <a:pt x="1444" y="542"/>
                      </a:lnTo>
                      <a:lnTo>
                        <a:pt x="1450" y="541"/>
                      </a:lnTo>
                      <a:lnTo>
                        <a:pt x="1456" y="537"/>
                      </a:lnTo>
                      <a:lnTo>
                        <a:pt x="1461" y="534"/>
                      </a:lnTo>
                      <a:lnTo>
                        <a:pt x="1466" y="530"/>
                      </a:lnTo>
                      <a:lnTo>
                        <a:pt x="1470" y="525"/>
                      </a:lnTo>
                      <a:lnTo>
                        <a:pt x="1472" y="519"/>
                      </a:lnTo>
                      <a:lnTo>
                        <a:pt x="1472" y="513"/>
                      </a:lnTo>
                      <a:lnTo>
                        <a:pt x="1468" y="506"/>
                      </a:lnTo>
                      <a:lnTo>
                        <a:pt x="1468" y="503"/>
                      </a:lnTo>
                      <a:lnTo>
                        <a:pt x="1468" y="500"/>
                      </a:lnTo>
                      <a:lnTo>
                        <a:pt x="1466" y="498"/>
                      </a:lnTo>
                      <a:lnTo>
                        <a:pt x="1466" y="494"/>
                      </a:lnTo>
                      <a:lnTo>
                        <a:pt x="1466" y="492"/>
                      </a:lnTo>
                      <a:lnTo>
                        <a:pt x="1466" y="490"/>
                      </a:lnTo>
                      <a:lnTo>
                        <a:pt x="1465" y="487"/>
                      </a:lnTo>
                      <a:lnTo>
                        <a:pt x="1464" y="486"/>
                      </a:lnTo>
                      <a:lnTo>
                        <a:pt x="1459" y="486"/>
                      </a:lnTo>
                      <a:lnTo>
                        <a:pt x="1459" y="487"/>
                      </a:lnTo>
                      <a:lnTo>
                        <a:pt x="1454" y="487"/>
                      </a:lnTo>
                      <a:lnTo>
                        <a:pt x="1450" y="487"/>
                      </a:lnTo>
                      <a:lnTo>
                        <a:pt x="1449" y="487"/>
                      </a:lnTo>
                      <a:lnTo>
                        <a:pt x="1447" y="484"/>
                      </a:lnTo>
                      <a:lnTo>
                        <a:pt x="1450" y="478"/>
                      </a:lnTo>
                      <a:lnTo>
                        <a:pt x="1450" y="473"/>
                      </a:lnTo>
                      <a:lnTo>
                        <a:pt x="1447" y="468"/>
                      </a:lnTo>
                      <a:lnTo>
                        <a:pt x="1444" y="466"/>
                      </a:lnTo>
                      <a:lnTo>
                        <a:pt x="1441" y="466"/>
                      </a:lnTo>
                      <a:lnTo>
                        <a:pt x="1439" y="466"/>
                      </a:lnTo>
                      <a:lnTo>
                        <a:pt x="1431" y="470"/>
                      </a:lnTo>
                      <a:lnTo>
                        <a:pt x="1423" y="475"/>
                      </a:lnTo>
                      <a:lnTo>
                        <a:pt x="1409" y="487"/>
                      </a:lnTo>
                      <a:lnTo>
                        <a:pt x="1408" y="488"/>
                      </a:lnTo>
                      <a:lnTo>
                        <a:pt x="1406" y="488"/>
                      </a:lnTo>
                      <a:lnTo>
                        <a:pt x="1404" y="487"/>
                      </a:lnTo>
                      <a:lnTo>
                        <a:pt x="1403" y="486"/>
                      </a:lnTo>
                      <a:lnTo>
                        <a:pt x="1402" y="483"/>
                      </a:lnTo>
                      <a:lnTo>
                        <a:pt x="1402" y="480"/>
                      </a:lnTo>
                      <a:lnTo>
                        <a:pt x="1403" y="477"/>
                      </a:lnTo>
                      <a:lnTo>
                        <a:pt x="1406" y="474"/>
                      </a:lnTo>
                      <a:lnTo>
                        <a:pt x="1413" y="471"/>
                      </a:lnTo>
                      <a:lnTo>
                        <a:pt x="1421" y="466"/>
                      </a:lnTo>
                      <a:lnTo>
                        <a:pt x="1426" y="464"/>
                      </a:lnTo>
                      <a:lnTo>
                        <a:pt x="1432" y="462"/>
                      </a:lnTo>
                      <a:lnTo>
                        <a:pt x="1437" y="461"/>
                      </a:lnTo>
                      <a:lnTo>
                        <a:pt x="1444" y="459"/>
                      </a:lnTo>
                      <a:lnTo>
                        <a:pt x="1446" y="456"/>
                      </a:lnTo>
                      <a:lnTo>
                        <a:pt x="1446" y="455"/>
                      </a:lnTo>
                      <a:lnTo>
                        <a:pt x="1445" y="452"/>
                      </a:lnTo>
                      <a:lnTo>
                        <a:pt x="1442" y="451"/>
                      </a:lnTo>
                      <a:lnTo>
                        <a:pt x="1436" y="449"/>
                      </a:lnTo>
                      <a:lnTo>
                        <a:pt x="1431" y="451"/>
                      </a:lnTo>
                      <a:lnTo>
                        <a:pt x="1425" y="453"/>
                      </a:lnTo>
                      <a:lnTo>
                        <a:pt x="1423" y="453"/>
                      </a:lnTo>
                      <a:lnTo>
                        <a:pt x="1422" y="453"/>
                      </a:lnTo>
                      <a:lnTo>
                        <a:pt x="1419" y="451"/>
                      </a:lnTo>
                      <a:lnTo>
                        <a:pt x="1417" y="449"/>
                      </a:lnTo>
                      <a:lnTo>
                        <a:pt x="1412" y="448"/>
                      </a:lnTo>
                      <a:lnTo>
                        <a:pt x="1411" y="447"/>
                      </a:lnTo>
                      <a:lnTo>
                        <a:pt x="1409" y="446"/>
                      </a:lnTo>
                      <a:lnTo>
                        <a:pt x="1409" y="445"/>
                      </a:lnTo>
                      <a:lnTo>
                        <a:pt x="1407" y="443"/>
                      </a:lnTo>
                      <a:lnTo>
                        <a:pt x="1404" y="442"/>
                      </a:lnTo>
                      <a:lnTo>
                        <a:pt x="1400" y="445"/>
                      </a:lnTo>
                      <a:lnTo>
                        <a:pt x="1398" y="446"/>
                      </a:lnTo>
                      <a:lnTo>
                        <a:pt x="1395" y="446"/>
                      </a:lnTo>
                      <a:lnTo>
                        <a:pt x="1393" y="445"/>
                      </a:lnTo>
                      <a:lnTo>
                        <a:pt x="1392" y="441"/>
                      </a:lnTo>
                      <a:lnTo>
                        <a:pt x="1392" y="437"/>
                      </a:lnTo>
                      <a:lnTo>
                        <a:pt x="1390" y="434"/>
                      </a:lnTo>
                      <a:lnTo>
                        <a:pt x="1389" y="433"/>
                      </a:lnTo>
                      <a:lnTo>
                        <a:pt x="1388" y="432"/>
                      </a:lnTo>
                      <a:lnTo>
                        <a:pt x="1384" y="433"/>
                      </a:lnTo>
                      <a:lnTo>
                        <a:pt x="1383" y="433"/>
                      </a:lnTo>
                      <a:lnTo>
                        <a:pt x="1381" y="433"/>
                      </a:lnTo>
                      <a:lnTo>
                        <a:pt x="1379" y="428"/>
                      </a:lnTo>
                      <a:lnTo>
                        <a:pt x="1375" y="424"/>
                      </a:lnTo>
                      <a:lnTo>
                        <a:pt x="1374" y="422"/>
                      </a:lnTo>
                      <a:lnTo>
                        <a:pt x="1374" y="420"/>
                      </a:lnTo>
                      <a:lnTo>
                        <a:pt x="1374" y="415"/>
                      </a:lnTo>
                      <a:lnTo>
                        <a:pt x="1372" y="414"/>
                      </a:lnTo>
                      <a:lnTo>
                        <a:pt x="1372" y="410"/>
                      </a:lnTo>
                      <a:lnTo>
                        <a:pt x="1372" y="408"/>
                      </a:lnTo>
                      <a:lnTo>
                        <a:pt x="1370" y="403"/>
                      </a:lnTo>
                      <a:lnTo>
                        <a:pt x="1370" y="401"/>
                      </a:lnTo>
                      <a:lnTo>
                        <a:pt x="1370" y="400"/>
                      </a:lnTo>
                      <a:lnTo>
                        <a:pt x="1372" y="396"/>
                      </a:lnTo>
                      <a:lnTo>
                        <a:pt x="1376" y="392"/>
                      </a:lnTo>
                      <a:lnTo>
                        <a:pt x="1380" y="389"/>
                      </a:lnTo>
                      <a:lnTo>
                        <a:pt x="1380" y="387"/>
                      </a:lnTo>
                      <a:lnTo>
                        <a:pt x="1380" y="384"/>
                      </a:lnTo>
                      <a:lnTo>
                        <a:pt x="1379" y="383"/>
                      </a:lnTo>
                      <a:lnTo>
                        <a:pt x="1378" y="382"/>
                      </a:lnTo>
                      <a:lnTo>
                        <a:pt x="1375" y="383"/>
                      </a:lnTo>
                      <a:lnTo>
                        <a:pt x="1374" y="384"/>
                      </a:lnTo>
                      <a:lnTo>
                        <a:pt x="1371" y="388"/>
                      </a:lnTo>
                      <a:lnTo>
                        <a:pt x="1369" y="389"/>
                      </a:lnTo>
                      <a:lnTo>
                        <a:pt x="1367" y="388"/>
                      </a:lnTo>
                      <a:lnTo>
                        <a:pt x="1365" y="388"/>
                      </a:lnTo>
                      <a:lnTo>
                        <a:pt x="1365" y="387"/>
                      </a:lnTo>
                      <a:lnTo>
                        <a:pt x="1364" y="382"/>
                      </a:lnTo>
                      <a:lnTo>
                        <a:pt x="1362" y="378"/>
                      </a:lnTo>
                      <a:lnTo>
                        <a:pt x="1359" y="372"/>
                      </a:lnTo>
                      <a:lnTo>
                        <a:pt x="1353" y="368"/>
                      </a:lnTo>
                      <a:lnTo>
                        <a:pt x="1347" y="363"/>
                      </a:lnTo>
                      <a:lnTo>
                        <a:pt x="1345" y="360"/>
                      </a:lnTo>
                      <a:lnTo>
                        <a:pt x="1343" y="358"/>
                      </a:lnTo>
                      <a:lnTo>
                        <a:pt x="1342" y="351"/>
                      </a:lnTo>
                      <a:lnTo>
                        <a:pt x="1338" y="344"/>
                      </a:lnTo>
                      <a:lnTo>
                        <a:pt x="1336" y="337"/>
                      </a:lnTo>
                      <a:lnTo>
                        <a:pt x="1332" y="330"/>
                      </a:lnTo>
                      <a:lnTo>
                        <a:pt x="1332" y="324"/>
                      </a:lnTo>
                      <a:lnTo>
                        <a:pt x="1333" y="319"/>
                      </a:lnTo>
                      <a:lnTo>
                        <a:pt x="1332" y="317"/>
                      </a:lnTo>
                      <a:lnTo>
                        <a:pt x="1329" y="314"/>
                      </a:lnTo>
                      <a:lnTo>
                        <a:pt x="1326" y="315"/>
                      </a:lnTo>
                      <a:lnTo>
                        <a:pt x="1323" y="315"/>
                      </a:lnTo>
                      <a:lnTo>
                        <a:pt x="1322" y="315"/>
                      </a:lnTo>
                      <a:lnTo>
                        <a:pt x="1317" y="320"/>
                      </a:lnTo>
                      <a:lnTo>
                        <a:pt x="1313" y="325"/>
                      </a:lnTo>
                      <a:lnTo>
                        <a:pt x="1309" y="330"/>
                      </a:lnTo>
                      <a:lnTo>
                        <a:pt x="1304" y="334"/>
                      </a:lnTo>
                      <a:lnTo>
                        <a:pt x="1300" y="339"/>
                      </a:lnTo>
                      <a:lnTo>
                        <a:pt x="1298" y="345"/>
                      </a:lnTo>
                      <a:lnTo>
                        <a:pt x="1295" y="349"/>
                      </a:lnTo>
                      <a:lnTo>
                        <a:pt x="1292" y="351"/>
                      </a:lnTo>
                      <a:lnTo>
                        <a:pt x="1286" y="356"/>
                      </a:lnTo>
                      <a:lnTo>
                        <a:pt x="1282" y="359"/>
                      </a:lnTo>
                      <a:lnTo>
                        <a:pt x="1279" y="364"/>
                      </a:lnTo>
                      <a:lnTo>
                        <a:pt x="1276" y="365"/>
                      </a:lnTo>
                      <a:lnTo>
                        <a:pt x="1273" y="365"/>
                      </a:lnTo>
                      <a:lnTo>
                        <a:pt x="1271" y="364"/>
                      </a:lnTo>
                      <a:lnTo>
                        <a:pt x="1266" y="363"/>
                      </a:lnTo>
                      <a:lnTo>
                        <a:pt x="1263" y="362"/>
                      </a:lnTo>
                      <a:lnTo>
                        <a:pt x="1259" y="359"/>
                      </a:lnTo>
                      <a:lnTo>
                        <a:pt x="1257" y="356"/>
                      </a:lnTo>
                      <a:lnTo>
                        <a:pt x="1256" y="356"/>
                      </a:lnTo>
                      <a:lnTo>
                        <a:pt x="1254" y="356"/>
                      </a:lnTo>
                      <a:lnTo>
                        <a:pt x="1252" y="359"/>
                      </a:lnTo>
                      <a:lnTo>
                        <a:pt x="1248" y="360"/>
                      </a:lnTo>
                      <a:lnTo>
                        <a:pt x="1244" y="362"/>
                      </a:lnTo>
                      <a:lnTo>
                        <a:pt x="1242" y="359"/>
                      </a:lnTo>
                      <a:lnTo>
                        <a:pt x="1240" y="357"/>
                      </a:lnTo>
                      <a:lnTo>
                        <a:pt x="1242" y="355"/>
                      </a:lnTo>
                      <a:lnTo>
                        <a:pt x="1243" y="352"/>
                      </a:lnTo>
                      <a:lnTo>
                        <a:pt x="1243" y="351"/>
                      </a:lnTo>
                      <a:lnTo>
                        <a:pt x="1240" y="349"/>
                      </a:lnTo>
                      <a:lnTo>
                        <a:pt x="1235" y="346"/>
                      </a:lnTo>
                      <a:lnTo>
                        <a:pt x="1233" y="344"/>
                      </a:lnTo>
                      <a:lnTo>
                        <a:pt x="1233" y="343"/>
                      </a:lnTo>
                      <a:lnTo>
                        <a:pt x="1233" y="340"/>
                      </a:lnTo>
                      <a:lnTo>
                        <a:pt x="1235" y="336"/>
                      </a:lnTo>
                      <a:lnTo>
                        <a:pt x="1235" y="333"/>
                      </a:lnTo>
                      <a:lnTo>
                        <a:pt x="1237" y="331"/>
                      </a:lnTo>
                      <a:lnTo>
                        <a:pt x="1234" y="321"/>
                      </a:lnTo>
                      <a:lnTo>
                        <a:pt x="1234" y="317"/>
                      </a:lnTo>
                      <a:lnTo>
                        <a:pt x="1235" y="311"/>
                      </a:lnTo>
                      <a:lnTo>
                        <a:pt x="1235" y="307"/>
                      </a:lnTo>
                      <a:lnTo>
                        <a:pt x="1237" y="305"/>
                      </a:lnTo>
                      <a:lnTo>
                        <a:pt x="1238" y="304"/>
                      </a:lnTo>
                      <a:lnTo>
                        <a:pt x="1239" y="301"/>
                      </a:lnTo>
                      <a:lnTo>
                        <a:pt x="1240" y="299"/>
                      </a:lnTo>
                      <a:lnTo>
                        <a:pt x="1235" y="301"/>
                      </a:lnTo>
                      <a:lnTo>
                        <a:pt x="1233" y="301"/>
                      </a:lnTo>
                      <a:lnTo>
                        <a:pt x="1232" y="301"/>
                      </a:lnTo>
                      <a:lnTo>
                        <a:pt x="1223" y="299"/>
                      </a:lnTo>
                      <a:lnTo>
                        <a:pt x="1214" y="299"/>
                      </a:lnTo>
                      <a:lnTo>
                        <a:pt x="1210" y="299"/>
                      </a:lnTo>
                      <a:lnTo>
                        <a:pt x="1206" y="298"/>
                      </a:lnTo>
                      <a:lnTo>
                        <a:pt x="1204" y="295"/>
                      </a:lnTo>
                      <a:lnTo>
                        <a:pt x="1201" y="293"/>
                      </a:lnTo>
                      <a:lnTo>
                        <a:pt x="1196" y="287"/>
                      </a:lnTo>
                      <a:lnTo>
                        <a:pt x="1191" y="280"/>
                      </a:lnTo>
                      <a:lnTo>
                        <a:pt x="1190" y="279"/>
                      </a:lnTo>
                      <a:lnTo>
                        <a:pt x="1188" y="279"/>
                      </a:lnTo>
                      <a:lnTo>
                        <a:pt x="1185" y="277"/>
                      </a:lnTo>
                      <a:lnTo>
                        <a:pt x="1181" y="277"/>
                      </a:lnTo>
                      <a:lnTo>
                        <a:pt x="1178" y="277"/>
                      </a:lnTo>
                      <a:lnTo>
                        <a:pt x="1177" y="275"/>
                      </a:lnTo>
                      <a:lnTo>
                        <a:pt x="1172" y="269"/>
                      </a:lnTo>
                      <a:lnTo>
                        <a:pt x="1169" y="267"/>
                      </a:lnTo>
                      <a:lnTo>
                        <a:pt x="1166" y="267"/>
                      </a:lnTo>
                      <a:lnTo>
                        <a:pt x="1155" y="266"/>
                      </a:lnTo>
                      <a:lnTo>
                        <a:pt x="1145" y="264"/>
                      </a:lnTo>
                      <a:lnTo>
                        <a:pt x="1136" y="262"/>
                      </a:lnTo>
                      <a:lnTo>
                        <a:pt x="1126" y="262"/>
                      </a:lnTo>
                      <a:lnTo>
                        <a:pt x="1120" y="263"/>
                      </a:lnTo>
                      <a:lnTo>
                        <a:pt x="1117" y="263"/>
                      </a:lnTo>
                      <a:lnTo>
                        <a:pt x="1113" y="263"/>
                      </a:lnTo>
                      <a:lnTo>
                        <a:pt x="1108" y="261"/>
                      </a:lnTo>
                      <a:lnTo>
                        <a:pt x="1103" y="258"/>
                      </a:lnTo>
                      <a:lnTo>
                        <a:pt x="1098" y="256"/>
                      </a:lnTo>
                      <a:lnTo>
                        <a:pt x="1094" y="251"/>
                      </a:lnTo>
                      <a:lnTo>
                        <a:pt x="1094" y="253"/>
                      </a:lnTo>
                      <a:lnTo>
                        <a:pt x="1093" y="253"/>
                      </a:lnTo>
                      <a:lnTo>
                        <a:pt x="1094" y="258"/>
                      </a:lnTo>
                      <a:lnTo>
                        <a:pt x="1094" y="262"/>
                      </a:lnTo>
                      <a:lnTo>
                        <a:pt x="1094" y="264"/>
                      </a:lnTo>
                      <a:lnTo>
                        <a:pt x="1092" y="273"/>
                      </a:lnTo>
                      <a:lnTo>
                        <a:pt x="1089" y="280"/>
                      </a:lnTo>
                      <a:lnTo>
                        <a:pt x="1088" y="295"/>
                      </a:lnTo>
                      <a:lnTo>
                        <a:pt x="1088" y="298"/>
                      </a:lnTo>
                      <a:lnTo>
                        <a:pt x="1086" y="301"/>
                      </a:lnTo>
                      <a:lnTo>
                        <a:pt x="1084" y="304"/>
                      </a:lnTo>
                      <a:lnTo>
                        <a:pt x="1086" y="306"/>
                      </a:lnTo>
                      <a:lnTo>
                        <a:pt x="1091" y="317"/>
                      </a:lnTo>
                      <a:lnTo>
                        <a:pt x="1093" y="319"/>
                      </a:lnTo>
                      <a:lnTo>
                        <a:pt x="1096" y="320"/>
                      </a:lnTo>
                      <a:lnTo>
                        <a:pt x="1101" y="322"/>
                      </a:lnTo>
                      <a:lnTo>
                        <a:pt x="1103" y="324"/>
                      </a:lnTo>
                      <a:lnTo>
                        <a:pt x="1105" y="326"/>
                      </a:lnTo>
                      <a:lnTo>
                        <a:pt x="1103" y="330"/>
                      </a:lnTo>
                      <a:lnTo>
                        <a:pt x="1102" y="334"/>
                      </a:lnTo>
                      <a:lnTo>
                        <a:pt x="1098" y="338"/>
                      </a:lnTo>
                      <a:lnTo>
                        <a:pt x="1084" y="349"/>
                      </a:lnTo>
                      <a:lnTo>
                        <a:pt x="1079" y="355"/>
                      </a:lnTo>
                      <a:lnTo>
                        <a:pt x="1078" y="358"/>
                      </a:lnTo>
                      <a:lnTo>
                        <a:pt x="1077" y="362"/>
                      </a:lnTo>
                      <a:lnTo>
                        <a:pt x="1078" y="364"/>
                      </a:lnTo>
                      <a:lnTo>
                        <a:pt x="1080" y="364"/>
                      </a:lnTo>
                      <a:lnTo>
                        <a:pt x="1086" y="365"/>
                      </a:lnTo>
                      <a:lnTo>
                        <a:pt x="1089" y="368"/>
                      </a:lnTo>
                      <a:lnTo>
                        <a:pt x="1091" y="370"/>
                      </a:lnTo>
                      <a:lnTo>
                        <a:pt x="1094" y="378"/>
                      </a:lnTo>
                      <a:lnTo>
                        <a:pt x="1101" y="387"/>
                      </a:lnTo>
                      <a:lnTo>
                        <a:pt x="1103" y="391"/>
                      </a:lnTo>
                      <a:lnTo>
                        <a:pt x="1105" y="397"/>
                      </a:lnTo>
                      <a:lnTo>
                        <a:pt x="1106" y="402"/>
                      </a:lnTo>
                      <a:lnTo>
                        <a:pt x="1108" y="408"/>
                      </a:lnTo>
                      <a:lnTo>
                        <a:pt x="1108" y="410"/>
                      </a:lnTo>
                      <a:lnTo>
                        <a:pt x="1108" y="413"/>
                      </a:lnTo>
                      <a:lnTo>
                        <a:pt x="1108" y="415"/>
                      </a:lnTo>
                      <a:lnTo>
                        <a:pt x="1107" y="419"/>
                      </a:lnTo>
                      <a:lnTo>
                        <a:pt x="1102" y="427"/>
                      </a:lnTo>
                      <a:lnTo>
                        <a:pt x="1097" y="435"/>
                      </a:lnTo>
                      <a:lnTo>
                        <a:pt x="1096" y="439"/>
                      </a:lnTo>
                      <a:lnTo>
                        <a:pt x="1092" y="440"/>
                      </a:lnTo>
                      <a:lnTo>
                        <a:pt x="1083" y="445"/>
                      </a:lnTo>
                      <a:lnTo>
                        <a:pt x="1075" y="448"/>
                      </a:lnTo>
                      <a:lnTo>
                        <a:pt x="1068" y="454"/>
                      </a:lnTo>
                      <a:lnTo>
                        <a:pt x="1065" y="458"/>
                      </a:lnTo>
                      <a:lnTo>
                        <a:pt x="1064" y="461"/>
                      </a:lnTo>
                      <a:lnTo>
                        <a:pt x="1065" y="464"/>
                      </a:lnTo>
                      <a:lnTo>
                        <a:pt x="1069" y="467"/>
                      </a:lnTo>
                      <a:lnTo>
                        <a:pt x="1082" y="492"/>
                      </a:lnTo>
                      <a:lnTo>
                        <a:pt x="1082" y="496"/>
                      </a:lnTo>
                      <a:lnTo>
                        <a:pt x="1082" y="500"/>
                      </a:lnTo>
                      <a:lnTo>
                        <a:pt x="1083" y="504"/>
                      </a:lnTo>
                      <a:lnTo>
                        <a:pt x="1084" y="507"/>
                      </a:lnTo>
                      <a:lnTo>
                        <a:pt x="1087" y="515"/>
                      </a:lnTo>
                      <a:lnTo>
                        <a:pt x="1089" y="522"/>
                      </a:lnTo>
                      <a:lnTo>
                        <a:pt x="1089" y="529"/>
                      </a:lnTo>
                      <a:lnTo>
                        <a:pt x="1088" y="536"/>
                      </a:lnTo>
                      <a:lnTo>
                        <a:pt x="1086" y="539"/>
                      </a:lnTo>
                      <a:lnTo>
                        <a:pt x="1083" y="543"/>
                      </a:lnTo>
                      <a:lnTo>
                        <a:pt x="1079" y="545"/>
                      </a:lnTo>
                      <a:lnTo>
                        <a:pt x="1075" y="547"/>
                      </a:lnTo>
                      <a:lnTo>
                        <a:pt x="1075" y="544"/>
                      </a:lnTo>
                      <a:lnTo>
                        <a:pt x="1074" y="541"/>
                      </a:lnTo>
                      <a:lnTo>
                        <a:pt x="1073" y="539"/>
                      </a:lnTo>
                      <a:lnTo>
                        <a:pt x="1070" y="539"/>
                      </a:lnTo>
                      <a:lnTo>
                        <a:pt x="1068" y="541"/>
                      </a:lnTo>
                      <a:lnTo>
                        <a:pt x="1068" y="542"/>
                      </a:lnTo>
                      <a:lnTo>
                        <a:pt x="1066" y="547"/>
                      </a:lnTo>
                      <a:lnTo>
                        <a:pt x="1064" y="550"/>
                      </a:lnTo>
                      <a:lnTo>
                        <a:pt x="1063" y="550"/>
                      </a:lnTo>
                      <a:lnTo>
                        <a:pt x="1060" y="550"/>
                      </a:lnTo>
                      <a:lnTo>
                        <a:pt x="1054" y="547"/>
                      </a:lnTo>
                      <a:lnTo>
                        <a:pt x="1050" y="545"/>
                      </a:lnTo>
                      <a:lnTo>
                        <a:pt x="1046" y="545"/>
                      </a:lnTo>
                      <a:lnTo>
                        <a:pt x="1045" y="544"/>
                      </a:lnTo>
                      <a:lnTo>
                        <a:pt x="1045" y="543"/>
                      </a:lnTo>
                      <a:lnTo>
                        <a:pt x="1045" y="541"/>
                      </a:lnTo>
                      <a:lnTo>
                        <a:pt x="1046" y="539"/>
                      </a:lnTo>
                      <a:lnTo>
                        <a:pt x="1046" y="538"/>
                      </a:lnTo>
                      <a:lnTo>
                        <a:pt x="1046" y="537"/>
                      </a:lnTo>
                      <a:lnTo>
                        <a:pt x="1036" y="528"/>
                      </a:lnTo>
                      <a:lnTo>
                        <a:pt x="1032" y="524"/>
                      </a:lnTo>
                      <a:lnTo>
                        <a:pt x="1027" y="518"/>
                      </a:lnTo>
                      <a:lnTo>
                        <a:pt x="1026" y="517"/>
                      </a:lnTo>
                      <a:lnTo>
                        <a:pt x="1023" y="517"/>
                      </a:lnTo>
                      <a:lnTo>
                        <a:pt x="1021" y="516"/>
                      </a:lnTo>
                      <a:lnTo>
                        <a:pt x="1018" y="515"/>
                      </a:lnTo>
                      <a:lnTo>
                        <a:pt x="1017" y="511"/>
                      </a:lnTo>
                      <a:lnTo>
                        <a:pt x="1017" y="509"/>
                      </a:lnTo>
                      <a:lnTo>
                        <a:pt x="1017" y="498"/>
                      </a:lnTo>
                      <a:lnTo>
                        <a:pt x="1017" y="487"/>
                      </a:lnTo>
                      <a:lnTo>
                        <a:pt x="1018" y="483"/>
                      </a:lnTo>
                      <a:lnTo>
                        <a:pt x="1018" y="480"/>
                      </a:lnTo>
                      <a:lnTo>
                        <a:pt x="1017" y="478"/>
                      </a:lnTo>
                      <a:lnTo>
                        <a:pt x="1014" y="475"/>
                      </a:lnTo>
                      <a:lnTo>
                        <a:pt x="1012" y="472"/>
                      </a:lnTo>
                      <a:lnTo>
                        <a:pt x="1011" y="466"/>
                      </a:lnTo>
                      <a:lnTo>
                        <a:pt x="1011" y="454"/>
                      </a:lnTo>
                      <a:lnTo>
                        <a:pt x="1011" y="453"/>
                      </a:lnTo>
                      <a:lnTo>
                        <a:pt x="1008" y="452"/>
                      </a:lnTo>
                      <a:lnTo>
                        <a:pt x="1004" y="452"/>
                      </a:lnTo>
                      <a:lnTo>
                        <a:pt x="998" y="453"/>
                      </a:lnTo>
                      <a:lnTo>
                        <a:pt x="994" y="453"/>
                      </a:lnTo>
                      <a:lnTo>
                        <a:pt x="988" y="451"/>
                      </a:lnTo>
                      <a:lnTo>
                        <a:pt x="983" y="448"/>
                      </a:lnTo>
                      <a:lnTo>
                        <a:pt x="980" y="448"/>
                      </a:lnTo>
                      <a:lnTo>
                        <a:pt x="978" y="448"/>
                      </a:lnTo>
                      <a:lnTo>
                        <a:pt x="975" y="449"/>
                      </a:lnTo>
                      <a:lnTo>
                        <a:pt x="972" y="448"/>
                      </a:lnTo>
                      <a:lnTo>
                        <a:pt x="971" y="448"/>
                      </a:lnTo>
                      <a:lnTo>
                        <a:pt x="970" y="446"/>
                      </a:lnTo>
                      <a:lnTo>
                        <a:pt x="967" y="443"/>
                      </a:lnTo>
                      <a:lnTo>
                        <a:pt x="962" y="441"/>
                      </a:lnTo>
                      <a:lnTo>
                        <a:pt x="959" y="439"/>
                      </a:lnTo>
                      <a:lnTo>
                        <a:pt x="955" y="435"/>
                      </a:lnTo>
                      <a:lnTo>
                        <a:pt x="951" y="432"/>
                      </a:lnTo>
                      <a:lnTo>
                        <a:pt x="948" y="432"/>
                      </a:lnTo>
                      <a:lnTo>
                        <a:pt x="946" y="432"/>
                      </a:lnTo>
                      <a:lnTo>
                        <a:pt x="943" y="430"/>
                      </a:lnTo>
                      <a:lnTo>
                        <a:pt x="939" y="429"/>
                      </a:lnTo>
                      <a:lnTo>
                        <a:pt x="936" y="426"/>
                      </a:lnTo>
                      <a:lnTo>
                        <a:pt x="933" y="424"/>
                      </a:lnTo>
                      <a:lnTo>
                        <a:pt x="931" y="423"/>
                      </a:lnTo>
                      <a:lnTo>
                        <a:pt x="927" y="417"/>
                      </a:lnTo>
                      <a:lnTo>
                        <a:pt x="924" y="413"/>
                      </a:lnTo>
                      <a:lnTo>
                        <a:pt x="922" y="411"/>
                      </a:lnTo>
                      <a:lnTo>
                        <a:pt x="920" y="413"/>
                      </a:lnTo>
                      <a:lnTo>
                        <a:pt x="918" y="413"/>
                      </a:lnTo>
                      <a:lnTo>
                        <a:pt x="915" y="413"/>
                      </a:lnTo>
                      <a:lnTo>
                        <a:pt x="913" y="410"/>
                      </a:lnTo>
                      <a:lnTo>
                        <a:pt x="910" y="408"/>
                      </a:lnTo>
                      <a:lnTo>
                        <a:pt x="908" y="407"/>
                      </a:lnTo>
                      <a:lnTo>
                        <a:pt x="904" y="405"/>
                      </a:lnTo>
                      <a:lnTo>
                        <a:pt x="898" y="402"/>
                      </a:lnTo>
                      <a:lnTo>
                        <a:pt x="892" y="401"/>
                      </a:lnTo>
                      <a:lnTo>
                        <a:pt x="886" y="400"/>
                      </a:lnTo>
                      <a:lnTo>
                        <a:pt x="880" y="400"/>
                      </a:lnTo>
                      <a:lnTo>
                        <a:pt x="872" y="398"/>
                      </a:lnTo>
                      <a:lnTo>
                        <a:pt x="868" y="397"/>
                      </a:lnTo>
                      <a:lnTo>
                        <a:pt x="865" y="396"/>
                      </a:lnTo>
                      <a:lnTo>
                        <a:pt x="852" y="395"/>
                      </a:lnTo>
                      <a:lnTo>
                        <a:pt x="848" y="396"/>
                      </a:lnTo>
                      <a:lnTo>
                        <a:pt x="843" y="397"/>
                      </a:lnTo>
                      <a:lnTo>
                        <a:pt x="839" y="398"/>
                      </a:lnTo>
                      <a:lnTo>
                        <a:pt x="838" y="398"/>
                      </a:lnTo>
                      <a:lnTo>
                        <a:pt x="835" y="397"/>
                      </a:lnTo>
                      <a:lnTo>
                        <a:pt x="835" y="396"/>
                      </a:lnTo>
                      <a:lnTo>
                        <a:pt x="835" y="394"/>
                      </a:lnTo>
                      <a:lnTo>
                        <a:pt x="837" y="390"/>
                      </a:lnTo>
                      <a:lnTo>
                        <a:pt x="837" y="388"/>
                      </a:lnTo>
                      <a:lnTo>
                        <a:pt x="835" y="385"/>
                      </a:lnTo>
                      <a:lnTo>
                        <a:pt x="834" y="384"/>
                      </a:lnTo>
                      <a:lnTo>
                        <a:pt x="833" y="382"/>
                      </a:lnTo>
                      <a:lnTo>
                        <a:pt x="833" y="378"/>
                      </a:lnTo>
                      <a:lnTo>
                        <a:pt x="834" y="376"/>
                      </a:lnTo>
                      <a:lnTo>
                        <a:pt x="835" y="373"/>
                      </a:lnTo>
                      <a:lnTo>
                        <a:pt x="835" y="370"/>
                      </a:lnTo>
                      <a:lnTo>
                        <a:pt x="834" y="369"/>
                      </a:lnTo>
                      <a:lnTo>
                        <a:pt x="833" y="368"/>
                      </a:lnTo>
                      <a:lnTo>
                        <a:pt x="832" y="365"/>
                      </a:lnTo>
                      <a:lnTo>
                        <a:pt x="832" y="364"/>
                      </a:lnTo>
                      <a:lnTo>
                        <a:pt x="833" y="363"/>
                      </a:lnTo>
                      <a:lnTo>
                        <a:pt x="834" y="359"/>
                      </a:lnTo>
                      <a:lnTo>
                        <a:pt x="835" y="357"/>
                      </a:lnTo>
                      <a:lnTo>
                        <a:pt x="833" y="356"/>
                      </a:lnTo>
                      <a:lnTo>
                        <a:pt x="826" y="356"/>
                      </a:lnTo>
                      <a:lnTo>
                        <a:pt x="820" y="358"/>
                      </a:lnTo>
                      <a:lnTo>
                        <a:pt x="812" y="360"/>
                      </a:lnTo>
                      <a:lnTo>
                        <a:pt x="810" y="362"/>
                      </a:lnTo>
                      <a:lnTo>
                        <a:pt x="809" y="364"/>
                      </a:lnTo>
                      <a:lnTo>
                        <a:pt x="807" y="364"/>
                      </a:lnTo>
                      <a:lnTo>
                        <a:pt x="806" y="363"/>
                      </a:lnTo>
                      <a:lnTo>
                        <a:pt x="805" y="358"/>
                      </a:lnTo>
                      <a:lnTo>
                        <a:pt x="805" y="355"/>
                      </a:lnTo>
                      <a:lnTo>
                        <a:pt x="807" y="347"/>
                      </a:lnTo>
                      <a:lnTo>
                        <a:pt x="809" y="343"/>
                      </a:lnTo>
                      <a:lnTo>
                        <a:pt x="809" y="337"/>
                      </a:lnTo>
                      <a:lnTo>
                        <a:pt x="806" y="326"/>
                      </a:lnTo>
                      <a:lnTo>
                        <a:pt x="805" y="317"/>
                      </a:lnTo>
                      <a:lnTo>
                        <a:pt x="805" y="311"/>
                      </a:lnTo>
                      <a:lnTo>
                        <a:pt x="805" y="307"/>
                      </a:lnTo>
                      <a:lnTo>
                        <a:pt x="807" y="305"/>
                      </a:lnTo>
                      <a:lnTo>
                        <a:pt x="809" y="302"/>
                      </a:lnTo>
                      <a:lnTo>
                        <a:pt x="811" y="300"/>
                      </a:lnTo>
                      <a:lnTo>
                        <a:pt x="812" y="298"/>
                      </a:lnTo>
                      <a:lnTo>
                        <a:pt x="815" y="290"/>
                      </a:lnTo>
                      <a:lnTo>
                        <a:pt x="816" y="282"/>
                      </a:lnTo>
                      <a:lnTo>
                        <a:pt x="818" y="280"/>
                      </a:lnTo>
                      <a:lnTo>
                        <a:pt x="820" y="279"/>
                      </a:lnTo>
                      <a:lnTo>
                        <a:pt x="828" y="277"/>
                      </a:lnTo>
                      <a:lnTo>
                        <a:pt x="829" y="276"/>
                      </a:lnTo>
                      <a:lnTo>
                        <a:pt x="832" y="274"/>
                      </a:lnTo>
                      <a:lnTo>
                        <a:pt x="834" y="269"/>
                      </a:lnTo>
                      <a:lnTo>
                        <a:pt x="837" y="267"/>
                      </a:lnTo>
                      <a:lnTo>
                        <a:pt x="839" y="266"/>
                      </a:lnTo>
                      <a:lnTo>
                        <a:pt x="842" y="263"/>
                      </a:lnTo>
                      <a:lnTo>
                        <a:pt x="844" y="261"/>
                      </a:lnTo>
                      <a:lnTo>
                        <a:pt x="846" y="257"/>
                      </a:lnTo>
                      <a:lnTo>
                        <a:pt x="846" y="255"/>
                      </a:lnTo>
                      <a:lnTo>
                        <a:pt x="844" y="253"/>
                      </a:lnTo>
                      <a:lnTo>
                        <a:pt x="843" y="250"/>
                      </a:lnTo>
                      <a:lnTo>
                        <a:pt x="838" y="245"/>
                      </a:lnTo>
                      <a:lnTo>
                        <a:pt x="833" y="242"/>
                      </a:lnTo>
                      <a:lnTo>
                        <a:pt x="834" y="241"/>
                      </a:lnTo>
                      <a:lnTo>
                        <a:pt x="837" y="241"/>
                      </a:lnTo>
                      <a:lnTo>
                        <a:pt x="839" y="242"/>
                      </a:lnTo>
                      <a:lnTo>
                        <a:pt x="843" y="243"/>
                      </a:lnTo>
                      <a:lnTo>
                        <a:pt x="847" y="243"/>
                      </a:lnTo>
                      <a:lnTo>
                        <a:pt x="851" y="244"/>
                      </a:lnTo>
                      <a:lnTo>
                        <a:pt x="859" y="248"/>
                      </a:lnTo>
                      <a:lnTo>
                        <a:pt x="862" y="249"/>
                      </a:lnTo>
                      <a:lnTo>
                        <a:pt x="863" y="249"/>
                      </a:lnTo>
                      <a:lnTo>
                        <a:pt x="865" y="248"/>
                      </a:lnTo>
                      <a:lnTo>
                        <a:pt x="866" y="245"/>
                      </a:lnTo>
                      <a:lnTo>
                        <a:pt x="865" y="244"/>
                      </a:lnTo>
                      <a:lnTo>
                        <a:pt x="854" y="238"/>
                      </a:lnTo>
                      <a:lnTo>
                        <a:pt x="849" y="236"/>
                      </a:lnTo>
                      <a:lnTo>
                        <a:pt x="844" y="235"/>
                      </a:lnTo>
                      <a:lnTo>
                        <a:pt x="826" y="230"/>
                      </a:lnTo>
                      <a:lnTo>
                        <a:pt x="819" y="226"/>
                      </a:lnTo>
                      <a:lnTo>
                        <a:pt x="810" y="222"/>
                      </a:lnTo>
                      <a:lnTo>
                        <a:pt x="804" y="219"/>
                      </a:lnTo>
                      <a:lnTo>
                        <a:pt x="797" y="216"/>
                      </a:lnTo>
                      <a:lnTo>
                        <a:pt x="793" y="216"/>
                      </a:lnTo>
                      <a:lnTo>
                        <a:pt x="791" y="217"/>
                      </a:lnTo>
                      <a:lnTo>
                        <a:pt x="783" y="221"/>
                      </a:lnTo>
                      <a:lnTo>
                        <a:pt x="781" y="221"/>
                      </a:lnTo>
                      <a:lnTo>
                        <a:pt x="779" y="218"/>
                      </a:lnTo>
                      <a:lnTo>
                        <a:pt x="777" y="216"/>
                      </a:lnTo>
                      <a:lnTo>
                        <a:pt x="774" y="212"/>
                      </a:lnTo>
                      <a:lnTo>
                        <a:pt x="769" y="207"/>
                      </a:lnTo>
                      <a:lnTo>
                        <a:pt x="769" y="206"/>
                      </a:lnTo>
                      <a:lnTo>
                        <a:pt x="772" y="206"/>
                      </a:lnTo>
                      <a:lnTo>
                        <a:pt x="774" y="207"/>
                      </a:lnTo>
                      <a:lnTo>
                        <a:pt x="778" y="206"/>
                      </a:lnTo>
                      <a:lnTo>
                        <a:pt x="782" y="206"/>
                      </a:lnTo>
                      <a:lnTo>
                        <a:pt x="785" y="207"/>
                      </a:lnTo>
                      <a:lnTo>
                        <a:pt x="807" y="215"/>
                      </a:lnTo>
                      <a:lnTo>
                        <a:pt x="818" y="218"/>
                      </a:lnTo>
                      <a:lnTo>
                        <a:pt x="830" y="222"/>
                      </a:lnTo>
                      <a:lnTo>
                        <a:pt x="833" y="223"/>
                      </a:lnTo>
                      <a:lnTo>
                        <a:pt x="837" y="224"/>
                      </a:lnTo>
                      <a:lnTo>
                        <a:pt x="840" y="224"/>
                      </a:lnTo>
                      <a:lnTo>
                        <a:pt x="846" y="224"/>
                      </a:lnTo>
                      <a:lnTo>
                        <a:pt x="854" y="228"/>
                      </a:lnTo>
                      <a:lnTo>
                        <a:pt x="863" y="232"/>
                      </a:lnTo>
                      <a:lnTo>
                        <a:pt x="871" y="238"/>
                      </a:lnTo>
                      <a:lnTo>
                        <a:pt x="876" y="241"/>
                      </a:lnTo>
                      <a:lnTo>
                        <a:pt x="879" y="241"/>
                      </a:lnTo>
                      <a:lnTo>
                        <a:pt x="881" y="240"/>
                      </a:lnTo>
                      <a:lnTo>
                        <a:pt x="884" y="238"/>
                      </a:lnTo>
                      <a:lnTo>
                        <a:pt x="885" y="237"/>
                      </a:lnTo>
                      <a:lnTo>
                        <a:pt x="884" y="236"/>
                      </a:lnTo>
                      <a:lnTo>
                        <a:pt x="881" y="231"/>
                      </a:lnTo>
                      <a:lnTo>
                        <a:pt x="877" y="228"/>
                      </a:lnTo>
                      <a:lnTo>
                        <a:pt x="877" y="226"/>
                      </a:lnTo>
                      <a:lnTo>
                        <a:pt x="876" y="225"/>
                      </a:lnTo>
                      <a:lnTo>
                        <a:pt x="879" y="224"/>
                      </a:lnTo>
                      <a:lnTo>
                        <a:pt x="881" y="222"/>
                      </a:lnTo>
                      <a:lnTo>
                        <a:pt x="884" y="222"/>
                      </a:lnTo>
                      <a:lnTo>
                        <a:pt x="890" y="221"/>
                      </a:lnTo>
                      <a:lnTo>
                        <a:pt x="895" y="219"/>
                      </a:lnTo>
                      <a:lnTo>
                        <a:pt x="901" y="218"/>
                      </a:lnTo>
                      <a:lnTo>
                        <a:pt x="906" y="217"/>
                      </a:lnTo>
                      <a:lnTo>
                        <a:pt x="910" y="213"/>
                      </a:lnTo>
                      <a:lnTo>
                        <a:pt x="915" y="211"/>
                      </a:lnTo>
                      <a:lnTo>
                        <a:pt x="922" y="203"/>
                      </a:lnTo>
                      <a:lnTo>
                        <a:pt x="927" y="193"/>
                      </a:lnTo>
                      <a:lnTo>
                        <a:pt x="927" y="192"/>
                      </a:lnTo>
                      <a:lnTo>
                        <a:pt x="924" y="191"/>
                      </a:lnTo>
                      <a:lnTo>
                        <a:pt x="919" y="190"/>
                      </a:lnTo>
                      <a:lnTo>
                        <a:pt x="918" y="190"/>
                      </a:lnTo>
                      <a:lnTo>
                        <a:pt x="915" y="190"/>
                      </a:lnTo>
                      <a:lnTo>
                        <a:pt x="912" y="187"/>
                      </a:lnTo>
                      <a:lnTo>
                        <a:pt x="906" y="186"/>
                      </a:lnTo>
                      <a:lnTo>
                        <a:pt x="898" y="186"/>
                      </a:lnTo>
                      <a:lnTo>
                        <a:pt x="896" y="186"/>
                      </a:lnTo>
                      <a:lnTo>
                        <a:pt x="894" y="184"/>
                      </a:lnTo>
                      <a:lnTo>
                        <a:pt x="894" y="181"/>
                      </a:lnTo>
                      <a:lnTo>
                        <a:pt x="892" y="179"/>
                      </a:lnTo>
                      <a:lnTo>
                        <a:pt x="886" y="174"/>
                      </a:lnTo>
                      <a:lnTo>
                        <a:pt x="885" y="173"/>
                      </a:lnTo>
                      <a:lnTo>
                        <a:pt x="884" y="172"/>
                      </a:lnTo>
                      <a:lnTo>
                        <a:pt x="885" y="171"/>
                      </a:lnTo>
                      <a:lnTo>
                        <a:pt x="886" y="170"/>
                      </a:lnTo>
                      <a:lnTo>
                        <a:pt x="887" y="168"/>
                      </a:lnTo>
                      <a:lnTo>
                        <a:pt x="892" y="170"/>
                      </a:lnTo>
                      <a:lnTo>
                        <a:pt x="896" y="173"/>
                      </a:lnTo>
                      <a:lnTo>
                        <a:pt x="901" y="174"/>
                      </a:lnTo>
                      <a:lnTo>
                        <a:pt x="915" y="177"/>
                      </a:lnTo>
                      <a:lnTo>
                        <a:pt x="929" y="180"/>
                      </a:lnTo>
                      <a:lnTo>
                        <a:pt x="931" y="178"/>
                      </a:lnTo>
                      <a:lnTo>
                        <a:pt x="932" y="177"/>
                      </a:lnTo>
                      <a:lnTo>
                        <a:pt x="933" y="174"/>
                      </a:lnTo>
                      <a:lnTo>
                        <a:pt x="938" y="173"/>
                      </a:lnTo>
                      <a:lnTo>
                        <a:pt x="941" y="173"/>
                      </a:lnTo>
                      <a:lnTo>
                        <a:pt x="942" y="171"/>
                      </a:lnTo>
                      <a:lnTo>
                        <a:pt x="943" y="167"/>
                      </a:lnTo>
                      <a:lnTo>
                        <a:pt x="943" y="165"/>
                      </a:lnTo>
                      <a:lnTo>
                        <a:pt x="943" y="158"/>
                      </a:lnTo>
                      <a:lnTo>
                        <a:pt x="942" y="151"/>
                      </a:lnTo>
                      <a:lnTo>
                        <a:pt x="943" y="147"/>
                      </a:lnTo>
                      <a:lnTo>
                        <a:pt x="946" y="146"/>
                      </a:lnTo>
                      <a:lnTo>
                        <a:pt x="952" y="145"/>
                      </a:lnTo>
                      <a:lnTo>
                        <a:pt x="955" y="145"/>
                      </a:lnTo>
                      <a:lnTo>
                        <a:pt x="957" y="142"/>
                      </a:lnTo>
                      <a:lnTo>
                        <a:pt x="959" y="142"/>
                      </a:lnTo>
                      <a:lnTo>
                        <a:pt x="960" y="143"/>
                      </a:lnTo>
                      <a:lnTo>
                        <a:pt x="960" y="151"/>
                      </a:lnTo>
                      <a:lnTo>
                        <a:pt x="961" y="153"/>
                      </a:lnTo>
                      <a:lnTo>
                        <a:pt x="962" y="154"/>
                      </a:lnTo>
                      <a:lnTo>
                        <a:pt x="965" y="154"/>
                      </a:lnTo>
                      <a:lnTo>
                        <a:pt x="976" y="153"/>
                      </a:lnTo>
                      <a:lnTo>
                        <a:pt x="981" y="154"/>
                      </a:lnTo>
                      <a:lnTo>
                        <a:pt x="986" y="155"/>
                      </a:lnTo>
                      <a:lnTo>
                        <a:pt x="986" y="152"/>
                      </a:lnTo>
                      <a:lnTo>
                        <a:pt x="984" y="148"/>
                      </a:lnTo>
                      <a:lnTo>
                        <a:pt x="979" y="145"/>
                      </a:lnTo>
                      <a:lnTo>
                        <a:pt x="975" y="141"/>
                      </a:lnTo>
                      <a:lnTo>
                        <a:pt x="972" y="136"/>
                      </a:lnTo>
                      <a:lnTo>
                        <a:pt x="972" y="135"/>
                      </a:lnTo>
                      <a:lnTo>
                        <a:pt x="972" y="133"/>
                      </a:lnTo>
                      <a:lnTo>
                        <a:pt x="975" y="132"/>
                      </a:lnTo>
                      <a:lnTo>
                        <a:pt x="978" y="133"/>
                      </a:lnTo>
                      <a:lnTo>
                        <a:pt x="983" y="136"/>
                      </a:lnTo>
                      <a:lnTo>
                        <a:pt x="986" y="138"/>
                      </a:lnTo>
                      <a:lnTo>
                        <a:pt x="988" y="140"/>
                      </a:lnTo>
                      <a:lnTo>
                        <a:pt x="993" y="147"/>
                      </a:lnTo>
                      <a:lnTo>
                        <a:pt x="997" y="149"/>
                      </a:lnTo>
                      <a:lnTo>
                        <a:pt x="1000" y="152"/>
                      </a:lnTo>
                      <a:lnTo>
                        <a:pt x="1003" y="153"/>
                      </a:lnTo>
                      <a:lnTo>
                        <a:pt x="1006" y="155"/>
                      </a:lnTo>
                      <a:lnTo>
                        <a:pt x="1008" y="158"/>
                      </a:lnTo>
                      <a:lnTo>
                        <a:pt x="1011" y="158"/>
                      </a:lnTo>
                      <a:lnTo>
                        <a:pt x="1012" y="157"/>
                      </a:lnTo>
                      <a:lnTo>
                        <a:pt x="1013" y="154"/>
                      </a:lnTo>
                      <a:lnTo>
                        <a:pt x="1012" y="152"/>
                      </a:lnTo>
                      <a:lnTo>
                        <a:pt x="1011" y="149"/>
                      </a:lnTo>
                      <a:lnTo>
                        <a:pt x="1009" y="147"/>
                      </a:lnTo>
                      <a:lnTo>
                        <a:pt x="1009" y="145"/>
                      </a:lnTo>
                      <a:lnTo>
                        <a:pt x="1011" y="142"/>
                      </a:lnTo>
                      <a:lnTo>
                        <a:pt x="1013" y="140"/>
                      </a:lnTo>
                      <a:lnTo>
                        <a:pt x="1019" y="138"/>
                      </a:lnTo>
                      <a:lnTo>
                        <a:pt x="1022" y="135"/>
                      </a:lnTo>
                      <a:lnTo>
                        <a:pt x="1023" y="133"/>
                      </a:lnTo>
                      <a:lnTo>
                        <a:pt x="1026" y="132"/>
                      </a:lnTo>
                      <a:lnTo>
                        <a:pt x="1028" y="130"/>
                      </a:lnTo>
                      <a:lnTo>
                        <a:pt x="1031" y="130"/>
                      </a:lnTo>
                      <a:lnTo>
                        <a:pt x="1033" y="129"/>
                      </a:lnTo>
                      <a:lnTo>
                        <a:pt x="1036" y="127"/>
                      </a:lnTo>
                      <a:lnTo>
                        <a:pt x="1037" y="126"/>
                      </a:lnTo>
                      <a:lnTo>
                        <a:pt x="1037" y="125"/>
                      </a:lnTo>
                      <a:lnTo>
                        <a:pt x="1036" y="123"/>
                      </a:lnTo>
                      <a:lnTo>
                        <a:pt x="1035" y="125"/>
                      </a:lnTo>
                      <a:lnTo>
                        <a:pt x="1031" y="126"/>
                      </a:lnTo>
                      <a:lnTo>
                        <a:pt x="1030" y="126"/>
                      </a:lnTo>
                      <a:lnTo>
                        <a:pt x="1028" y="126"/>
                      </a:lnTo>
                      <a:lnTo>
                        <a:pt x="1026" y="123"/>
                      </a:lnTo>
                      <a:lnTo>
                        <a:pt x="1023" y="117"/>
                      </a:lnTo>
                      <a:lnTo>
                        <a:pt x="1021" y="110"/>
                      </a:lnTo>
                      <a:lnTo>
                        <a:pt x="1018" y="104"/>
                      </a:lnTo>
                      <a:lnTo>
                        <a:pt x="1016" y="101"/>
                      </a:lnTo>
                      <a:lnTo>
                        <a:pt x="1013" y="98"/>
                      </a:lnTo>
                      <a:lnTo>
                        <a:pt x="1012" y="97"/>
                      </a:lnTo>
                      <a:lnTo>
                        <a:pt x="1012" y="95"/>
                      </a:lnTo>
                      <a:lnTo>
                        <a:pt x="1013" y="94"/>
                      </a:lnTo>
                      <a:lnTo>
                        <a:pt x="1016" y="94"/>
                      </a:lnTo>
                      <a:lnTo>
                        <a:pt x="1021" y="94"/>
                      </a:lnTo>
                      <a:lnTo>
                        <a:pt x="1025" y="95"/>
                      </a:lnTo>
                      <a:lnTo>
                        <a:pt x="1030" y="96"/>
                      </a:lnTo>
                      <a:lnTo>
                        <a:pt x="1031" y="95"/>
                      </a:lnTo>
                      <a:lnTo>
                        <a:pt x="1033" y="92"/>
                      </a:lnTo>
                      <a:lnTo>
                        <a:pt x="1033" y="90"/>
                      </a:lnTo>
                      <a:lnTo>
                        <a:pt x="1033" y="88"/>
                      </a:lnTo>
                      <a:lnTo>
                        <a:pt x="1033" y="82"/>
                      </a:lnTo>
                      <a:lnTo>
                        <a:pt x="1036" y="77"/>
                      </a:lnTo>
                      <a:lnTo>
                        <a:pt x="1036" y="76"/>
                      </a:lnTo>
                      <a:lnTo>
                        <a:pt x="1036" y="75"/>
                      </a:lnTo>
                      <a:lnTo>
                        <a:pt x="1030" y="75"/>
                      </a:lnTo>
                      <a:lnTo>
                        <a:pt x="1023" y="74"/>
                      </a:lnTo>
                      <a:lnTo>
                        <a:pt x="1018" y="71"/>
                      </a:lnTo>
                      <a:lnTo>
                        <a:pt x="1016" y="70"/>
                      </a:lnTo>
                      <a:lnTo>
                        <a:pt x="1014" y="68"/>
                      </a:lnTo>
                      <a:lnTo>
                        <a:pt x="1016" y="65"/>
                      </a:lnTo>
                      <a:lnTo>
                        <a:pt x="1016" y="63"/>
                      </a:lnTo>
                      <a:lnTo>
                        <a:pt x="1003" y="63"/>
                      </a:lnTo>
                      <a:lnTo>
                        <a:pt x="992" y="63"/>
                      </a:lnTo>
                      <a:lnTo>
                        <a:pt x="985" y="63"/>
                      </a:lnTo>
                      <a:lnTo>
                        <a:pt x="980" y="62"/>
                      </a:lnTo>
                      <a:lnTo>
                        <a:pt x="975" y="59"/>
                      </a:lnTo>
                      <a:lnTo>
                        <a:pt x="970" y="56"/>
                      </a:lnTo>
                      <a:lnTo>
                        <a:pt x="967" y="55"/>
                      </a:lnTo>
                      <a:lnTo>
                        <a:pt x="966" y="55"/>
                      </a:lnTo>
                      <a:lnTo>
                        <a:pt x="964" y="56"/>
                      </a:lnTo>
                      <a:lnTo>
                        <a:pt x="964" y="58"/>
                      </a:lnTo>
                      <a:lnTo>
                        <a:pt x="962" y="62"/>
                      </a:lnTo>
                      <a:lnTo>
                        <a:pt x="964" y="65"/>
                      </a:lnTo>
                      <a:lnTo>
                        <a:pt x="966" y="71"/>
                      </a:lnTo>
                      <a:lnTo>
                        <a:pt x="970" y="76"/>
                      </a:lnTo>
                      <a:lnTo>
                        <a:pt x="975" y="81"/>
                      </a:lnTo>
                      <a:lnTo>
                        <a:pt x="975" y="82"/>
                      </a:lnTo>
                      <a:lnTo>
                        <a:pt x="975" y="83"/>
                      </a:lnTo>
                      <a:lnTo>
                        <a:pt x="967" y="87"/>
                      </a:lnTo>
                      <a:lnTo>
                        <a:pt x="961" y="91"/>
                      </a:lnTo>
                      <a:lnTo>
                        <a:pt x="956" y="97"/>
                      </a:lnTo>
                      <a:lnTo>
                        <a:pt x="952" y="104"/>
                      </a:lnTo>
                      <a:lnTo>
                        <a:pt x="952" y="109"/>
                      </a:lnTo>
                      <a:lnTo>
                        <a:pt x="951" y="114"/>
                      </a:lnTo>
                      <a:lnTo>
                        <a:pt x="951" y="119"/>
                      </a:lnTo>
                      <a:lnTo>
                        <a:pt x="948" y="122"/>
                      </a:lnTo>
                      <a:lnTo>
                        <a:pt x="942" y="126"/>
                      </a:lnTo>
                      <a:lnTo>
                        <a:pt x="937" y="132"/>
                      </a:lnTo>
                      <a:lnTo>
                        <a:pt x="936" y="133"/>
                      </a:lnTo>
                      <a:lnTo>
                        <a:pt x="934" y="133"/>
                      </a:lnTo>
                      <a:lnTo>
                        <a:pt x="932" y="132"/>
                      </a:lnTo>
                      <a:lnTo>
                        <a:pt x="929" y="128"/>
                      </a:lnTo>
                      <a:lnTo>
                        <a:pt x="927" y="126"/>
                      </a:lnTo>
                      <a:lnTo>
                        <a:pt x="923" y="125"/>
                      </a:lnTo>
                      <a:lnTo>
                        <a:pt x="919" y="121"/>
                      </a:lnTo>
                      <a:lnTo>
                        <a:pt x="915" y="113"/>
                      </a:lnTo>
                      <a:lnTo>
                        <a:pt x="914" y="103"/>
                      </a:lnTo>
                      <a:lnTo>
                        <a:pt x="914" y="95"/>
                      </a:lnTo>
                      <a:lnTo>
                        <a:pt x="915" y="85"/>
                      </a:lnTo>
                      <a:lnTo>
                        <a:pt x="917" y="82"/>
                      </a:lnTo>
                      <a:lnTo>
                        <a:pt x="917" y="79"/>
                      </a:lnTo>
                      <a:lnTo>
                        <a:pt x="915" y="77"/>
                      </a:lnTo>
                      <a:lnTo>
                        <a:pt x="908" y="70"/>
                      </a:lnTo>
                      <a:lnTo>
                        <a:pt x="905" y="66"/>
                      </a:lnTo>
                      <a:lnTo>
                        <a:pt x="903" y="63"/>
                      </a:lnTo>
                      <a:lnTo>
                        <a:pt x="901" y="63"/>
                      </a:lnTo>
                      <a:lnTo>
                        <a:pt x="899" y="65"/>
                      </a:lnTo>
                      <a:lnTo>
                        <a:pt x="896" y="68"/>
                      </a:lnTo>
                      <a:lnTo>
                        <a:pt x="892" y="69"/>
                      </a:lnTo>
                      <a:lnTo>
                        <a:pt x="891" y="72"/>
                      </a:lnTo>
                      <a:lnTo>
                        <a:pt x="891" y="75"/>
                      </a:lnTo>
                      <a:lnTo>
                        <a:pt x="892" y="77"/>
                      </a:lnTo>
                      <a:lnTo>
                        <a:pt x="894" y="79"/>
                      </a:lnTo>
                      <a:lnTo>
                        <a:pt x="894" y="82"/>
                      </a:lnTo>
                      <a:lnTo>
                        <a:pt x="889" y="88"/>
                      </a:lnTo>
                      <a:lnTo>
                        <a:pt x="882" y="95"/>
                      </a:lnTo>
                      <a:lnTo>
                        <a:pt x="880" y="96"/>
                      </a:lnTo>
                      <a:lnTo>
                        <a:pt x="876" y="97"/>
                      </a:lnTo>
                      <a:lnTo>
                        <a:pt x="873" y="96"/>
                      </a:lnTo>
                      <a:lnTo>
                        <a:pt x="871" y="95"/>
                      </a:lnTo>
                      <a:lnTo>
                        <a:pt x="868" y="92"/>
                      </a:lnTo>
                      <a:lnTo>
                        <a:pt x="868" y="89"/>
                      </a:lnTo>
                      <a:lnTo>
                        <a:pt x="868" y="85"/>
                      </a:lnTo>
                      <a:lnTo>
                        <a:pt x="870" y="82"/>
                      </a:lnTo>
                      <a:lnTo>
                        <a:pt x="870" y="81"/>
                      </a:lnTo>
                      <a:lnTo>
                        <a:pt x="868" y="78"/>
                      </a:lnTo>
                      <a:lnTo>
                        <a:pt x="865" y="76"/>
                      </a:lnTo>
                      <a:lnTo>
                        <a:pt x="862" y="75"/>
                      </a:lnTo>
                      <a:lnTo>
                        <a:pt x="861" y="74"/>
                      </a:lnTo>
                      <a:lnTo>
                        <a:pt x="861" y="71"/>
                      </a:lnTo>
                      <a:lnTo>
                        <a:pt x="862" y="69"/>
                      </a:lnTo>
                      <a:lnTo>
                        <a:pt x="863" y="68"/>
                      </a:lnTo>
                      <a:lnTo>
                        <a:pt x="862" y="65"/>
                      </a:lnTo>
                      <a:lnTo>
                        <a:pt x="859" y="63"/>
                      </a:lnTo>
                      <a:lnTo>
                        <a:pt x="858" y="62"/>
                      </a:lnTo>
                      <a:lnTo>
                        <a:pt x="857" y="62"/>
                      </a:lnTo>
                      <a:lnTo>
                        <a:pt x="854" y="65"/>
                      </a:lnTo>
                      <a:lnTo>
                        <a:pt x="853" y="68"/>
                      </a:lnTo>
                      <a:lnTo>
                        <a:pt x="853" y="75"/>
                      </a:lnTo>
                      <a:lnTo>
                        <a:pt x="848" y="74"/>
                      </a:lnTo>
                      <a:lnTo>
                        <a:pt x="846" y="70"/>
                      </a:lnTo>
                      <a:lnTo>
                        <a:pt x="844" y="68"/>
                      </a:lnTo>
                      <a:lnTo>
                        <a:pt x="842" y="65"/>
                      </a:lnTo>
                      <a:lnTo>
                        <a:pt x="838" y="62"/>
                      </a:lnTo>
                      <a:lnTo>
                        <a:pt x="838" y="59"/>
                      </a:lnTo>
                      <a:lnTo>
                        <a:pt x="838" y="58"/>
                      </a:lnTo>
                      <a:lnTo>
                        <a:pt x="842" y="55"/>
                      </a:lnTo>
                      <a:lnTo>
                        <a:pt x="852" y="50"/>
                      </a:lnTo>
                      <a:lnTo>
                        <a:pt x="858" y="45"/>
                      </a:lnTo>
                      <a:lnTo>
                        <a:pt x="861" y="42"/>
                      </a:lnTo>
                      <a:lnTo>
                        <a:pt x="861" y="40"/>
                      </a:lnTo>
                      <a:lnTo>
                        <a:pt x="861" y="39"/>
                      </a:lnTo>
                      <a:lnTo>
                        <a:pt x="856" y="34"/>
                      </a:lnTo>
                      <a:lnTo>
                        <a:pt x="849" y="31"/>
                      </a:lnTo>
                      <a:lnTo>
                        <a:pt x="843" y="26"/>
                      </a:lnTo>
                      <a:lnTo>
                        <a:pt x="838" y="21"/>
                      </a:lnTo>
                      <a:lnTo>
                        <a:pt x="832" y="18"/>
                      </a:lnTo>
                      <a:lnTo>
                        <a:pt x="825" y="15"/>
                      </a:lnTo>
                      <a:lnTo>
                        <a:pt x="823" y="14"/>
                      </a:lnTo>
                      <a:lnTo>
                        <a:pt x="823" y="12"/>
                      </a:lnTo>
                      <a:lnTo>
                        <a:pt x="820" y="6"/>
                      </a:lnTo>
                      <a:lnTo>
                        <a:pt x="818" y="2"/>
                      </a:lnTo>
                      <a:lnTo>
                        <a:pt x="814" y="0"/>
                      </a:lnTo>
                      <a:lnTo>
                        <a:pt x="810" y="0"/>
                      </a:lnTo>
                      <a:lnTo>
                        <a:pt x="806" y="0"/>
                      </a:lnTo>
                      <a:lnTo>
                        <a:pt x="797" y="0"/>
                      </a:lnTo>
                      <a:lnTo>
                        <a:pt x="788" y="0"/>
                      </a:lnTo>
                      <a:lnTo>
                        <a:pt x="788" y="4"/>
                      </a:lnTo>
                      <a:lnTo>
                        <a:pt x="790" y="6"/>
                      </a:lnTo>
                      <a:lnTo>
                        <a:pt x="791" y="10"/>
                      </a:lnTo>
                      <a:lnTo>
                        <a:pt x="790" y="12"/>
                      </a:lnTo>
                      <a:lnTo>
                        <a:pt x="787" y="17"/>
                      </a:lnTo>
                      <a:lnTo>
                        <a:pt x="787" y="21"/>
                      </a:lnTo>
                      <a:lnTo>
                        <a:pt x="785" y="19"/>
                      </a:lnTo>
                      <a:lnTo>
                        <a:pt x="785" y="18"/>
                      </a:lnTo>
                      <a:lnTo>
                        <a:pt x="783" y="15"/>
                      </a:lnTo>
                      <a:lnTo>
                        <a:pt x="782" y="14"/>
                      </a:lnTo>
                      <a:lnTo>
                        <a:pt x="779" y="14"/>
                      </a:lnTo>
                      <a:lnTo>
                        <a:pt x="777" y="14"/>
                      </a:lnTo>
                      <a:lnTo>
                        <a:pt x="776" y="17"/>
                      </a:lnTo>
                      <a:lnTo>
                        <a:pt x="774" y="19"/>
                      </a:lnTo>
                      <a:lnTo>
                        <a:pt x="773" y="30"/>
                      </a:lnTo>
                      <a:lnTo>
                        <a:pt x="769" y="37"/>
                      </a:lnTo>
                      <a:lnTo>
                        <a:pt x="768" y="40"/>
                      </a:lnTo>
                      <a:lnTo>
                        <a:pt x="769" y="44"/>
                      </a:lnTo>
                      <a:lnTo>
                        <a:pt x="773" y="46"/>
                      </a:lnTo>
                      <a:lnTo>
                        <a:pt x="779" y="49"/>
                      </a:lnTo>
                      <a:lnTo>
                        <a:pt x="785" y="51"/>
                      </a:lnTo>
                      <a:lnTo>
                        <a:pt x="787" y="52"/>
                      </a:lnTo>
                      <a:lnTo>
                        <a:pt x="790" y="55"/>
                      </a:lnTo>
                      <a:lnTo>
                        <a:pt x="792" y="57"/>
                      </a:lnTo>
                      <a:lnTo>
                        <a:pt x="795" y="57"/>
                      </a:lnTo>
                      <a:lnTo>
                        <a:pt x="799" y="57"/>
                      </a:lnTo>
                      <a:lnTo>
                        <a:pt x="801" y="58"/>
                      </a:lnTo>
                      <a:lnTo>
                        <a:pt x="807" y="63"/>
                      </a:lnTo>
                      <a:lnTo>
                        <a:pt x="814" y="69"/>
                      </a:lnTo>
                      <a:lnTo>
                        <a:pt x="820" y="75"/>
                      </a:lnTo>
                      <a:lnTo>
                        <a:pt x="821" y="78"/>
                      </a:lnTo>
                      <a:lnTo>
                        <a:pt x="823" y="82"/>
                      </a:lnTo>
                      <a:lnTo>
                        <a:pt x="823" y="85"/>
                      </a:lnTo>
                      <a:lnTo>
                        <a:pt x="821" y="89"/>
                      </a:lnTo>
                      <a:lnTo>
                        <a:pt x="816" y="95"/>
                      </a:lnTo>
                      <a:lnTo>
                        <a:pt x="810" y="101"/>
                      </a:lnTo>
                      <a:lnTo>
                        <a:pt x="804" y="104"/>
                      </a:lnTo>
                      <a:lnTo>
                        <a:pt x="796" y="108"/>
                      </a:lnTo>
                      <a:lnTo>
                        <a:pt x="792" y="110"/>
                      </a:lnTo>
                      <a:lnTo>
                        <a:pt x="787" y="115"/>
                      </a:lnTo>
                      <a:lnTo>
                        <a:pt x="787" y="116"/>
                      </a:lnTo>
                      <a:lnTo>
                        <a:pt x="787" y="119"/>
                      </a:lnTo>
                      <a:lnTo>
                        <a:pt x="790" y="121"/>
                      </a:lnTo>
                      <a:lnTo>
                        <a:pt x="792" y="123"/>
                      </a:lnTo>
                      <a:lnTo>
                        <a:pt x="793" y="127"/>
                      </a:lnTo>
                      <a:lnTo>
                        <a:pt x="793" y="129"/>
                      </a:lnTo>
                      <a:lnTo>
                        <a:pt x="792" y="133"/>
                      </a:lnTo>
                      <a:lnTo>
                        <a:pt x="791" y="135"/>
                      </a:lnTo>
                      <a:lnTo>
                        <a:pt x="787" y="136"/>
                      </a:lnTo>
                      <a:lnTo>
                        <a:pt x="786" y="136"/>
                      </a:lnTo>
                      <a:lnTo>
                        <a:pt x="785" y="136"/>
                      </a:lnTo>
                      <a:lnTo>
                        <a:pt x="783" y="134"/>
                      </a:lnTo>
                      <a:lnTo>
                        <a:pt x="783" y="132"/>
                      </a:lnTo>
                      <a:lnTo>
                        <a:pt x="782" y="130"/>
                      </a:lnTo>
                      <a:lnTo>
                        <a:pt x="781" y="129"/>
                      </a:lnTo>
                      <a:lnTo>
                        <a:pt x="776" y="129"/>
                      </a:lnTo>
                      <a:lnTo>
                        <a:pt x="772" y="127"/>
                      </a:lnTo>
                      <a:lnTo>
                        <a:pt x="768" y="123"/>
                      </a:lnTo>
                      <a:lnTo>
                        <a:pt x="767" y="120"/>
                      </a:lnTo>
                      <a:lnTo>
                        <a:pt x="769" y="116"/>
                      </a:lnTo>
                      <a:lnTo>
                        <a:pt x="772" y="113"/>
                      </a:lnTo>
                      <a:lnTo>
                        <a:pt x="773" y="110"/>
                      </a:lnTo>
                      <a:lnTo>
                        <a:pt x="773" y="109"/>
                      </a:lnTo>
                      <a:lnTo>
                        <a:pt x="772" y="108"/>
                      </a:lnTo>
                      <a:lnTo>
                        <a:pt x="760" y="106"/>
                      </a:lnTo>
                      <a:lnTo>
                        <a:pt x="748" y="102"/>
                      </a:lnTo>
                      <a:lnTo>
                        <a:pt x="744" y="102"/>
                      </a:lnTo>
                      <a:lnTo>
                        <a:pt x="740" y="103"/>
                      </a:lnTo>
                      <a:lnTo>
                        <a:pt x="739" y="104"/>
                      </a:lnTo>
                      <a:lnTo>
                        <a:pt x="738" y="107"/>
                      </a:lnTo>
                      <a:lnTo>
                        <a:pt x="739" y="108"/>
                      </a:lnTo>
                      <a:lnTo>
                        <a:pt x="741" y="115"/>
                      </a:lnTo>
                      <a:lnTo>
                        <a:pt x="744" y="119"/>
                      </a:lnTo>
                      <a:lnTo>
                        <a:pt x="744" y="122"/>
                      </a:lnTo>
                      <a:lnTo>
                        <a:pt x="736" y="121"/>
                      </a:lnTo>
                      <a:lnTo>
                        <a:pt x="734" y="120"/>
                      </a:lnTo>
                      <a:lnTo>
                        <a:pt x="730" y="121"/>
                      </a:lnTo>
                      <a:lnTo>
                        <a:pt x="729" y="121"/>
                      </a:lnTo>
                      <a:lnTo>
                        <a:pt x="727" y="120"/>
                      </a:lnTo>
                      <a:lnTo>
                        <a:pt x="725" y="119"/>
                      </a:lnTo>
                      <a:lnTo>
                        <a:pt x="722" y="119"/>
                      </a:lnTo>
                      <a:lnTo>
                        <a:pt x="720" y="120"/>
                      </a:lnTo>
                      <a:lnTo>
                        <a:pt x="719" y="120"/>
                      </a:lnTo>
                      <a:lnTo>
                        <a:pt x="716" y="120"/>
                      </a:lnTo>
                      <a:lnTo>
                        <a:pt x="711" y="119"/>
                      </a:lnTo>
                      <a:lnTo>
                        <a:pt x="708" y="119"/>
                      </a:lnTo>
                      <a:lnTo>
                        <a:pt x="706" y="120"/>
                      </a:lnTo>
                      <a:lnTo>
                        <a:pt x="699" y="119"/>
                      </a:lnTo>
                      <a:lnTo>
                        <a:pt x="693" y="119"/>
                      </a:lnTo>
                      <a:lnTo>
                        <a:pt x="682" y="120"/>
                      </a:lnTo>
                      <a:lnTo>
                        <a:pt x="678" y="120"/>
                      </a:lnTo>
                      <a:lnTo>
                        <a:pt x="675" y="119"/>
                      </a:lnTo>
                      <a:lnTo>
                        <a:pt x="668" y="114"/>
                      </a:lnTo>
                      <a:lnTo>
                        <a:pt x="663" y="113"/>
                      </a:lnTo>
                      <a:lnTo>
                        <a:pt x="659" y="113"/>
                      </a:lnTo>
                      <a:lnTo>
                        <a:pt x="656" y="111"/>
                      </a:lnTo>
                      <a:lnTo>
                        <a:pt x="654" y="110"/>
                      </a:lnTo>
                      <a:lnTo>
                        <a:pt x="652" y="108"/>
                      </a:lnTo>
                      <a:lnTo>
                        <a:pt x="650" y="106"/>
                      </a:lnTo>
                      <a:lnTo>
                        <a:pt x="645" y="104"/>
                      </a:lnTo>
                      <a:lnTo>
                        <a:pt x="640" y="103"/>
                      </a:lnTo>
                      <a:lnTo>
                        <a:pt x="628" y="102"/>
                      </a:lnTo>
                      <a:lnTo>
                        <a:pt x="617" y="102"/>
                      </a:lnTo>
                      <a:lnTo>
                        <a:pt x="612" y="101"/>
                      </a:lnTo>
                      <a:lnTo>
                        <a:pt x="607" y="98"/>
                      </a:lnTo>
                      <a:lnTo>
                        <a:pt x="604" y="97"/>
                      </a:lnTo>
                      <a:lnTo>
                        <a:pt x="603" y="94"/>
                      </a:lnTo>
                      <a:lnTo>
                        <a:pt x="600" y="88"/>
                      </a:lnTo>
                      <a:lnTo>
                        <a:pt x="598" y="83"/>
                      </a:lnTo>
                      <a:lnTo>
                        <a:pt x="595" y="82"/>
                      </a:lnTo>
                      <a:lnTo>
                        <a:pt x="593" y="82"/>
                      </a:lnTo>
                      <a:lnTo>
                        <a:pt x="586" y="83"/>
                      </a:lnTo>
                      <a:lnTo>
                        <a:pt x="581" y="83"/>
                      </a:lnTo>
                      <a:lnTo>
                        <a:pt x="575" y="84"/>
                      </a:lnTo>
                      <a:lnTo>
                        <a:pt x="570" y="85"/>
                      </a:lnTo>
                      <a:lnTo>
                        <a:pt x="565" y="88"/>
                      </a:lnTo>
                      <a:lnTo>
                        <a:pt x="562" y="91"/>
                      </a:lnTo>
                      <a:lnTo>
                        <a:pt x="560" y="95"/>
                      </a:lnTo>
                      <a:lnTo>
                        <a:pt x="560" y="100"/>
                      </a:lnTo>
                      <a:lnTo>
                        <a:pt x="562" y="102"/>
                      </a:lnTo>
                      <a:lnTo>
                        <a:pt x="564" y="103"/>
                      </a:lnTo>
                      <a:lnTo>
                        <a:pt x="565" y="102"/>
                      </a:lnTo>
                      <a:lnTo>
                        <a:pt x="567" y="100"/>
                      </a:lnTo>
                      <a:lnTo>
                        <a:pt x="570" y="98"/>
                      </a:lnTo>
                      <a:lnTo>
                        <a:pt x="576" y="97"/>
                      </a:lnTo>
                      <a:lnTo>
                        <a:pt x="583" y="97"/>
                      </a:lnTo>
                      <a:lnTo>
                        <a:pt x="589" y="97"/>
                      </a:lnTo>
                      <a:lnTo>
                        <a:pt x="589" y="100"/>
                      </a:lnTo>
                      <a:lnTo>
                        <a:pt x="585" y="102"/>
                      </a:lnTo>
                      <a:lnTo>
                        <a:pt x="584" y="104"/>
                      </a:lnTo>
                      <a:lnTo>
                        <a:pt x="583" y="107"/>
                      </a:lnTo>
                      <a:lnTo>
                        <a:pt x="581" y="109"/>
                      </a:lnTo>
                      <a:lnTo>
                        <a:pt x="579" y="110"/>
                      </a:lnTo>
                      <a:lnTo>
                        <a:pt x="572" y="113"/>
                      </a:lnTo>
                      <a:lnTo>
                        <a:pt x="570" y="113"/>
                      </a:lnTo>
                      <a:lnTo>
                        <a:pt x="569" y="115"/>
                      </a:lnTo>
                      <a:lnTo>
                        <a:pt x="567" y="117"/>
                      </a:lnTo>
                      <a:lnTo>
                        <a:pt x="567" y="121"/>
                      </a:lnTo>
                      <a:lnTo>
                        <a:pt x="570" y="127"/>
                      </a:lnTo>
                      <a:lnTo>
                        <a:pt x="574" y="132"/>
                      </a:lnTo>
                      <a:lnTo>
                        <a:pt x="576" y="138"/>
                      </a:lnTo>
                      <a:lnTo>
                        <a:pt x="576" y="139"/>
                      </a:lnTo>
                      <a:lnTo>
                        <a:pt x="575" y="139"/>
                      </a:lnTo>
                      <a:lnTo>
                        <a:pt x="572" y="138"/>
                      </a:lnTo>
                      <a:lnTo>
                        <a:pt x="570" y="138"/>
                      </a:lnTo>
                      <a:lnTo>
                        <a:pt x="567" y="138"/>
                      </a:lnTo>
                      <a:lnTo>
                        <a:pt x="565" y="140"/>
                      </a:lnTo>
                      <a:lnTo>
                        <a:pt x="565" y="142"/>
                      </a:lnTo>
                      <a:lnTo>
                        <a:pt x="566" y="143"/>
                      </a:lnTo>
                      <a:lnTo>
                        <a:pt x="569" y="145"/>
                      </a:lnTo>
                      <a:lnTo>
                        <a:pt x="571" y="147"/>
                      </a:lnTo>
                      <a:lnTo>
                        <a:pt x="571" y="149"/>
                      </a:lnTo>
                      <a:lnTo>
                        <a:pt x="566" y="149"/>
                      </a:lnTo>
                      <a:lnTo>
                        <a:pt x="562" y="148"/>
                      </a:lnTo>
                      <a:lnTo>
                        <a:pt x="560" y="146"/>
                      </a:lnTo>
                      <a:lnTo>
                        <a:pt x="556" y="143"/>
                      </a:lnTo>
                      <a:lnTo>
                        <a:pt x="545" y="129"/>
                      </a:lnTo>
                      <a:lnTo>
                        <a:pt x="543" y="128"/>
                      </a:lnTo>
                      <a:lnTo>
                        <a:pt x="541" y="128"/>
                      </a:lnTo>
                      <a:lnTo>
                        <a:pt x="539" y="128"/>
                      </a:lnTo>
                      <a:lnTo>
                        <a:pt x="537" y="127"/>
                      </a:lnTo>
                      <a:lnTo>
                        <a:pt x="536" y="127"/>
                      </a:lnTo>
                      <a:lnTo>
                        <a:pt x="534" y="126"/>
                      </a:lnTo>
                      <a:lnTo>
                        <a:pt x="533" y="122"/>
                      </a:lnTo>
                      <a:lnTo>
                        <a:pt x="532" y="120"/>
                      </a:lnTo>
                      <a:lnTo>
                        <a:pt x="528" y="115"/>
                      </a:lnTo>
                      <a:lnTo>
                        <a:pt x="527" y="114"/>
                      </a:lnTo>
                      <a:lnTo>
                        <a:pt x="528" y="113"/>
                      </a:lnTo>
                      <a:lnTo>
                        <a:pt x="528" y="109"/>
                      </a:lnTo>
                      <a:lnTo>
                        <a:pt x="528" y="108"/>
                      </a:lnTo>
                      <a:lnTo>
                        <a:pt x="527" y="108"/>
                      </a:lnTo>
                      <a:lnTo>
                        <a:pt x="524" y="109"/>
                      </a:lnTo>
                      <a:lnTo>
                        <a:pt x="519" y="117"/>
                      </a:lnTo>
                      <a:lnTo>
                        <a:pt x="518" y="121"/>
                      </a:lnTo>
                      <a:lnTo>
                        <a:pt x="514" y="123"/>
                      </a:lnTo>
                      <a:lnTo>
                        <a:pt x="510" y="125"/>
                      </a:lnTo>
                      <a:lnTo>
                        <a:pt x="505" y="125"/>
                      </a:lnTo>
                      <a:lnTo>
                        <a:pt x="500" y="123"/>
                      </a:lnTo>
                      <a:lnTo>
                        <a:pt x="495" y="123"/>
                      </a:lnTo>
                      <a:lnTo>
                        <a:pt x="472" y="125"/>
                      </a:lnTo>
                      <a:lnTo>
                        <a:pt x="461" y="123"/>
                      </a:lnTo>
                      <a:lnTo>
                        <a:pt x="449" y="122"/>
                      </a:lnTo>
                      <a:lnTo>
                        <a:pt x="446" y="120"/>
                      </a:lnTo>
                      <a:lnTo>
                        <a:pt x="440" y="117"/>
                      </a:lnTo>
                      <a:lnTo>
                        <a:pt x="438" y="114"/>
                      </a:lnTo>
                      <a:lnTo>
                        <a:pt x="439" y="111"/>
                      </a:lnTo>
                      <a:lnTo>
                        <a:pt x="440" y="110"/>
                      </a:lnTo>
                      <a:lnTo>
                        <a:pt x="446" y="107"/>
                      </a:lnTo>
                      <a:lnTo>
                        <a:pt x="452" y="103"/>
                      </a:lnTo>
                      <a:lnTo>
                        <a:pt x="459" y="101"/>
                      </a:lnTo>
                      <a:lnTo>
                        <a:pt x="467" y="101"/>
                      </a:lnTo>
                      <a:lnTo>
                        <a:pt x="468" y="100"/>
                      </a:lnTo>
                      <a:lnTo>
                        <a:pt x="467" y="98"/>
                      </a:lnTo>
                      <a:lnTo>
                        <a:pt x="466" y="96"/>
                      </a:lnTo>
                      <a:lnTo>
                        <a:pt x="463" y="95"/>
                      </a:lnTo>
                      <a:lnTo>
                        <a:pt x="458" y="92"/>
                      </a:lnTo>
                      <a:lnTo>
                        <a:pt x="453" y="90"/>
                      </a:lnTo>
                      <a:lnTo>
                        <a:pt x="451" y="88"/>
                      </a:lnTo>
                      <a:lnTo>
                        <a:pt x="451" y="85"/>
                      </a:lnTo>
                      <a:lnTo>
                        <a:pt x="448" y="84"/>
                      </a:lnTo>
                      <a:lnTo>
                        <a:pt x="447" y="83"/>
                      </a:lnTo>
                      <a:lnTo>
                        <a:pt x="440" y="88"/>
                      </a:lnTo>
                      <a:lnTo>
                        <a:pt x="435" y="89"/>
                      </a:lnTo>
                      <a:lnTo>
                        <a:pt x="432" y="89"/>
                      </a:lnTo>
                      <a:lnTo>
                        <a:pt x="424" y="87"/>
                      </a:lnTo>
                      <a:lnTo>
                        <a:pt x="418" y="83"/>
                      </a:lnTo>
                      <a:lnTo>
                        <a:pt x="411" y="81"/>
                      </a:lnTo>
                      <a:lnTo>
                        <a:pt x="404" y="79"/>
                      </a:lnTo>
                      <a:lnTo>
                        <a:pt x="401" y="78"/>
                      </a:lnTo>
                      <a:lnTo>
                        <a:pt x="399" y="77"/>
                      </a:lnTo>
                      <a:lnTo>
                        <a:pt x="393" y="76"/>
                      </a:lnTo>
                      <a:lnTo>
                        <a:pt x="388" y="76"/>
                      </a:lnTo>
                      <a:lnTo>
                        <a:pt x="372" y="71"/>
                      </a:lnTo>
                      <a:lnTo>
                        <a:pt x="357" y="66"/>
                      </a:lnTo>
                      <a:lnTo>
                        <a:pt x="354" y="65"/>
                      </a:lnTo>
                      <a:lnTo>
                        <a:pt x="352" y="64"/>
                      </a:lnTo>
                      <a:lnTo>
                        <a:pt x="348" y="63"/>
                      </a:lnTo>
                      <a:lnTo>
                        <a:pt x="344" y="62"/>
                      </a:lnTo>
                      <a:lnTo>
                        <a:pt x="338" y="59"/>
                      </a:lnTo>
                      <a:lnTo>
                        <a:pt x="334" y="58"/>
                      </a:lnTo>
                      <a:lnTo>
                        <a:pt x="331" y="58"/>
                      </a:lnTo>
                      <a:lnTo>
                        <a:pt x="327" y="58"/>
                      </a:lnTo>
                      <a:lnTo>
                        <a:pt x="325" y="59"/>
                      </a:lnTo>
                      <a:lnTo>
                        <a:pt x="320" y="64"/>
                      </a:lnTo>
                      <a:lnTo>
                        <a:pt x="315" y="69"/>
                      </a:lnTo>
                      <a:lnTo>
                        <a:pt x="312" y="70"/>
                      </a:lnTo>
                      <a:lnTo>
                        <a:pt x="311" y="69"/>
                      </a:lnTo>
                      <a:lnTo>
                        <a:pt x="306" y="59"/>
                      </a:lnTo>
                      <a:lnTo>
                        <a:pt x="303" y="53"/>
                      </a:lnTo>
                      <a:lnTo>
                        <a:pt x="302" y="47"/>
                      </a:lnTo>
                      <a:lnTo>
                        <a:pt x="299" y="47"/>
                      </a:lnTo>
                      <a:lnTo>
                        <a:pt x="298" y="47"/>
                      </a:lnTo>
                      <a:lnTo>
                        <a:pt x="294" y="53"/>
                      </a:lnTo>
                      <a:lnTo>
                        <a:pt x="292" y="60"/>
                      </a:lnTo>
                      <a:lnTo>
                        <a:pt x="291" y="63"/>
                      </a:lnTo>
                      <a:lnTo>
                        <a:pt x="289" y="65"/>
                      </a:lnTo>
                      <a:lnTo>
                        <a:pt x="286" y="66"/>
                      </a:lnTo>
                      <a:lnTo>
                        <a:pt x="282" y="66"/>
                      </a:lnTo>
                      <a:lnTo>
                        <a:pt x="277" y="65"/>
                      </a:lnTo>
                      <a:lnTo>
                        <a:pt x="272" y="63"/>
                      </a:lnTo>
                      <a:lnTo>
                        <a:pt x="263" y="58"/>
                      </a:lnTo>
                      <a:lnTo>
                        <a:pt x="255" y="50"/>
                      </a:lnTo>
                      <a:lnTo>
                        <a:pt x="249" y="43"/>
                      </a:lnTo>
                      <a:lnTo>
                        <a:pt x="245" y="40"/>
                      </a:lnTo>
                      <a:lnTo>
                        <a:pt x="242" y="37"/>
                      </a:lnTo>
                      <a:lnTo>
                        <a:pt x="239" y="34"/>
                      </a:lnTo>
                      <a:lnTo>
                        <a:pt x="233" y="33"/>
                      </a:lnTo>
                      <a:lnTo>
                        <a:pt x="232" y="33"/>
                      </a:lnTo>
                      <a:lnTo>
                        <a:pt x="230" y="33"/>
                      </a:lnTo>
                      <a:lnTo>
                        <a:pt x="230" y="36"/>
                      </a:lnTo>
                      <a:lnTo>
                        <a:pt x="230" y="37"/>
                      </a:lnTo>
                      <a:lnTo>
                        <a:pt x="232" y="42"/>
                      </a:lnTo>
                      <a:lnTo>
                        <a:pt x="235" y="45"/>
                      </a:lnTo>
                      <a:lnTo>
                        <a:pt x="237" y="49"/>
                      </a:lnTo>
                      <a:lnTo>
                        <a:pt x="236" y="52"/>
                      </a:lnTo>
                      <a:lnTo>
                        <a:pt x="233" y="56"/>
                      </a:lnTo>
                      <a:lnTo>
                        <a:pt x="230" y="59"/>
                      </a:lnTo>
                      <a:lnTo>
                        <a:pt x="225" y="63"/>
                      </a:lnTo>
                      <a:lnTo>
                        <a:pt x="219" y="65"/>
                      </a:lnTo>
                      <a:lnTo>
                        <a:pt x="217" y="64"/>
                      </a:lnTo>
                      <a:lnTo>
                        <a:pt x="216" y="63"/>
                      </a:lnTo>
                      <a:lnTo>
                        <a:pt x="214" y="57"/>
                      </a:lnTo>
                      <a:lnTo>
                        <a:pt x="212" y="57"/>
                      </a:lnTo>
                      <a:lnTo>
                        <a:pt x="209" y="57"/>
                      </a:lnTo>
                      <a:lnTo>
                        <a:pt x="202" y="60"/>
                      </a:lnTo>
                      <a:lnTo>
                        <a:pt x="194" y="63"/>
                      </a:lnTo>
                      <a:lnTo>
                        <a:pt x="192" y="64"/>
                      </a:lnTo>
                      <a:lnTo>
                        <a:pt x="190" y="66"/>
                      </a:lnTo>
                      <a:lnTo>
                        <a:pt x="188" y="68"/>
                      </a:lnTo>
                      <a:lnTo>
                        <a:pt x="185" y="69"/>
                      </a:lnTo>
                      <a:lnTo>
                        <a:pt x="185" y="68"/>
                      </a:lnTo>
                      <a:lnTo>
                        <a:pt x="185" y="66"/>
                      </a:lnTo>
                      <a:lnTo>
                        <a:pt x="185" y="64"/>
                      </a:lnTo>
                      <a:lnTo>
                        <a:pt x="197" y="57"/>
                      </a:lnTo>
                      <a:lnTo>
                        <a:pt x="200" y="52"/>
                      </a:lnTo>
                      <a:lnTo>
                        <a:pt x="203" y="50"/>
                      </a:lnTo>
                      <a:lnTo>
                        <a:pt x="203" y="46"/>
                      </a:lnTo>
                      <a:lnTo>
                        <a:pt x="193" y="47"/>
                      </a:lnTo>
                      <a:lnTo>
                        <a:pt x="188" y="49"/>
                      </a:lnTo>
                      <a:lnTo>
                        <a:pt x="184" y="52"/>
                      </a:lnTo>
                      <a:lnTo>
                        <a:pt x="180" y="58"/>
                      </a:lnTo>
                      <a:lnTo>
                        <a:pt x="178" y="59"/>
                      </a:lnTo>
                      <a:lnTo>
                        <a:pt x="174" y="60"/>
                      </a:lnTo>
                      <a:lnTo>
                        <a:pt x="166" y="63"/>
                      </a:lnTo>
                      <a:lnTo>
                        <a:pt x="165" y="64"/>
                      </a:lnTo>
                      <a:lnTo>
                        <a:pt x="164" y="65"/>
                      </a:lnTo>
                      <a:lnTo>
                        <a:pt x="164" y="66"/>
                      </a:lnTo>
                      <a:lnTo>
                        <a:pt x="162" y="66"/>
                      </a:lnTo>
                      <a:lnTo>
                        <a:pt x="157" y="65"/>
                      </a:lnTo>
                      <a:lnTo>
                        <a:pt x="152" y="65"/>
                      </a:lnTo>
                      <a:lnTo>
                        <a:pt x="148" y="66"/>
                      </a:lnTo>
                      <a:lnTo>
                        <a:pt x="143" y="69"/>
                      </a:lnTo>
                      <a:lnTo>
                        <a:pt x="136" y="72"/>
                      </a:lnTo>
                      <a:lnTo>
                        <a:pt x="132" y="74"/>
                      </a:lnTo>
                      <a:lnTo>
                        <a:pt x="127" y="75"/>
                      </a:lnTo>
                      <a:lnTo>
                        <a:pt x="127" y="74"/>
                      </a:lnTo>
                      <a:lnTo>
                        <a:pt x="126" y="74"/>
                      </a:lnTo>
                      <a:lnTo>
                        <a:pt x="127" y="71"/>
                      </a:lnTo>
                      <a:lnTo>
                        <a:pt x="128" y="69"/>
                      </a:lnTo>
                      <a:lnTo>
                        <a:pt x="128" y="66"/>
                      </a:lnTo>
                      <a:lnTo>
                        <a:pt x="126" y="64"/>
                      </a:lnTo>
                      <a:lnTo>
                        <a:pt x="122" y="62"/>
                      </a:lnTo>
                      <a:lnTo>
                        <a:pt x="118" y="60"/>
                      </a:lnTo>
                      <a:lnTo>
                        <a:pt x="114" y="62"/>
                      </a:lnTo>
                      <a:lnTo>
                        <a:pt x="112" y="63"/>
                      </a:lnTo>
                      <a:lnTo>
                        <a:pt x="109" y="65"/>
                      </a:lnTo>
                      <a:lnTo>
                        <a:pt x="106" y="71"/>
                      </a:lnTo>
                      <a:lnTo>
                        <a:pt x="105" y="77"/>
                      </a:lnTo>
                      <a:lnTo>
                        <a:pt x="101" y="83"/>
                      </a:lnTo>
                      <a:lnTo>
                        <a:pt x="98" y="85"/>
                      </a:lnTo>
                      <a:lnTo>
                        <a:pt x="94" y="88"/>
                      </a:lnTo>
                      <a:lnTo>
                        <a:pt x="89" y="89"/>
                      </a:lnTo>
                      <a:lnTo>
                        <a:pt x="84" y="89"/>
                      </a:lnTo>
                      <a:lnTo>
                        <a:pt x="79" y="89"/>
                      </a:lnTo>
                      <a:lnTo>
                        <a:pt x="73" y="87"/>
                      </a:lnTo>
                      <a:lnTo>
                        <a:pt x="70" y="84"/>
                      </a:lnTo>
                      <a:lnTo>
                        <a:pt x="66" y="81"/>
                      </a:lnTo>
                      <a:lnTo>
                        <a:pt x="65" y="79"/>
                      </a:lnTo>
                      <a:lnTo>
                        <a:pt x="62" y="79"/>
                      </a:lnTo>
                      <a:lnTo>
                        <a:pt x="58" y="78"/>
                      </a:lnTo>
                      <a:lnTo>
                        <a:pt x="38" y="70"/>
                      </a:lnTo>
                      <a:lnTo>
                        <a:pt x="28" y="66"/>
                      </a:lnTo>
                      <a:lnTo>
                        <a:pt x="18" y="62"/>
                      </a:lnTo>
                      <a:lnTo>
                        <a:pt x="12" y="59"/>
                      </a:lnTo>
                      <a:lnTo>
                        <a:pt x="6" y="59"/>
                      </a:lnTo>
                      <a:lnTo>
                        <a:pt x="0" y="59"/>
                      </a:lnTo>
                      <a:lnTo>
                        <a:pt x="2" y="318"/>
                      </a:lnTo>
                      <a:lnTo>
                        <a:pt x="10" y="315"/>
                      </a:lnTo>
                      <a:lnTo>
                        <a:pt x="16" y="314"/>
                      </a:lnTo>
                      <a:lnTo>
                        <a:pt x="20" y="315"/>
                      </a:lnTo>
                      <a:lnTo>
                        <a:pt x="23" y="317"/>
                      </a:lnTo>
                      <a:lnTo>
                        <a:pt x="30" y="325"/>
                      </a:lnTo>
                      <a:lnTo>
                        <a:pt x="42" y="337"/>
                      </a:lnTo>
                      <a:lnTo>
                        <a:pt x="48" y="344"/>
                      </a:lnTo>
                      <a:lnTo>
                        <a:pt x="54" y="349"/>
                      </a:lnTo>
                      <a:lnTo>
                        <a:pt x="59" y="352"/>
                      </a:lnTo>
                      <a:lnTo>
                        <a:pt x="65" y="352"/>
                      </a:lnTo>
                      <a:lnTo>
                        <a:pt x="68" y="351"/>
                      </a:lnTo>
                      <a:lnTo>
                        <a:pt x="72" y="349"/>
                      </a:lnTo>
                      <a:lnTo>
                        <a:pt x="79" y="343"/>
                      </a:lnTo>
                      <a:lnTo>
                        <a:pt x="86" y="336"/>
                      </a:lnTo>
                      <a:lnTo>
                        <a:pt x="87" y="333"/>
                      </a:lnTo>
                      <a:lnTo>
                        <a:pt x="90" y="333"/>
                      </a:lnTo>
                      <a:lnTo>
                        <a:pt x="92" y="334"/>
                      </a:lnTo>
                      <a:lnTo>
                        <a:pt x="101" y="341"/>
                      </a:lnTo>
                      <a:lnTo>
                        <a:pt x="109" y="346"/>
                      </a:lnTo>
                      <a:lnTo>
                        <a:pt x="113" y="349"/>
                      </a:lnTo>
                      <a:lnTo>
                        <a:pt x="118" y="353"/>
                      </a:lnTo>
                      <a:lnTo>
                        <a:pt x="124" y="360"/>
                      </a:lnTo>
                      <a:lnTo>
                        <a:pt x="131" y="366"/>
                      </a:lnTo>
                      <a:lnTo>
                        <a:pt x="139" y="376"/>
                      </a:lnTo>
                      <a:lnTo>
                        <a:pt x="148" y="390"/>
                      </a:lnTo>
                      <a:lnTo>
                        <a:pt x="156" y="400"/>
                      </a:lnTo>
                      <a:lnTo>
                        <a:pt x="165" y="407"/>
                      </a:lnTo>
                      <a:lnTo>
                        <a:pt x="174" y="414"/>
                      </a:lnTo>
                      <a:lnTo>
                        <a:pt x="179" y="419"/>
                      </a:lnTo>
                      <a:lnTo>
                        <a:pt x="181" y="423"/>
                      </a:lnTo>
                      <a:lnTo>
                        <a:pt x="184" y="429"/>
                      </a:lnTo>
                      <a:lnTo>
                        <a:pt x="185" y="437"/>
                      </a:lnTo>
                      <a:lnTo>
                        <a:pt x="185" y="446"/>
                      </a:lnTo>
                      <a:lnTo>
                        <a:pt x="184" y="45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2" name="Freeform 1006">
                  <a:extLst>
                    <a:ext uri="{FF2B5EF4-FFF2-40B4-BE49-F238E27FC236}">
                      <a16:creationId xmlns:a16="http://schemas.microsoft.com/office/drawing/2014/main" id="{C08FB399-3AB2-9C41-8A18-83F0C926D3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9354" y="3387112"/>
                  <a:ext cx="44396" cy="25157"/>
                </a:xfrm>
                <a:custGeom>
                  <a:avLst/>
                  <a:gdLst>
                    <a:gd name="T0" fmla="*/ 2147483647 w 33"/>
                    <a:gd name="T1" fmla="*/ 2147483647 h 17"/>
                    <a:gd name="T2" fmla="*/ 2147483647 w 33"/>
                    <a:gd name="T3" fmla="*/ 2147483647 h 17"/>
                    <a:gd name="T4" fmla="*/ 2147483647 w 33"/>
                    <a:gd name="T5" fmla="*/ 2147483647 h 17"/>
                    <a:gd name="T6" fmla="*/ 2147483647 w 33"/>
                    <a:gd name="T7" fmla="*/ 2147483647 h 17"/>
                    <a:gd name="T8" fmla="*/ 2147483647 w 33"/>
                    <a:gd name="T9" fmla="*/ 2147483647 h 17"/>
                    <a:gd name="T10" fmla="*/ 2147483647 w 33"/>
                    <a:gd name="T11" fmla="*/ 2147483647 h 17"/>
                    <a:gd name="T12" fmla="*/ 2147483647 w 33"/>
                    <a:gd name="T13" fmla="*/ 2147483647 h 17"/>
                    <a:gd name="T14" fmla="*/ 2147483647 w 33"/>
                    <a:gd name="T15" fmla="*/ 0 h 17"/>
                    <a:gd name="T16" fmla="*/ 2147483647 w 33"/>
                    <a:gd name="T17" fmla="*/ 0 h 17"/>
                    <a:gd name="T18" fmla="*/ 2147483647 w 33"/>
                    <a:gd name="T19" fmla="*/ 0 h 17"/>
                    <a:gd name="T20" fmla="*/ 2147483647 w 33"/>
                    <a:gd name="T21" fmla="*/ 2147483647 h 17"/>
                    <a:gd name="T22" fmla="*/ 2147483647 w 33"/>
                    <a:gd name="T23" fmla="*/ 2147483647 h 17"/>
                    <a:gd name="T24" fmla="*/ 2147483647 w 33"/>
                    <a:gd name="T25" fmla="*/ 2147483647 h 17"/>
                    <a:gd name="T26" fmla="*/ 2147483647 w 33"/>
                    <a:gd name="T27" fmla="*/ 2147483647 h 17"/>
                    <a:gd name="T28" fmla="*/ 2147483647 w 33"/>
                    <a:gd name="T29" fmla="*/ 2147483647 h 17"/>
                    <a:gd name="T30" fmla="*/ 2147483647 w 33"/>
                    <a:gd name="T31" fmla="*/ 2147483647 h 17"/>
                    <a:gd name="T32" fmla="*/ 2147483647 w 33"/>
                    <a:gd name="T33" fmla="*/ 2147483647 h 17"/>
                    <a:gd name="T34" fmla="*/ 0 w 33"/>
                    <a:gd name="T35" fmla="*/ 2147483647 h 17"/>
                    <a:gd name="T36" fmla="*/ 0 w 33"/>
                    <a:gd name="T37" fmla="*/ 2147483647 h 17"/>
                    <a:gd name="T38" fmla="*/ 2147483647 w 33"/>
                    <a:gd name="T39" fmla="*/ 2147483647 h 17"/>
                    <a:gd name="T40" fmla="*/ 2147483647 w 33"/>
                    <a:gd name="T41" fmla="*/ 2147483647 h 17"/>
                    <a:gd name="T42" fmla="*/ 2147483647 w 33"/>
                    <a:gd name="T43" fmla="*/ 2147483647 h 17"/>
                    <a:gd name="T44" fmla="*/ 2147483647 w 33"/>
                    <a:gd name="T45" fmla="*/ 2147483647 h 17"/>
                    <a:gd name="T46" fmla="*/ 2147483647 w 33"/>
                    <a:gd name="T47" fmla="*/ 2147483647 h 17"/>
                    <a:gd name="T48" fmla="*/ 2147483647 w 33"/>
                    <a:gd name="T49" fmla="*/ 2147483647 h 1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3"/>
                    <a:gd name="T76" fmla="*/ 0 h 17"/>
                    <a:gd name="T77" fmla="*/ 33 w 33"/>
                    <a:gd name="T78" fmla="*/ 17 h 1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3" h="17">
                      <a:moveTo>
                        <a:pt x="26" y="6"/>
                      </a:moveTo>
                      <a:lnTo>
                        <a:pt x="26" y="6"/>
                      </a:lnTo>
                      <a:lnTo>
                        <a:pt x="29" y="5"/>
                      </a:lnTo>
                      <a:lnTo>
                        <a:pt x="30" y="4"/>
                      </a:lnTo>
                      <a:lnTo>
                        <a:pt x="33" y="3"/>
                      </a:lnTo>
                      <a:lnTo>
                        <a:pt x="33" y="2"/>
                      </a:lnTo>
                      <a:lnTo>
                        <a:pt x="31" y="0"/>
                      </a:lnTo>
                      <a:lnTo>
                        <a:pt x="28" y="0"/>
                      </a:lnTo>
                      <a:lnTo>
                        <a:pt x="23" y="4"/>
                      </a:lnTo>
                      <a:lnTo>
                        <a:pt x="16" y="6"/>
                      </a:lnTo>
                      <a:lnTo>
                        <a:pt x="9" y="8"/>
                      </a:lnTo>
                      <a:lnTo>
                        <a:pt x="6" y="9"/>
                      </a:lnTo>
                      <a:lnTo>
                        <a:pt x="2" y="11"/>
                      </a:lnTo>
                      <a:lnTo>
                        <a:pt x="1" y="14"/>
                      </a:lnTo>
                      <a:lnTo>
                        <a:pt x="0" y="17"/>
                      </a:lnTo>
                      <a:lnTo>
                        <a:pt x="7" y="16"/>
                      </a:lnTo>
                      <a:lnTo>
                        <a:pt x="15" y="15"/>
                      </a:lnTo>
                      <a:lnTo>
                        <a:pt x="23" y="11"/>
                      </a:lnTo>
                      <a:lnTo>
                        <a:pt x="25" y="9"/>
                      </a:lnTo>
                      <a:lnTo>
                        <a:pt x="2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3" name="Freeform 1008">
                  <a:extLst>
                    <a:ext uri="{FF2B5EF4-FFF2-40B4-BE49-F238E27FC236}">
                      <a16:creationId xmlns:a16="http://schemas.microsoft.com/office/drawing/2014/main" id="{A13175A3-21C1-0B4D-895A-EDD801BA61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630" y="2937227"/>
                  <a:ext cx="8879" cy="19238"/>
                </a:xfrm>
                <a:custGeom>
                  <a:avLst/>
                  <a:gdLst>
                    <a:gd name="T0" fmla="*/ 2147483647 w 6"/>
                    <a:gd name="T1" fmla="*/ 2147483647 h 13"/>
                    <a:gd name="T2" fmla="*/ 2147483647 w 6"/>
                    <a:gd name="T3" fmla="*/ 2147483647 h 13"/>
                    <a:gd name="T4" fmla="*/ 2147483647 w 6"/>
                    <a:gd name="T5" fmla="*/ 2147483647 h 13"/>
                    <a:gd name="T6" fmla="*/ 2147483647 w 6"/>
                    <a:gd name="T7" fmla="*/ 2147483647 h 13"/>
                    <a:gd name="T8" fmla="*/ 2147483647 w 6"/>
                    <a:gd name="T9" fmla="*/ 2147483647 h 13"/>
                    <a:gd name="T10" fmla="*/ 0 w 6"/>
                    <a:gd name="T11" fmla="*/ 2147483647 h 13"/>
                    <a:gd name="T12" fmla="*/ 0 w 6"/>
                    <a:gd name="T13" fmla="*/ 2147483647 h 13"/>
                    <a:gd name="T14" fmla="*/ 2147483647 w 6"/>
                    <a:gd name="T15" fmla="*/ 0 h 13"/>
                    <a:gd name="T16" fmla="*/ 2147483647 w 6"/>
                    <a:gd name="T17" fmla="*/ 0 h 13"/>
                    <a:gd name="T18" fmla="*/ 2147483647 w 6"/>
                    <a:gd name="T19" fmla="*/ 2147483647 h 13"/>
                    <a:gd name="T20" fmla="*/ 2147483647 w 6"/>
                    <a:gd name="T21" fmla="*/ 2147483647 h 13"/>
                    <a:gd name="T22" fmla="*/ 2147483647 w 6"/>
                    <a:gd name="T23" fmla="*/ 2147483647 h 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13"/>
                    <a:gd name="T38" fmla="*/ 6 w 6"/>
                    <a:gd name="T39" fmla="*/ 13 h 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13">
                      <a:moveTo>
                        <a:pt x="6" y="8"/>
                      </a:moveTo>
                      <a:lnTo>
                        <a:pt x="6" y="10"/>
                      </a:lnTo>
                      <a:lnTo>
                        <a:pt x="5" y="13"/>
                      </a:lnTo>
                      <a:lnTo>
                        <a:pt x="4" y="13"/>
                      </a:lnTo>
                      <a:lnTo>
                        <a:pt x="1" y="12"/>
                      </a:ln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4" name="Freeform 1009">
                  <a:extLst>
                    <a:ext uri="{FF2B5EF4-FFF2-40B4-BE49-F238E27FC236}">
                      <a16:creationId xmlns:a16="http://schemas.microsoft.com/office/drawing/2014/main" id="{53C776A1-7D53-EC4F-9CFD-D69EF929AE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3254" y="3114813"/>
                  <a:ext cx="1367402" cy="766574"/>
                </a:xfrm>
                <a:custGeom>
                  <a:avLst/>
                  <a:gdLst>
                    <a:gd name="T0" fmla="*/ 2147483647 w 1001"/>
                    <a:gd name="T1" fmla="*/ 2147483647 h 518"/>
                    <a:gd name="T2" fmla="*/ 2147483647 w 1001"/>
                    <a:gd name="T3" fmla="*/ 2147483647 h 518"/>
                    <a:gd name="T4" fmla="*/ 2147483647 w 1001"/>
                    <a:gd name="T5" fmla="*/ 2147483647 h 518"/>
                    <a:gd name="T6" fmla="*/ 2147483647 w 1001"/>
                    <a:gd name="T7" fmla="*/ 2147483647 h 518"/>
                    <a:gd name="T8" fmla="*/ 2147483647 w 1001"/>
                    <a:gd name="T9" fmla="*/ 2147483647 h 518"/>
                    <a:gd name="T10" fmla="*/ 2147483647 w 1001"/>
                    <a:gd name="T11" fmla="*/ 2147483647 h 518"/>
                    <a:gd name="T12" fmla="*/ 2147483647 w 1001"/>
                    <a:gd name="T13" fmla="*/ 2147483647 h 518"/>
                    <a:gd name="T14" fmla="*/ 2147483647 w 1001"/>
                    <a:gd name="T15" fmla="*/ 2147483647 h 518"/>
                    <a:gd name="T16" fmla="*/ 2147483647 w 1001"/>
                    <a:gd name="T17" fmla="*/ 2147483647 h 518"/>
                    <a:gd name="T18" fmla="*/ 2147483647 w 1001"/>
                    <a:gd name="T19" fmla="*/ 2147483647 h 518"/>
                    <a:gd name="T20" fmla="*/ 2147483647 w 1001"/>
                    <a:gd name="T21" fmla="*/ 2147483647 h 518"/>
                    <a:gd name="T22" fmla="*/ 2147483647 w 1001"/>
                    <a:gd name="T23" fmla="*/ 2147483647 h 518"/>
                    <a:gd name="T24" fmla="*/ 2147483647 w 1001"/>
                    <a:gd name="T25" fmla="*/ 2147483647 h 518"/>
                    <a:gd name="T26" fmla="*/ 2147483647 w 1001"/>
                    <a:gd name="T27" fmla="*/ 2147483647 h 518"/>
                    <a:gd name="T28" fmla="*/ 2147483647 w 1001"/>
                    <a:gd name="T29" fmla="*/ 2147483647 h 518"/>
                    <a:gd name="T30" fmla="*/ 2147483647 w 1001"/>
                    <a:gd name="T31" fmla="*/ 2147483647 h 518"/>
                    <a:gd name="T32" fmla="*/ 2147483647 w 1001"/>
                    <a:gd name="T33" fmla="*/ 2147483647 h 518"/>
                    <a:gd name="T34" fmla="*/ 2147483647 w 1001"/>
                    <a:gd name="T35" fmla="*/ 2147483647 h 518"/>
                    <a:gd name="T36" fmla="*/ 2147483647 w 1001"/>
                    <a:gd name="T37" fmla="*/ 0 h 518"/>
                    <a:gd name="T38" fmla="*/ 2147483647 w 1001"/>
                    <a:gd name="T39" fmla="*/ 2147483647 h 518"/>
                    <a:gd name="T40" fmla="*/ 2147483647 w 1001"/>
                    <a:gd name="T41" fmla="*/ 2147483647 h 518"/>
                    <a:gd name="T42" fmla="*/ 2147483647 w 1001"/>
                    <a:gd name="T43" fmla="*/ 2147483647 h 518"/>
                    <a:gd name="T44" fmla="*/ 2147483647 w 1001"/>
                    <a:gd name="T45" fmla="*/ 2147483647 h 518"/>
                    <a:gd name="T46" fmla="*/ 2147483647 w 1001"/>
                    <a:gd name="T47" fmla="*/ 2147483647 h 518"/>
                    <a:gd name="T48" fmla="*/ 2147483647 w 1001"/>
                    <a:gd name="T49" fmla="*/ 2147483647 h 518"/>
                    <a:gd name="T50" fmla="*/ 2147483647 w 1001"/>
                    <a:gd name="T51" fmla="*/ 2147483647 h 518"/>
                    <a:gd name="T52" fmla="*/ 2147483647 w 1001"/>
                    <a:gd name="T53" fmla="*/ 2147483647 h 518"/>
                    <a:gd name="T54" fmla="*/ 2147483647 w 1001"/>
                    <a:gd name="T55" fmla="*/ 2147483647 h 518"/>
                    <a:gd name="T56" fmla="*/ 2147483647 w 1001"/>
                    <a:gd name="T57" fmla="*/ 2147483647 h 518"/>
                    <a:gd name="T58" fmla="*/ 2147483647 w 1001"/>
                    <a:gd name="T59" fmla="*/ 2147483647 h 518"/>
                    <a:gd name="T60" fmla="*/ 2147483647 w 1001"/>
                    <a:gd name="T61" fmla="*/ 2147483647 h 518"/>
                    <a:gd name="T62" fmla="*/ 2147483647 w 1001"/>
                    <a:gd name="T63" fmla="*/ 2147483647 h 518"/>
                    <a:gd name="T64" fmla="*/ 2147483647 w 1001"/>
                    <a:gd name="T65" fmla="*/ 2147483647 h 518"/>
                    <a:gd name="T66" fmla="*/ 2147483647 w 1001"/>
                    <a:gd name="T67" fmla="*/ 2147483647 h 518"/>
                    <a:gd name="T68" fmla="*/ 2147483647 w 1001"/>
                    <a:gd name="T69" fmla="*/ 2147483647 h 518"/>
                    <a:gd name="T70" fmla="*/ 2147483647 w 1001"/>
                    <a:gd name="T71" fmla="*/ 2147483647 h 518"/>
                    <a:gd name="T72" fmla="*/ 2147483647 w 1001"/>
                    <a:gd name="T73" fmla="*/ 2147483647 h 518"/>
                    <a:gd name="T74" fmla="*/ 2147483647 w 1001"/>
                    <a:gd name="T75" fmla="*/ 2147483647 h 518"/>
                    <a:gd name="T76" fmla="*/ 2147483647 w 1001"/>
                    <a:gd name="T77" fmla="*/ 2147483647 h 518"/>
                    <a:gd name="T78" fmla="*/ 2147483647 w 1001"/>
                    <a:gd name="T79" fmla="*/ 2147483647 h 518"/>
                    <a:gd name="T80" fmla="*/ 2147483647 w 1001"/>
                    <a:gd name="T81" fmla="*/ 2147483647 h 518"/>
                    <a:gd name="T82" fmla="*/ 2147483647 w 1001"/>
                    <a:gd name="T83" fmla="*/ 2147483647 h 518"/>
                    <a:gd name="T84" fmla="*/ 2147483647 w 1001"/>
                    <a:gd name="T85" fmla="*/ 2147483647 h 518"/>
                    <a:gd name="T86" fmla="*/ 2147483647 w 1001"/>
                    <a:gd name="T87" fmla="*/ 2147483647 h 518"/>
                    <a:gd name="T88" fmla="*/ 2147483647 w 1001"/>
                    <a:gd name="T89" fmla="*/ 2147483647 h 518"/>
                    <a:gd name="T90" fmla="*/ 2147483647 w 1001"/>
                    <a:gd name="T91" fmla="*/ 2147483647 h 518"/>
                    <a:gd name="T92" fmla="*/ 2147483647 w 1001"/>
                    <a:gd name="T93" fmla="*/ 2147483647 h 518"/>
                    <a:gd name="T94" fmla="*/ 2147483647 w 1001"/>
                    <a:gd name="T95" fmla="*/ 2147483647 h 518"/>
                    <a:gd name="T96" fmla="*/ 2147483647 w 1001"/>
                    <a:gd name="T97" fmla="*/ 2147483647 h 518"/>
                    <a:gd name="T98" fmla="*/ 2147483647 w 1001"/>
                    <a:gd name="T99" fmla="*/ 2147483647 h 518"/>
                    <a:gd name="T100" fmla="*/ 2147483647 w 1001"/>
                    <a:gd name="T101" fmla="*/ 2147483647 h 518"/>
                    <a:gd name="T102" fmla="*/ 2147483647 w 1001"/>
                    <a:gd name="T103" fmla="*/ 2147483647 h 518"/>
                    <a:gd name="T104" fmla="*/ 2147483647 w 1001"/>
                    <a:gd name="T105" fmla="*/ 2147483647 h 518"/>
                    <a:gd name="T106" fmla="*/ 2147483647 w 1001"/>
                    <a:gd name="T107" fmla="*/ 2147483647 h 518"/>
                    <a:gd name="T108" fmla="*/ 2147483647 w 1001"/>
                    <a:gd name="T109" fmla="*/ 2147483647 h 518"/>
                    <a:gd name="T110" fmla="*/ 2147483647 w 1001"/>
                    <a:gd name="T111" fmla="*/ 2147483647 h 518"/>
                    <a:gd name="T112" fmla="*/ 2147483647 w 1001"/>
                    <a:gd name="T113" fmla="*/ 2147483647 h 518"/>
                    <a:gd name="T114" fmla="*/ 2147483647 w 1001"/>
                    <a:gd name="T115" fmla="*/ 2147483647 h 518"/>
                    <a:gd name="T116" fmla="*/ 2147483647 w 1001"/>
                    <a:gd name="T117" fmla="*/ 2147483647 h 518"/>
                    <a:gd name="T118" fmla="*/ 2147483647 w 1001"/>
                    <a:gd name="T119" fmla="*/ 2147483647 h 518"/>
                    <a:gd name="T120" fmla="*/ 2147483647 w 1001"/>
                    <a:gd name="T121" fmla="*/ 2147483647 h 518"/>
                    <a:gd name="T122" fmla="*/ 2147483647 w 1001"/>
                    <a:gd name="T123" fmla="*/ 2147483647 h 51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001"/>
                    <a:gd name="T187" fmla="*/ 0 h 518"/>
                    <a:gd name="T188" fmla="*/ 1001 w 1001"/>
                    <a:gd name="T189" fmla="*/ 518 h 51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001" h="518">
                      <a:moveTo>
                        <a:pt x="474" y="501"/>
                      </a:moveTo>
                      <a:lnTo>
                        <a:pt x="474" y="501"/>
                      </a:lnTo>
                      <a:lnTo>
                        <a:pt x="465" y="497"/>
                      </a:lnTo>
                      <a:lnTo>
                        <a:pt x="456" y="495"/>
                      </a:lnTo>
                      <a:lnTo>
                        <a:pt x="450" y="494"/>
                      </a:lnTo>
                      <a:lnTo>
                        <a:pt x="443" y="493"/>
                      </a:lnTo>
                      <a:lnTo>
                        <a:pt x="441" y="492"/>
                      </a:lnTo>
                      <a:lnTo>
                        <a:pt x="438" y="488"/>
                      </a:lnTo>
                      <a:lnTo>
                        <a:pt x="437" y="486"/>
                      </a:lnTo>
                      <a:lnTo>
                        <a:pt x="432" y="473"/>
                      </a:lnTo>
                      <a:lnTo>
                        <a:pt x="429" y="464"/>
                      </a:lnTo>
                      <a:lnTo>
                        <a:pt x="426" y="461"/>
                      </a:lnTo>
                      <a:lnTo>
                        <a:pt x="423" y="457"/>
                      </a:lnTo>
                      <a:lnTo>
                        <a:pt x="420" y="451"/>
                      </a:lnTo>
                      <a:lnTo>
                        <a:pt x="418" y="445"/>
                      </a:lnTo>
                      <a:lnTo>
                        <a:pt x="418" y="441"/>
                      </a:lnTo>
                      <a:lnTo>
                        <a:pt x="417" y="436"/>
                      </a:lnTo>
                      <a:lnTo>
                        <a:pt x="413" y="431"/>
                      </a:lnTo>
                      <a:lnTo>
                        <a:pt x="409" y="429"/>
                      </a:lnTo>
                      <a:lnTo>
                        <a:pt x="407" y="428"/>
                      </a:lnTo>
                      <a:lnTo>
                        <a:pt x="399" y="425"/>
                      </a:lnTo>
                      <a:lnTo>
                        <a:pt x="395" y="424"/>
                      </a:lnTo>
                      <a:lnTo>
                        <a:pt x="393" y="423"/>
                      </a:lnTo>
                      <a:lnTo>
                        <a:pt x="390" y="422"/>
                      </a:lnTo>
                      <a:lnTo>
                        <a:pt x="387" y="422"/>
                      </a:lnTo>
                      <a:lnTo>
                        <a:pt x="384" y="423"/>
                      </a:lnTo>
                      <a:lnTo>
                        <a:pt x="381" y="425"/>
                      </a:lnTo>
                      <a:lnTo>
                        <a:pt x="379" y="430"/>
                      </a:lnTo>
                      <a:lnTo>
                        <a:pt x="376" y="433"/>
                      </a:lnTo>
                      <a:lnTo>
                        <a:pt x="373" y="435"/>
                      </a:lnTo>
                      <a:lnTo>
                        <a:pt x="371" y="435"/>
                      </a:lnTo>
                      <a:lnTo>
                        <a:pt x="367" y="433"/>
                      </a:lnTo>
                      <a:lnTo>
                        <a:pt x="363" y="430"/>
                      </a:lnTo>
                      <a:lnTo>
                        <a:pt x="352" y="419"/>
                      </a:lnTo>
                      <a:lnTo>
                        <a:pt x="340" y="404"/>
                      </a:lnTo>
                      <a:lnTo>
                        <a:pt x="325" y="384"/>
                      </a:lnTo>
                      <a:lnTo>
                        <a:pt x="323" y="380"/>
                      </a:lnTo>
                      <a:lnTo>
                        <a:pt x="321" y="379"/>
                      </a:lnTo>
                      <a:lnTo>
                        <a:pt x="319" y="379"/>
                      </a:lnTo>
                      <a:lnTo>
                        <a:pt x="278" y="380"/>
                      </a:lnTo>
                      <a:lnTo>
                        <a:pt x="277" y="381"/>
                      </a:lnTo>
                      <a:lnTo>
                        <a:pt x="276" y="382"/>
                      </a:lnTo>
                      <a:lnTo>
                        <a:pt x="274" y="385"/>
                      </a:lnTo>
                      <a:lnTo>
                        <a:pt x="274" y="388"/>
                      </a:lnTo>
                      <a:lnTo>
                        <a:pt x="273" y="391"/>
                      </a:lnTo>
                      <a:lnTo>
                        <a:pt x="272" y="391"/>
                      </a:lnTo>
                      <a:lnTo>
                        <a:pt x="269" y="392"/>
                      </a:lnTo>
                      <a:lnTo>
                        <a:pt x="259" y="391"/>
                      </a:lnTo>
                      <a:lnTo>
                        <a:pt x="250" y="392"/>
                      </a:lnTo>
                      <a:lnTo>
                        <a:pt x="248" y="392"/>
                      </a:lnTo>
                      <a:lnTo>
                        <a:pt x="243" y="392"/>
                      </a:lnTo>
                      <a:lnTo>
                        <a:pt x="233" y="388"/>
                      </a:lnTo>
                      <a:lnTo>
                        <a:pt x="222" y="385"/>
                      </a:lnTo>
                      <a:lnTo>
                        <a:pt x="207" y="379"/>
                      </a:lnTo>
                      <a:lnTo>
                        <a:pt x="191" y="374"/>
                      </a:lnTo>
                      <a:lnTo>
                        <a:pt x="180" y="373"/>
                      </a:lnTo>
                      <a:lnTo>
                        <a:pt x="177" y="372"/>
                      </a:lnTo>
                      <a:lnTo>
                        <a:pt x="175" y="369"/>
                      </a:lnTo>
                      <a:lnTo>
                        <a:pt x="175" y="368"/>
                      </a:lnTo>
                      <a:lnTo>
                        <a:pt x="177" y="367"/>
                      </a:lnTo>
                      <a:lnTo>
                        <a:pt x="179" y="365"/>
                      </a:lnTo>
                      <a:lnTo>
                        <a:pt x="179" y="362"/>
                      </a:lnTo>
                      <a:lnTo>
                        <a:pt x="177" y="361"/>
                      </a:lnTo>
                      <a:lnTo>
                        <a:pt x="174" y="360"/>
                      </a:lnTo>
                      <a:lnTo>
                        <a:pt x="133" y="361"/>
                      </a:lnTo>
                      <a:lnTo>
                        <a:pt x="128" y="353"/>
                      </a:lnTo>
                      <a:lnTo>
                        <a:pt x="123" y="346"/>
                      </a:lnTo>
                      <a:lnTo>
                        <a:pt x="116" y="341"/>
                      </a:lnTo>
                      <a:lnTo>
                        <a:pt x="112" y="340"/>
                      </a:lnTo>
                      <a:lnTo>
                        <a:pt x="107" y="339"/>
                      </a:lnTo>
                      <a:lnTo>
                        <a:pt x="103" y="339"/>
                      </a:lnTo>
                      <a:lnTo>
                        <a:pt x="99" y="337"/>
                      </a:lnTo>
                      <a:lnTo>
                        <a:pt x="87" y="339"/>
                      </a:lnTo>
                      <a:lnTo>
                        <a:pt x="84" y="339"/>
                      </a:lnTo>
                      <a:lnTo>
                        <a:pt x="81" y="337"/>
                      </a:lnTo>
                      <a:lnTo>
                        <a:pt x="79" y="335"/>
                      </a:lnTo>
                      <a:lnTo>
                        <a:pt x="78" y="333"/>
                      </a:lnTo>
                      <a:lnTo>
                        <a:pt x="75" y="327"/>
                      </a:lnTo>
                      <a:lnTo>
                        <a:pt x="71" y="321"/>
                      </a:lnTo>
                      <a:lnTo>
                        <a:pt x="69" y="320"/>
                      </a:lnTo>
                      <a:lnTo>
                        <a:pt x="67" y="318"/>
                      </a:lnTo>
                      <a:lnTo>
                        <a:pt x="66" y="317"/>
                      </a:lnTo>
                      <a:lnTo>
                        <a:pt x="64" y="310"/>
                      </a:lnTo>
                      <a:lnTo>
                        <a:pt x="60" y="303"/>
                      </a:lnTo>
                      <a:lnTo>
                        <a:pt x="55" y="298"/>
                      </a:lnTo>
                      <a:lnTo>
                        <a:pt x="51" y="292"/>
                      </a:lnTo>
                      <a:lnTo>
                        <a:pt x="45" y="279"/>
                      </a:lnTo>
                      <a:lnTo>
                        <a:pt x="41" y="271"/>
                      </a:lnTo>
                      <a:lnTo>
                        <a:pt x="40" y="266"/>
                      </a:lnTo>
                      <a:lnTo>
                        <a:pt x="38" y="264"/>
                      </a:lnTo>
                      <a:lnTo>
                        <a:pt x="41" y="258"/>
                      </a:lnTo>
                      <a:lnTo>
                        <a:pt x="41" y="254"/>
                      </a:lnTo>
                      <a:lnTo>
                        <a:pt x="41" y="251"/>
                      </a:lnTo>
                      <a:lnTo>
                        <a:pt x="38" y="252"/>
                      </a:lnTo>
                      <a:lnTo>
                        <a:pt x="36" y="252"/>
                      </a:lnTo>
                      <a:lnTo>
                        <a:pt x="33" y="251"/>
                      </a:lnTo>
                      <a:lnTo>
                        <a:pt x="31" y="250"/>
                      </a:lnTo>
                      <a:lnTo>
                        <a:pt x="27" y="245"/>
                      </a:lnTo>
                      <a:lnTo>
                        <a:pt x="23" y="239"/>
                      </a:lnTo>
                      <a:lnTo>
                        <a:pt x="20" y="237"/>
                      </a:lnTo>
                      <a:lnTo>
                        <a:pt x="19" y="232"/>
                      </a:lnTo>
                      <a:lnTo>
                        <a:pt x="15" y="222"/>
                      </a:lnTo>
                      <a:lnTo>
                        <a:pt x="13" y="213"/>
                      </a:lnTo>
                      <a:lnTo>
                        <a:pt x="10" y="203"/>
                      </a:lnTo>
                      <a:lnTo>
                        <a:pt x="8" y="200"/>
                      </a:lnTo>
                      <a:lnTo>
                        <a:pt x="7" y="198"/>
                      </a:lnTo>
                      <a:lnTo>
                        <a:pt x="7" y="193"/>
                      </a:lnTo>
                      <a:lnTo>
                        <a:pt x="8" y="189"/>
                      </a:lnTo>
                      <a:lnTo>
                        <a:pt x="9" y="187"/>
                      </a:lnTo>
                      <a:lnTo>
                        <a:pt x="10" y="183"/>
                      </a:lnTo>
                      <a:lnTo>
                        <a:pt x="10" y="175"/>
                      </a:lnTo>
                      <a:lnTo>
                        <a:pt x="9" y="170"/>
                      </a:lnTo>
                      <a:lnTo>
                        <a:pt x="8" y="167"/>
                      </a:lnTo>
                      <a:lnTo>
                        <a:pt x="8" y="164"/>
                      </a:lnTo>
                      <a:lnTo>
                        <a:pt x="8" y="162"/>
                      </a:lnTo>
                      <a:lnTo>
                        <a:pt x="8" y="160"/>
                      </a:lnTo>
                      <a:lnTo>
                        <a:pt x="8" y="157"/>
                      </a:lnTo>
                      <a:lnTo>
                        <a:pt x="7" y="154"/>
                      </a:lnTo>
                      <a:lnTo>
                        <a:pt x="5" y="149"/>
                      </a:lnTo>
                      <a:lnTo>
                        <a:pt x="7" y="141"/>
                      </a:lnTo>
                      <a:lnTo>
                        <a:pt x="9" y="132"/>
                      </a:lnTo>
                      <a:lnTo>
                        <a:pt x="12" y="124"/>
                      </a:lnTo>
                      <a:lnTo>
                        <a:pt x="13" y="119"/>
                      </a:lnTo>
                      <a:lnTo>
                        <a:pt x="12" y="116"/>
                      </a:lnTo>
                      <a:lnTo>
                        <a:pt x="12" y="113"/>
                      </a:lnTo>
                      <a:lnTo>
                        <a:pt x="12" y="111"/>
                      </a:lnTo>
                      <a:lnTo>
                        <a:pt x="14" y="107"/>
                      </a:lnTo>
                      <a:lnTo>
                        <a:pt x="14" y="103"/>
                      </a:lnTo>
                      <a:lnTo>
                        <a:pt x="14" y="99"/>
                      </a:lnTo>
                      <a:lnTo>
                        <a:pt x="13" y="94"/>
                      </a:lnTo>
                      <a:lnTo>
                        <a:pt x="14" y="91"/>
                      </a:lnTo>
                      <a:lnTo>
                        <a:pt x="15" y="84"/>
                      </a:lnTo>
                      <a:lnTo>
                        <a:pt x="15" y="78"/>
                      </a:lnTo>
                      <a:lnTo>
                        <a:pt x="15" y="72"/>
                      </a:lnTo>
                      <a:lnTo>
                        <a:pt x="13" y="66"/>
                      </a:lnTo>
                      <a:lnTo>
                        <a:pt x="13" y="62"/>
                      </a:lnTo>
                      <a:lnTo>
                        <a:pt x="13" y="59"/>
                      </a:lnTo>
                      <a:lnTo>
                        <a:pt x="13" y="48"/>
                      </a:lnTo>
                      <a:lnTo>
                        <a:pt x="12" y="43"/>
                      </a:lnTo>
                      <a:lnTo>
                        <a:pt x="9" y="39"/>
                      </a:lnTo>
                      <a:lnTo>
                        <a:pt x="3" y="30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3"/>
                      </a:lnTo>
                      <a:lnTo>
                        <a:pt x="7" y="22"/>
                      </a:lnTo>
                      <a:lnTo>
                        <a:pt x="13" y="22"/>
                      </a:lnTo>
                      <a:lnTo>
                        <a:pt x="24" y="24"/>
                      </a:lnTo>
                      <a:lnTo>
                        <a:pt x="27" y="23"/>
                      </a:lnTo>
                      <a:lnTo>
                        <a:pt x="28" y="22"/>
                      </a:lnTo>
                      <a:lnTo>
                        <a:pt x="31" y="22"/>
                      </a:lnTo>
                      <a:lnTo>
                        <a:pt x="32" y="23"/>
                      </a:lnTo>
                      <a:lnTo>
                        <a:pt x="38" y="35"/>
                      </a:lnTo>
                      <a:lnTo>
                        <a:pt x="42" y="40"/>
                      </a:lnTo>
                      <a:lnTo>
                        <a:pt x="43" y="40"/>
                      </a:lnTo>
                      <a:lnTo>
                        <a:pt x="46" y="40"/>
                      </a:lnTo>
                      <a:lnTo>
                        <a:pt x="47" y="36"/>
                      </a:lnTo>
                      <a:lnTo>
                        <a:pt x="47" y="32"/>
                      </a:lnTo>
                      <a:lnTo>
                        <a:pt x="45" y="21"/>
                      </a:lnTo>
                      <a:lnTo>
                        <a:pt x="41" y="10"/>
                      </a:lnTo>
                      <a:lnTo>
                        <a:pt x="38" y="4"/>
                      </a:lnTo>
                      <a:lnTo>
                        <a:pt x="517" y="0"/>
                      </a:lnTo>
                      <a:lnTo>
                        <a:pt x="527" y="8"/>
                      </a:lnTo>
                      <a:lnTo>
                        <a:pt x="535" y="13"/>
                      </a:lnTo>
                      <a:lnTo>
                        <a:pt x="537" y="14"/>
                      </a:lnTo>
                      <a:lnTo>
                        <a:pt x="540" y="15"/>
                      </a:lnTo>
                      <a:lnTo>
                        <a:pt x="554" y="11"/>
                      </a:lnTo>
                      <a:lnTo>
                        <a:pt x="560" y="10"/>
                      </a:lnTo>
                      <a:lnTo>
                        <a:pt x="563" y="10"/>
                      </a:lnTo>
                      <a:lnTo>
                        <a:pt x="565" y="11"/>
                      </a:lnTo>
                      <a:lnTo>
                        <a:pt x="569" y="15"/>
                      </a:lnTo>
                      <a:lnTo>
                        <a:pt x="573" y="17"/>
                      </a:lnTo>
                      <a:lnTo>
                        <a:pt x="577" y="17"/>
                      </a:lnTo>
                      <a:lnTo>
                        <a:pt x="586" y="17"/>
                      </a:lnTo>
                      <a:lnTo>
                        <a:pt x="596" y="17"/>
                      </a:lnTo>
                      <a:lnTo>
                        <a:pt x="605" y="20"/>
                      </a:lnTo>
                      <a:lnTo>
                        <a:pt x="615" y="22"/>
                      </a:lnTo>
                      <a:lnTo>
                        <a:pt x="617" y="22"/>
                      </a:lnTo>
                      <a:lnTo>
                        <a:pt x="619" y="21"/>
                      </a:lnTo>
                      <a:lnTo>
                        <a:pt x="621" y="20"/>
                      </a:lnTo>
                      <a:lnTo>
                        <a:pt x="624" y="17"/>
                      </a:lnTo>
                      <a:lnTo>
                        <a:pt x="631" y="17"/>
                      </a:lnTo>
                      <a:lnTo>
                        <a:pt x="635" y="19"/>
                      </a:lnTo>
                      <a:lnTo>
                        <a:pt x="638" y="20"/>
                      </a:lnTo>
                      <a:lnTo>
                        <a:pt x="652" y="30"/>
                      </a:lnTo>
                      <a:lnTo>
                        <a:pt x="667" y="40"/>
                      </a:lnTo>
                      <a:lnTo>
                        <a:pt x="682" y="47"/>
                      </a:lnTo>
                      <a:lnTo>
                        <a:pt x="699" y="53"/>
                      </a:lnTo>
                      <a:lnTo>
                        <a:pt x="701" y="55"/>
                      </a:lnTo>
                      <a:lnTo>
                        <a:pt x="704" y="59"/>
                      </a:lnTo>
                      <a:lnTo>
                        <a:pt x="709" y="71"/>
                      </a:lnTo>
                      <a:lnTo>
                        <a:pt x="711" y="75"/>
                      </a:lnTo>
                      <a:lnTo>
                        <a:pt x="715" y="80"/>
                      </a:lnTo>
                      <a:lnTo>
                        <a:pt x="720" y="84"/>
                      </a:lnTo>
                      <a:lnTo>
                        <a:pt x="724" y="88"/>
                      </a:lnTo>
                      <a:lnTo>
                        <a:pt x="733" y="100"/>
                      </a:lnTo>
                      <a:lnTo>
                        <a:pt x="738" y="112"/>
                      </a:lnTo>
                      <a:lnTo>
                        <a:pt x="742" y="124"/>
                      </a:lnTo>
                      <a:lnTo>
                        <a:pt x="742" y="129"/>
                      </a:lnTo>
                      <a:lnTo>
                        <a:pt x="740" y="132"/>
                      </a:lnTo>
                      <a:lnTo>
                        <a:pt x="735" y="141"/>
                      </a:lnTo>
                      <a:lnTo>
                        <a:pt x="724" y="155"/>
                      </a:lnTo>
                      <a:lnTo>
                        <a:pt x="724" y="156"/>
                      </a:lnTo>
                      <a:lnTo>
                        <a:pt x="724" y="157"/>
                      </a:lnTo>
                      <a:lnTo>
                        <a:pt x="727" y="160"/>
                      </a:lnTo>
                      <a:lnTo>
                        <a:pt x="733" y="162"/>
                      </a:lnTo>
                      <a:lnTo>
                        <a:pt x="740" y="162"/>
                      </a:lnTo>
                      <a:lnTo>
                        <a:pt x="749" y="161"/>
                      </a:lnTo>
                      <a:lnTo>
                        <a:pt x="760" y="158"/>
                      </a:lnTo>
                      <a:lnTo>
                        <a:pt x="779" y="152"/>
                      </a:lnTo>
                      <a:lnTo>
                        <a:pt x="796" y="144"/>
                      </a:lnTo>
                      <a:lnTo>
                        <a:pt x="799" y="142"/>
                      </a:lnTo>
                      <a:lnTo>
                        <a:pt x="801" y="138"/>
                      </a:lnTo>
                      <a:lnTo>
                        <a:pt x="803" y="136"/>
                      </a:lnTo>
                      <a:lnTo>
                        <a:pt x="807" y="134"/>
                      </a:lnTo>
                      <a:lnTo>
                        <a:pt x="810" y="131"/>
                      </a:lnTo>
                      <a:lnTo>
                        <a:pt x="814" y="129"/>
                      </a:lnTo>
                      <a:lnTo>
                        <a:pt x="822" y="124"/>
                      </a:lnTo>
                      <a:lnTo>
                        <a:pt x="824" y="124"/>
                      </a:lnTo>
                      <a:lnTo>
                        <a:pt x="826" y="124"/>
                      </a:lnTo>
                      <a:lnTo>
                        <a:pt x="829" y="125"/>
                      </a:lnTo>
                      <a:lnTo>
                        <a:pt x="833" y="124"/>
                      </a:lnTo>
                      <a:lnTo>
                        <a:pt x="838" y="123"/>
                      </a:lnTo>
                      <a:lnTo>
                        <a:pt x="842" y="122"/>
                      </a:lnTo>
                      <a:lnTo>
                        <a:pt x="845" y="118"/>
                      </a:lnTo>
                      <a:lnTo>
                        <a:pt x="857" y="103"/>
                      </a:lnTo>
                      <a:lnTo>
                        <a:pt x="861" y="99"/>
                      </a:lnTo>
                      <a:lnTo>
                        <a:pt x="865" y="96"/>
                      </a:lnTo>
                      <a:lnTo>
                        <a:pt x="870" y="94"/>
                      </a:lnTo>
                      <a:lnTo>
                        <a:pt x="875" y="93"/>
                      </a:lnTo>
                      <a:lnTo>
                        <a:pt x="887" y="94"/>
                      </a:lnTo>
                      <a:lnTo>
                        <a:pt x="898" y="96"/>
                      </a:lnTo>
                      <a:lnTo>
                        <a:pt x="908" y="96"/>
                      </a:lnTo>
                      <a:lnTo>
                        <a:pt x="913" y="94"/>
                      </a:lnTo>
                      <a:lnTo>
                        <a:pt x="918" y="93"/>
                      </a:lnTo>
                      <a:lnTo>
                        <a:pt x="928" y="86"/>
                      </a:lnTo>
                      <a:lnTo>
                        <a:pt x="937" y="78"/>
                      </a:lnTo>
                      <a:lnTo>
                        <a:pt x="945" y="68"/>
                      </a:lnTo>
                      <a:lnTo>
                        <a:pt x="951" y="60"/>
                      </a:lnTo>
                      <a:lnTo>
                        <a:pt x="956" y="53"/>
                      </a:lnTo>
                      <a:lnTo>
                        <a:pt x="959" y="49"/>
                      </a:lnTo>
                      <a:lnTo>
                        <a:pt x="961" y="47"/>
                      </a:lnTo>
                      <a:lnTo>
                        <a:pt x="968" y="45"/>
                      </a:lnTo>
                      <a:lnTo>
                        <a:pt x="974" y="45"/>
                      </a:lnTo>
                      <a:lnTo>
                        <a:pt x="980" y="45"/>
                      </a:lnTo>
                      <a:lnTo>
                        <a:pt x="987" y="45"/>
                      </a:lnTo>
                      <a:lnTo>
                        <a:pt x="987" y="52"/>
                      </a:lnTo>
                      <a:lnTo>
                        <a:pt x="988" y="60"/>
                      </a:lnTo>
                      <a:lnTo>
                        <a:pt x="991" y="69"/>
                      </a:lnTo>
                      <a:lnTo>
                        <a:pt x="993" y="79"/>
                      </a:lnTo>
                      <a:lnTo>
                        <a:pt x="996" y="86"/>
                      </a:lnTo>
                      <a:lnTo>
                        <a:pt x="998" y="88"/>
                      </a:lnTo>
                      <a:lnTo>
                        <a:pt x="1001" y="91"/>
                      </a:lnTo>
                      <a:lnTo>
                        <a:pt x="1000" y="93"/>
                      </a:lnTo>
                      <a:lnTo>
                        <a:pt x="1000" y="96"/>
                      </a:lnTo>
                      <a:lnTo>
                        <a:pt x="1000" y="100"/>
                      </a:lnTo>
                      <a:lnTo>
                        <a:pt x="998" y="103"/>
                      </a:lnTo>
                      <a:lnTo>
                        <a:pt x="996" y="105"/>
                      </a:lnTo>
                      <a:lnTo>
                        <a:pt x="989" y="107"/>
                      </a:lnTo>
                      <a:lnTo>
                        <a:pt x="983" y="107"/>
                      </a:lnTo>
                      <a:lnTo>
                        <a:pt x="975" y="107"/>
                      </a:lnTo>
                      <a:lnTo>
                        <a:pt x="973" y="106"/>
                      </a:lnTo>
                      <a:lnTo>
                        <a:pt x="972" y="106"/>
                      </a:lnTo>
                      <a:lnTo>
                        <a:pt x="967" y="107"/>
                      </a:lnTo>
                      <a:lnTo>
                        <a:pt x="963" y="110"/>
                      </a:lnTo>
                      <a:lnTo>
                        <a:pt x="960" y="115"/>
                      </a:lnTo>
                      <a:lnTo>
                        <a:pt x="958" y="118"/>
                      </a:lnTo>
                      <a:lnTo>
                        <a:pt x="956" y="119"/>
                      </a:lnTo>
                      <a:lnTo>
                        <a:pt x="955" y="120"/>
                      </a:lnTo>
                      <a:lnTo>
                        <a:pt x="953" y="120"/>
                      </a:lnTo>
                      <a:lnTo>
                        <a:pt x="951" y="122"/>
                      </a:lnTo>
                      <a:lnTo>
                        <a:pt x="946" y="129"/>
                      </a:lnTo>
                      <a:lnTo>
                        <a:pt x="941" y="135"/>
                      </a:lnTo>
                      <a:lnTo>
                        <a:pt x="939" y="138"/>
                      </a:lnTo>
                      <a:lnTo>
                        <a:pt x="937" y="143"/>
                      </a:lnTo>
                      <a:lnTo>
                        <a:pt x="937" y="151"/>
                      </a:lnTo>
                      <a:lnTo>
                        <a:pt x="939" y="161"/>
                      </a:lnTo>
                      <a:lnTo>
                        <a:pt x="942" y="169"/>
                      </a:lnTo>
                      <a:lnTo>
                        <a:pt x="944" y="170"/>
                      </a:lnTo>
                      <a:lnTo>
                        <a:pt x="946" y="170"/>
                      </a:lnTo>
                      <a:lnTo>
                        <a:pt x="950" y="168"/>
                      </a:lnTo>
                      <a:lnTo>
                        <a:pt x="953" y="167"/>
                      </a:lnTo>
                      <a:lnTo>
                        <a:pt x="953" y="168"/>
                      </a:lnTo>
                      <a:lnTo>
                        <a:pt x="951" y="170"/>
                      </a:lnTo>
                      <a:lnTo>
                        <a:pt x="949" y="173"/>
                      </a:lnTo>
                      <a:lnTo>
                        <a:pt x="940" y="177"/>
                      </a:lnTo>
                      <a:lnTo>
                        <a:pt x="936" y="179"/>
                      </a:lnTo>
                      <a:lnTo>
                        <a:pt x="932" y="177"/>
                      </a:lnTo>
                      <a:lnTo>
                        <a:pt x="925" y="174"/>
                      </a:lnTo>
                      <a:lnTo>
                        <a:pt x="921" y="174"/>
                      </a:lnTo>
                      <a:lnTo>
                        <a:pt x="908" y="179"/>
                      </a:lnTo>
                      <a:lnTo>
                        <a:pt x="895" y="182"/>
                      </a:lnTo>
                      <a:lnTo>
                        <a:pt x="889" y="184"/>
                      </a:lnTo>
                      <a:lnTo>
                        <a:pt x="885" y="187"/>
                      </a:lnTo>
                      <a:lnTo>
                        <a:pt x="881" y="192"/>
                      </a:lnTo>
                      <a:lnTo>
                        <a:pt x="878" y="196"/>
                      </a:lnTo>
                      <a:lnTo>
                        <a:pt x="876" y="201"/>
                      </a:lnTo>
                      <a:lnTo>
                        <a:pt x="876" y="205"/>
                      </a:lnTo>
                      <a:lnTo>
                        <a:pt x="880" y="212"/>
                      </a:lnTo>
                      <a:lnTo>
                        <a:pt x="881" y="213"/>
                      </a:lnTo>
                      <a:lnTo>
                        <a:pt x="880" y="214"/>
                      </a:lnTo>
                      <a:lnTo>
                        <a:pt x="879" y="218"/>
                      </a:lnTo>
                      <a:lnTo>
                        <a:pt x="878" y="222"/>
                      </a:lnTo>
                      <a:lnTo>
                        <a:pt x="876" y="225"/>
                      </a:lnTo>
                      <a:lnTo>
                        <a:pt x="875" y="226"/>
                      </a:lnTo>
                      <a:lnTo>
                        <a:pt x="871" y="226"/>
                      </a:lnTo>
                      <a:lnTo>
                        <a:pt x="867" y="225"/>
                      </a:lnTo>
                      <a:lnTo>
                        <a:pt x="864" y="221"/>
                      </a:lnTo>
                      <a:lnTo>
                        <a:pt x="861" y="218"/>
                      </a:lnTo>
                      <a:lnTo>
                        <a:pt x="861" y="217"/>
                      </a:lnTo>
                      <a:lnTo>
                        <a:pt x="860" y="217"/>
                      </a:lnTo>
                      <a:lnTo>
                        <a:pt x="860" y="224"/>
                      </a:lnTo>
                      <a:lnTo>
                        <a:pt x="861" y="230"/>
                      </a:lnTo>
                      <a:lnTo>
                        <a:pt x="862" y="235"/>
                      </a:lnTo>
                      <a:lnTo>
                        <a:pt x="864" y="241"/>
                      </a:lnTo>
                      <a:lnTo>
                        <a:pt x="864" y="245"/>
                      </a:lnTo>
                      <a:lnTo>
                        <a:pt x="864" y="247"/>
                      </a:lnTo>
                      <a:lnTo>
                        <a:pt x="860" y="253"/>
                      </a:lnTo>
                      <a:lnTo>
                        <a:pt x="857" y="258"/>
                      </a:lnTo>
                      <a:lnTo>
                        <a:pt x="853" y="267"/>
                      </a:lnTo>
                      <a:lnTo>
                        <a:pt x="851" y="267"/>
                      </a:lnTo>
                      <a:lnTo>
                        <a:pt x="848" y="267"/>
                      </a:lnTo>
                      <a:lnTo>
                        <a:pt x="848" y="265"/>
                      </a:lnTo>
                      <a:lnTo>
                        <a:pt x="847" y="250"/>
                      </a:lnTo>
                      <a:lnTo>
                        <a:pt x="845" y="243"/>
                      </a:lnTo>
                      <a:lnTo>
                        <a:pt x="842" y="240"/>
                      </a:lnTo>
                      <a:lnTo>
                        <a:pt x="840" y="237"/>
                      </a:lnTo>
                      <a:lnTo>
                        <a:pt x="838" y="235"/>
                      </a:lnTo>
                      <a:lnTo>
                        <a:pt x="838" y="233"/>
                      </a:lnTo>
                      <a:lnTo>
                        <a:pt x="840" y="227"/>
                      </a:lnTo>
                      <a:lnTo>
                        <a:pt x="840" y="226"/>
                      </a:lnTo>
                      <a:lnTo>
                        <a:pt x="838" y="226"/>
                      </a:lnTo>
                      <a:lnTo>
                        <a:pt x="836" y="226"/>
                      </a:lnTo>
                      <a:lnTo>
                        <a:pt x="833" y="226"/>
                      </a:lnTo>
                      <a:lnTo>
                        <a:pt x="832" y="228"/>
                      </a:lnTo>
                      <a:lnTo>
                        <a:pt x="833" y="230"/>
                      </a:lnTo>
                      <a:lnTo>
                        <a:pt x="834" y="234"/>
                      </a:lnTo>
                      <a:lnTo>
                        <a:pt x="834" y="238"/>
                      </a:lnTo>
                      <a:lnTo>
                        <a:pt x="834" y="243"/>
                      </a:lnTo>
                      <a:lnTo>
                        <a:pt x="836" y="246"/>
                      </a:lnTo>
                      <a:lnTo>
                        <a:pt x="840" y="251"/>
                      </a:lnTo>
                      <a:lnTo>
                        <a:pt x="841" y="254"/>
                      </a:lnTo>
                      <a:lnTo>
                        <a:pt x="841" y="257"/>
                      </a:lnTo>
                      <a:lnTo>
                        <a:pt x="840" y="263"/>
                      </a:lnTo>
                      <a:lnTo>
                        <a:pt x="838" y="265"/>
                      </a:lnTo>
                      <a:lnTo>
                        <a:pt x="838" y="269"/>
                      </a:lnTo>
                      <a:lnTo>
                        <a:pt x="841" y="273"/>
                      </a:lnTo>
                      <a:lnTo>
                        <a:pt x="845" y="278"/>
                      </a:lnTo>
                      <a:lnTo>
                        <a:pt x="847" y="284"/>
                      </a:lnTo>
                      <a:lnTo>
                        <a:pt x="848" y="286"/>
                      </a:lnTo>
                      <a:lnTo>
                        <a:pt x="847" y="290"/>
                      </a:lnTo>
                      <a:lnTo>
                        <a:pt x="846" y="292"/>
                      </a:lnTo>
                      <a:lnTo>
                        <a:pt x="842" y="292"/>
                      </a:lnTo>
                      <a:lnTo>
                        <a:pt x="840" y="292"/>
                      </a:lnTo>
                      <a:lnTo>
                        <a:pt x="838" y="294"/>
                      </a:lnTo>
                      <a:lnTo>
                        <a:pt x="837" y="296"/>
                      </a:lnTo>
                      <a:lnTo>
                        <a:pt x="838" y="297"/>
                      </a:lnTo>
                      <a:lnTo>
                        <a:pt x="840" y="298"/>
                      </a:lnTo>
                      <a:lnTo>
                        <a:pt x="842" y="298"/>
                      </a:lnTo>
                      <a:lnTo>
                        <a:pt x="847" y="298"/>
                      </a:lnTo>
                      <a:lnTo>
                        <a:pt x="852" y="297"/>
                      </a:lnTo>
                      <a:lnTo>
                        <a:pt x="853" y="298"/>
                      </a:lnTo>
                      <a:lnTo>
                        <a:pt x="853" y="301"/>
                      </a:lnTo>
                      <a:lnTo>
                        <a:pt x="852" y="305"/>
                      </a:lnTo>
                      <a:lnTo>
                        <a:pt x="851" y="307"/>
                      </a:lnTo>
                      <a:lnTo>
                        <a:pt x="848" y="308"/>
                      </a:lnTo>
                      <a:lnTo>
                        <a:pt x="845" y="308"/>
                      </a:lnTo>
                      <a:lnTo>
                        <a:pt x="841" y="308"/>
                      </a:lnTo>
                      <a:lnTo>
                        <a:pt x="836" y="308"/>
                      </a:lnTo>
                      <a:lnTo>
                        <a:pt x="836" y="309"/>
                      </a:lnTo>
                      <a:lnTo>
                        <a:pt x="836" y="310"/>
                      </a:lnTo>
                      <a:lnTo>
                        <a:pt x="837" y="313"/>
                      </a:lnTo>
                      <a:lnTo>
                        <a:pt x="840" y="315"/>
                      </a:lnTo>
                      <a:lnTo>
                        <a:pt x="842" y="316"/>
                      </a:lnTo>
                      <a:lnTo>
                        <a:pt x="843" y="318"/>
                      </a:lnTo>
                      <a:lnTo>
                        <a:pt x="843" y="321"/>
                      </a:lnTo>
                      <a:lnTo>
                        <a:pt x="842" y="323"/>
                      </a:lnTo>
                      <a:lnTo>
                        <a:pt x="840" y="324"/>
                      </a:lnTo>
                      <a:lnTo>
                        <a:pt x="831" y="323"/>
                      </a:lnTo>
                      <a:lnTo>
                        <a:pt x="827" y="323"/>
                      </a:lnTo>
                      <a:lnTo>
                        <a:pt x="824" y="324"/>
                      </a:lnTo>
                      <a:lnTo>
                        <a:pt x="819" y="329"/>
                      </a:lnTo>
                      <a:lnTo>
                        <a:pt x="812" y="336"/>
                      </a:lnTo>
                      <a:lnTo>
                        <a:pt x="808" y="339"/>
                      </a:lnTo>
                      <a:lnTo>
                        <a:pt x="803" y="341"/>
                      </a:lnTo>
                      <a:lnTo>
                        <a:pt x="794" y="346"/>
                      </a:lnTo>
                      <a:lnTo>
                        <a:pt x="791" y="348"/>
                      </a:lnTo>
                      <a:lnTo>
                        <a:pt x="789" y="353"/>
                      </a:lnTo>
                      <a:lnTo>
                        <a:pt x="786" y="355"/>
                      </a:lnTo>
                      <a:lnTo>
                        <a:pt x="784" y="359"/>
                      </a:lnTo>
                      <a:lnTo>
                        <a:pt x="776" y="365"/>
                      </a:lnTo>
                      <a:lnTo>
                        <a:pt x="773" y="366"/>
                      </a:lnTo>
                      <a:lnTo>
                        <a:pt x="771" y="367"/>
                      </a:lnTo>
                      <a:lnTo>
                        <a:pt x="768" y="368"/>
                      </a:lnTo>
                      <a:lnTo>
                        <a:pt x="767" y="369"/>
                      </a:lnTo>
                      <a:lnTo>
                        <a:pt x="763" y="373"/>
                      </a:lnTo>
                      <a:lnTo>
                        <a:pt x="761" y="377"/>
                      </a:lnTo>
                      <a:lnTo>
                        <a:pt x="758" y="377"/>
                      </a:lnTo>
                      <a:lnTo>
                        <a:pt x="756" y="378"/>
                      </a:lnTo>
                      <a:lnTo>
                        <a:pt x="752" y="378"/>
                      </a:lnTo>
                      <a:lnTo>
                        <a:pt x="751" y="381"/>
                      </a:lnTo>
                      <a:lnTo>
                        <a:pt x="749" y="386"/>
                      </a:lnTo>
                      <a:lnTo>
                        <a:pt x="749" y="393"/>
                      </a:lnTo>
                      <a:lnTo>
                        <a:pt x="751" y="406"/>
                      </a:lnTo>
                      <a:lnTo>
                        <a:pt x="754" y="419"/>
                      </a:lnTo>
                      <a:lnTo>
                        <a:pt x="758" y="432"/>
                      </a:lnTo>
                      <a:lnTo>
                        <a:pt x="763" y="441"/>
                      </a:lnTo>
                      <a:lnTo>
                        <a:pt x="765" y="445"/>
                      </a:lnTo>
                      <a:lnTo>
                        <a:pt x="766" y="450"/>
                      </a:lnTo>
                      <a:lnTo>
                        <a:pt x="765" y="456"/>
                      </a:lnTo>
                      <a:lnTo>
                        <a:pt x="765" y="461"/>
                      </a:lnTo>
                      <a:lnTo>
                        <a:pt x="767" y="467"/>
                      </a:lnTo>
                      <a:lnTo>
                        <a:pt x="768" y="469"/>
                      </a:lnTo>
                      <a:lnTo>
                        <a:pt x="771" y="471"/>
                      </a:lnTo>
                      <a:lnTo>
                        <a:pt x="772" y="473"/>
                      </a:lnTo>
                      <a:lnTo>
                        <a:pt x="772" y="476"/>
                      </a:lnTo>
                      <a:lnTo>
                        <a:pt x="772" y="479"/>
                      </a:lnTo>
                      <a:lnTo>
                        <a:pt x="772" y="481"/>
                      </a:lnTo>
                      <a:lnTo>
                        <a:pt x="775" y="488"/>
                      </a:lnTo>
                      <a:lnTo>
                        <a:pt x="775" y="494"/>
                      </a:lnTo>
                      <a:lnTo>
                        <a:pt x="773" y="495"/>
                      </a:lnTo>
                      <a:lnTo>
                        <a:pt x="773" y="501"/>
                      </a:lnTo>
                      <a:lnTo>
                        <a:pt x="772" y="506"/>
                      </a:lnTo>
                      <a:lnTo>
                        <a:pt x="771" y="509"/>
                      </a:lnTo>
                      <a:lnTo>
                        <a:pt x="767" y="513"/>
                      </a:lnTo>
                      <a:lnTo>
                        <a:pt x="765" y="515"/>
                      </a:lnTo>
                      <a:lnTo>
                        <a:pt x="760" y="518"/>
                      </a:lnTo>
                      <a:lnTo>
                        <a:pt x="754" y="518"/>
                      </a:lnTo>
                      <a:lnTo>
                        <a:pt x="749" y="516"/>
                      </a:lnTo>
                      <a:lnTo>
                        <a:pt x="751" y="515"/>
                      </a:lnTo>
                      <a:lnTo>
                        <a:pt x="753" y="514"/>
                      </a:lnTo>
                      <a:lnTo>
                        <a:pt x="754" y="512"/>
                      </a:lnTo>
                      <a:lnTo>
                        <a:pt x="754" y="511"/>
                      </a:lnTo>
                      <a:lnTo>
                        <a:pt x="752" y="506"/>
                      </a:lnTo>
                      <a:lnTo>
                        <a:pt x="747" y="501"/>
                      </a:lnTo>
                      <a:lnTo>
                        <a:pt x="738" y="495"/>
                      </a:lnTo>
                      <a:lnTo>
                        <a:pt x="737" y="493"/>
                      </a:lnTo>
                      <a:lnTo>
                        <a:pt x="737" y="492"/>
                      </a:lnTo>
                      <a:lnTo>
                        <a:pt x="737" y="487"/>
                      </a:lnTo>
                      <a:lnTo>
                        <a:pt x="729" y="476"/>
                      </a:lnTo>
                      <a:lnTo>
                        <a:pt x="728" y="471"/>
                      </a:lnTo>
                      <a:lnTo>
                        <a:pt x="727" y="469"/>
                      </a:lnTo>
                      <a:lnTo>
                        <a:pt x="728" y="465"/>
                      </a:lnTo>
                      <a:lnTo>
                        <a:pt x="729" y="460"/>
                      </a:lnTo>
                      <a:lnTo>
                        <a:pt x="729" y="452"/>
                      </a:lnTo>
                      <a:lnTo>
                        <a:pt x="729" y="447"/>
                      </a:lnTo>
                      <a:lnTo>
                        <a:pt x="725" y="442"/>
                      </a:lnTo>
                      <a:lnTo>
                        <a:pt x="723" y="438"/>
                      </a:lnTo>
                      <a:lnTo>
                        <a:pt x="718" y="436"/>
                      </a:lnTo>
                      <a:lnTo>
                        <a:pt x="715" y="433"/>
                      </a:lnTo>
                      <a:lnTo>
                        <a:pt x="713" y="431"/>
                      </a:lnTo>
                      <a:lnTo>
                        <a:pt x="713" y="426"/>
                      </a:lnTo>
                      <a:lnTo>
                        <a:pt x="709" y="424"/>
                      </a:lnTo>
                      <a:lnTo>
                        <a:pt x="704" y="419"/>
                      </a:lnTo>
                      <a:lnTo>
                        <a:pt x="701" y="418"/>
                      </a:lnTo>
                      <a:lnTo>
                        <a:pt x="700" y="418"/>
                      </a:lnTo>
                      <a:lnTo>
                        <a:pt x="695" y="419"/>
                      </a:lnTo>
                      <a:lnTo>
                        <a:pt x="686" y="424"/>
                      </a:lnTo>
                      <a:lnTo>
                        <a:pt x="682" y="424"/>
                      </a:lnTo>
                      <a:lnTo>
                        <a:pt x="680" y="423"/>
                      </a:lnTo>
                      <a:lnTo>
                        <a:pt x="677" y="420"/>
                      </a:lnTo>
                      <a:lnTo>
                        <a:pt x="674" y="419"/>
                      </a:lnTo>
                      <a:lnTo>
                        <a:pt x="669" y="416"/>
                      </a:lnTo>
                      <a:lnTo>
                        <a:pt x="667" y="411"/>
                      </a:lnTo>
                      <a:lnTo>
                        <a:pt x="666" y="411"/>
                      </a:lnTo>
                      <a:lnTo>
                        <a:pt x="664" y="411"/>
                      </a:lnTo>
                      <a:lnTo>
                        <a:pt x="659" y="414"/>
                      </a:lnTo>
                      <a:lnTo>
                        <a:pt x="653" y="417"/>
                      </a:lnTo>
                      <a:lnTo>
                        <a:pt x="647" y="417"/>
                      </a:lnTo>
                      <a:lnTo>
                        <a:pt x="639" y="416"/>
                      </a:lnTo>
                      <a:lnTo>
                        <a:pt x="638" y="416"/>
                      </a:lnTo>
                      <a:lnTo>
                        <a:pt x="635" y="417"/>
                      </a:lnTo>
                      <a:lnTo>
                        <a:pt x="631" y="419"/>
                      </a:lnTo>
                      <a:lnTo>
                        <a:pt x="626" y="419"/>
                      </a:lnTo>
                      <a:lnTo>
                        <a:pt x="622" y="418"/>
                      </a:lnTo>
                      <a:lnTo>
                        <a:pt x="617" y="416"/>
                      </a:lnTo>
                      <a:lnTo>
                        <a:pt x="613" y="416"/>
                      </a:lnTo>
                      <a:lnTo>
                        <a:pt x="610" y="416"/>
                      </a:lnTo>
                      <a:lnTo>
                        <a:pt x="608" y="418"/>
                      </a:lnTo>
                      <a:lnTo>
                        <a:pt x="607" y="419"/>
                      </a:lnTo>
                      <a:lnTo>
                        <a:pt x="607" y="422"/>
                      </a:lnTo>
                      <a:lnTo>
                        <a:pt x="610" y="424"/>
                      </a:lnTo>
                      <a:lnTo>
                        <a:pt x="612" y="428"/>
                      </a:lnTo>
                      <a:lnTo>
                        <a:pt x="612" y="433"/>
                      </a:lnTo>
                      <a:lnTo>
                        <a:pt x="612" y="436"/>
                      </a:lnTo>
                      <a:lnTo>
                        <a:pt x="615" y="438"/>
                      </a:lnTo>
                      <a:lnTo>
                        <a:pt x="616" y="441"/>
                      </a:lnTo>
                      <a:lnTo>
                        <a:pt x="616" y="443"/>
                      </a:lnTo>
                      <a:lnTo>
                        <a:pt x="615" y="444"/>
                      </a:lnTo>
                      <a:lnTo>
                        <a:pt x="612" y="443"/>
                      </a:lnTo>
                      <a:lnTo>
                        <a:pt x="610" y="442"/>
                      </a:lnTo>
                      <a:lnTo>
                        <a:pt x="607" y="441"/>
                      </a:lnTo>
                      <a:lnTo>
                        <a:pt x="606" y="438"/>
                      </a:lnTo>
                      <a:lnTo>
                        <a:pt x="603" y="437"/>
                      </a:lnTo>
                      <a:lnTo>
                        <a:pt x="602" y="437"/>
                      </a:lnTo>
                      <a:lnTo>
                        <a:pt x="601" y="438"/>
                      </a:lnTo>
                      <a:lnTo>
                        <a:pt x="598" y="438"/>
                      </a:lnTo>
                      <a:lnTo>
                        <a:pt x="597" y="438"/>
                      </a:lnTo>
                      <a:lnTo>
                        <a:pt x="594" y="437"/>
                      </a:lnTo>
                      <a:lnTo>
                        <a:pt x="591" y="437"/>
                      </a:lnTo>
                      <a:lnTo>
                        <a:pt x="588" y="438"/>
                      </a:lnTo>
                      <a:lnTo>
                        <a:pt x="587" y="438"/>
                      </a:lnTo>
                      <a:lnTo>
                        <a:pt x="584" y="433"/>
                      </a:lnTo>
                      <a:lnTo>
                        <a:pt x="582" y="432"/>
                      </a:lnTo>
                      <a:lnTo>
                        <a:pt x="574" y="429"/>
                      </a:lnTo>
                      <a:lnTo>
                        <a:pt x="570" y="426"/>
                      </a:lnTo>
                      <a:lnTo>
                        <a:pt x="565" y="426"/>
                      </a:lnTo>
                      <a:lnTo>
                        <a:pt x="560" y="425"/>
                      </a:lnTo>
                      <a:lnTo>
                        <a:pt x="550" y="422"/>
                      </a:lnTo>
                      <a:lnTo>
                        <a:pt x="546" y="422"/>
                      </a:lnTo>
                      <a:lnTo>
                        <a:pt x="542" y="422"/>
                      </a:lnTo>
                      <a:lnTo>
                        <a:pt x="536" y="424"/>
                      </a:lnTo>
                      <a:lnTo>
                        <a:pt x="531" y="425"/>
                      </a:lnTo>
                      <a:lnTo>
                        <a:pt x="526" y="426"/>
                      </a:lnTo>
                      <a:lnTo>
                        <a:pt x="521" y="426"/>
                      </a:lnTo>
                      <a:lnTo>
                        <a:pt x="517" y="429"/>
                      </a:lnTo>
                      <a:lnTo>
                        <a:pt x="507" y="438"/>
                      </a:lnTo>
                      <a:lnTo>
                        <a:pt x="503" y="443"/>
                      </a:lnTo>
                      <a:lnTo>
                        <a:pt x="500" y="449"/>
                      </a:lnTo>
                      <a:lnTo>
                        <a:pt x="498" y="452"/>
                      </a:lnTo>
                      <a:lnTo>
                        <a:pt x="494" y="454"/>
                      </a:lnTo>
                      <a:lnTo>
                        <a:pt x="493" y="452"/>
                      </a:lnTo>
                      <a:lnTo>
                        <a:pt x="490" y="452"/>
                      </a:lnTo>
                      <a:lnTo>
                        <a:pt x="488" y="452"/>
                      </a:lnTo>
                      <a:lnTo>
                        <a:pt x="485" y="452"/>
                      </a:lnTo>
                      <a:lnTo>
                        <a:pt x="480" y="456"/>
                      </a:lnTo>
                      <a:lnTo>
                        <a:pt x="476" y="462"/>
                      </a:lnTo>
                      <a:lnTo>
                        <a:pt x="474" y="467"/>
                      </a:lnTo>
                      <a:lnTo>
                        <a:pt x="471" y="474"/>
                      </a:lnTo>
                      <a:lnTo>
                        <a:pt x="470" y="481"/>
                      </a:lnTo>
                      <a:lnTo>
                        <a:pt x="471" y="488"/>
                      </a:lnTo>
                      <a:lnTo>
                        <a:pt x="473" y="495"/>
                      </a:lnTo>
                      <a:lnTo>
                        <a:pt x="474" y="497"/>
                      </a:lnTo>
                      <a:lnTo>
                        <a:pt x="474" y="50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5" name="Freeform 1010">
                  <a:extLst>
                    <a:ext uri="{FF2B5EF4-FFF2-40B4-BE49-F238E27FC236}">
                      <a16:creationId xmlns:a16="http://schemas.microsoft.com/office/drawing/2014/main" id="{F927AB58-521E-B444-8DFB-125CA71D9B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4149" y="2935748"/>
                  <a:ext cx="8879" cy="19239"/>
                </a:xfrm>
                <a:custGeom>
                  <a:avLst/>
                  <a:gdLst>
                    <a:gd name="T0" fmla="*/ 2147483647 w 6"/>
                    <a:gd name="T1" fmla="*/ 2147483647 h 13"/>
                    <a:gd name="T2" fmla="*/ 2147483647 w 6"/>
                    <a:gd name="T3" fmla="*/ 2147483647 h 13"/>
                    <a:gd name="T4" fmla="*/ 2147483647 w 6"/>
                    <a:gd name="T5" fmla="*/ 2147483647 h 13"/>
                    <a:gd name="T6" fmla="*/ 2147483647 w 6"/>
                    <a:gd name="T7" fmla="*/ 2147483647 h 13"/>
                    <a:gd name="T8" fmla="*/ 2147483647 w 6"/>
                    <a:gd name="T9" fmla="*/ 2147483647 h 13"/>
                    <a:gd name="T10" fmla="*/ 2147483647 w 6"/>
                    <a:gd name="T11" fmla="*/ 2147483647 h 13"/>
                    <a:gd name="T12" fmla="*/ 2147483647 w 6"/>
                    <a:gd name="T13" fmla="*/ 2147483647 h 13"/>
                    <a:gd name="T14" fmla="*/ 0 w 6"/>
                    <a:gd name="T15" fmla="*/ 2147483647 h 13"/>
                    <a:gd name="T16" fmla="*/ 0 w 6"/>
                    <a:gd name="T17" fmla="*/ 2147483647 h 13"/>
                    <a:gd name="T18" fmla="*/ 2147483647 w 6"/>
                    <a:gd name="T19" fmla="*/ 0 h 13"/>
                    <a:gd name="T20" fmla="*/ 2147483647 w 6"/>
                    <a:gd name="T21" fmla="*/ 0 h 13"/>
                    <a:gd name="T22" fmla="*/ 2147483647 w 6"/>
                    <a:gd name="T23" fmla="*/ 0 h 13"/>
                    <a:gd name="T24" fmla="*/ 2147483647 w 6"/>
                    <a:gd name="T25" fmla="*/ 0 h 13"/>
                    <a:gd name="T26" fmla="*/ 2147483647 w 6"/>
                    <a:gd name="T27" fmla="*/ 2147483647 h 13"/>
                    <a:gd name="T28" fmla="*/ 2147483647 w 6"/>
                    <a:gd name="T29" fmla="*/ 2147483647 h 13"/>
                    <a:gd name="T30" fmla="*/ 2147483647 w 6"/>
                    <a:gd name="T31" fmla="*/ 2147483647 h 13"/>
                    <a:gd name="T32" fmla="*/ 2147483647 w 6"/>
                    <a:gd name="T33" fmla="*/ 2147483647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"/>
                    <a:gd name="T52" fmla="*/ 0 h 13"/>
                    <a:gd name="T53" fmla="*/ 6 w 6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" h="13">
                      <a:moveTo>
                        <a:pt x="6" y="8"/>
                      </a:move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5" y="13"/>
                      </a:lnTo>
                      <a:lnTo>
                        <a:pt x="3" y="13"/>
                      </a:lnTo>
                      <a:lnTo>
                        <a:pt x="1" y="11"/>
                      </a:ln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6" name="Freeform 1011">
                  <a:extLst>
                    <a:ext uri="{FF2B5EF4-FFF2-40B4-BE49-F238E27FC236}">
                      <a16:creationId xmlns:a16="http://schemas.microsoft.com/office/drawing/2014/main" id="{3350B599-0559-9A45-A3E2-BE4F1922A0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3071" y="2879512"/>
                  <a:ext cx="16278" cy="11839"/>
                </a:xfrm>
                <a:custGeom>
                  <a:avLst/>
                  <a:gdLst>
                    <a:gd name="T0" fmla="*/ 2147483647 w 12"/>
                    <a:gd name="T1" fmla="*/ 2147483647 h 8"/>
                    <a:gd name="T2" fmla="*/ 2147483647 w 12"/>
                    <a:gd name="T3" fmla="*/ 2147483647 h 8"/>
                    <a:gd name="T4" fmla="*/ 0 w 12"/>
                    <a:gd name="T5" fmla="*/ 2147483647 h 8"/>
                    <a:gd name="T6" fmla="*/ 2147483647 w 12"/>
                    <a:gd name="T7" fmla="*/ 2147483647 h 8"/>
                    <a:gd name="T8" fmla="*/ 2147483647 w 12"/>
                    <a:gd name="T9" fmla="*/ 0 h 8"/>
                    <a:gd name="T10" fmla="*/ 2147483647 w 12"/>
                    <a:gd name="T11" fmla="*/ 2147483647 h 8"/>
                    <a:gd name="T12" fmla="*/ 2147483647 w 12"/>
                    <a:gd name="T13" fmla="*/ 2147483647 h 8"/>
                    <a:gd name="T14" fmla="*/ 2147483647 w 12"/>
                    <a:gd name="T15" fmla="*/ 2147483647 h 8"/>
                    <a:gd name="T16" fmla="*/ 2147483647 w 12"/>
                    <a:gd name="T17" fmla="*/ 2147483647 h 8"/>
                    <a:gd name="T18" fmla="*/ 2147483647 w 12"/>
                    <a:gd name="T19" fmla="*/ 2147483647 h 8"/>
                    <a:gd name="T20" fmla="*/ 2147483647 w 12"/>
                    <a:gd name="T21" fmla="*/ 2147483647 h 8"/>
                    <a:gd name="T22" fmla="*/ 2147483647 w 12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2"/>
                    <a:gd name="T37" fmla="*/ 0 h 8"/>
                    <a:gd name="T38" fmla="*/ 12 w 12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2" h="8">
                      <a:moveTo>
                        <a:pt x="5" y="6"/>
                      </a:move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10" y="2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1" y="8"/>
                      </a:lnTo>
                      <a:lnTo>
                        <a:pt x="7" y="8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7" name="Freeform 1012">
                  <a:extLst>
                    <a:ext uri="{FF2B5EF4-FFF2-40B4-BE49-F238E27FC236}">
                      <a16:creationId xmlns:a16="http://schemas.microsoft.com/office/drawing/2014/main" id="{5EAE5863-6C82-204B-B6CB-DA9B860039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3833" y="2935750"/>
                  <a:ext cx="26637" cy="32557"/>
                </a:xfrm>
                <a:custGeom>
                  <a:avLst/>
                  <a:gdLst>
                    <a:gd name="T0" fmla="*/ 2147483647 w 19"/>
                    <a:gd name="T1" fmla="*/ 2147483647 h 22"/>
                    <a:gd name="T2" fmla="*/ 2147483647 w 19"/>
                    <a:gd name="T3" fmla="*/ 2147483647 h 22"/>
                    <a:gd name="T4" fmla="*/ 2147483647 w 19"/>
                    <a:gd name="T5" fmla="*/ 2147483647 h 22"/>
                    <a:gd name="T6" fmla="*/ 2147483647 w 19"/>
                    <a:gd name="T7" fmla="*/ 2147483647 h 22"/>
                    <a:gd name="T8" fmla="*/ 2147483647 w 19"/>
                    <a:gd name="T9" fmla="*/ 2147483647 h 22"/>
                    <a:gd name="T10" fmla="*/ 2147483647 w 19"/>
                    <a:gd name="T11" fmla="*/ 2147483647 h 22"/>
                    <a:gd name="T12" fmla="*/ 2147483647 w 19"/>
                    <a:gd name="T13" fmla="*/ 2147483647 h 22"/>
                    <a:gd name="T14" fmla="*/ 2147483647 w 19"/>
                    <a:gd name="T15" fmla="*/ 2147483647 h 22"/>
                    <a:gd name="T16" fmla="*/ 2147483647 w 19"/>
                    <a:gd name="T17" fmla="*/ 2147483647 h 22"/>
                    <a:gd name="T18" fmla="*/ 2147483647 w 19"/>
                    <a:gd name="T19" fmla="*/ 0 h 22"/>
                    <a:gd name="T20" fmla="*/ 2147483647 w 19"/>
                    <a:gd name="T21" fmla="*/ 0 h 22"/>
                    <a:gd name="T22" fmla="*/ 0 w 19"/>
                    <a:gd name="T23" fmla="*/ 2147483647 h 22"/>
                    <a:gd name="T24" fmla="*/ 0 w 19"/>
                    <a:gd name="T25" fmla="*/ 2147483647 h 22"/>
                    <a:gd name="T26" fmla="*/ 0 w 19"/>
                    <a:gd name="T27" fmla="*/ 2147483647 h 22"/>
                    <a:gd name="T28" fmla="*/ 2147483647 w 19"/>
                    <a:gd name="T29" fmla="*/ 2147483647 h 22"/>
                    <a:gd name="T30" fmla="*/ 2147483647 w 19"/>
                    <a:gd name="T31" fmla="*/ 2147483647 h 22"/>
                    <a:gd name="T32" fmla="*/ 2147483647 w 19"/>
                    <a:gd name="T33" fmla="*/ 2147483647 h 22"/>
                    <a:gd name="T34" fmla="*/ 2147483647 w 19"/>
                    <a:gd name="T35" fmla="*/ 2147483647 h 22"/>
                    <a:gd name="T36" fmla="*/ 2147483647 w 19"/>
                    <a:gd name="T37" fmla="*/ 2147483647 h 22"/>
                    <a:gd name="T38" fmla="*/ 2147483647 w 19"/>
                    <a:gd name="T39" fmla="*/ 2147483647 h 22"/>
                    <a:gd name="T40" fmla="*/ 2147483647 w 19"/>
                    <a:gd name="T41" fmla="*/ 2147483647 h 22"/>
                    <a:gd name="T42" fmla="*/ 2147483647 w 19"/>
                    <a:gd name="T43" fmla="*/ 2147483647 h 22"/>
                    <a:gd name="T44" fmla="*/ 2147483647 w 19"/>
                    <a:gd name="T45" fmla="*/ 2147483647 h 2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"/>
                    <a:gd name="T70" fmla="*/ 0 h 22"/>
                    <a:gd name="T71" fmla="*/ 19 w 19"/>
                    <a:gd name="T72" fmla="*/ 22 h 2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" h="22">
                      <a:moveTo>
                        <a:pt x="16" y="16"/>
                      </a:moveTo>
                      <a:lnTo>
                        <a:pt x="16" y="13"/>
                      </a:lnTo>
                      <a:lnTo>
                        <a:pt x="18" y="9"/>
                      </a:lnTo>
                      <a:lnTo>
                        <a:pt x="19" y="7"/>
                      </a:lnTo>
                      <a:lnTo>
                        <a:pt x="18" y="3"/>
                      </a:lnTo>
                      <a:lnTo>
                        <a:pt x="16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1" y="13"/>
                      </a:lnTo>
                      <a:lnTo>
                        <a:pt x="4" y="16"/>
                      </a:lnTo>
                      <a:lnTo>
                        <a:pt x="6" y="19"/>
                      </a:lnTo>
                      <a:lnTo>
                        <a:pt x="9" y="21"/>
                      </a:lnTo>
                      <a:lnTo>
                        <a:pt x="12" y="22"/>
                      </a:lnTo>
                      <a:lnTo>
                        <a:pt x="15" y="22"/>
                      </a:lnTo>
                      <a:lnTo>
                        <a:pt x="16" y="20"/>
                      </a:lnTo>
                      <a:lnTo>
                        <a:pt x="18" y="19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8" name="Freeform 1013">
                  <a:extLst>
                    <a:ext uri="{FF2B5EF4-FFF2-40B4-BE49-F238E27FC236}">
                      <a16:creationId xmlns:a16="http://schemas.microsoft.com/office/drawing/2014/main" id="{A035DE7E-83A4-924B-A3C6-6360CBE1A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110" y="2876555"/>
                  <a:ext cx="17758" cy="13319"/>
                </a:xfrm>
                <a:custGeom>
                  <a:avLst/>
                  <a:gdLst>
                    <a:gd name="T0" fmla="*/ 2147483647 w 13"/>
                    <a:gd name="T1" fmla="*/ 2147483647 h 9"/>
                    <a:gd name="T2" fmla="*/ 2147483647 w 13"/>
                    <a:gd name="T3" fmla="*/ 2147483647 h 9"/>
                    <a:gd name="T4" fmla="*/ 2147483647 w 13"/>
                    <a:gd name="T5" fmla="*/ 2147483647 h 9"/>
                    <a:gd name="T6" fmla="*/ 0 w 13"/>
                    <a:gd name="T7" fmla="*/ 2147483647 h 9"/>
                    <a:gd name="T8" fmla="*/ 2147483647 w 13"/>
                    <a:gd name="T9" fmla="*/ 2147483647 h 9"/>
                    <a:gd name="T10" fmla="*/ 2147483647 w 13"/>
                    <a:gd name="T11" fmla="*/ 2147483647 h 9"/>
                    <a:gd name="T12" fmla="*/ 2147483647 w 13"/>
                    <a:gd name="T13" fmla="*/ 0 h 9"/>
                    <a:gd name="T14" fmla="*/ 2147483647 w 13"/>
                    <a:gd name="T15" fmla="*/ 2147483647 h 9"/>
                    <a:gd name="T16" fmla="*/ 2147483647 w 13"/>
                    <a:gd name="T17" fmla="*/ 2147483647 h 9"/>
                    <a:gd name="T18" fmla="*/ 2147483647 w 13"/>
                    <a:gd name="T19" fmla="*/ 2147483647 h 9"/>
                    <a:gd name="T20" fmla="*/ 2147483647 w 13"/>
                    <a:gd name="T21" fmla="*/ 2147483647 h 9"/>
                    <a:gd name="T22" fmla="*/ 2147483647 w 13"/>
                    <a:gd name="T23" fmla="*/ 2147483647 h 9"/>
                    <a:gd name="T24" fmla="*/ 2147483647 w 13"/>
                    <a:gd name="T25" fmla="*/ 2147483647 h 9"/>
                    <a:gd name="T26" fmla="*/ 2147483647 w 13"/>
                    <a:gd name="T27" fmla="*/ 2147483647 h 9"/>
                    <a:gd name="T28" fmla="*/ 2147483647 w 13"/>
                    <a:gd name="T29" fmla="*/ 2147483647 h 9"/>
                    <a:gd name="T30" fmla="*/ 2147483647 w 13"/>
                    <a:gd name="T31" fmla="*/ 2147483647 h 9"/>
                    <a:gd name="T32" fmla="*/ 2147483647 w 13"/>
                    <a:gd name="T33" fmla="*/ 2147483647 h 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3"/>
                    <a:gd name="T52" fmla="*/ 0 h 9"/>
                    <a:gd name="T53" fmla="*/ 13 w 13"/>
                    <a:gd name="T54" fmla="*/ 9 h 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3" h="9">
                      <a:moveTo>
                        <a:pt x="6" y="6"/>
                      </a:move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8" y="2"/>
                      </a:lnTo>
                      <a:lnTo>
                        <a:pt x="11" y="3"/>
                      </a:lnTo>
                      <a:lnTo>
                        <a:pt x="12" y="6"/>
                      </a:lnTo>
                      <a:lnTo>
                        <a:pt x="13" y="8"/>
                      </a:lnTo>
                      <a:lnTo>
                        <a:pt x="12" y="9"/>
                      </a:lnTo>
                      <a:lnTo>
                        <a:pt x="8" y="9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9" name="Freeform 1014">
                  <a:extLst>
                    <a:ext uri="{FF2B5EF4-FFF2-40B4-BE49-F238E27FC236}">
                      <a16:creationId xmlns:a16="http://schemas.microsoft.com/office/drawing/2014/main" id="{A2919EBD-16C5-D146-ADD9-6743124F8B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0875" y="2932791"/>
                  <a:ext cx="28118" cy="34038"/>
                </a:xfrm>
                <a:custGeom>
                  <a:avLst/>
                  <a:gdLst>
                    <a:gd name="T0" fmla="*/ 2147483647 w 20"/>
                    <a:gd name="T1" fmla="*/ 2147483647 h 23"/>
                    <a:gd name="T2" fmla="*/ 2147483647 w 20"/>
                    <a:gd name="T3" fmla="*/ 2147483647 h 23"/>
                    <a:gd name="T4" fmla="*/ 2147483647 w 20"/>
                    <a:gd name="T5" fmla="*/ 2147483647 h 23"/>
                    <a:gd name="T6" fmla="*/ 2147483647 w 20"/>
                    <a:gd name="T7" fmla="*/ 2147483647 h 23"/>
                    <a:gd name="T8" fmla="*/ 2147483647 w 20"/>
                    <a:gd name="T9" fmla="*/ 2147483647 h 23"/>
                    <a:gd name="T10" fmla="*/ 2147483647 w 20"/>
                    <a:gd name="T11" fmla="*/ 2147483647 h 23"/>
                    <a:gd name="T12" fmla="*/ 2147483647 w 20"/>
                    <a:gd name="T13" fmla="*/ 2147483647 h 23"/>
                    <a:gd name="T14" fmla="*/ 2147483647 w 20"/>
                    <a:gd name="T15" fmla="*/ 2147483647 h 23"/>
                    <a:gd name="T16" fmla="*/ 2147483647 w 20"/>
                    <a:gd name="T17" fmla="*/ 2147483647 h 23"/>
                    <a:gd name="T18" fmla="*/ 2147483647 w 20"/>
                    <a:gd name="T19" fmla="*/ 2147483647 h 23"/>
                    <a:gd name="T20" fmla="*/ 2147483647 w 20"/>
                    <a:gd name="T21" fmla="*/ 2147483647 h 23"/>
                    <a:gd name="T22" fmla="*/ 2147483647 w 20"/>
                    <a:gd name="T23" fmla="*/ 2147483647 h 23"/>
                    <a:gd name="T24" fmla="*/ 2147483647 w 20"/>
                    <a:gd name="T25" fmla="*/ 0 h 23"/>
                    <a:gd name="T26" fmla="*/ 2147483647 w 20"/>
                    <a:gd name="T27" fmla="*/ 0 h 23"/>
                    <a:gd name="T28" fmla="*/ 2147483647 w 20"/>
                    <a:gd name="T29" fmla="*/ 0 h 23"/>
                    <a:gd name="T30" fmla="*/ 0 w 20"/>
                    <a:gd name="T31" fmla="*/ 2147483647 h 23"/>
                    <a:gd name="T32" fmla="*/ 0 w 20"/>
                    <a:gd name="T33" fmla="*/ 2147483647 h 23"/>
                    <a:gd name="T34" fmla="*/ 0 w 20"/>
                    <a:gd name="T35" fmla="*/ 2147483647 h 23"/>
                    <a:gd name="T36" fmla="*/ 2147483647 w 20"/>
                    <a:gd name="T37" fmla="*/ 2147483647 h 23"/>
                    <a:gd name="T38" fmla="*/ 2147483647 w 20"/>
                    <a:gd name="T39" fmla="*/ 2147483647 h 23"/>
                    <a:gd name="T40" fmla="*/ 2147483647 w 20"/>
                    <a:gd name="T41" fmla="*/ 2147483647 h 23"/>
                    <a:gd name="T42" fmla="*/ 2147483647 w 20"/>
                    <a:gd name="T43" fmla="*/ 2147483647 h 23"/>
                    <a:gd name="T44" fmla="*/ 2147483647 w 20"/>
                    <a:gd name="T45" fmla="*/ 2147483647 h 23"/>
                    <a:gd name="T46" fmla="*/ 2147483647 w 20"/>
                    <a:gd name="T47" fmla="*/ 2147483647 h 23"/>
                    <a:gd name="T48" fmla="*/ 2147483647 w 20"/>
                    <a:gd name="T49" fmla="*/ 2147483647 h 23"/>
                    <a:gd name="T50" fmla="*/ 2147483647 w 20"/>
                    <a:gd name="T51" fmla="*/ 2147483647 h 23"/>
                    <a:gd name="T52" fmla="*/ 2147483647 w 20"/>
                    <a:gd name="T53" fmla="*/ 2147483647 h 23"/>
                    <a:gd name="T54" fmla="*/ 2147483647 w 20"/>
                    <a:gd name="T55" fmla="*/ 2147483647 h 23"/>
                    <a:gd name="T56" fmla="*/ 2147483647 w 20"/>
                    <a:gd name="T57" fmla="*/ 2147483647 h 2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0"/>
                    <a:gd name="T88" fmla="*/ 0 h 23"/>
                    <a:gd name="T89" fmla="*/ 20 w 20"/>
                    <a:gd name="T90" fmla="*/ 23 h 2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0" h="23">
                      <a:moveTo>
                        <a:pt x="17" y="17"/>
                      </a:moveTo>
                      <a:lnTo>
                        <a:pt x="17" y="17"/>
                      </a:lnTo>
                      <a:lnTo>
                        <a:pt x="17" y="13"/>
                      </a:lnTo>
                      <a:lnTo>
                        <a:pt x="18" y="10"/>
                      </a:lnTo>
                      <a:lnTo>
                        <a:pt x="20" y="8"/>
                      </a:lnTo>
                      <a:lnTo>
                        <a:pt x="18" y="4"/>
                      </a:lnTo>
                      <a:lnTo>
                        <a:pt x="17" y="3"/>
                      </a:lnTo>
                      <a:lnTo>
                        <a:pt x="14" y="3"/>
                      </a:lnTo>
                      <a:lnTo>
                        <a:pt x="11" y="3"/>
                      </a:lnTo>
                      <a:lnTo>
                        <a:pt x="7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2" y="13"/>
                      </a:lnTo>
                      <a:lnTo>
                        <a:pt x="4" y="17"/>
                      </a:lnTo>
                      <a:lnTo>
                        <a:pt x="7" y="19"/>
                      </a:lnTo>
                      <a:lnTo>
                        <a:pt x="9" y="22"/>
                      </a:lnTo>
                      <a:lnTo>
                        <a:pt x="13" y="23"/>
                      </a:lnTo>
                      <a:lnTo>
                        <a:pt x="16" y="23"/>
                      </a:lnTo>
                      <a:lnTo>
                        <a:pt x="17" y="21"/>
                      </a:lnTo>
                      <a:lnTo>
                        <a:pt x="18" y="19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0" name="Freeform 1015">
                  <a:extLst>
                    <a:ext uri="{FF2B5EF4-FFF2-40B4-BE49-F238E27FC236}">
                      <a16:creationId xmlns:a16="http://schemas.microsoft.com/office/drawing/2014/main" id="{8A168773-DB09-594B-9BB3-99EA8C6B6D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2757" y="2842516"/>
                  <a:ext cx="44396" cy="69554"/>
                </a:xfrm>
                <a:custGeom>
                  <a:avLst/>
                  <a:gdLst>
                    <a:gd name="T0" fmla="*/ 2147483647 w 32"/>
                    <a:gd name="T1" fmla="*/ 2147483647 h 47"/>
                    <a:gd name="T2" fmla="*/ 2147483647 w 32"/>
                    <a:gd name="T3" fmla="*/ 2147483647 h 47"/>
                    <a:gd name="T4" fmla="*/ 2147483647 w 32"/>
                    <a:gd name="T5" fmla="*/ 2147483647 h 47"/>
                    <a:gd name="T6" fmla="*/ 2147483647 w 32"/>
                    <a:gd name="T7" fmla="*/ 2147483647 h 47"/>
                    <a:gd name="T8" fmla="*/ 2147483647 w 32"/>
                    <a:gd name="T9" fmla="*/ 2147483647 h 47"/>
                    <a:gd name="T10" fmla="*/ 2147483647 w 32"/>
                    <a:gd name="T11" fmla="*/ 2147483647 h 47"/>
                    <a:gd name="T12" fmla="*/ 2147483647 w 32"/>
                    <a:gd name="T13" fmla="*/ 2147483647 h 47"/>
                    <a:gd name="T14" fmla="*/ 2147483647 w 32"/>
                    <a:gd name="T15" fmla="*/ 2147483647 h 47"/>
                    <a:gd name="T16" fmla="*/ 2147483647 w 32"/>
                    <a:gd name="T17" fmla="*/ 0 h 47"/>
                    <a:gd name="T18" fmla="*/ 2147483647 w 32"/>
                    <a:gd name="T19" fmla="*/ 0 h 47"/>
                    <a:gd name="T20" fmla="*/ 0 w 32"/>
                    <a:gd name="T21" fmla="*/ 2147483647 h 47"/>
                    <a:gd name="T22" fmla="*/ 0 w 32"/>
                    <a:gd name="T23" fmla="*/ 2147483647 h 47"/>
                    <a:gd name="T24" fmla="*/ 0 w 32"/>
                    <a:gd name="T25" fmla="*/ 2147483647 h 47"/>
                    <a:gd name="T26" fmla="*/ 2147483647 w 32"/>
                    <a:gd name="T27" fmla="*/ 2147483647 h 47"/>
                    <a:gd name="T28" fmla="*/ 2147483647 w 32"/>
                    <a:gd name="T29" fmla="*/ 2147483647 h 47"/>
                    <a:gd name="T30" fmla="*/ 2147483647 w 32"/>
                    <a:gd name="T31" fmla="*/ 2147483647 h 47"/>
                    <a:gd name="T32" fmla="*/ 2147483647 w 32"/>
                    <a:gd name="T33" fmla="*/ 2147483647 h 47"/>
                    <a:gd name="T34" fmla="*/ 2147483647 w 32"/>
                    <a:gd name="T35" fmla="*/ 2147483647 h 47"/>
                    <a:gd name="T36" fmla="*/ 2147483647 w 32"/>
                    <a:gd name="T37" fmla="*/ 2147483647 h 47"/>
                    <a:gd name="T38" fmla="*/ 2147483647 w 32"/>
                    <a:gd name="T39" fmla="*/ 2147483647 h 47"/>
                    <a:gd name="T40" fmla="*/ 2147483647 w 32"/>
                    <a:gd name="T41" fmla="*/ 2147483647 h 47"/>
                    <a:gd name="T42" fmla="*/ 2147483647 w 32"/>
                    <a:gd name="T43" fmla="*/ 2147483647 h 47"/>
                    <a:gd name="T44" fmla="*/ 2147483647 w 32"/>
                    <a:gd name="T45" fmla="*/ 2147483647 h 47"/>
                    <a:gd name="T46" fmla="*/ 2147483647 w 32"/>
                    <a:gd name="T47" fmla="*/ 2147483647 h 47"/>
                    <a:gd name="T48" fmla="*/ 2147483647 w 32"/>
                    <a:gd name="T49" fmla="*/ 2147483647 h 4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2"/>
                    <a:gd name="T76" fmla="*/ 0 h 47"/>
                    <a:gd name="T77" fmla="*/ 32 w 32"/>
                    <a:gd name="T78" fmla="*/ 47 h 4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2" h="47">
                      <a:moveTo>
                        <a:pt x="30" y="41"/>
                      </a:moveTo>
                      <a:lnTo>
                        <a:pt x="29" y="39"/>
                      </a:lnTo>
                      <a:lnTo>
                        <a:pt x="28" y="37"/>
                      </a:lnTo>
                      <a:lnTo>
                        <a:pt x="28" y="33"/>
                      </a:lnTo>
                      <a:lnTo>
                        <a:pt x="28" y="29"/>
                      </a:lnTo>
                      <a:lnTo>
                        <a:pt x="28" y="26"/>
                      </a:lnTo>
                      <a:lnTo>
                        <a:pt x="27" y="23"/>
                      </a:lnTo>
                      <a:lnTo>
                        <a:pt x="14" y="1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5" y="13"/>
                      </a:lnTo>
                      <a:lnTo>
                        <a:pt x="6" y="16"/>
                      </a:lnTo>
                      <a:lnTo>
                        <a:pt x="10" y="20"/>
                      </a:lnTo>
                      <a:lnTo>
                        <a:pt x="14" y="25"/>
                      </a:lnTo>
                      <a:lnTo>
                        <a:pt x="19" y="35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29" y="47"/>
                      </a:lnTo>
                      <a:lnTo>
                        <a:pt x="32" y="45"/>
                      </a:lnTo>
                      <a:lnTo>
                        <a:pt x="32" y="42"/>
                      </a:lnTo>
                      <a:lnTo>
                        <a:pt x="30" y="4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1" name="Freeform 1016">
                  <a:extLst>
                    <a:ext uri="{FF2B5EF4-FFF2-40B4-BE49-F238E27FC236}">
                      <a16:creationId xmlns:a16="http://schemas.microsoft.com/office/drawing/2014/main" id="{40D0D0AC-7CED-3F48-A6C0-35862699FD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3113" y="2833636"/>
                  <a:ext cx="22199" cy="19238"/>
                </a:xfrm>
                <a:custGeom>
                  <a:avLst/>
                  <a:gdLst>
                    <a:gd name="T0" fmla="*/ 2147483647 w 16"/>
                    <a:gd name="T1" fmla="*/ 2147483647 h 13"/>
                    <a:gd name="T2" fmla="*/ 2147483647 w 16"/>
                    <a:gd name="T3" fmla="*/ 2147483647 h 13"/>
                    <a:gd name="T4" fmla="*/ 2147483647 w 16"/>
                    <a:gd name="T5" fmla="*/ 2147483647 h 13"/>
                    <a:gd name="T6" fmla="*/ 2147483647 w 16"/>
                    <a:gd name="T7" fmla="*/ 0 h 13"/>
                    <a:gd name="T8" fmla="*/ 2147483647 w 16"/>
                    <a:gd name="T9" fmla="*/ 0 h 13"/>
                    <a:gd name="T10" fmla="*/ 2147483647 w 16"/>
                    <a:gd name="T11" fmla="*/ 2147483647 h 13"/>
                    <a:gd name="T12" fmla="*/ 0 w 16"/>
                    <a:gd name="T13" fmla="*/ 2147483647 h 13"/>
                    <a:gd name="T14" fmla="*/ 2147483647 w 16"/>
                    <a:gd name="T15" fmla="*/ 2147483647 h 13"/>
                    <a:gd name="T16" fmla="*/ 2147483647 w 16"/>
                    <a:gd name="T17" fmla="*/ 2147483647 h 13"/>
                    <a:gd name="T18" fmla="*/ 2147483647 w 16"/>
                    <a:gd name="T19" fmla="*/ 2147483647 h 13"/>
                    <a:gd name="T20" fmla="*/ 2147483647 w 16"/>
                    <a:gd name="T21" fmla="*/ 2147483647 h 13"/>
                    <a:gd name="T22" fmla="*/ 2147483647 w 16"/>
                    <a:gd name="T23" fmla="*/ 2147483647 h 13"/>
                    <a:gd name="T24" fmla="*/ 2147483647 w 16"/>
                    <a:gd name="T25" fmla="*/ 2147483647 h 13"/>
                    <a:gd name="T26" fmla="*/ 2147483647 w 16"/>
                    <a:gd name="T27" fmla="*/ 2147483647 h 13"/>
                    <a:gd name="T28" fmla="*/ 2147483647 w 16"/>
                    <a:gd name="T29" fmla="*/ 2147483647 h 1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6"/>
                    <a:gd name="T46" fmla="*/ 0 h 13"/>
                    <a:gd name="T47" fmla="*/ 16 w 16"/>
                    <a:gd name="T48" fmla="*/ 13 h 1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6" h="13">
                      <a:moveTo>
                        <a:pt x="13" y="8"/>
                      </a:moveTo>
                      <a:lnTo>
                        <a:pt x="10" y="6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3" y="12"/>
                      </a:lnTo>
                      <a:lnTo>
                        <a:pt x="6" y="13"/>
                      </a:lnTo>
                      <a:lnTo>
                        <a:pt x="10" y="13"/>
                      </a:lnTo>
                      <a:lnTo>
                        <a:pt x="15" y="12"/>
                      </a:lnTo>
                      <a:lnTo>
                        <a:pt x="16" y="11"/>
                      </a:lnTo>
                      <a:lnTo>
                        <a:pt x="15" y="9"/>
                      </a:lnTo>
                      <a:lnTo>
                        <a:pt x="13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1017">
                  <a:extLst>
                    <a:ext uri="{FF2B5EF4-FFF2-40B4-BE49-F238E27FC236}">
                      <a16:creationId xmlns:a16="http://schemas.microsoft.com/office/drawing/2014/main" id="{74956085-08C1-CE42-8112-FDC2CCD423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1274" y="2841040"/>
                  <a:ext cx="42917" cy="69554"/>
                </a:xfrm>
                <a:custGeom>
                  <a:avLst/>
                  <a:gdLst>
                    <a:gd name="T0" fmla="*/ 2147483647 w 31"/>
                    <a:gd name="T1" fmla="*/ 2147483647 h 47"/>
                    <a:gd name="T2" fmla="*/ 2147483647 w 31"/>
                    <a:gd name="T3" fmla="*/ 2147483647 h 47"/>
                    <a:gd name="T4" fmla="*/ 2147483647 w 31"/>
                    <a:gd name="T5" fmla="*/ 2147483647 h 47"/>
                    <a:gd name="T6" fmla="*/ 2147483647 w 31"/>
                    <a:gd name="T7" fmla="*/ 2147483647 h 47"/>
                    <a:gd name="T8" fmla="*/ 2147483647 w 31"/>
                    <a:gd name="T9" fmla="*/ 2147483647 h 47"/>
                    <a:gd name="T10" fmla="*/ 2147483647 w 31"/>
                    <a:gd name="T11" fmla="*/ 2147483647 h 47"/>
                    <a:gd name="T12" fmla="*/ 2147483647 w 31"/>
                    <a:gd name="T13" fmla="*/ 2147483647 h 47"/>
                    <a:gd name="T14" fmla="*/ 2147483647 w 31"/>
                    <a:gd name="T15" fmla="*/ 2147483647 h 47"/>
                    <a:gd name="T16" fmla="*/ 2147483647 w 31"/>
                    <a:gd name="T17" fmla="*/ 2147483647 h 47"/>
                    <a:gd name="T18" fmla="*/ 2147483647 w 31"/>
                    <a:gd name="T19" fmla="*/ 2147483647 h 47"/>
                    <a:gd name="T20" fmla="*/ 2147483647 w 31"/>
                    <a:gd name="T21" fmla="*/ 2147483647 h 47"/>
                    <a:gd name="T22" fmla="*/ 2147483647 w 31"/>
                    <a:gd name="T23" fmla="*/ 0 h 47"/>
                    <a:gd name="T24" fmla="*/ 2147483647 w 31"/>
                    <a:gd name="T25" fmla="*/ 0 h 47"/>
                    <a:gd name="T26" fmla="*/ 2147483647 w 31"/>
                    <a:gd name="T27" fmla="*/ 0 h 47"/>
                    <a:gd name="T28" fmla="*/ 0 w 31"/>
                    <a:gd name="T29" fmla="*/ 2147483647 h 47"/>
                    <a:gd name="T30" fmla="*/ 0 w 31"/>
                    <a:gd name="T31" fmla="*/ 2147483647 h 47"/>
                    <a:gd name="T32" fmla="*/ 0 w 31"/>
                    <a:gd name="T33" fmla="*/ 2147483647 h 47"/>
                    <a:gd name="T34" fmla="*/ 0 w 31"/>
                    <a:gd name="T35" fmla="*/ 2147483647 h 47"/>
                    <a:gd name="T36" fmla="*/ 2147483647 w 31"/>
                    <a:gd name="T37" fmla="*/ 2147483647 h 47"/>
                    <a:gd name="T38" fmla="*/ 2147483647 w 31"/>
                    <a:gd name="T39" fmla="*/ 2147483647 h 47"/>
                    <a:gd name="T40" fmla="*/ 2147483647 w 31"/>
                    <a:gd name="T41" fmla="*/ 2147483647 h 47"/>
                    <a:gd name="T42" fmla="*/ 2147483647 w 31"/>
                    <a:gd name="T43" fmla="*/ 2147483647 h 47"/>
                    <a:gd name="T44" fmla="*/ 2147483647 w 31"/>
                    <a:gd name="T45" fmla="*/ 2147483647 h 47"/>
                    <a:gd name="T46" fmla="*/ 2147483647 w 31"/>
                    <a:gd name="T47" fmla="*/ 2147483647 h 47"/>
                    <a:gd name="T48" fmla="*/ 2147483647 w 31"/>
                    <a:gd name="T49" fmla="*/ 2147483647 h 47"/>
                    <a:gd name="T50" fmla="*/ 2147483647 w 31"/>
                    <a:gd name="T51" fmla="*/ 2147483647 h 47"/>
                    <a:gd name="T52" fmla="*/ 2147483647 w 31"/>
                    <a:gd name="T53" fmla="*/ 2147483647 h 47"/>
                    <a:gd name="T54" fmla="*/ 2147483647 w 31"/>
                    <a:gd name="T55" fmla="*/ 2147483647 h 47"/>
                    <a:gd name="T56" fmla="*/ 2147483647 w 31"/>
                    <a:gd name="T57" fmla="*/ 2147483647 h 47"/>
                    <a:gd name="T58" fmla="*/ 2147483647 w 31"/>
                    <a:gd name="T59" fmla="*/ 2147483647 h 47"/>
                    <a:gd name="T60" fmla="*/ 2147483647 w 31"/>
                    <a:gd name="T61" fmla="*/ 2147483647 h 47"/>
                    <a:gd name="T62" fmla="*/ 2147483647 w 31"/>
                    <a:gd name="T63" fmla="*/ 2147483647 h 47"/>
                    <a:gd name="T64" fmla="*/ 2147483647 w 31"/>
                    <a:gd name="T65" fmla="*/ 2147483647 h 47"/>
                    <a:gd name="T66" fmla="*/ 2147483647 w 31"/>
                    <a:gd name="T67" fmla="*/ 2147483647 h 47"/>
                    <a:gd name="T68" fmla="*/ 2147483647 w 31"/>
                    <a:gd name="T69" fmla="*/ 2147483647 h 47"/>
                    <a:gd name="T70" fmla="*/ 2147483647 w 31"/>
                    <a:gd name="T71" fmla="*/ 2147483647 h 4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1"/>
                    <a:gd name="T109" fmla="*/ 0 h 47"/>
                    <a:gd name="T110" fmla="*/ 31 w 31"/>
                    <a:gd name="T111" fmla="*/ 47 h 4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1" h="47">
                      <a:moveTo>
                        <a:pt x="30" y="41"/>
                      </a:moveTo>
                      <a:lnTo>
                        <a:pt x="30" y="41"/>
                      </a:lnTo>
                      <a:lnTo>
                        <a:pt x="29" y="39"/>
                      </a:lnTo>
                      <a:lnTo>
                        <a:pt x="28" y="36"/>
                      </a:lnTo>
                      <a:lnTo>
                        <a:pt x="28" y="33"/>
                      </a:lnTo>
                      <a:lnTo>
                        <a:pt x="28" y="29"/>
                      </a:lnTo>
                      <a:lnTo>
                        <a:pt x="28" y="26"/>
                      </a:lnTo>
                      <a:lnTo>
                        <a:pt x="26" y="23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3" y="9"/>
                      </a:lnTo>
                      <a:lnTo>
                        <a:pt x="5" y="13"/>
                      </a:lnTo>
                      <a:lnTo>
                        <a:pt x="6" y="16"/>
                      </a:lnTo>
                      <a:lnTo>
                        <a:pt x="10" y="20"/>
                      </a:lnTo>
                      <a:lnTo>
                        <a:pt x="14" y="24"/>
                      </a:lnTo>
                      <a:lnTo>
                        <a:pt x="19" y="35"/>
                      </a:lnTo>
                      <a:lnTo>
                        <a:pt x="26" y="46"/>
                      </a:lnTo>
                      <a:lnTo>
                        <a:pt x="28" y="47"/>
                      </a:lnTo>
                      <a:lnTo>
                        <a:pt x="29" y="47"/>
                      </a:lnTo>
                      <a:lnTo>
                        <a:pt x="31" y="45"/>
                      </a:lnTo>
                      <a:lnTo>
                        <a:pt x="31" y="42"/>
                      </a:lnTo>
                      <a:lnTo>
                        <a:pt x="30" y="4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1018">
                  <a:extLst>
                    <a:ext uri="{FF2B5EF4-FFF2-40B4-BE49-F238E27FC236}">
                      <a16:creationId xmlns:a16="http://schemas.microsoft.com/office/drawing/2014/main" id="{05BED810-4D49-BC47-B71A-459F3C247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1633" y="2832156"/>
                  <a:ext cx="22198" cy="19239"/>
                </a:xfrm>
                <a:custGeom>
                  <a:avLst/>
                  <a:gdLst>
                    <a:gd name="T0" fmla="*/ 2147483647 w 17"/>
                    <a:gd name="T1" fmla="*/ 2147483647 h 13"/>
                    <a:gd name="T2" fmla="*/ 2147483647 w 17"/>
                    <a:gd name="T3" fmla="*/ 2147483647 h 13"/>
                    <a:gd name="T4" fmla="*/ 2147483647 w 17"/>
                    <a:gd name="T5" fmla="*/ 2147483647 h 13"/>
                    <a:gd name="T6" fmla="*/ 2147483647 w 17"/>
                    <a:gd name="T7" fmla="*/ 2147483647 h 13"/>
                    <a:gd name="T8" fmla="*/ 2147483647 w 17"/>
                    <a:gd name="T9" fmla="*/ 0 h 13"/>
                    <a:gd name="T10" fmla="*/ 2147483647 w 17"/>
                    <a:gd name="T11" fmla="*/ 0 h 13"/>
                    <a:gd name="T12" fmla="*/ 2147483647 w 17"/>
                    <a:gd name="T13" fmla="*/ 2147483647 h 13"/>
                    <a:gd name="T14" fmla="*/ 2147483647 w 17"/>
                    <a:gd name="T15" fmla="*/ 2147483647 h 13"/>
                    <a:gd name="T16" fmla="*/ 0 w 17"/>
                    <a:gd name="T17" fmla="*/ 2147483647 h 13"/>
                    <a:gd name="T18" fmla="*/ 2147483647 w 17"/>
                    <a:gd name="T19" fmla="*/ 2147483647 h 13"/>
                    <a:gd name="T20" fmla="*/ 2147483647 w 17"/>
                    <a:gd name="T21" fmla="*/ 2147483647 h 13"/>
                    <a:gd name="T22" fmla="*/ 2147483647 w 17"/>
                    <a:gd name="T23" fmla="*/ 2147483647 h 13"/>
                    <a:gd name="T24" fmla="*/ 2147483647 w 17"/>
                    <a:gd name="T25" fmla="*/ 2147483647 h 13"/>
                    <a:gd name="T26" fmla="*/ 2147483647 w 17"/>
                    <a:gd name="T27" fmla="*/ 2147483647 h 13"/>
                    <a:gd name="T28" fmla="*/ 2147483647 w 17"/>
                    <a:gd name="T29" fmla="*/ 2147483647 h 13"/>
                    <a:gd name="T30" fmla="*/ 2147483647 w 17"/>
                    <a:gd name="T31" fmla="*/ 2147483647 h 13"/>
                    <a:gd name="T32" fmla="*/ 2147483647 w 17"/>
                    <a:gd name="T33" fmla="*/ 2147483647 h 13"/>
                    <a:gd name="T34" fmla="*/ 2147483647 w 17"/>
                    <a:gd name="T35" fmla="*/ 2147483647 h 13"/>
                    <a:gd name="T36" fmla="*/ 2147483647 w 17"/>
                    <a:gd name="T37" fmla="*/ 2147483647 h 13"/>
                    <a:gd name="T38" fmla="*/ 2147483647 w 17"/>
                    <a:gd name="T39" fmla="*/ 2147483647 h 1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7"/>
                    <a:gd name="T61" fmla="*/ 0 h 13"/>
                    <a:gd name="T62" fmla="*/ 17 w 17"/>
                    <a:gd name="T63" fmla="*/ 13 h 1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7" h="13">
                      <a:moveTo>
                        <a:pt x="14" y="8"/>
                      </a:moveTo>
                      <a:lnTo>
                        <a:pt x="14" y="8"/>
                      </a:lnTo>
                      <a:lnTo>
                        <a:pt x="10" y="6"/>
                      </a:lnTo>
                      <a:lnTo>
                        <a:pt x="8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4" y="12"/>
                      </a:lnTo>
                      <a:lnTo>
                        <a:pt x="7" y="13"/>
                      </a:lnTo>
                      <a:lnTo>
                        <a:pt x="10" y="13"/>
                      </a:lnTo>
                      <a:lnTo>
                        <a:pt x="15" y="12"/>
                      </a:lnTo>
                      <a:lnTo>
                        <a:pt x="17" y="10"/>
                      </a:lnTo>
                      <a:lnTo>
                        <a:pt x="15" y="9"/>
                      </a:lnTo>
                      <a:lnTo>
                        <a:pt x="14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1019">
                  <a:extLst>
                    <a:ext uri="{FF2B5EF4-FFF2-40B4-BE49-F238E27FC236}">
                      <a16:creationId xmlns:a16="http://schemas.microsoft.com/office/drawing/2014/main" id="{5FA922D5-29EE-4B46-8B79-E6141B9F8F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2398" y="2790719"/>
                  <a:ext cx="20718" cy="41436"/>
                </a:xfrm>
                <a:custGeom>
                  <a:avLst/>
                  <a:gdLst>
                    <a:gd name="T0" fmla="*/ 2147483647 w 16"/>
                    <a:gd name="T1" fmla="*/ 2147483647 h 28"/>
                    <a:gd name="T2" fmla="*/ 2147483647 w 16"/>
                    <a:gd name="T3" fmla="*/ 2147483647 h 28"/>
                    <a:gd name="T4" fmla="*/ 2147483647 w 16"/>
                    <a:gd name="T5" fmla="*/ 2147483647 h 28"/>
                    <a:gd name="T6" fmla="*/ 2147483647 w 16"/>
                    <a:gd name="T7" fmla="*/ 2147483647 h 28"/>
                    <a:gd name="T8" fmla="*/ 2147483647 w 16"/>
                    <a:gd name="T9" fmla="*/ 2147483647 h 28"/>
                    <a:gd name="T10" fmla="*/ 2147483647 w 16"/>
                    <a:gd name="T11" fmla="*/ 2147483647 h 28"/>
                    <a:gd name="T12" fmla="*/ 2147483647 w 16"/>
                    <a:gd name="T13" fmla="*/ 0 h 28"/>
                    <a:gd name="T14" fmla="*/ 0 w 16"/>
                    <a:gd name="T15" fmla="*/ 0 h 28"/>
                    <a:gd name="T16" fmla="*/ 0 w 16"/>
                    <a:gd name="T17" fmla="*/ 2147483647 h 28"/>
                    <a:gd name="T18" fmla="*/ 0 w 16"/>
                    <a:gd name="T19" fmla="*/ 2147483647 h 28"/>
                    <a:gd name="T20" fmla="*/ 2147483647 w 16"/>
                    <a:gd name="T21" fmla="*/ 2147483647 h 28"/>
                    <a:gd name="T22" fmla="*/ 2147483647 w 16"/>
                    <a:gd name="T23" fmla="*/ 2147483647 h 28"/>
                    <a:gd name="T24" fmla="*/ 2147483647 w 16"/>
                    <a:gd name="T25" fmla="*/ 2147483647 h 28"/>
                    <a:gd name="T26" fmla="*/ 2147483647 w 16"/>
                    <a:gd name="T27" fmla="*/ 2147483647 h 28"/>
                    <a:gd name="T28" fmla="*/ 2147483647 w 16"/>
                    <a:gd name="T29" fmla="*/ 2147483647 h 28"/>
                    <a:gd name="T30" fmla="*/ 2147483647 w 16"/>
                    <a:gd name="T31" fmla="*/ 2147483647 h 28"/>
                    <a:gd name="T32" fmla="*/ 2147483647 w 16"/>
                    <a:gd name="T33" fmla="*/ 2147483647 h 28"/>
                    <a:gd name="T34" fmla="*/ 2147483647 w 16"/>
                    <a:gd name="T35" fmla="*/ 2147483647 h 2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6"/>
                    <a:gd name="T55" fmla="*/ 0 h 28"/>
                    <a:gd name="T56" fmla="*/ 16 w 16"/>
                    <a:gd name="T57" fmla="*/ 28 h 2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6" h="28">
                      <a:moveTo>
                        <a:pt x="12" y="16"/>
                      </a:moveTo>
                      <a:lnTo>
                        <a:pt x="9" y="15"/>
                      </a:lnTo>
                      <a:lnTo>
                        <a:pt x="8" y="13"/>
                      </a:lnTo>
                      <a:lnTo>
                        <a:pt x="8" y="10"/>
                      </a:lnTo>
                      <a:lnTo>
                        <a:pt x="7" y="5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15"/>
                      </a:lnTo>
                      <a:lnTo>
                        <a:pt x="2" y="28"/>
                      </a:lnTo>
                      <a:lnTo>
                        <a:pt x="5" y="26"/>
                      </a:lnTo>
                      <a:lnTo>
                        <a:pt x="8" y="25"/>
                      </a:lnTo>
                      <a:lnTo>
                        <a:pt x="13" y="23"/>
                      </a:lnTo>
                      <a:lnTo>
                        <a:pt x="16" y="22"/>
                      </a:lnTo>
                      <a:lnTo>
                        <a:pt x="16" y="19"/>
                      </a:lnTo>
                      <a:lnTo>
                        <a:pt x="14" y="17"/>
                      </a:lnTo>
                      <a:lnTo>
                        <a:pt x="12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1020">
                  <a:extLst>
                    <a:ext uri="{FF2B5EF4-FFF2-40B4-BE49-F238E27FC236}">
                      <a16:creationId xmlns:a16="http://schemas.microsoft.com/office/drawing/2014/main" id="{815E1FC5-AF72-754E-AFDA-CD72F33B30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0958" y="2787763"/>
                  <a:ext cx="31078" cy="22199"/>
                </a:xfrm>
                <a:custGeom>
                  <a:avLst/>
                  <a:gdLst>
                    <a:gd name="T0" fmla="*/ 2147483647 w 23"/>
                    <a:gd name="T1" fmla="*/ 2147483647 h 15"/>
                    <a:gd name="T2" fmla="*/ 2147483647 w 23"/>
                    <a:gd name="T3" fmla="*/ 2147483647 h 15"/>
                    <a:gd name="T4" fmla="*/ 2147483647 w 23"/>
                    <a:gd name="T5" fmla="*/ 2147483647 h 15"/>
                    <a:gd name="T6" fmla="*/ 2147483647 w 23"/>
                    <a:gd name="T7" fmla="*/ 2147483647 h 15"/>
                    <a:gd name="T8" fmla="*/ 2147483647 w 23"/>
                    <a:gd name="T9" fmla="*/ 0 h 15"/>
                    <a:gd name="T10" fmla="*/ 2147483647 w 23"/>
                    <a:gd name="T11" fmla="*/ 0 h 15"/>
                    <a:gd name="T12" fmla="*/ 2147483647 w 23"/>
                    <a:gd name="T13" fmla="*/ 2147483647 h 15"/>
                    <a:gd name="T14" fmla="*/ 0 w 23"/>
                    <a:gd name="T15" fmla="*/ 2147483647 h 15"/>
                    <a:gd name="T16" fmla="*/ 0 w 23"/>
                    <a:gd name="T17" fmla="*/ 2147483647 h 15"/>
                    <a:gd name="T18" fmla="*/ 2147483647 w 23"/>
                    <a:gd name="T19" fmla="*/ 2147483647 h 15"/>
                    <a:gd name="T20" fmla="*/ 2147483647 w 23"/>
                    <a:gd name="T21" fmla="*/ 2147483647 h 15"/>
                    <a:gd name="T22" fmla="*/ 2147483647 w 23"/>
                    <a:gd name="T23" fmla="*/ 2147483647 h 15"/>
                    <a:gd name="T24" fmla="*/ 2147483647 w 23"/>
                    <a:gd name="T25" fmla="*/ 2147483647 h 15"/>
                    <a:gd name="T26" fmla="*/ 2147483647 w 23"/>
                    <a:gd name="T27" fmla="*/ 2147483647 h 15"/>
                    <a:gd name="T28" fmla="*/ 2147483647 w 23"/>
                    <a:gd name="T29" fmla="*/ 2147483647 h 15"/>
                    <a:gd name="T30" fmla="*/ 2147483647 w 23"/>
                    <a:gd name="T31" fmla="*/ 2147483647 h 15"/>
                    <a:gd name="T32" fmla="*/ 2147483647 w 23"/>
                    <a:gd name="T33" fmla="*/ 2147483647 h 15"/>
                    <a:gd name="T34" fmla="*/ 2147483647 w 23"/>
                    <a:gd name="T35" fmla="*/ 2147483647 h 15"/>
                    <a:gd name="T36" fmla="*/ 2147483647 w 23"/>
                    <a:gd name="T37" fmla="*/ 2147483647 h 1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3"/>
                    <a:gd name="T58" fmla="*/ 0 h 15"/>
                    <a:gd name="T59" fmla="*/ 23 w 23"/>
                    <a:gd name="T60" fmla="*/ 15 h 1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3" h="15">
                      <a:moveTo>
                        <a:pt x="20" y="8"/>
                      </a:moveTo>
                      <a:lnTo>
                        <a:pt x="20" y="6"/>
                      </a:lnTo>
                      <a:lnTo>
                        <a:pt x="19" y="4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10"/>
                      </a:lnTo>
                      <a:lnTo>
                        <a:pt x="5" y="12"/>
                      </a:lnTo>
                      <a:lnTo>
                        <a:pt x="6" y="14"/>
                      </a:lnTo>
                      <a:lnTo>
                        <a:pt x="15" y="15"/>
                      </a:lnTo>
                      <a:lnTo>
                        <a:pt x="19" y="15"/>
                      </a:lnTo>
                      <a:lnTo>
                        <a:pt x="23" y="14"/>
                      </a:lnTo>
                      <a:lnTo>
                        <a:pt x="23" y="13"/>
                      </a:lnTo>
                      <a:lnTo>
                        <a:pt x="23" y="12"/>
                      </a:lnTo>
                      <a:lnTo>
                        <a:pt x="21" y="11"/>
                      </a:lnTo>
                      <a:lnTo>
                        <a:pt x="20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1021">
                  <a:extLst>
                    <a:ext uri="{FF2B5EF4-FFF2-40B4-BE49-F238E27FC236}">
                      <a16:creationId xmlns:a16="http://schemas.microsoft.com/office/drawing/2014/main" id="{192ED173-48B6-D54B-8D87-846B435606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0919" y="2789241"/>
                  <a:ext cx="20718" cy="39956"/>
                </a:xfrm>
                <a:custGeom>
                  <a:avLst/>
                  <a:gdLst>
                    <a:gd name="T0" fmla="*/ 2147483647 w 15"/>
                    <a:gd name="T1" fmla="*/ 2147483647 h 27"/>
                    <a:gd name="T2" fmla="*/ 2147483647 w 15"/>
                    <a:gd name="T3" fmla="*/ 2147483647 h 27"/>
                    <a:gd name="T4" fmla="*/ 2147483647 w 15"/>
                    <a:gd name="T5" fmla="*/ 2147483647 h 27"/>
                    <a:gd name="T6" fmla="*/ 2147483647 w 15"/>
                    <a:gd name="T7" fmla="*/ 2147483647 h 27"/>
                    <a:gd name="T8" fmla="*/ 2147483647 w 15"/>
                    <a:gd name="T9" fmla="*/ 2147483647 h 27"/>
                    <a:gd name="T10" fmla="*/ 2147483647 w 15"/>
                    <a:gd name="T11" fmla="*/ 2147483647 h 27"/>
                    <a:gd name="T12" fmla="*/ 2147483647 w 15"/>
                    <a:gd name="T13" fmla="*/ 2147483647 h 27"/>
                    <a:gd name="T14" fmla="*/ 2147483647 w 15"/>
                    <a:gd name="T15" fmla="*/ 2147483647 h 27"/>
                    <a:gd name="T16" fmla="*/ 2147483647 w 15"/>
                    <a:gd name="T17" fmla="*/ 0 h 27"/>
                    <a:gd name="T18" fmla="*/ 0 w 15"/>
                    <a:gd name="T19" fmla="*/ 0 h 27"/>
                    <a:gd name="T20" fmla="*/ 0 w 15"/>
                    <a:gd name="T21" fmla="*/ 2147483647 h 27"/>
                    <a:gd name="T22" fmla="*/ 0 w 15"/>
                    <a:gd name="T23" fmla="*/ 2147483647 h 27"/>
                    <a:gd name="T24" fmla="*/ 0 w 15"/>
                    <a:gd name="T25" fmla="*/ 2147483647 h 27"/>
                    <a:gd name="T26" fmla="*/ 2147483647 w 15"/>
                    <a:gd name="T27" fmla="*/ 2147483647 h 27"/>
                    <a:gd name="T28" fmla="*/ 2147483647 w 15"/>
                    <a:gd name="T29" fmla="*/ 2147483647 h 27"/>
                    <a:gd name="T30" fmla="*/ 2147483647 w 15"/>
                    <a:gd name="T31" fmla="*/ 2147483647 h 27"/>
                    <a:gd name="T32" fmla="*/ 2147483647 w 15"/>
                    <a:gd name="T33" fmla="*/ 2147483647 h 27"/>
                    <a:gd name="T34" fmla="*/ 2147483647 w 15"/>
                    <a:gd name="T35" fmla="*/ 2147483647 h 27"/>
                    <a:gd name="T36" fmla="*/ 2147483647 w 15"/>
                    <a:gd name="T37" fmla="*/ 2147483647 h 27"/>
                    <a:gd name="T38" fmla="*/ 2147483647 w 15"/>
                    <a:gd name="T39" fmla="*/ 2147483647 h 27"/>
                    <a:gd name="T40" fmla="*/ 2147483647 w 15"/>
                    <a:gd name="T41" fmla="*/ 2147483647 h 27"/>
                    <a:gd name="T42" fmla="*/ 2147483647 w 15"/>
                    <a:gd name="T43" fmla="*/ 2147483647 h 27"/>
                    <a:gd name="T44" fmla="*/ 2147483647 w 15"/>
                    <a:gd name="T45" fmla="*/ 2147483647 h 27"/>
                    <a:gd name="T46" fmla="*/ 2147483647 w 15"/>
                    <a:gd name="T47" fmla="*/ 2147483647 h 27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"/>
                    <a:gd name="T73" fmla="*/ 0 h 27"/>
                    <a:gd name="T74" fmla="*/ 15 w 15"/>
                    <a:gd name="T75" fmla="*/ 27 h 27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" h="27">
                      <a:moveTo>
                        <a:pt x="11" y="16"/>
                      </a:moveTo>
                      <a:lnTo>
                        <a:pt x="11" y="16"/>
                      </a:lnTo>
                      <a:lnTo>
                        <a:pt x="9" y="14"/>
                      </a:lnTo>
                      <a:lnTo>
                        <a:pt x="8" y="13"/>
                      </a:lnTo>
                      <a:lnTo>
                        <a:pt x="8" y="10"/>
                      </a:lnTo>
                      <a:lnTo>
                        <a:pt x="6" y="5"/>
                      </a:lnTo>
                      <a:lnTo>
                        <a:pt x="5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4"/>
                      </a:lnTo>
                      <a:lnTo>
                        <a:pt x="1" y="27"/>
                      </a:lnTo>
                      <a:lnTo>
                        <a:pt x="5" y="26"/>
                      </a:lnTo>
                      <a:lnTo>
                        <a:pt x="8" y="25"/>
                      </a:lnTo>
                      <a:lnTo>
                        <a:pt x="13" y="23"/>
                      </a:lnTo>
                      <a:lnTo>
                        <a:pt x="15" y="22"/>
                      </a:lnTo>
                      <a:lnTo>
                        <a:pt x="15" y="19"/>
                      </a:lnTo>
                      <a:lnTo>
                        <a:pt x="14" y="17"/>
                      </a:lnTo>
                      <a:lnTo>
                        <a:pt x="11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1022">
                  <a:extLst>
                    <a:ext uri="{FF2B5EF4-FFF2-40B4-BE49-F238E27FC236}">
                      <a16:creationId xmlns:a16="http://schemas.microsoft.com/office/drawing/2014/main" id="{58B0D4F8-7694-FB4F-8C2A-6756A25E0D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9480" y="2786283"/>
                  <a:ext cx="29597" cy="22198"/>
                </a:xfrm>
                <a:custGeom>
                  <a:avLst/>
                  <a:gdLst>
                    <a:gd name="T0" fmla="*/ 2147483647 w 22"/>
                    <a:gd name="T1" fmla="*/ 2147483647 h 15"/>
                    <a:gd name="T2" fmla="*/ 2147483647 w 22"/>
                    <a:gd name="T3" fmla="*/ 2147483647 h 15"/>
                    <a:gd name="T4" fmla="*/ 2147483647 w 22"/>
                    <a:gd name="T5" fmla="*/ 2147483647 h 15"/>
                    <a:gd name="T6" fmla="*/ 2147483647 w 22"/>
                    <a:gd name="T7" fmla="*/ 2147483647 h 15"/>
                    <a:gd name="T8" fmla="*/ 2147483647 w 22"/>
                    <a:gd name="T9" fmla="*/ 2147483647 h 15"/>
                    <a:gd name="T10" fmla="*/ 2147483647 w 22"/>
                    <a:gd name="T11" fmla="*/ 0 h 15"/>
                    <a:gd name="T12" fmla="*/ 2147483647 w 22"/>
                    <a:gd name="T13" fmla="*/ 0 h 15"/>
                    <a:gd name="T14" fmla="*/ 2147483647 w 22"/>
                    <a:gd name="T15" fmla="*/ 2147483647 h 15"/>
                    <a:gd name="T16" fmla="*/ 2147483647 w 22"/>
                    <a:gd name="T17" fmla="*/ 2147483647 h 15"/>
                    <a:gd name="T18" fmla="*/ 0 w 22"/>
                    <a:gd name="T19" fmla="*/ 2147483647 h 15"/>
                    <a:gd name="T20" fmla="*/ 0 w 22"/>
                    <a:gd name="T21" fmla="*/ 2147483647 h 15"/>
                    <a:gd name="T22" fmla="*/ 2147483647 w 22"/>
                    <a:gd name="T23" fmla="*/ 2147483647 h 15"/>
                    <a:gd name="T24" fmla="*/ 2147483647 w 22"/>
                    <a:gd name="T25" fmla="*/ 2147483647 h 15"/>
                    <a:gd name="T26" fmla="*/ 2147483647 w 22"/>
                    <a:gd name="T27" fmla="*/ 2147483647 h 15"/>
                    <a:gd name="T28" fmla="*/ 2147483647 w 22"/>
                    <a:gd name="T29" fmla="*/ 2147483647 h 15"/>
                    <a:gd name="T30" fmla="*/ 2147483647 w 22"/>
                    <a:gd name="T31" fmla="*/ 2147483647 h 15"/>
                    <a:gd name="T32" fmla="*/ 2147483647 w 22"/>
                    <a:gd name="T33" fmla="*/ 2147483647 h 15"/>
                    <a:gd name="T34" fmla="*/ 2147483647 w 22"/>
                    <a:gd name="T35" fmla="*/ 2147483647 h 15"/>
                    <a:gd name="T36" fmla="*/ 2147483647 w 22"/>
                    <a:gd name="T37" fmla="*/ 2147483647 h 15"/>
                    <a:gd name="T38" fmla="*/ 2147483647 w 22"/>
                    <a:gd name="T39" fmla="*/ 2147483647 h 15"/>
                    <a:gd name="T40" fmla="*/ 2147483647 w 22"/>
                    <a:gd name="T41" fmla="*/ 2147483647 h 15"/>
                    <a:gd name="T42" fmla="*/ 2147483647 w 22"/>
                    <a:gd name="T43" fmla="*/ 2147483647 h 15"/>
                    <a:gd name="T44" fmla="*/ 2147483647 w 22"/>
                    <a:gd name="T45" fmla="*/ 2147483647 h 15"/>
                    <a:gd name="T46" fmla="*/ 2147483647 w 22"/>
                    <a:gd name="T47" fmla="*/ 2147483647 h 15"/>
                    <a:gd name="T48" fmla="*/ 2147483647 w 22"/>
                    <a:gd name="T49" fmla="*/ 2147483647 h 15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2"/>
                    <a:gd name="T76" fmla="*/ 0 h 15"/>
                    <a:gd name="T77" fmla="*/ 22 w 22"/>
                    <a:gd name="T78" fmla="*/ 15 h 15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2" h="15">
                      <a:moveTo>
                        <a:pt x="20" y="8"/>
                      </a:moveTo>
                      <a:lnTo>
                        <a:pt x="20" y="8"/>
                      </a:lnTo>
                      <a:lnTo>
                        <a:pt x="20" y="6"/>
                      </a:lnTo>
                      <a:lnTo>
                        <a:pt x="19" y="3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2" y="9"/>
                      </a:lnTo>
                      <a:lnTo>
                        <a:pt x="5" y="12"/>
                      </a:lnTo>
                      <a:lnTo>
                        <a:pt x="6" y="14"/>
                      </a:lnTo>
                      <a:lnTo>
                        <a:pt x="15" y="15"/>
                      </a:lnTo>
                      <a:lnTo>
                        <a:pt x="19" y="15"/>
                      </a:lnTo>
                      <a:lnTo>
                        <a:pt x="22" y="14"/>
                      </a:lnTo>
                      <a:lnTo>
                        <a:pt x="22" y="13"/>
                      </a:lnTo>
                      <a:lnTo>
                        <a:pt x="22" y="12"/>
                      </a:lnTo>
                      <a:lnTo>
                        <a:pt x="21" y="11"/>
                      </a:lnTo>
                      <a:lnTo>
                        <a:pt x="20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1023">
                  <a:extLst>
                    <a:ext uri="{FF2B5EF4-FFF2-40B4-BE49-F238E27FC236}">
                      <a16:creationId xmlns:a16="http://schemas.microsoft.com/office/drawing/2014/main" id="{F8DB1696-AFAF-7346-A7B5-C57865B121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5758" y="2817361"/>
                  <a:ext cx="26637" cy="39957"/>
                </a:xfrm>
                <a:custGeom>
                  <a:avLst/>
                  <a:gdLst>
                    <a:gd name="T0" fmla="*/ 2147483647 w 19"/>
                    <a:gd name="T1" fmla="*/ 2147483647 h 27"/>
                    <a:gd name="T2" fmla="*/ 2147483647 w 19"/>
                    <a:gd name="T3" fmla="*/ 2147483647 h 27"/>
                    <a:gd name="T4" fmla="*/ 2147483647 w 19"/>
                    <a:gd name="T5" fmla="*/ 2147483647 h 27"/>
                    <a:gd name="T6" fmla="*/ 2147483647 w 19"/>
                    <a:gd name="T7" fmla="*/ 2147483647 h 27"/>
                    <a:gd name="T8" fmla="*/ 2147483647 w 19"/>
                    <a:gd name="T9" fmla="*/ 0 h 27"/>
                    <a:gd name="T10" fmla="*/ 2147483647 w 19"/>
                    <a:gd name="T11" fmla="*/ 2147483647 h 27"/>
                    <a:gd name="T12" fmla="*/ 2147483647 w 19"/>
                    <a:gd name="T13" fmla="*/ 2147483647 h 27"/>
                    <a:gd name="T14" fmla="*/ 0 w 19"/>
                    <a:gd name="T15" fmla="*/ 2147483647 h 27"/>
                    <a:gd name="T16" fmla="*/ 0 w 19"/>
                    <a:gd name="T17" fmla="*/ 2147483647 h 27"/>
                    <a:gd name="T18" fmla="*/ 0 w 19"/>
                    <a:gd name="T19" fmla="*/ 2147483647 h 27"/>
                    <a:gd name="T20" fmla="*/ 2147483647 w 19"/>
                    <a:gd name="T21" fmla="*/ 2147483647 h 27"/>
                    <a:gd name="T22" fmla="*/ 2147483647 w 19"/>
                    <a:gd name="T23" fmla="*/ 2147483647 h 27"/>
                    <a:gd name="T24" fmla="*/ 2147483647 w 19"/>
                    <a:gd name="T25" fmla="*/ 2147483647 h 27"/>
                    <a:gd name="T26" fmla="*/ 2147483647 w 19"/>
                    <a:gd name="T27" fmla="*/ 2147483647 h 27"/>
                    <a:gd name="T28" fmla="*/ 2147483647 w 19"/>
                    <a:gd name="T29" fmla="*/ 2147483647 h 27"/>
                    <a:gd name="T30" fmla="*/ 2147483647 w 19"/>
                    <a:gd name="T31" fmla="*/ 2147483647 h 27"/>
                    <a:gd name="T32" fmla="*/ 2147483647 w 19"/>
                    <a:gd name="T33" fmla="*/ 2147483647 h 27"/>
                    <a:gd name="T34" fmla="*/ 2147483647 w 19"/>
                    <a:gd name="T35" fmla="*/ 2147483647 h 27"/>
                    <a:gd name="T36" fmla="*/ 2147483647 w 19"/>
                    <a:gd name="T37" fmla="*/ 2147483647 h 27"/>
                    <a:gd name="T38" fmla="*/ 2147483647 w 19"/>
                    <a:gd name="T39" fmla="*/ 2147483647 h 27"/>
                    <a:gd name="T40" fmla="*/ 2147483647 w 19"/>
                    <a:gd name="T41" fmla="*/ 2147483647 h 2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9"/>
                    <a:gd name="T64" fmla="*/ 0 h 27"/>
                    <a:gd name="T65" fmla="*/ 19 w 19"/>
                    <a:gd name="T66" fmla="*/ 27 h 27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9" h="27">
                      <a:moveTo>
                        <a:pt x="17" y="16"/>
                      </a:moveTo>
                      <a:lnTo>
                        <a:pt x="14" y="10"/>
                      </a:lnTo>
                      <a:lnTo>
                        <a:pt x="10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8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10" y="16"/>
                      </a:lnTo>
                      <a:lnTo>
                        <a:pt x="14" y="22"/>
                      </a:lnTo>
                      <a:lnTo>
                        <a:pt x="15" y="26"/>
                      </a:lnTo>
                      <a:lnTo>
                        <a:pt x="17" y="27"/>
                      </a:lnTo>
                      <a:lnTo>
                        <a:pt x="18" y="26"/>
                      </a:lnTo>
                      <a:lnTo>
                        <a:pt x="19" y="24"/>
                      </a:lnTo>
                      <a:lnTo>
                        <a:pt x="19" y="19"/>
                      </a:lnTo>
                      <a:lnTo>
                        <a:pt x="17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1024">
                  <a:extLst>
                    <a:ext uri="{FF2B5EF4-FFF2-40B4-BE49-F238E27FC236}">
                      <a16:creationId xmlns:a16="http://schemas.microsoft.com/office/drawing/2014/main" id="{27AC6071-E04D-774D-B3A5-82C73A8474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5705" y="2698971"/>
                  <a:ext cx="26637" cy="28118"/>
                </a:xfrm>
                <a:custGeom>
                  <a:avLst/>
                  <a:gdLst>
                    <a:gd name="T0" fmla="*/ 2147483647 w 20"/>
                    <a:gd name="T1" fmla="*/ 2147483647 h 19"/>
                    <a:gd name="T2" fmla="*/ 2147483647 w 20"/>
                    <a:gd name="T3" fmla="*/ 0 h 19"/>
                    <a:gd name="T4" fmla="*/ 2147483647 w 20"/>
                    <a:gd name="T5" fmla="*/ 0 h 19"/>
                    <a:gd name="T6" fmla="*/ 2147483647 w 20"/>
                    <a:gd name="T7" fmla="*/ 2147483647 h 19"/>
                    <a:gd name="T8" fmla="*/ 2147483647 w 20"/>
                    <a:gd name="T9" fmla="*/ 2147483647 h 19"/>
                    <a:gd name="T10" fmla="*/ 2147483647 w 20"/>
                    <a:gd name="T11" fmla="*/ 2147483647 h 19"/>
                    <a:gd name="T12" fmla="*/ 2147483647 w 20"/>
                    <a:gd name="T13" fmla="*/ 2147483647 h 19"/>
                    <a:gd name="T14" fmla="*/ 2147483647 w 20"/>
                    <a:gd name="T15" fmla="*/ 2147483647 h 19"/>
                    <a:gd name="T16" fmla="*/ 2147483647 w 20"/>
                    <a:gd name="T17" fmla="*/ 2147483647 h 19"/>
                    <a:gd name="T18" fmla="*/ 2147483647 w 20"/>
                    <a:gd name="T19" fmla="*/ 2147483647 h 19"/>
                    <a:gd name="T20" fmla="*/ 2147483647 w 20"/>
                    <a:gd name="T21" fmla="*/ 2147483647 h 19"/>
                    <a:gd name="T22" fmla="*/ 0 w 20"/>
                    <a:gd name="T23" fmla="*/ 2147483647 h 19"/>
                    <a:gd name="T24" fmla="*/ 0 w 20"/>
                    <a:gd name="T25" fmla="*/ 2147483647 h 19"/>
                    <a:gd name="T26" fmla="*/ 2147483647 w 20"/>
                    <a:gd name="T27" fmla="*/ 2147483647 h 19"/>
                    <a:gd name="T28" fmla="*/ 2147483647 w 20"/>
                    <a:gd name="T29" fmla="*/ 2147483647 h 19"/>
                    <a:gd name="T30" fmla="*/ 2147483647 w 20"/>
                    <a:gd name="T31" fmla="*/ 2147483647 h 1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"/>
                    <a:gd name="T49" fmla="*/ 0 h 19"/>
                    <a:gd name="T50" fmla="*/ 20 w 20"/>
                    <a:gd name="T51" fmla="*/ 19 h 1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" h="19">
                      <a:moveTo>
                        <a:pt x="6" y="4"/>
                      </a:move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1"/>
                      </a:lnTo>
                      <a:lnTo>
                        <a:pt x="20" y="4"/>
                      </a:lnTo>
                      <a:lnTo>
                        <a:pt x="20" y="8"/>
                      </a:lnTo>
                      <a:lnTo>
                        <a:pt x="18" y="10"/>
                      </a:lnTo>
                      <a:lnTo>
                        <a:pt x="15" y="14"/>
                      </a:lnTo>
                      <a:lnTo>
                        <a:pt x="6" y="17"/>
                      </a:lnTo>
                      <a:lnTo>
                        <a:pt x="2" y="19"/>
                      </a:lnTo>
                      <a:lnTo>
                        <a:pt x="1" y="17"/>
                      </a:lnTo>
                      <a:lnTo>
                        <a:pt x="0" y="16"/>
                      </a:lnTo>
                      <a:lnTo>
                        <a:pt x="0" y="13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0" name="Freeform 1025">
                  <a:extLst>
                    <a:ext uri="{FF2B5EF4-FFF2-40B4-BE49-F238E27FC236}">
                      <a16:creationId xmlns:a16="http://schemas.microsoft.com/office/drawing/2014/main" id="{2DCD5D48-8A9C-A446-92F9-079E79FBDA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4278" y="2815878"/>
                  <a:ext cx="26637" cy="39956"/>
                </a:xfrm>
                <a:custGeom>
                  <a:avLst/>
                  <a:gdLst>
                    <a:gd name="T0" fmla="*/ 2147483647 w 19"/>
                    <a:gd name="T1" fmla="*/ 2147483647 h 27"/>
                    <a:gd name="T2" fmla="*/ 2147483647 w 19"/>
                    <a:gd name="T3" fmla="*/ 2147483647 h 27"/>
                    <a:gd name="T4" fmla="*/ 2147483647 w 19"/>
                    <a:gd name="T5" fmla="*/ 2147483647 h 27"/>
                    <a:gd name="T6" fmla="*/ 2147483647 w 19"/>
                    <a:gd name="T7" fmla="*/ 2147483647 h 27"/>
                    <a:gd name="T8" fmla="*/ 2147483647 w 19"/>
                    <a:gd name="T9" fmla="*/ 2147483647 h 27"/>
                    <a:gd name="T10" fmla="*/ 2147483647 w 19"/>
                    <a:gd name="T11" fmla="*/ 2147483647 h 27"/>
                    <a:gd name="T12" fmla="*/ 2147483647 w 19"/>
                    <a:gd name="T13" fmla="*/ 2147483647 h 27"/>
                    <a:gd name="T14" fmla="*/ 2147483647 w 19"/>
                    <a:gd name="T15" fmla="*/ 2147483647 h 27"/>
                    <a:gd name="T16" fmla="*/ 2147483647 w 19"/>
                    <a:gd name="T17" fmla="*/ 0 h 27"/>
                    <a:gd name="T18" fmla="*/ 2147483647 w 19"/>
                    <a:gd name="T19" fmla="*/ 2147483647 h 27"/>
                    <a:gd name="T20" fmla="*/ 2147483647 w 19"/>
                    <a:gd name="T21" fmla="*/ 2147483647 h 27"/>
                    <a:gd name="T22" fmla="*/ 2147483647 w 19"/>
                    <a:gd name="T23" fmla="*/ 2147483647 h 27"/>
                    <a:gd name="T24" fmla="*/ 0 w 19"/>
                    <a:gd name="T25" fmla="*/ 2147483647 h 27"/>
                    <a:gd name="T26" fmla="*/ 0 w 19"/>
                    <a:gd name="T27" fmla="*/ 2147483647 h 27"/>
                    <a:gd name="T28" fmla="*/ 0 w 19"/>
                    <a:gd name="T29" fmla="*/ 2147483647 h 27"/>
                    <a:gd name="T30" fmla="*/ 2147483647 w 19"/>
                    <a:gd name="T31" fmla="*/ 2147483647 h 27"/>
                    <a:gd name="T32" fmla="*/ 2147483647 w 19"/>
                    <a:gd name="T33" fmla="*/ 2147483647 h 27"/>
                    <a:gd name="T34" fmla="*/ 2147483647 w 19"/>
                    <a:gd name="T35" fmla="*/ 2147483647 h 27"/>
                    <a:gd name="T36" fmla="*/ 2147483647 w 19"/>
                    <a:gd name="T37" fmla="*/ 2147483647 h 27"/>
                    <a:gd name="T38" fmla="*/ 2147483647 w 19"/>
                    <a:gd name="T39" fmla="*/ 2147483647 h 27"/>
                    <a:gd name="T40" fmla="*/ 2147483647 w 19"/>
                    <a:gd name="T41" fmla="*/ 2147483647 h 27"/>
                    <a:gd name="T42" fmla="*/ 2147483647 w 19"/>
                    <a:gd name="T43" fmla="*/ 2147483647 h 27"/>
                    <a:gd name="T44" fmla="*/ 2147483647 w 19"/>
                    <a:gd name="T45" fmla="*/ 2147483647 h 27"/>
                    <a:gd name="T46" fmla="*/ 2147483647 w 19"/>
                    <a:gd name="T47" fmla="*/ 2147483647 h 27"/>
                    <a:gd name="T48" fmla="*/ 2147483647 w 19"/>
                    <a:gd name="T49" fmla="*/ 2147483647 h 27"/>
                    <a:gd name="T50" fmla="*/ 2147483647 w 19"/>
                    <a:gd name="T51" fmla="*/ 2147483647 h 27"/>
                    <a:gd name="T52" fmla="*/ 2147483647 w 19"/>
                    <a:gd name="T53" fmla="*/ 2147483647 h 27"/>
                    <a:gd name="T54" fmla="*/ 2147483647 w 19"/>
                    <a:gd name="T55" fmla="*/ 2147483647 h 27"/>
                    <a:gd name="T56" fmla="*/ 2147483647 w 19"/>
                    <a:gd name="T57" fmla="*/ 2147483647 h 27"/>
                    <a:gd name="T58" fmla="*/ 2147483647 w 19"/>
                    <a:gd name="T59" fmla="*/ 2147483647 h 2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9"/>
                    <a:gd name="T91" fmla="*/ 0 h 27"/>
                    <a:gd name="T92" fmla="*/ 19 w 19"/>
                    <a:gd name="T93" fmla="*/ 27 h 2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9" h="27">
                      <a:moveTo>
                        <a:pt x="16" y="15"/>
                      </a:moveTo>
                      <a:lnTo>
                        <a:pt x="16" y="15"/>
                      </a:lnTo>
                      <a:lnTo>
                        <a:pt x="14" y="9"/>
                      </a:lnTo>
                      <a:lnTo>
                        <a:pt x="10" y="2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8"/>
                      </a:lnTo>
                      <a:lnTo>
                        <a:pt x="4" y="9"/>
                      </a:lnTo>
                      <a:lnTo>
                        <a:pt x="6" y="11"/>
                      </a:lnTo>
                      <a:lnTo>
                        <a:pt x="10" y="15"/>
                      </a:lnTo>
                      <a:lnTo>
                        <a:pt x="14" y="21"/>
                      </a:lnTo>
                      <a:lnTo>
                        <a:pt x="15" y="26"/>
                      </a:lnTo>
                      <a:lnTo>
                        <a:pt x="16" y="27"/>
                      </a:lnTo>
                      <a:lnTo>
                        <a:pt x="18" y="26"/>
                      </a:lnTo>
                      <a:lnTo>
                        <a:pt x="19" y="24"/>
                      </a:lnTo>
                      <a:lnTo>
                        <a:pt x="19" y="19"/>
                      </a:lnTo>
                      <a:lnTo>
                        <a:pt x="16" y="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1026">
                  <a:extLst>
                    <a:ext uri="{FF2B5EF4-FFF2-40B4-BE49-F238E27FC236}">
                      <a16:creationId xmlns:a16="http://schemas.microsoft.com/office/drawing/2014/main" id="{3A9191CC-F975-0B42-B1A2-AF1EDAD9BF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4224" y="2696012"/>
                  <a:ext cx="26637" cy="28118"/>
                </a:xfrm>
                <a:custGeom>
                  <a:avLst/>
                  <a:gdLst>
                    <a:gd name="T0" fmla="*/ 2147483647 w 20"/>
                    <a:gd name="T1" fmla="*/ 2147483647 h 19"/>
                    <a:gd name="T2" fmla="*/ 2147483647 w 20"/>
                    <a:gd name="T3" fmla="*/ 2147483647 h 19"/>
                    <a:gd name="T4" fmla="*/ 2147483647 w 20"/>
                    <a:gd name="T5" fmla="*/ 0 h 19"/>
                    <a:gd name="T6" fmla="*/ 2147483647 w 20"/>
                    <a:gd name="T7" fmla="*/ 0 h 19"/>
                    <a:gd name="T8" fmla="*/ 2147483647 w 20"/>
                    <a:gd name="T9" fmla="*/ 2147483647 h 19"/>
                    <a:gd name="T10" fmla="*/ 2147483647 w 20"/>
                    <a:gd name="T11" fmla="*/ 2147483647 h 19"/>
                    <a:gd name="T12" fmla="*/ 2147483647 w 20"/>
                    <a:gd name="T13" fmla="*/ 2147483647 h 19"/>
                    <a:gd name="T14" fmla="*/ 2147483647 w 20"/>
                    <a:gd name="T15" fmla="*/ 2147483647 h 19"/>
                    <a:gd name="T16" fmla="*/ 2147483647 w 20"/>
                    <a:gd name="T17" fmla="*/ 2147483647 h 19"/>
                    <a:gd name="T18" fmla="*/ 2147483647 w 20"/>
                    <a:gd name="T19" fmla="*/ 2147483647 h 19"/>
                    <a:gd name="T20" fmla="*/ 2147483647 w 20"/>
                    <a:gd name="T21" fmla="*/ 2147483647 h 19"/>
                    <a:gd name="T22" fmla="*/ 2147483647 w 20"/>
                    <a:gd name="T23" fmla="*/ 2147483647 h 19"/>
                    <a:gd name="T24" fmla="*/ 2147483647 w 20"/>
                    <a:gd name="T25" fmla="*/ 2147483647 h 19"/>
                    <a:gd name="T26" fmla="*/ 2147483647 w 20"/>
                    <a:gd name="T27" fmla="*/ 2147483647 h 19"/>
                    <a:gd name="T28" fmla="*/ 0 w 20"/>
                    <a:gd name="T29" fmla="*/ 2147483647 h 19"/>
                    <a:gd name="T30" fmla="*/ 0 w 20"/>
                    <a:gd name="T31" fmla="*/ 2147483647 h 19"/>
                    <a:gd name="T32" fmla="*/ 0 w 20"/>
                    <a:gd name="T33" fmla="*/ 2147483647 h 19"/>
                    <a:gd name="T34" fmla="*/ 2147483647 w 20"/>
                    <a:gd name="T35" fmla="*/ 2147483647 h 19"/>
                    <a:gd name="T36" fmla="*/ 2147483647 w 20"/>
                    <a:gd name="T37" fmla="*/ 2147483647 h 19"/>
                    <a:gd name="T38" fmla="*/ 2147483647 w 20"/>
                    <a:gd name="T39" fmla="*/ 2147483647 h 19"/>
                    <a:gd name="T40" fmla="*/ 2147483647 w 20"/>
                    <a:gd name="T41" fmla="*/ 2147483647 h 1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"/>
                    <a:gd name="T64" fmla="*/ 0 h 19"/>
                    <a:gd name="T65" fmla="*/ 20 w 20"/>
                    <a:gd name="T66" fmla="*/ 19 h 1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" h="19">
                      <a:moveTo>
                        <a:pt x="6" y="5"/>
                      </a:moveTo>
                      <a:lnTo>
                        <a:pt x="6" y="5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7" y="2"/>
                      </a:lnTo>
                      <a:lnTo>
                        <a:pt x="20" y="5"/>
                      </a:lnTo>
                      <a:lnTo>
                        <a:pt x="20" y="9"/>
                      </a:lnTo>
                      <a:lnTo>
                        <a:pt x="17" y="11"/>
                      </a:lnTo>
                      <a:lnTo>
                        <a:pt x="15" y="15"/>
                      </a:lnTo>
                      <a:lnTo>
                        <a:pt x="6" y="18"/>
                      </a:lnTo>
                      <a:lnTo>
                        <a:pt x="2" y="19"/>
                      </a:lnTo>
                      <a:lnTo>
                        <a:pt x="1" y="18"/>
                      </a:lnTo>
                      <a:lnTo>
                        <a:pt x="0" y="17"/>
                      </a:lnTo>
                      <a:lnTo>
                        <a:pt x="0" y="13"/>
                      </a:lnTo>
                      <a:lnTo>
                        <a:pt x="1" y="10"/>
                      </a:lnTo>
                      <a:lnTo>
                        <a:pt x="3" y="7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027">
                  <a:extLst>
                    <a:ext uri="{FF2B5EF4-FFF2-40B4-BE49-F238E27FC236}">
                      <a16:creationId xmlns:a16="http://schemas.microsoft.com/office/drawing/2014/main" id="{68FA7C50-B2E0-1C44-A0E9-4DCF968872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6953" y="2774445"/>
                  <a:ext cx="32557" cy="20718"/>
                </a:xfrm>
                <a:custGeom>
                  <a:avLst/>
                  <a:gdLst>
                    <a:gd name="T0" fmla="*/ 2147483647 w 24"/>
                    <a:gd name="T1" fmla="*/ 2147483647 h 14"/>
                    <a:gd name="T2" fmla="*/ 2147483647 w 24"/>
                    <a:gd name="T3" fmla="*/ 2147483647 h 14"/>
                    <a:gd name="T4" fmla="*/ 2147483647 w 24"/>
                    <a:gd name="T5" fmla="*/ 2147483647 h 14"/>
                    <a:gd name="T6" fmla="*/ 2147483647 w 24"/>
                    <a:gd name="T7" fmla="*/ 2147483647 h 14"/>
                    <a:gd name="T8" fmla="*/ 2147483647 w 24"/>
                    <a:gd name="T9" fmla="*/ 2147483647 h 14"/>
                    <a:gd name="T10" fmla="*/ 0 w 24"/>
                    <a:gd name="T11" fmla="*/ 2147483647 h 14"/>
                    <a:gd name="T12" fmla="*/ 2147483647 w 24"/>
                    <a:gd name="T13" fmla="*/ 2147483647 h 14"/>
                    <a:gd name="T14" fmla="*/ 2147483647 w 24"/>
                    <a:gd name="T15" fmla="*/ 2147483647 h 14"/>
                    <a:gd name="T16" fmla="*/ 2147483647 w 24"/>
                    <a:gd name="T17" fmla="*/ 2147483647 h 14"/>
                    <a:gd name="T18" fmla="*/ 2147483647 w 24"/>
                    <a:gd name="T19" fmla="*/ 0 h 14"/>
                    <a:gd name="T20" fmla="*/ 2147483647 w 24"/>
                    <a:gd name="T21" fmla="*/ 0 h 14"/>
                    <a:gd name="T22" fmla="*/ 2147483647 w 24"/>
                    <a:gd name="T23" fmla="*/ 2147483647 h 14"/>
                    <a:gd name="T24" fmla="*/ 2147483647 w 24"/>
                    <a:gd name="T25" fmla="*/ 2147483647 h 14"/>
                    <a:gd name="T26" fmla="*/ 2147483647 w 24"/>
                    <a:gd name="T27" fmla="*/ 2147483647 h 14"/>
                    <a:gd name="T28" fmla="*/ 2147483647 w 24"/>
                    <a:gd name="T29" fmla="*/ 2147483647 h 14"/>
                    <a:gd name="T30" fmla="*/ 2147483647 w 24"/>
                    <a:gd name="T31" fmla="*/ 2147483647 h 14"/>
                    <a:gd name="T32" fmla="*/ 2147483647 w 24"/>
                    <a:gd name="T33" fmla="*/ 2147483647 h 14"/>
                    <a:gd name="T34" fmla="*/ 2147483647 w 24"/>
                    <a:gd name="T35" fmla="*/ 2147483647 h 14"/>
                    <a:gd name="T36" fmla="*/ 2147483647 w 24"/>
                    <a:gd name="T37" fmla="*/ 2147483647 h 1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4"/>
                    <a:gd name="T58" fmla="*/ 0 h 14"/>
                    <a:gd name="T59" fmla="*/ 24 w 24"/>
                    <a:gd name="T60" fmla="*/ 14 h 1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4" h="14">
                      <a:moveTo>
                        <a:pt x="10" y="11"/>
                      </a:moveTo>
                      <a:lnTo>
                        <a:pt x="6" y="13"/>
                      </a:lnTo>
                      <a:lnTo>
                        <a:pt x="5" y="14"/>
                      </a:lnTo>
                      <a:lnTo>
                        <a:pt x="2" y="14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1" y="8"/>
                      </a:lnTo>
                      <a:lnTo>
                        <a:pt x="2" y="5"/>
                      </a:lnTo>
                      <a:lnTo>
                        <a:pt x="5" y="3"/>
                      </a:lnTo>
                      <a:lnTo>
                        <a:pt x="10" y="0"/>
                      </a:lnTo>
                      <a:lnTo>
                        <a:pt x="15" y="0"/>
                      </a:lnTo>
                      <a:lnTo>
                        <a:pt x="20" y="2"/>
                      </a:lnTo>
                      <a:lnTo>
                        <a:pt x="22" y="3"/>
                      </a:lnTo>
                      <a:lnTo>
                        <a:pt x="23" y="7"/>
                      </a:lnTo>
                      <a:lnTo>
                        <a:pt x="24" y="8"/>
                      </a:lnTo>
                      <a:lnTo>
                        <a:pt x="23" y="9"/>
                      </a:lnTo>
                      <a:lnTo>
                        <a:pt x="19" y="10"/>
                      </a:lnTo>
                      <a:lnTo>
                        <a:pt x="15" y="10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1028">
                  <a:extLst>
                    <a:ext uri="{FF2B5EF4-FFF2-40B4-BE49-F238E27FC236}">
                      <a16:creationId xmlns:a16="http://schemas.microsoft.com/office/drawing/2014/main" id="{8059D8D7-CEC2-2D4E-9B07-5EF7E6C38F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4400" y="2798120"/>
                  <a:ext cx="54755" cy="39956"/>
                </a:xfrm>
                <a:custGeom>
                  <a:avLst/>
                  <a:gdLst>
                    <a:gd name="T0" fmla="*/ 2147483647 w 40"/>
                    <a:gd name="T1" fmla="*/ 2147483647 h 27"/>
                    <a:gd name="T2" fmla="*/ 2147483647 w 40"/>
                    <a:gd name="T3" fmla="*/ 2147483647 h 27"/>
                    <a:gd name="T4" fmla="*/ 2147483647 w 40"/>
                    <a:gd name="T5" fmla="*/ 2147483647 h 27"/>
                    <a:gd name="T6" fmla="*/ 2147483647 w 40"/>
                    <a:gd name="T7" fmla="*/ 2147483647 h 27"/>
                    <a:gd name="T8" fmla="*/ 2147483647 w 40"/>
                    <a:gd name="T9" fmla="*/ 2147483647 h 27"/>
                    <a:gd name="T10" fmla="*/ 2147483647 w 40"/>
                    <a:gd name="T11" fmla="*/ 2147483647 h 27"/>
                    <a:gd name="T12" fmla="*/ 2147483647 w 40"/>
                    <a:gd name="T13" fmla="*/ 2147483647 h 27"/>
                    <a:gd name="T14" fmla="*/ 2147483647 w 40"/>
                    <a:gd name="T15" fmla="*/ 2147483647 h 27"/>
                    <a:gd name="T16" fmla="*/ 2147483647 w 40"/>
                    <a:gd name="T17" fmla="*/ 2147483647 h 27"/>
                    <a:gd name="T18" fmla="*/ 2147483647 w 40"/>
                    <a:gd name="T19" fmla="*/ 2147483647 h 27"/>
                    <a:gd name="T20" fmla="*/ 2147483647 w 40"/>
                    <a:gd name="T21" fmla="*/ 2147483647 h 27"/>
                    <a:gd name="T22" fmla="*/ 2147483647 w 40"/>
                    <a:gd name="T23" fmla="*/ 2147483647 h 27"/>
                    <a:gd name="T24" fmla="*/ 2147483647 w 40"/>
                    <a:gd name="T25" fmla="*/ 0 h 27"/>
                    <a:gd name="T26" fmla="*/ 2147483647 w 40"/>
                    <a:gd name="T27" fmla="*/ 0 h 27"/>
                    <a:gd name="T28" fmla="*/ 2147483647 w 40"/>
                    <a:gd name="T29" fmla="*/ 2147483647 h 27"/>
                    <a:gd name="T30" fmla="*/ 2147483647 w 40"/>
                    <a:gd name="T31" fmla="*/ 2147483647 h 27"/>
                    <a:gd name="T32" fmla="*/ 2147483647 w 40"/>
                    <a:gd name="T33" fmla="*/ 2147483647 h 27"/>
                    <a:gd name="T34" fmla="*/ 2147483647 w 40"/>
                    <a:gd name="T35" fmla="*/ 2147483647 h 27"/>
                    <a:gd name="T36" fmla="*/ 2147483647 w 40"/>
                    <a:gd name="T37" fmla="*/ 2147483647 h 27"/>
                    <a:gd name="T38" fmla="*/ 2147483647 w 40"/>
                    <a:gd name="T39" fmla="*/ 2147483647 h 27"/>
                    <a:gd name="T40" fmla="*/ 2147483647 w 40"/>
                    <a:gd name="T41" fmla="*/ 2147483647 h 27"/>
                    <a:gd name="T42" fmla="*/ 2147483647 w 40"/>
                    <a:gd name="T43" fmla="*/ 2147483647 h 27"/>
                    <a:gd name="T44" fmla="*/ 2147483647 w 40"/>
                    <a:gd name="T45" fmla="*/ 2147483647 h 27"/>
                    <a:gd name="T46" fmla="*/ 0 w 40"/>
                    <a:gd name="T47" fmla="*/ 2147483647 h 27"/>
                    <a:gd name="T48" fmla="*/ 0 w 40"/>
                    <a:gd name="T49" fmla="*/ 2147483647 h 27"/>
                    <a:gd name="T50" fmla="*/ 2147483647 w 40"/>
                    <a:gd name="T51" fmla="*/ 2147483647 h 27"/>
                    <a:gd name="T52" fmla="*/ 2147483647 w 40"/>
                    <a:gd name="T53" fmla="*/ 2147483647 h 27"/>
                    <a:gd name="T54" fmla="*/ 2147483647 w 40"/>
                    <a:gd name="T55" fmla="*/ 2147483647 h 27"/>
                    <a:gd name="T56" fmla="*/ 2147483647 w 40"/>
                    <a:gd name="T57" fmla="*/ 2147483647 h 27"/>
                    <a:gd name="T58" fmla="*/ 2147483647 w 40"/>
                    <a:gd name="T59" fmla="*/ 2147483647 h 27"/>
                    <a:gd name="T60" fmla="*/ 2147483647 w 40"/>
                    <a:gd name="T61" fmla="*/ 2147483647 h 27"/>
                    <a:gd name="T62" fmla="*/ 2147483647 w 40"/>
                    <a:gd name="T63" fmla="*/ 2147483647 h 27"/>
                    <a:gd name="T64" fmla="*/ 2147483647 w 40"/>
                    <a:gd name="T65" fmla="*/ 2147483647 h 27"/>
                    <a:gd name="T66" fmla="*/ 2147483647 w 40"/>
                    <a:gd name="T67" fmla="*/ 2147483647 h 27"/>
                    <a:gd name="T68" fmla="*/ 2147483647 w 40"/>
                    <a:gd name="T69" fmla="*/ 2147483647 h 2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40"/>
                    <a:gd name="T106" fmla="*/ 0 h 27"/>
                    <a:gd name="T107" fmla="*/ 40 w 40"/>
                    <a:gd name="T108" fmla="*/ 27 h 2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40" h="27">
                      <a:moveTo>
                        <a:pt x="29" y="24"/>
                      </a:moveTo>
                      <a:lnTo>
                        <a:pt x="29" y="21"/>
                      </a:lnTo>
                      <a:lnTo>
                        <a:pt x="32" y="19"/>
                      </a:lnTo>
                      <a:lnTo>
                        <a:pt x="33" y="18"/>
                      </a:lnTo>
                      <a:lnTo>
                        <a:pt x="37" y="17"/>
                      </a:lnTo>
                      <a:lnTo>
                        <a:pt x="39" y="14"/>
                      </a:lnTo>
                      <a:lnTo>
                        <a:pt x="40" y="11"/>
                      </a:lnTo>
                      <a:lnTo>
                        <a:pt x="40" y="8"/>
                      </a:lnTo>
                      <a:lnTo>
                        <a:pt x="39" y="6"/>
                      </a:lnTo>
                      <a:lnTo>
                        <a:pt x="34" y="4"/>
                      </a:lnTo>
                      <a:lnTo>
                        <a:pt x="29" y="4"/>
                      </a:lnTo>
                      <a:lnTo>
                        <a:pt x="23" y="3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12" y="5"/>
                      </a:lnTo>
                      <a:lnTo>
                        <a:pt x="12" y="7"/>
                      </a:lnTo>
                      <a:lnTo>
                        <a:pt x="14" y="10"/>
                      </a:lnTo>
                      <a:lnTo>
                        <a:pt x="12" y="12"/>
                      </a:lnTo>
                      <a:lnTo>
                        <a:pt x="9" y="12"/>
                      </a:lnTo>
                      <a:lnTo>
                        <a:pt x="6" y="12"/>
                      </a:lnTo>
                      <a:lnTo>
                        <a:pt x="2" y="12"/>
                      </a:lnTo>
                      <a:lnTo>
                        <a:pt x="1" y="13"/>
                      </a:lnTo>
                      <a:lnTo>
                        <a:pt x="0" y="16"/>
                      </a:lnTo>
                      <a:lnTo>
                        <a:pt x="0" y="20"/>
                      </a:lnTo>
                      <a:lnTo>
                        <a:pt x="1" y="23"/>
                      </a:lnTo>
                      <a:lnTo>
                        <a:pt x="2" y="24"/>
                      </a:lnTo>
                      <a:lnTo>
                        <a:pt x="12" y="27"/>
                      </a:lnTo>
                      <a:lnTo>
                        <a:pt x="15" y="27"/>
                      </a:lnTo>
                      <a:lnTo>
                        <a:pt x="18" y="27"/>
                      </a:lnTo>
                      <a:lnTo>
                        <a:pt x="21" y="26"/>
                      </a:lnTo>
                      <a:lnTo>
                        <a:pt x="24" y="27"/>
                      </a:lnTo>
                      <a:lnTo>
                        <a:pt x="26" y="26"/>
                      </a:lnTo>
                      <a:lnTo>
                        <a:pt x="28" y="26"/>
                      </a:lnTo>
                      <a:lnTo>
                        <a:pt x="29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4" name="Freeform 1029">
                  <a:extLst>
                    <a:ext uri="{FF2B5EF4-FFF2-40B4-BE49-F238E27FC236}">
                      <a16:creationId xmlns:a16="http://schemas.microsoft.com/office/drawing/2014/main" id="{21952CFF-593D-8945-BF11-0FE359D5AC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5474" y="2771481"/>
                  <a:ext cx="32557" cy="22198"/>
                </a:xfrm>
                <a:custGeom>
                  <a:avLst/>
                  <a:gdLst>
                    <a:gd name="T0" fmla="*/ 2147483647 w 24"/>
                    <a:gd name="T1" fmla="*/ 2147483647 h 15"/>
                    <a:gd name="T2" fmla="*/ 2147483647 w 24"/>
                    <a:gd name="T3" fmla="*/ 2147483647 h 15"/>
                    <a:gd name="T4" fmla="*/ 2147483647 w 24"/>
                    <a:gd name="T5" fmla="*/ 2147483647 h 15"/>
                    <a:gd name="T6" fmla="*/ 2147483647 w 24"/>
                    <a:gd name="T7" fmla="*/ 2147483647 h 15"/>
                    <a:gd name="T8" fmla="*/ 2147483647 w 24"/>
                    <a:gd name="T9" fmla="*/ 2147483647 h 15"/>
                    <a:gd name="T10" fmla="*/ 2147483647 w 24"/>
                    <a:gd name="T11" fmla="*/ 2147483647 h 15"/>
                    <a:gd name="T12" fmla="*/ 2147483647 w 24"/>
                    <a:gd name="T13" fmla="*/ 2147483647 h 15"/>
                    <a:gd name="T14" fmla="*/ 0 w 24"/>
                    <a:gd name="T15" fmla="*/ 2147483647 h 15"/>
                    <a:gd name="T16" fmla="*/ 2147483647 w 24"/>
                    <a:gd name="T17" fmla="*/ 2147483647 h 15"/>
                    <a:gd name="T18" fmla="*/ 2147483647 w 24"/>
                    <a:gd name="T19" fmla="*/ 2147483647 h 15"/>
                    <a:gd name="T20" fmla="*/ 2147483647 w 24"/>
                    <a:gd name="T21" fmla="*/ 2147483647 h 15"/>
                    <a:gd name="T22" fmla="*/ 2147483647 w 24"/>
                    <a:gd name="T23" fmla="*/ 2147483647 h 15"/>
                    <a:gd name="T24" fmla="*/ 2147483647 w 24"/>
                    <a:gd name="T25" fmla="*/ 0 h 15"/>
                    <a:gd name="T26" fmla="*/ 2147483647 w 24"/>
                    <a:gd name="T27" fmla="*/ 0 h 15"/>
                    <a:gd name="T28" fmla="*/ 2147483647 w 24"/>
                    <a:gd name="T29" fmla="*/ 2147483647 h 15"/>
                    <a:gd name="T30" fmla="*/ 2147483647 w 24"/>
                    <a:gd name="T31" fmla="*/ 2147483647 h 15"/>
                    <a:gd name="T32" fmla="*/ 2147483647 w 24"/>
                    <a:gd name="T33" fmla="*/ 2147483647 h 15"/>
                    <a:gd name="T34" fmla="*/ 2147483647 w 24"/>
                    <a:gd name="T35" fmla="*/ 2147483647 h 15"/>
                    <a:gd name="T36" fmla="*/ 2147483647 w 24"/>
                    <a:gd name="T37" fmla="*/ 2147483647 h 15"/>
                    <a:gd name="T38" fmla="*/ 2147483647 w 24"/>
                    <a:gd name="T39" fmla="*/ 2147483647 h 15"/>
                    <a:gd name="T40" fmla="*/ 2147483647 w 24"/>
                    <a:gd name="T41" fmla="*/ 2147483647 h 15"/>
                    <a:gd name="T42" fmla="*/ 2147483647 w 24"/>
                    <a:gd name="T43" fmla="*/ 2147483647 h 15"/>
                    <a:gd name="T44" fmla="*/ 2147483647 w 24"/>
                    <a:gd name="T45" fmla="*/ 2147483647 h 15"/>
                    <a:gd name="T46" fmla="*/ 2147483647 w 24"/>
                    <a:gd name="T47" fmla="*/ 2147483647 h 1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4"/>
                    <a:gd name="T73" fmla="*/ 0 h 15"/>
                    <a:gd name="T74" fmla="*/ 24 w 24"/>
                    <a:gd name="T75" fmla="*/ 15 h 1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4" h="15">
                      <a:moveTo>
                        <a:pt x="10" y="12"/>
                      </a:moveTo>
                      <a:lnTo>
                        <a:pt x="10" y="12"/>
                      </a:lnTo>
                      <a:lnTo>
                        <a:pt x="6" y="13"/>
                      </a:lnTo>
                      <a:lnTo>
                        <a:pt x="5" y="15"/>
                      </a:lnTo>
                      <a:lnTo>
                        <a:pt x="2" y="15"/>
                      </a:lnTo>
                      <a:lnTo>
                        <a:pt x="1" y="13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10" y="0"/>
                      </a:lnTo>
                      <a:lnTo>
                        <a:pt x="15" y="0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7"/>
                      </a:lnTo>
                      <a:lnTo>
                        <a:pt x="24" y="9"/>
                      </a:lnTo>
                      <a:lnTo>
                        <a:pt x="23" y="10"/>
                      </a:lnTo>
                      <a:lnTo>
                        <a:pt x="19" y="11"/>
                      </a:lnTo>
                      <a:lnTo>
                        <a:pt x="15" y="11"/>
                      </a:lnTo>
                      <a:lnTo>
                        <a:pt x="10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5" name="Freeform 1030">
                  <a:extLst>
                    <a:ext uri="{FF2B5EF4-FFF2-40B4-BE49-F238E27FC236}">
                      <a16:creationId xmlns:a16="http://schemas.microsoft.com/office/drawing/2014/main" id="{00DF925C-6E7D-C243-9743-615E3D8158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2917" y="2796642"/>
                  <a:ext cx="54756" cy="39957"/>
                </a:xfrm>
                <a:custGeom>
                  <a:avLst/>
                  <a:gdLst>
                    <a:gd name="T0" fmla="*/ 2147483647 w 40"/>
                    <a:gd name="T1" fmla="*/ 2147483647 h 27"/>
                    <a:gd name="T2" fmla="*/ 2147483647 w 40"/>
                    <a:gd name="T3" fmla="*/ 2147483647 h 27"/>
                    <a:gd name="T4" fmla="*/ 2147483647 w 40"/>
                    <a:gd name="T5" fmla="*/ 2147483647 h 27"/>
                    <a:gd name="T6" fmla="*/ 2147483647 w 40"/>
                    <a:gd name="T7" fmla="*/ 2147483647 h 27"/>
                    <a:gd name="T8" fmla="*/ 2147483647 w 40"/>
                    <a:gd name="T9" fmla="*/ 2147483647 h 27"/>
                    <a:gd name="T10" fmla="*/ 2147483647 w 40"/>
                    <a:gd name="T11" fmla="*/ 2147483647 h 27"/>
                    <a:gd name="T12" fmla="*/ 2147483647 w 40"/>
                    <a:gd name="T13" fmla="*/ 2147483647 h 27"/>
                    <a:gd name="T14" fmla="*/ 2147483647 w 40"/>
                    <a:gd name="T15" fmla="*/ 2147483647 h 27"/>
                    <a:gd name="T16" fmla="*/ 2147483647 w 40"/>
                    <a:gd name="T17" fmla="*/ 2147483647 h 27"/>
                    <a:gd name="T18" fmla="*/ 2147483647 w 40"/>
                    <a:gd name="T19" fmla="*/ 2147483647 h 27"/>
                    <a:gd name="T20" fmla="*/ 2147483647 w 40"/>
                    <a:gd name="T21" fmla="*/ 2147483647 h 27"/>
                    <a:gd name="T22" fmla="*/ 2147483647 w 40"/>
                    <a:gd name="T23" fmla="*/ 2147483647 h 27"/>
                    <a:gd name="T24" fmla="*/ 2147483647 w 40"/>
                    <a:gd name="T25" fmla="*/ 2147483647 h 27"/>
                    <a:gd name="T26" fmla="*/ 2147483647 w 40"/>
                    <a:gd name="T27" fmla="*/ 2147483647 h 27"/>
                    <a:gd name="T28" fmla="*/ 2147483647 w 40"/>
                    <a:gd name="T29" fmla="*/ 2147483647 h 27"/>
                    <a:gd name="T30" fmla="*/ 2147483647 w 40"/>
                    <a:gd name="T31" fmla="*/ 0 h 27"/>
                    <a:gd name="T32" fmla="*/ 2147483647 w 40"/>
                    <a:gd name="T33" fmla="*/ 0 h 27"/>
                    <a:gd name="T34" fmla="*/ 2147483647 w 40"/>
                    <a:gd name="T35" fmla="*/ 0 h 27"/>
                    <a:gd name="T36" fmla="*/ 2147483647 w 40"/>
                    <a:gd name="T37" fmla="*/ 2147483647 h 27"/>
                    <a:gd name="T38" fmla="*/ 2147483647 w 40"/>
                    <a:gd name="T39" fmla="*/ 2147483647 h 27"/>
                    <a:gd name="T40" fmla="*/ 2147483647 w 40"/>
                    <a:gd name="T41" fmla="*/ 2147483647 h 27"/>
                    <a:gd name="T42" fmla="*/ 2147483647 w 40"/>
                    <a:gd name="T43" fmla="*/ 2147483647 h 27"/>
                    <a:gd name="T44" fmla="*/ 2147483647 w 40"/>
                    <a:gd name="T45" fmla="*/ 2147483647 h 27"/>
                    <a:gd name="T46" fmla="*/ 2147483647 w 40"/>
                    <a:gd name="T47" fmla="*/ 2147483647 h 27"/>
                    <a:gd name="T48" fmla="*/ 2147483647 w 40"/>
                    <a:gd name="T49" fmla="*/ 2147483647 h 27"/>
                    <a:gd name="T50" fmla="*/ 2147483647 w 40"/>
                    <a:gd name="T51" fmla="*/ 2147483647 h 27"/>
                    <a:gd name="T52" fmla="*/ 2147483647 w 40"/>
                    <a:gd name="T53" fmla="*/ 2147483647 h 27"/>
                    <a:gd name="T54" fmla="*/ 2147483647 w 40"/>
                    <a:gd name="T55" fmla="*/ 2147483647 h 27"/>
                    <a:gd name="T56" fmla="*/ 2147483647 w 40"/>
                    <a:gd name="T57" fmla="*/ 2147483647 h 27"/>
                    <a:gd name="T58" fmla="*/ 0 w 40"/>
                    <a:gd name="T59" fmla="*/ 2147483647 h 27"/>
                    <a:gd name="T60" fmla="*/ 0 w 40"/>
                    <a:gd name="T61" fmla="*/ 2147483647 h 27"/>
                    <a:gd name="T62" fmla="*/ 0 w 40"/>
                    <a:gd name="T63" fmla="*/ 2147483647 h 27"/>
                    <a:gd name="T64" fmla="*/ 2147483647 w 40"/>
                    <a:gd name="T65" fmla="*/ 2147483647 h 27"/>
                    <a:gd name="T66" fmla="*/ 2147483647 w 40"/>
                    <a:gd name="T67" fmla="*/ 2147483647 h 27"/>
                    <a:gd name="T68" fmla="*/ 2147483647 w 40"/>
                    <a:gd name="T69" fmla="*/ 2147483647 h 27"/>
                    <a:gd name="T70" fmla="*/ 2147483647 w 40"/>
                    <a:gd name="T71" fmla="*/ 2147483647 h 27"/>
                    <a:gd name="T72" fmla="*/ 2147483647 w 40"/>
                    <a:gd name="T73" fmla="*/ 2147483647 h 27"/>
                    <a:gd name="T74" fmla="*/ 2147483647 w 40"/>
                    <a:gd name="T75" fmla="*/ 2147483647 h 27"/>
                    <a:gd name="T76" fmla="*/ 2147483647 w 40"/>
                    <a:gd name="T77" fmla="*/ 2147483647 h 27"/>
                    <a:gd name="T78" fmla="*/ 2147483647 w 40"/>
                    <a:gd name="T79" fmla="*/ 2147483647 h 27"/>
                    <a:gd name="T80" fmla="*/ 2147483647 w 40"/>
                    <a:gd name="T81" fmla="*/ 2147483647 h 27"/>
                    <a:gd name="T82" fmla="*/ 2147483647 w 40"/>
                    <a:gd name="T83" fmla="*/ 2147483647 h 27"/>
                    <a:gd name="T84" fmla="*/ 2147483647 w 40"/>
                    <a:gd name="T85" fmla="*/ 2147483647 h 27"/>
                    <a:gd name="T86" fmla="*/ 2147483647 w 40"/>
                    <a:gd name="T87" fmla="*/ 2147483647 h 27"/>
                    <a:gd name="T88" fmla="*/ 2147483647 w 40"/>
                    <a:gd name="T89" fmla="*/ 2147483647 h 27"/>
                    <a:gd name="T90" fmla="*/ 2147483647 w 40"/>
                    <a:gd name="T91" fmla="*/ 2147483647 h 2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0"/>
                    <a:gd name="T139" fmla="*/ 0 h 27"/>
                    <a:gd name="T140" fmla="*/ 40 w 40"/>
                    <a:gd name="T141" fmla="*/ 27 h 27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0" h="27">
                      <a:moveTo>
                        <a:pt x="29" y="24"/>
                      </a:moveTo>
                      <a:lnTo>
                        <a:pt x="29" y="24"/>
                      </a:lnTo>
                      <a:lnTo>
                        <a:pt x="29" y="21"/>
                      </a:lnTo>
                      <a:lnTo>
                        <a:pt x="31" y="19"/>
                      </a:lnTo>
                      <a:lnTo>
                        <a:pt x="33" y="18"/>
                      </a:lnTo>
                      <a:lnTo>
                        <a:pt x="36" y="17"/>
                      </a:lnTo>
                      <a:lnTo>
                        <a:pt x="39" y="14"/>
                      </a:lnTo>
                      <a:lnTo>
                        <a:pt x="40" y="11"/>
                      </a:lnTo>
                      <a:lnTo>
                        <a:pt x="40" y="8"/>
                      </a:lnTo>
                      <a:lnTo>
                        <a:pt x="39" y="6"/>
                      </a:lnTo>
                      <a:lnTo>
                        <a:pt x="34" y="4"/>
                      </a:lnTo>
                      <a:lnTo>
                        <a:pt x="29" y="4"/>
                      </a:lnTo>
                      <a:lnTo>
                        <a:pt x="22" y="2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12" y="5"/>
                      </a:lnTo>
                      <a:lnTo>
                        <a:pt x="12" y="7"/>
                      </a:lnTo>
                      <a:lnTo>
                        <a:pt x="13" y="9"/>
                      </a:lnTo>
                      <a:lnTo>
                        <a:pt x="12" y="12"/>
                      </a:lnTo>
                      <a:lnTo>
                        <a:pt x="8" y="12"/>
                      </a:lnTo>
                      <a:lnTo>
                        <a:pt x="6" y="12"/>
                      </a:lnTo>
                      <a:lnTo>
                        <a:pt x="2" y="12"/>
                      </a:lnTo>
                      <a:lnTo>
                        <a:pt x="1" y="13"/>
                      </a:lnTo>
                      <a:lnTo>
                        <a:pt x="0" y="15"/>
                      </a:lnTo>
                      <a:lnTo>
                        <a:pt x="0" y="20"/>
                      </a:lnTo>
                      <a:lnTo>
                        <a:pt x="1" y="22"/>
                      </a:lnTo>
                      <a:lnTo>
                        <a:pt x="2" y="24"/>
                      </a:lnTo>
                      <a:lnTo>
                        <a:pt x="12" y="27"/>
                      </a:lnTo>
                      <a:lnTo>
                        <a:pt x="15" y="27"/>
                      </a:lnTo>
                      <a:lnTo>
                        <a:pt x="17" y="27"/>
                      </a:lnTo>
                      <a:lnTo>
                        <a:pt x="21" y="26"/>
                      </a:lnTo>
                      <a:lnTo>
                        <a:pt x="24" y="27"/>
                      </a:lnTo>
                      <a:lnTo>
                        <a:pt x="26" y="26"/>
                      </a:lnTo>
                      <a:lnTo>
                        <a:pt x="27" y="26"/>
                      </a:lnTo>
                      <a:lnTo>
                        <a:pt x="29" y="2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6" name="Freeform 1031">
                  <a:extLst>
                    <a:ext uri="{FF2B5EF4-FFF2-40B4-BE49-F238E27FC236}">
                      <a16:creationId xmlns:a16="http://schemas.microsoft.com/office/drawing/2014/main" id="{A0313FBB-DDA6-F04E-8899-7096E175AF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1208" y="2898751"/>
                  <a:ext cx="28117" cy="26638"/>
                </a:xfrm>
                <a:custGeom>
                  <a:avLst/>
                  <a:gdLst>
                    <a:gd name="T0" fmla="*/ 2147483647 w 21"/>
                    <a:gd name="T1" fmla="*/ 2147483647 h 18"/>
                    <a:gd name="T2" fmla="*/ 2147483647 w 21"/>
                    <a:gd name="T3" fmla="*/ 2147483647 h 18"/>
                    <a:gd name="T4" fmla="*/ 2147483647 w 21"/>
                    <a:gd name="T5" fmla="*/ 2147483647 h 18"/>
                    <a:gd name="T6" fmla="*/ 2147483647 w 21"/>
                    <a:gd name="T7" fmla="*/ 0 h 18"/>
                    <a:gd name="T8" fmla="*/ 2147483647 w 21"/>
                    <a:gd name="T9" fmla="*/ 2147483647 h 18"/>
                    <a:gd name="T10" fmla="*/ 2147483647 w 21"/>
                    <a:gd name="T11" fmla="*/ 2147483647 h 18"/>
                    <a:gd name="T12" fmla="*/ 2147483647 w 21"/>
                    <a:gd name="T13" fmla="*/ 2147483647 h 18"/>
                    <a:gd name="T14" fmla="*/ 2147483647 w 21"/>
                    <a:gd name="T15" fmla="*/ 2147483647 h 18"/>
                    <a:gd name="T16" fmla="*/ 2147483647 w 21"/>
                    <a:gd name="T17" fmla="*/ 2147483647 h 18"/>
                    <a:gd name="T18" fmla="*/ 2147483647 w 21"/>
                    <a:gd name="T19" fmla="*/ 2147483647 h 18"/>
                    <a:gd name="T20" fmla="*/ 2147483647 w 21"/>
                    <a:gd name="T21" fmla="*/ 2147483647 h 18"/>
                    <a:gd name="T22" fmla="*/ 2147483647 w 21"/>
                    <a:gd name="T23" fmla="*/ 2147483647 h 18"/>
                    <a:gd name="T24" fmla="*/ 0 w 21"/>
                    <a:gd name="T25" fmla="*/ 2147483647 h 18"/>
                    <a:gd name="T26" fmla="*/ 0 w 21"/>
                    <a:gd name="T27" fmla="*/ 2147483647 h 18"/>
                    <a:gd name="T28" fmla="*/ 2147483647 w 21"/>
                    <a:gd name="T29" fmla="*/ 2147483647 h 1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1"/>
                    <a:gd name="T46" fmla="*/ 0 h 18"/>
                    <a:gd name="T47" fmla="*/ 21 w 21"/>
                    <a:gd name="T48" fmla="*/ 18 h 1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1" h="18">
                      <a:moveTo>
                        <a:pt x="4" y="7"/>
                      </a:move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16" y="0"/>
                      </a:lnTo>
                      <a:lnTo>
                        <a:pt x="17" y="3"/>
                      </a:lnTo>
                      <a:lnTo>
                        <a:pt x="19" y="8"/>
                      </a:lnTo>
                      <a:lnTo>
                        <a:pt x="21" y="10"/>
                      </a:lnTo>
                      <a:lnTo>
                        <a:pt x="21" y="12"/>
                      </a:lnTo>
                      <a:lnTo>
                        <a:pt x="19" y="13"/>
                      </a:lnTo>
                      <a:lnTo>
                        <a:pt x="12" y="16"/>
                      </a:lnTo>
                      <a:lnTo>
                        <a:pt x="7" y="18"/>
                      </a:lnTo>
                      <a:lnTo>
                        <a:pt x="3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7" name="Freeform 1032">
                  <a:extLst>
                    <a:ext uri="{FF2B5EF4-FFF2-40B4-BE49-F238E27FC236}">
                      <a16:creationId xmlns:a16="http://schemas.microsoft.com/office/drawing/2014/main" id="{644EBC1F-A8CD-4940-8771-D9D115245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425" y="2700448"/>
                  <a:ext cx="36996" cy="26638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0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2147483647 w 27"/>
                    <a:gd name="T9" fmla="*/ 2147483647 h 18"/>
                    <a:gd name="T10" fmla="*/ 2147483647 w 27"/>
                    <a:gd name="T11" fmla="*/ 2147483647 h 18"/>
                    <a:gd name="T12" fmla="*/ 2147483647 w 27"/>
                    <a:gd name="T13" fmla="*/ 2147483647 h 18"/>
                    <a:gd name="T14" fmla="*/ 2147483647 w 27"/>
                    <a:gd name="T15" fmla="*/ 2147483647 h 18"/>
                    <a:gd name="T16" fmla="*/ 2147483647 w 27"/>
                    <a:gd name="T17" fmla="*/ 2147483647 h 18"/>
                    <a:gd name="T18" fmla="*/ 2147483647 w 27"/>
                    <a:gd name="T19" fmla="*/ 2147483647 h 18"/>
                    <a:gd name="T20" fmla="*/ 2147483647 w 27"/>
                    <a:gd name="T21" fmla="*/ 2147483647 h 18"/>
                    <a:gd name="T22" fmla="*/ 2147483647 w 27"/>
                    <a:gd name="T23" fmla="*/ 2147483647 h 18"/>
                    <a:gd name="T24" fmla="*/ 2147483647 w 27"/>
                    <a:gd name="T25" fmla="*/ 2147483647 h 18"/>
                    <a:gd name="T26" fmla="*/ 2147483647 w 27"/>
                    <a:gd name="T27" fmla="*/ 2147483647 h 18"/>
                    <a:gd name="T28" fmla="*/ 2147483647 w 27"/>
                    <a:gd name="T29" fmla="*/ 2147483647 h 18"/>
                    <a:gd name="T30" fmla="*/ 2147483647 w 27"/>
                    <a:gd name="T31" fmla="*/ 2147483647 h 18"/>
                    <a:gd name="T32" fmla="*/ 2147483647 w 27"/>
                    <a:gd name="T33" fmla="*/ 2147483647 h 18"/>
                    <a:gd name="T34" fmla="*/ 0 w 27"/>
                    <a:gd name="T35" fmla="*/ 2147483647 h 18"/>
                    <a:gd name="T36" fmla="*/ 0 w 27"/>
                    <a:gd name="T37" fmla="*/ 2147483647 h 18"/>
                    <a:gd name="T38" fmla="*/ 2147483647 w 27"/>
                    <a:gd name="T39" fmla="*/ 2147483647 h 18"/>
                    <a:gd name="T40" fmla="*/ 2147483647 w 27"/>
                    <a:gd name="T41" fmla="*/ 2147483647 h 18"/>
                    <a:gd name="T42" fmla="*/ 2147483647 w 27"/>
                    <a:gd name="T43" fmla="*/ 2147483647 h 1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7"/>
                    <a:gd name="T67" fmla="*/ 0 h 18"/>
                    <a:gd name="T68" fmla="*/ 27 w 27"/>
                    <a:gd name="T69" fmla="*/ 18 h 1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7" h="18">
                      <a:moveTo>
                        <a:pt x="9" y="3"/>
                      </a:move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5" y="4"/>
                      </a:lnTo>
                      <a:lnTo>
                        <a:pt x="27" y="8"/>
                      </a:lnTo>
                      <a:lnTo>
                        <a:pt x="27" y="10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2" y="16"/>
                      </a:lnTo>
                      <a:lnTo>
                        <a:pt x="18" y="18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6" y="16"/>
                      </a:lnTo>
                      <a:lnTo>
                        <a:pt x="4" y="14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6" y="4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8" name="Freeform 1033">
                  <a:extLst>
                    <a:ext uri="{FF2B5EF4-FFF2-40B4-BE49-F238E27FC236}">
                      <a16:creationId xmlns:a16="http://schemas.microsoft.com/office/drawing/2014/main" id="{66F7E85A-B192-AD4A-950C-2AE2ABFFA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9731" y="2897271"/>
                  <a:ext cx="28118" cy="25158"/>
                </a:xfrm>
                <a:custGeom>
                  <a:avLst/>
                  <a:gdLst>
                    <a:gd name="T0" fmla="*/ 2147483647 w 20"/>
                    <a:gd name="T1" fmla="*/ 2147483647 h 17"/>
                    <a:gd name="T2" fmla="*/ 2147483647 w 20"/>
                    <a:gd name="T3" fmla="*/ 2147483647 h 17"/>
                    <a:gd name="T4" fmla="*/ 2147483647 w 20"/>
                    <a:gd name="T5" fmla="*/ 2147483647 h 17"/>
                    <a:gd name="T6" fmla="*/ 2147483647 w 20"/>
                    <a:gd name="T7" fmla="*/ 2147483647 h 17"/>
                    <a:gd name="T8" fmla="*/ 2147483647 w 20"/>
                    <a:gd name="T9" fmla="*/ 0 h 17"/>
                    <a:gd name="T10" fmla="*/ 2147483647 w 20"/>
                    <a:gd name="T11" fmla="*/ 0 h 17"/>
                    <a:gd name="T12" fmla="*/ 2147483647 w 20"/>
                    <a:gd name="T13" fmla="*/ 2147483647 h 17"/>
                    <a:gd name="T14" fmla="*/ 2147483647 w 20"/>
                    <a:gd name="T15" fmla="*/ 2147483647 h 17"/>
                    <a:gd name="T16" fmla="*/ 2147483647 w 20"/>
                    <a:gd name="T17" fmla="*/ 2147483647 h 17"/>
                    <a:gd name="T18" fmla="*/ 2147483647 w 20"/>
                    <a:gd name="T19" fmla="*/ 2147483647 h 17"/>
                    <a:gd name="T20" fmla="*/ 2147483647 w 20"/>
                    <a:gd name="T21" fmla="*/ 2147483647 h 17"/>
                    <a:gd name="T22" fmla="*/ 2147483647 w 20"/>
                    <a:gd name="T23" fmla="*/ 2147483647 h 17"/>
                    <a:gd name="T24" fmla="*/ 2147483647 w 20"/>
                    <a:gd name="T25" fmla="*/ 2147483647 h 17"/>
                    <a:gd name="T26" fmla="*/ 2147483647 w 20"/>
                    <a:gd name="T27" fmla="*/ 2147483647 h 17"/>
                    <a:gd name="T28" fmla="*/ 2147483647 w 20"/>
                    <a:gd name="T29" fmla="*/ 2147483647 h 17"/>
                    <a:gd name="T30" fmla="*/ 2147483647 w 20"/>
                    <a:gd name="T31" fmla="*/ 2147483647 h 17"/>
                    <a:gd name="T32" fmla="*/ 0 w 20"/>
                    <a:gd name="T33" fmla="*/ 2147483647 h 17"/>
                    <a:gd name="T34" fmla="*/ 0 w 20"/>
                    <a:gd name="T35" fmla="*/ 2147483647 h 17"/>
                    <a:gd name="T36" fmla="*/ 2147483647 w 20"/>
                    <a:gd name="T37" fmla="*/ 2147483647 h 17"/>
                    <a:gd name="T38" fmla="*/ 2147483647 w 20"/>
                    <a:gd name="T39" fmla="*/ 2147483647 h 1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"/>
                    <a:gd name="T61" fmla="*/ 0 h 17"/>
                    <a:gd name="T62" fmla="*/ 20 w 20"/>
                    <a:gd name="T63" fmla="*/ 17 h 1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" h="17">
                      <a:moveTo>
                        <a:pt x="4" y="7"/>
                      </a:moveTo>
                      <a:lnTo>
                        <a:pt x="4" y="7"/>
                      </a:lnTo>
                      <a:lnTo>
                        <a:pt x="6" y="3"/>
                      </a:lnTo>
                      <a:lnTo>
                        <a:pt x="9" y="2"/>
                      </a:lnTo>
                      <a:lnTo>
                        <a:pt x="15" y="0"/>
                      </a:lnTo>
                      <a:lnTo>
                        <a:pt x="17" y="3"/>
                      </a:lnTo>
                      <a:lnTo>
                        <a:pt x="19" y="8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19" y="13"/>
                      </a:lnTo>
                      <a:lnTo>
                        <a:pt x="11" y="16"/>
                      </a:lnTo>
                      <a:lnTo>
                        <a:pt x="6" y="17"/>
                      </a:lnTo>
                      <a:lnTo>
                        <a:pt x="3" y="17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9" name="Freeform 1034">
                  <a:extLst>
                    <a:ext uri="{FF2B5EF4-FFF2-40B4-BE49-F238E27FC236}">
                      <a16:creationId xmlns:a16="http://schemas.microsoft.com/office/drawing/2014/main" id="{53D4922E-453D-8B45-8A7C-89D6F10249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944" y="2698968"/>
                  <a:ext cx="35517" cy="25158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2147483647 w 26"/>
                    <a:gd name="T7" fmla="*/ 0 h 17"/>
                    <a:gd name="T8" fmla="*/ 2147483647 w 26"/>
                    <a:gd name="T9" fmla="*/ 0 h 17"/>
                    <a:gd name="T10" fmla="*/ 2147483647 w 26"/>
                    <a:gd name="T11" fmla="*/ 0 h 17"/>
                    <a:gd name="T12" fmla="*/ 2147483647 w 26"/>
                    <a:gd name="T13" fmla="*/ 2147483647 h 17"/>
                    <a:gd name="T14" fmla="*/ 2147483647 w 26"/>
                    <a:gd name="T15" fmla="*/ 2147483647 h 17"/>
                    <a:gd name="T16" fmla="*/ 2147483647 w 26"/>
                    <a:gd name="T17" fmla="*/ 2147483647 h 17"/>
                    <a:gd name="T18" fmla="*/ 2147483647 w 26"/>
                    <a:gd name="T19" fmla="*/ 2147483647 h 17"/>
                    <a:gd name="T20" fmla="*/ 2147483647 w 26"/>
                    <a:gd name="T21" fmla="*/ 2147483647 h 17"/>
                    <a:gd name="T22" fmla="*/ 2147483647 w 26"/>
                    <a:gd name="T23" fmla="*/ 2147483647 h 17"/>
                    <a:gd name="T24" fmla="*/ 2147483647 w 26"/>
                    <a:gd name="T25" fmla="*/ 2147483647 h 17"/>
                    <a:gd name="T26" fmla="*/ 2147483647 w 26"/>
                    <a:gd name="T27" fmla="*/ 2147483647 h 17"/>
                    <a:gd name="T28" fmla="*/ 2147483647 w 26"/>
                    <a:gd name="T29" fmla="*/ 2147483647 h 17"/>
                    <a:gd name="T30" fmla="*/ 2147483647 w 26"/>
                    <a:gd name="T31" fmla="*/ 2147483647 h 17"/>
                    <a:gd name="T32" fmla="*/ 2147483647 w 26"/>
                    <a:gd name="T33" fmla="*/ 2147483647 h 17"/>
                    <a:gd name="T34" fmla="*/ 2147483647 w 26"/>
                    <a:gd name="T35" fmla="*/ 2147483647 h 17"/>
                    <a:gd name="T36" fmla="*/ 2147483647 w 26"/>
                    <a:gd name="T37" fmla="*/ 2147483647 h 17"/>
                    <a:gd name="T38" fmla="*/ 2147483647 w 26"/>
                    <a:gd name="T39" fmla="*/ 2147483647 h 17"/>
                    <a:gd name="T40" fmla="*/ 2147483647 w 26"/>
                    <a:gd name="T41" fmla="*/ 2147483647 h 17"/>
                    <a:gd name="T42" fmla="*/ 0 w 26"/>
                    <a:gd name="T43" fmla="*/ 2147483647 h 17"/>
                    <a:gd name="T44" fmla="*/ 0 w 26"/>
                    <a:gd name="T45" fmla="*/ 2147483647 h 17"/>
                    <a:gd name="T46" fmla="*/ 2147483647 w 26"/>
                    <a:gd name="T47" fmla="*/ 2147483647 h 17"/>
                    <a:gd name="T48" fmla="*/ 2147483647 w 26"/>
                    <a:gd name="T49" fmla="*/ 2147483647 h 17"/>
                    <a:gd name="T50" fmla="*/ 2147483647 w 26"/>
                    <a:gd name="T51" fmla="*/ 2147483647 h 17"/>
                    <a:gd name="T52" fmla="*/ 2147483647 w 26"/>
                    <a:gd name="T53" fmla="*/ 2147483647 h 17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6"/>
                    <a:gd name="T82" fmla="*/ 0 h 17"/>
                    <a:gd name="T83" fmla="*/ 26 w 26"/>
                    <a:gd name="T84" fmla="*/ 17 h 17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6" h="17">
                      <a:moveTo>
                        <a:pt x="9" y="3"/>
                      </a:moveTo>
                      <a:lnTo>
                        <a:pt x="9" y="3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7" y="0"/>
                      </a:lnTo>
                      <a:lnTo>
                        <a:pt x="21" y="2"/>
                      </a:lnTo>
                      <a:lnTo>
                        <a:pt x="25" y="4"/>
                      </a:lnTo>
                      <a:lnTo>
                        <a:pt x="26" y="8"/>
                      </a:lnTo>
                      <a:lnTo>
                        <a:pt x="26" y="10"/>
                      </a:lnTo>
                      <a:lnTo>
                        <a:pt x="26" y="11"/>
                      </a:lnTo>
                      <a:lnTo>
                        <a:pt x="24" y="14"/>
                      </a:lnTo>
                      <a:lnTo>
                        <a:pt x="21" y="16"/>
                      </a:lnTo>
                      <a:lnTo>
                        <a:pt x="17" y="17"/>
                      </a:lnTo>
                      <a:lnTo>
                        <a:pt x="14" y="17"/>
                      </a:lnTo>
                      <a:lnTo>
                        <a:pt x="10" y="17"/>
                      </a:lnTo>
                      <a:lnTo>
                        <a:pt x="6" y="16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2" y="5"/>
                      </a:lnTo>
                      <a:lnTo>
                        <a:pt x="6" y="4"/>
                      </a:ln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0" name="Freeform 1035">
                  <a:extLst>
                    <a:ext uri="{FF2B5EF4-FFF2-40B4-BE49-F238E27FC236}">
                      <a16:creationId xmlns:a16="http://schemas.microsoft.com/office/drawing/2014/main" id="{B08A0918-9773-5C4A-9383-9A19FA6E1F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9901" y="2259446"/>
                  <a:ext cx="876084" cy="679261"/>
                </a:xfrm>
                <a:custGeom>
                  <a:avLst/>
                  <a:gdLst>
                    <a:gd name="T0" fmla="*/ 2147483647 w 641"/>
                    <a:gd name="T1" fmla="*/ 2147483647 h 459"/>
                    <a:gd name="T2" fmla="*/ 2147483647 w 641"/>
                    <a:gd name="T3" fmla="*/ 2147483647 h 459"/>
                    <a:gd name="T4" fmla="*/ 2147483647 w 641"/>
                    <a:gd name="T5" fmla="*/ 2147483647 h 459"/>
                    <a:gd name="T6" fmla="*/ 2147483647 w 641"/>
                    <a:gd name="T7" fmla="*/ 2147483647 h 459"/>
                    <a:gd name="T8" fmla="*/ 2147483647 w 641"/>
                    <a:gd name="T9" fmla="*/ 2147483647 h 459"/>
                    <a:gd name="T10" fmla="*/ 2147483647 w 641"/>
                    <a:gd name="T11" fmla="*/ 2147483647 h 459"/>
                    <a:gd name="T12" fmla="*/ 2147483647 w 641"/>
                    <a:gd name="T13" fmla="*/ 2147483647 h 459"/>
                    <a:gd name="T14" fmla="*/ 2147483647 w 641"/>
                    <a:gd name="T15" fmla="*/ 2147483647 h 459"/>
                    <a:gd name="T16" fmla="*/ 2147483647 w 641"/>
                    <a:gd name="T17" fmla="*/ 2147483647 h 459"/>
                    <a:gd name="T18" fmla="*/ 2147483647 w 641"/>
                    <a:gd name="T19" fmla="*/ 2147483647 h 459"/>
                    <a:gd name="T20" fmla="*/ 2147483647 w 641"/>
                    <a:gd name="T21" fmla="*/ 2147483647 h 459"/>
                    <a:gd name="T22" fmla="*/ 2147483647 w 641"/>
                    <a:gd name="T23" fmla="*/ 2147483647 h 459"/>
                    <a:gd name="T24" fmla="*/ 2147483647 w 641"/>
                    <a:gd name="T25" fmla="*/ 2147483647 h 459"/>
                    <a:gd name="T26" fmla="*/ 2147483647 w 641"/>
                    <a:gd name="T27" fmla="*/ 2147483647 h 459"/>
                    <a:gd name="T28" fmla="*/ 2147483647 w 641"/>
                    <a:gd name="T29" fmla="*/ 2147483647 h 459"/>
                    <a:gd name="T30" fmla="*/ 2147483647 w 641"/>
                    <a:gd name="T31" fmla="*/ 2147483647 h 459"/>
                    <a:gd name="T32" fmla="*/ 2147483647 w 641"/>
                    <a:gd name="T33" fmla="*/ 2147483647 h 459"/>
                    <a:gd name="T34" fmla="*/ 2147483647 w 641"/>
                    <a:gd name="T35" fmla="*/ 2147483647 h 459"/>
                    <a:gd name="T36" fmla="*/ 2147483647 w 641"/>
                    <a:gd name="T37" fmla="*/ 2147483647 h 459"/>
                    <a:gd name="T38" fmla="*/ 2147483647 w 641"/>
                    <a:gd name="T39" fmla="*/ 2147483647 h 459"/>
                    <a:gd name="T40" fmla="*/ 2147483647 w 641"/>
                    <a:gd name="T41" fmla="*/ 2147483647 h 459"/>
                    <a:gd name="T42" fmla="*/ 2147483647 w 641"/>
                    <a:gd name="T43" fmla="*/ 2147483647 h 459"/>
                    <a:gd name="T44" fmla="*/ 2147483647 w 641"/>
                    <a:gd name="T45" fmla="*/ 2147483647 h 459"/>
                    <a:gd name="T46" fmla="*/ 2147483647 w 641"/>
                    <a:gd name="T47" fmla="*/ 2147483647 h 459"/>
                    <a:gd name="T48" fmla="*/ 2147483647 w 641"/>
                    <a:gd name="T49" fmla="*/ 2147483647 h 459"/>
                    <a:gd name="T50" fmla="*/ 2147483647 w 641"/>
                    <a:gd name="T51" fmla="*/ 2147483647 h 459"/>
                    <a:gd name="T52" fmla="*/ 2147483647 w 641"/>
                    <a:gd name="T53" fmla="*/ 2147483647 h 459"/>
                    <a:gd name="T54" fmla="*/ 2147483647 w 641"/>
                    <a:gd name="T55" fmla="*/ 2147483647 h 459"/>
                    <a:gd name="T56" fmla="*/ 2147483647 w 641"/>
                    <a:gd name="T57" fmla="*/ 2147483647 h 459"/>
                    <a:gd name="T58" fmla="*/ 2147483647 w 641"/>
                    <a:gd name="T59" fmla="*/ 2147483647 h 459"/>
                    <a:gd name="T60" fmla="*/ 2147483647 w 641"/>
                    <a:gd name="T61" fmla="*/ 2147483647 h 459"/>
                    <a:gd name="T62" fmla="*/ 2147483647 w 641"/>
                    <a:gd name="T63" fmla="*/ 2147483647 h 459"/>
                    <a:gd name="T64" fmla="*/ 2147483647 w 641"/>
                    <a:gd name="T65" fmla="*/ 2147483647 h 459"/>
                    <a:gd name="T66" fmla="*/ 2147483647 w 641"/>
                    <a:gd name="T67" fmla="*/ 2147483647 h 459"/>
                    <a:gd name="T68" fmla="*/ 2147483647 w 641"/>
                    <a:gd name="T69" fmla="*/ 2147483647 h 459"/>
                    <a:gd name="T70" fmla="*/ 2147483647 w 641"/>
                    <a:gd name="T71" fmla="*/ 2147483647 h 459"/>
                    <a:gd name="T72" fmla="*/ 2147483647 w 641"/>
                    <a:gd name="T73" fmla="*/ 2147483647 h 459"/>
                    <a:gd name="T74" fmla="*/ 2147483647 w 641"/>
                    <a:gd name="T75" fmla="*/ 2147483647 h 459"/>
                    <a:gd name="T76" fmla="*/ 2147483647 w 641"/>
                    <a:gd name="T77" fmla="*/ 2147483647 h 459"/>
                    <a:gd name="T78" fmla="*/ 2147483647 w 641"/>
                    <a:gd name="T79" fmla="*/ 2147483647 h 459"/>
                    <a:gd name="T80" fmla="*/ 2147483647 w 641"/>
                    <a:gd name="T81" fmla="*/ 2147483647 h 459"/>
                    <a:gd name="T82" fmla="*/ 2147483647 w 641"/>
                    <a:gd name="T83" fmla="*/ 2147483647 h 459"/>
                    <a:gd name="T84" fmla="*/ 2147483647 w 641"/>
                    <a:gd name="T85" fmla="*/ 2147483647 h 459"/>
                    <a:gd name="T86" fmla="*/ 2147483647 w 641"/>
                    <a:gd name="T87" fmla="*/ 2147483647 h 459"/>
                    <a:gd name="T88" fmla="*/ 2147483647 w 641"/>
                    <a:gd name="T89" fmla="*/ 2147483647 h 459"/>
                    <a:gd name="T90" fmla="*/ 2147483647 w 641"/>
                    <a:gd name="T91" fmla="*/ 2147483647 h 459"/>
                    <a:gd name="T92" fmla="*/ 2147483647 w 641"/>
                    <a:gd name="T93" fmla="*/ 2147483647 h 459"/>
                    <a:gd name="T94" fmla="*/ 2147483647 w 641"/>
                    <a:gd name="T95" fmla="*/ 2147483647 h 459"/>
                    <a:gd name="T96" fmla="*/ 2147483647 w 641"/>
                    <a:gd name="T97" fmla="*/ 2147483647 h 459"/>
                    <a:gd name="T98" fmla="*/ 2147483647 w 641"/>
                    <a:gd name="T99" fmla="*/ 2147483647 h 459"/>
                    <a:gd name="T100" fmla="*/ 2147483647 w 641"/>
                    <a:gd name="T101" fmla="*/ 2147483647 h 459"/>
                    <a:gd name="T102" fmla="*/ 2147483647 w 641"/>
                    <a:gd name="T103" fmla="*/ 2147483647 h 459"/>
                    <a:gd name="T104" fmla="*/ 2147483647 w 641"/>
                    <a:gd name="T105" fmla="*/ 2147483647 h 459"/>
                    <a:gd name="T106" fmla="*/ 2147483647 w 641"/>
                    <a:gd name="T107" fmla="*/ 2147483647 h 459"/>
                    <a:gd name="T108" fmla="*/ 2147483647 w 641"/>
                    <a:gd name="T109" fmla="*/ 2147483647 h 459"/>
                    <a:gd name="T110" fmla="*/ 2147483647 w 641"/>
                    <a:gd name="T111" fmla="*/ 2147483647 h 459"/>
                    <a:gd name="T112" fmla="*/ 2147483647 w 641"/>
                    <a:gd name="T113" fmla="*/ 2147483647 h 459"/>
                    <a:gd name="T114" fmla="*/ 2147483647 w 641"/>
                    <a:gd name="T115" fmla="*/ 2147483647 h 459"/>
                    <a:gd name="T116" fmla="*/ 2147483647 w 641"/>
                    <a:gd name="T117" fmla="*/ 2147483647 h 459"/>
                    <a:gd name="T118" fmla="*/ 2147483647 w 641"/>
                    <a:gd name="T119" fmla="*/ 2147483647 h 45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641"/>
                    <a:gd name="T181" fmla="*/ 0 h 459"/>
                    <a:gd name="T182" fmla="*/ 641 w 641"/>
                    <a:gd name="T183" fmla="*/ 459 h 45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641" h="459">
                      <a:moveTo>
                        <a:pt x="456" y="40"/>
                      </a:moveTo>
                      <a:lnTo>
                        <a:pt x="459" y="299"/>
                      </a:lnTo>
                      <a:lnTo>
                        <a:pt x="466" y="297"/>
                      </a:lnTo>
                      <a:lnTo>
                        <a:pt x="473" y="295"/>
                      </a:lnTo>
                      <a:lnTo>
                        <a:pt x="476" y="297"/>
                      </a:lnTo>
                      <a:lnTo>
                        <a:pt x="479" y="298"/>
                      </a:lnTo>
                      <a:lnTo>
                        <a:pt x="487" y="306"/>
                      </a:lnTo>
                      <a:lnTo>
                        <a:pt x="498" y="318"/>
                      </a:lnTo>
                      <a:lnTo>
                        <a:pt x="504" y="325"/>
                      </a:lnTo>
                      <a:lnTo>
                        <a:pt x="511" y="330"/>
                      </a:lnTo>
                      <a:lnTo>
                        <a:pt x="516" y="333"/>
                      </a:lnTo>
                      <a:lnTo>
                        <a:pt x="521" y="333"/>
                      </a:lnTo>
                      <a:lnTo>
                        <a:pt x="525" y="332"/>
                      </a:lnTo>
                      <a:lnTo>
                        <a:pt x="528" y="330"/>
                      </a:lnTo>
                      <a:lnTo>
                        <a:pt x="535" y="324"/>
                      </a:lnTo>
                      <a:lnTo>
                        <a:pt x="542" y="317"/>
                      </a:lnTo>
                      <a:lnTo>
                        <a:pt x="544" y="314"/>
                      </a:lnTo>
                      <a:lnTo>
                        <a:pt x="546" y="314"/>
                      </a:lnTo>
                      <a:lnTo>
                        <a:pt x="549" y="316"/>
                      </a:lnTo>
                      <a:lnTo>
                        <a:pt x="558" y="323"/>
                      </a:lnTo>
                      <a:lnTo>
                        <a:pt x="565" y="327"/>
                      </a:lnTo>
                      <a:lnTo>
                        <a:pt x="569" y="330"/>
                      </a:lnTo>
                      <a:lnTo>
                        <a:pt x="574" y="335"/>
                      </a:lnTo>
                      <a:lnTo>
                        <a:pt x="581" y="342"/>
                      </a:lnTo>
                      <a:lnTo>
                        <a:pt x="587" y="348"/>
                      </a:lnTo>
                      <a:lnTo>
                        <a:pt x="596" y="357"/>
                      </a:lnTo>
                      <a:lnTo>
                        <a:pt x="605" y="371"/>
                      </a:lnTo>
                      <a:lnTo>
                        <a:pt x="612" y="381"/>
                      </a:lnTo>
                      <a:lnTo>
                        <a:pt x="621" y="388"/>
                      </a:lnTo>
                      <a:lnTo>
                        <a:pt x="630" y="395"/>
                      </a:lnTo>
                      <a:lnTo>
                        <a:pt x="635" y="400"/>
                      </a:lnTo>
                      <a:lnTo>
                        <a:pt x="638" y="404"/>
                      </a:lnTo>
                      <a:lnTo>
                        <a:pt x="640" y="410"/>
                      </a:lnTo>
                      <a:lnTo>
                        <a:pt x="641" y="419"/>
                      </a:lnTo>
                      <a:lnTo>
                        <a:pt x="641" y="427"/>
                      </a:lnTo>
                      <a:lnTo>
                        <a:pt x="640" y="439"/>
                      </a:lnTo>
                      <a:lnTo>
                        <a:pt x="636" y="436"/>
                      </a:lnTo>
                      <a:lnTo>
                        <a:pt x="634" y="435"/>
                      </a:lnTo>
                      <a:lnTo>
                        <a:pt x="630" y="423"/>
                      </a:lnTo>
                      <a:lnTo>
                        <a:pt x="629" y="420"/>
                      </a:lnTo>
                      <a:lnTo>
                        <a:pt x="626" y="416"/>
                      </a:lnTo>
                      <a:lnTo>
                        <a:pt x="622" y="415"/>
                      </a:lnTo>
                      <a:lnTo>
                        <a:pt x="619" y="413"/>
                      </a:lnTo>
                      <a:lnTo>
                        <a:pt x="606" y="412"/>
                      </a:lnTo>
                      <a:lnTo>
                        <a:pt x="605" y="412"/>
                      </a:lnTo>
                      <a:lnTo>
                        <a:pt x="605" y="410"/>
                      </a:lnTo>
                      <a:lnTo>
                        <a:pt x="606" y="406"/>
                      </a:lnTo>
                      <a:lnTo>
                        <a:pt x="606" y="401"/>
                      </a:lnTo>
                      <a:lnTo>
                        <a:pt x="606" y="399"/>
                      </a:lnTo>
                      <a:lnTo>
                        <a:pt x="605" y="396"/>
                      </a:lnTo>
                      <a:lnTo>
                        <a:pt x="598" y="389"/>
                      </a:lnTo>
                      <a:lnTo>
                        <a:pt x="593" y="381"/>
                      </a:lnTo>
                      <a:lnTo>
                        <a:pt x="582" y="365"/>
                      </a:lnTo>
                      <a:lnTo>
                        <a:pt x="570" y="351"/>
                      </a:lnTo>
                      <a:lnTo>
                        <a:pt x="565" y="343"/>
                      </a:lnTo>
                      <a:lnTo>
                        <a:pt x="563" y="339"/>
                      </a:lnTo>
                      <a:lnTo>
                        <a:pt x="559" y="338"/>
                      </a:lnTo>
                      <a:lnTo>
                        <a:pt x="558" y="337"/>
                      </a:lnTo>
                      <a:lnTo>
                        <a:pt x="556" y="338"/>
                      </a:lnTo>
                      <a:lnTo>
                        <a:pt x="555" y="342"/>
                      </a:lnTo>
                      <a:lnTo>
                        <a:pt x="554" y="345"/>
                      </a:lnTo>
                      <a:lnTo>
                        <a:pt x="553" y="349"/>
                      </a:lnTo>
                      <a:lnTo>
                        <a:pt x="551" y="349"/>
                      </a:lnTo>
                      <a:lnTo>
                        <a:pt x="550" y="348"/>
                      </a:lnTo>
                      <a:lnTo>
                        <a:pt x="545" y="344"/>
                      </a:lnTo>
                      <a:lnTo>
                        <a:pt x="542" y="342"/>
                      </a:lnTo>
                      <a:lnTo>
                        <a:pt x="540" y="342"/>
                      </a:lnTo>
                      <a:lnTo>
                        <a:pt x="537" y="344"/>
                      </a:lnTo>
                      <a:lnTo>
                        <a:pt x="536" y="345"/>
                      </a:lnTo>
                      <a:lnTo>
                        <a:pt x="535" y="349"/>
                      </a:lnTo>
                      <a:lnTo>
                        <a:pt x="534" y="350"/>
                      </a:lnTo>
                      <a:lnTo>
                        <a:pt x="531" y="351"/>
                      </a:lnTo>
                      <a:lnTo>
                        <a:pt x="528" y="351"/>
                      </a:lnTo>
                      <a:lnTo>
                        <a:pt x="525" y="349"/>
                      </a:lnTo>
                      <a:lnTo>
                        <a:pt x="521" y="346"/>
                      </a:lnTo>
                      <a:lnTo>
                        <a:pt x="518" y="343"/>
                      </a:lnTo>
                      <a:lnTo>
                        <a:pt x="494" y="330"/>
                      </a:lnTo>
                      <a:lnTo>
                        <a:pt x="484" y="321"/>
                      </a:lnTo>
                      <a:lnTo>
                        <a:pt x="473" y="313"/>
                      </a:lnTo>
                      <a:lnTo>
                        <a:pt x="470" y="312"/>
                      </a:lnTo>
                      <a:lnTo>
                        <a:pt x="466" y="312"/>
                      </a:lnTo>
                      <a:lnTo>
                        <a:pt x="459" y="312"/>
                      </a:lnTo>
                      <a:lnTo>
                        <a:pt x="452" y="311"/>
                      </a:lnTo>
                      <a:lnTo>
                        <a:pt x="447" y="312"/>
                      </a:lnTo>
                      <a:lnTo>
                        <a:pt x="436" y="313"/>
                      </a:lnTo>
                      <a:lnTo>
                        <a:pt x="424" y="314"/>
                      </a:lnTo>
                      <a:lnTo>
                        <a:pt x="419" y="313"/>
                      </a:lnTo>
                      <a:lnTo>
                        <a:pt x="414" y="312"/>
                      </a:lnTo>
                      <a:lnTo>
                        <a:pt x="400" y="306"/>
                      </a:lnTo>
                      <a:lnTo>
                        <a:pt x="395" y="304"/>
                      </a:lnTo>
                      <a:lnTo>
                        <a:pt x="387" y="301"/>
                      </a:lnTo>
                      <a:lnTo>
                        <a:pt x="379" y="300"/>
                      </a:lnTo>
                      <a:lnTo>
                        <a:pt x="374" y="300"/>
                      </a:lnTo>
                      <a:lnTo>
                        <a:pt x="368" y="299"/>
                      </a:lnTo>
                      <a:lnTo>
                        <a:pt x="366" y="297"/>
                      </a:lnTo>
                      <a:lnTo>
                        <a:pt x="365" y="294"/>
                      </a:lnTo>
                      <a:lnTo>
                        <a:pt x="365" y="288"/>
                      </a:lnTo>
                      <a:lnTo>
                        <a:pt x="363" y="286"/>
                      </a:lnTo>
                      <a:lnTo>
                        <a:pt x="363" y="284"/>
                      </a:lnTo>
                      <a:lnTo>
                        <a:pt x="361" y="282"/>
                      </a:lnTo>
                      <a:lnTo>
                        <a:pt x="357" y="282"/>
                      </a:lnTo>
                      <a:lnTo>
                        <a:pt x="354" y="284"/>
                      </a:lnTo>
                      <a:lnTo>
                        <a:pt x="353" y="286"/>
                      </a:lnTo>
                      <a:lnTo>
                        <a:pt x="351" y="288"/>
                      </a:lnTo>
                      <a:lnTo>
                        <a:pt x="348" y="288"/>
                      </a:lnTo>
                      <a:lnTo>
                        <a:pt x="342" y="287"/>
                      </a:lnTo>
                      <a:lnTo>
                        <a:pt x="335" y="286"/>
                      </a:lnTo>
                      <a:lnTo>
                        <a:pt x="329" y="285"/>
                      </a:lnTo>
                      <a:lnTo>
                        <a:pt x="325" y="286"/>
                      </a:lnTo>
                      <a:lnTo>
                        <a:pt x="323" y="288"/>
                      </a:lnTo>
                      <a:lnTo>
                        <a:pt x="321" y="289"/>
                      </a:lnTo>
                      <a:lnTo>
                        <a:pt x="321" y="291"/>
                      </a:lnTo>
                      <a:lnTo>
                        <a:pt x="324" y="294"/>
                      </a:lnTo>
                      <a:lnTo>
                        <a:pt x="328" y="297"/>
                      </a:lnTo>
                      <a:lnTo>
                        <a:pt x="330" y="300"/>
                      </a:lnTo>
                      <a:lnTo>
                        <a:pt x="329" y="304"/>
                      </a:lnTo>
                      <a:lnTo>
                        <a:pt x="327" y="307"/>
                      </a:lnTo>
                      <a:lnTo>
                        <a:pt x="324" y="312"/>
                      </a:lnTo>
                      <a:lnTo>
                        <a:pt x="323" y="313"/>
                      </a:lnTo>
                      <a:lnTo>
                        <a:pt x="319" y="313"/>
                      </a:lnTo>
                      <a:lnTo>
                        <a:pt x="320" y="313"/>
                      </a:lnTo>
                      <a:lnTo>
                        <a:pt x="311" y="314"/>
                      </a:lnTo>
                      <a:lnTo>
                        <a:pt x="307" y="316"/>
                      </a:lnTo>
                      <a:lnTo>
                        <a:pt x="304" y="317"/>
                      </a:lnTo>
                      <a:lnTo>
                        <a:pt x="300" y="320"/>
                      </a:lnTo>
                      <a:lnTo>
                        <a:pt x="297" y="323"/>
                      </a:lnTo>
                      <a:lnTo>
                        <a:pt x="281" y="330"/>
                      </a:lnTo>
                      <a:lnTo>
                        <a:pt x="264" y="338"/>
                      </a:lnTo>
                      <a:lnTo>
                        <a:pt x="261" y="338"/>
                      </a:lnTo>
                      <a:lnTo>
                        <a:pt x="259" y="338"/>
                      </a:lnTo>
                      <a:lnTo>
                        <a:pt x="258" y="336"/>
                      </a:lnTo>
                      <a:lnTo>
                        <a:pt x="259" y="331"/>
                      </a:lnTo>
                      <a:lnTo>
                        <a:pt x="262" y="327"/>
                      </a:lnTo>
                      <a:lnTo>
                        <a:pt x="266" y="324"/>
                      </a:lnTo>
                      <a:lnTo>
                        <a:pt x="268" y="319"/>
                      </a:lnTo>
                      <a:lnTo>
                        <a:pt x="268" y="318"/>
                      </a:lnTo>
                      <a:lnTo>
                        <a:pt x="268" y="317"/>
                      </a:lnTo>
                      <a:lnTo>
                        <a:pt x="266" y="312"/>
                      </a:lnTo>
                      <a:lnTo>
                        <a:pt x="267" y="308"/>
                      </a:lnTo>
                      <a:lnTo>
                        <a:pt x="268" y="304"/>
                      </a:lnTo>
                      <a:lnTo>
                        <a:pt x="271" y="300"/>
                      </a:lnTo>
                      <a:lnTo>
                        <a:pt x="278" y="293"/>
                      </a:lnTo>
                      <a:lnTo>
                        <a:pt x="286" y="287"/>
                      </a:lnTo>
                      <a:lnTo>
                        <a:pt x="288" y="286"/>
                      </a:lnTo>
                      <a:lnTo>
                        <a:pt x="292" y="285"/>
                      </a:lnTo>
                      <a:lnTo>
                        <a:pt x="296" y="285"/>
                      </a:lnTo>
                      <a:lnTo>
                        <a:pt x="300" y="282"/>
                      </a:lnTo>
                      <a:lnTo>
                        <a:pt x="301" y="281"/>
                      </a:lnTo>
                      <a:lnTo>
                        <a:pt x="301" y="280"/>
                      </a:lnTo>
                      <a:lnTo>
                        <a:pt x="299" y="278"/>
                      </a:lnTo>
                      <a:lnTo>
                        <a:pt x="295" y="275"/>
                      </a:lnTo>
                      <a:lnTo>
                        <a:pt x="292" y="275"/>
                      </a:lnTo>
                      <a:lnTo>
                        <a:pt x="288" y="275"/>
                      </a:lnTo>
                      <a:lnTo>
                        <a:pt x="285" y="278"/>
                      </a:lnTo>
                      <a:lnTo>
                        <a:pt x="277" y="281"/>
                      </a:lnTo>
                      <a:lnTo>
                        <a:pt x="267" y="286"/>
                      </a:lnTo>
                      <a:lnTo>
                        <a:pt x="262" y="288"/>
                      </a:lnTo>
                      <a:lnTo>
                        <a:pt x="258" y="292"/>
                      </a:lnTo>
                      <a:lnTo>
                        <a:pt x="255" y="295"/>
                      </a:lnTo>
                      <a:lnTo>
                        <a:pt x="254" y="300"/>
                      </a:lnTo>
                      <a:lnTo>
                        <a:pt x="252" y="310"/>
                      </a:lnTo>
                      <a:lnTo>
                        <a:pt x="249" y="314"/>
                      </a:lnTo>
                      <a:lnTo>
                        <a:pt x="247" y="317"/>
                      </a:lnTo>
                      <a:lnTo>
                        <a:pt x="241" y="319"/>
                      </a:lnTo>
                      <a:lnTo>
                        <a:pt x="234" y="320"/>
                      </a:lnTo>
                      <a:lnTo>
                        <a:pt x="233" y="321"/>
                      </a:lnTo>
                      <a:lnTo>
                        <a:pt x="231" y="323"/>
                      </a:lnTo>
                      <a:lnTo>
                        <a:pt x="230" y="326"/>
                      </a:lnTo>
                      <a:lnTo>
                        <a:pt x="229" y="331"/>
                      </a:lnTo>
                      <a:lnTo>
                        <a:pt x="230" y="335"/>
                      </a:lnTo>
                      <a:lnTo>
                        <a:pt x="233" y="337"/>
                      </a:lnTo>
                      <a:lnTo>
                        <a:pt x="238" y="339"/>
                      </a:lnTo>
                      <a:lnTo>
                        <a:pt x="240" y="342"/>
                      </a:lnTo>
                      <a:lnTo>
                        <a:pt x="240" y="344"/>
                      </a:lnTo>
                      <a:lnTo>
                        <a:pt x="239" y="346"/>
                      </a:lnTo>
                      <a:lnTo>
                        <a:pt x="234" y="350"/>
                      </a:lnTo>
                      <a:lnTo>
                        <a:pt x="217" y="362"/>
                      </a:lnTo>
                      <a:lnTo>
                        <a:pt x="201" y="374"/>
                      </a:lnTo>
                      <a:lnTo>
                        <a:pt x="189" y="380"/>
                      </a:lnTo>
                      <a:lnTo>
                        <a:pt x="184" y="383"/>
                      </a:lnTo>
                      <a:lnTo>
                        <a:pt x="179" y="388"/>
                      </a:lnTo>
                      <a:lnTo>
                        <a:pt x="175" y="390"/>
                      </a:lnTo>
                      <a:lnTo>
                        <a:pt x="173" y="391"/>
                      </a:lnTo>
                      <a:lnTo>
                        <a:pt x="165" y="393"/>
                      </a:lnTo>
                      <a:lnTo>
                        <a:pt x="163" y="394"/>
                      </a:lnTo>
                      <a:lnTo>
                        <a:pt x="161" y="396"/>
                      </a:lnTo>
                      <a:lnTo>
                        <a:pt x="159" y="401"/>
                      </a:lnTo>
                      <a:lnTo>
                        <a:pt x="154" y="404"/>
                      </a:lnTo>
                      <a:lnTo>
                        <a:pt x="146" y="412"/>
                      </a:lnTo>
                      <a:lnTo>
                        <a:pt x="141" y="417"/>
                      </a:lnTo>
                      <a:lnTo>
                        <a:pt x="140" y="421"/>
                      </a:lnTo>
                      <a:lnTo>
                        <a:pt x="136" y="423"/>
                      </a:lnTo>
                      <a:lnTo>
                        <a:pt x="134" y="423"/>
                      </a:lnTo>
                      <a:lnTo>
                        <a:pt x="131" y="423"/>
                      </a:lnTo>
                      <a:lnTo>
                        <a:pt x="126" y="422"/>
                      </a:lnTo>
                      <a:lnTo>
                        <a:pt x="122" y="423"/>
                      </a:lnTo>
                      <a:lnTo>
                        <a:pt x="120" y="426"/>
                      </a:lnTo>
                      <a:lnTo>
                        <a:pt x="114" y="429"/>
                      </a:lnTo>
                      <a:lnTo>
                        <a:pt x="112" y="431"/>
                      </a:lnTo>
                      <a:lnTo>
                        <a:pt x="108" y="431"/>
                      </a:lnTo>
                      <a:lnTo>
                        <a:pt x="102" y="431"/>
                      </a:lnTo>
                      <a:lnTo>
                        <a:pt x="101" y="431"/>
                      </a:lnTo>
                      <a:lnTo>
                        <a:pt x="99" y="432"/>
                      </a:lnTo>
                      <a:lnTo>
                        <a:pt x="97" y="434"/>
                      </a:lnTo>
                      <a:lnTo>
                        <a:pt x="94" y="438"/>
                      </a:lnTo>
                      <a:lnTo>
                        <a:pt x="90" y="439"/>
                      </a:lnTo>
                      <a:lnTo>
                        <a:pt x="75" y="442"/>
                      </a:lnTo>
                      <a:lnTo>
                        <a:pt x="69" y="445"/>
                      </a:lnTo>
                      <a:lnTo>
                        <a:pt x="61" y="450"/>
                      </a:lnTo>
                      <a:lnTo>
                        <a:pt x="52" y="457"/>
                      </a:lnTo>
                      <a:lnTo>
                        <a:pt x="47" y="458"/>
                      </a:lnTo>
                      <a:lnTo>
                        <a:pt x="46" y="459"/>
                      </a:lnTo>
                      <a:lnTo>
                        <a:pt x="45" y="458"/>
                      </a:lnTo>
                      <a:lnTo>
                        <a:pt x="43" y="454"/>
                      </a:lnTo>
                      <a:lnTo>
                        <a:pt x="45" y="451"/>
                      </a:lnTo>
                      <a:lnTo>
                        <a:pt x="46" y="447"/>
                      </a:lnTo>
                      <a:lnTo>
                        <a:pt x="48" y="444"/>
                      </a:lnTo>
                      <a:lnTo>
                        <a:pt x="57" y="439"/>
                      </a:lnTo>
                      <a:lnTo>
                        <a:pt x="66" y="435"/>
                      </a:lnTo>
                      <a:lnTo>
                        <a:pt x="71" y="434"/>
                      </a:lnTo>
                      <a:lnTo>
                        <a:pt x="74" y="434"/>
                      </a:lnTo>
                      <a:lnTo>
                        <a:pt x="75" y="432"/>
                      </a:lnTo>
                      <a:lnTo>
                        <a:pt x="81" y="425"/>
                      </a:lnTo>
                      <a:lnTo>
                        <a:pt x="85" y="421"/>
                      </a:lnTo>
                      <a:lnTo>
                        <a:pt x="88" y="419"/>
                      </a:lnTo>
                      <a:lnTo>
                        <a:pt x="95" y="416"/>
                      </a:lnTo>
                      <a:lnTo>
                        <a:pt x="103" y="414"/>
                      </a:lnTo>
                      <a:lnTo>
                        <a:pt x="109" y="412"/>
                      </a:lnTo>
                      <a:lnTo>
                        <a:pt x="116" y="407"/>
                      </a:lnTo>
                      <a:lnTo>
                        <a:pt x="127" y="399"/>
                      </a:lnTo>
                      <a:lnTo>
                        <a:pt x="132" y="396"/>
                      </a:lnTo>
                      <a:lnTo>
                        <a:pt x="135" y="396"/>
                      </a:lnTo>
                      <a:lnTo>
                        <a:pt x="137" y="395"/>
                      </a:lnTo>
                      <a:lnTo>
                        <a:pt x="140" y="394"/>
                      </a:lnTo>
                      <a:lnTo>
                        <a:pt x="141" y="394"/>
                      </a:lnTo>
                      <a:lnTo>
                        <a:pt x="142" y="393"/>
                      </a:lnTo>
                      <a:lnTo>
                        <a:pt x="145" y="389"/>
                      </a:lnTo>
                      <a:lnTo>
                        <a:pt x="145" y="387"/>
                      </a:lnTo>
                      <a:lnTo>
                        <a:pt x="146" y="385"/>
                      </a:lnTo>
                      <a:lnTo>
                        <a:pt x="150" y="383"/>
                      </a:lnTo>
                      <a:lnTo>
                        <a:pt x="153" y="381"/>
                      </a:lnTo>
                      <a:lnTo>
                        <a:pt x="155" y="377"/>
                      </a:lnTo>
                      <a:lnTo>
                        <a:pt x="155" y="372"/>
                      </a:lnTo>
                      <a:lnTo>
                        <a:pt x="156" y="369"/>
                      </a:lnTo>
                      <a:lnTo>
                        <a:pt x="160" y="361"/>
                      </a:lnTo>
                      <a:lnTo>
                        <a:pt x="167" y="355"/>
                      </a:lnTo>
                      <a:lnTo>
                        <a:pt x="174" y="349"/>
                      </a:lnTo>
                      <a:lnTo>
                        <a:pt x="177" y="346"/>
                      </a:lnTo>
                      <a:lnTo>
                        <a:pt x="178" y="343"/>
                      </a:lnTo>
                      <a:lnTo>
                        <a:pt x="178" y="339"/>
                      </a:lnTo>
                      <a:lnTo>
                        <a:pt x="177" y="338"/>
                      </a:lnTo>
                      <a:lnTo>
                        <a:pt x="175" y="337"/>
                      </a:lnTo>
                      <a:lnTo>
                        <a:pt x="173" y="337"/>
                      </a:lnTo>
                      <a:lnTo>
                        <a:pt x="170" y="338"/>
                      </a:lnTo>
                      <a:lnTo>
                        <a:pt x="165" y="342"/>
                      </a:lnTo>
                      <a:lnTo>
                        <a:pt x="161" y="343"/>
                      </a:lnTo>
                      <a:lnTo>
                        <a:pt x="158" y="342"/>
                      </a:lnTo>
                      <a:lnTo>
                        <a:pt x="154" y="340"/>
                      </a:lnTo>
                      <a:lnTo>
                        <a:pt x="150" y="339"/>
                      </a:lnTo>
                      <a:lnTo>
                        <a:pt x="147" y="339"/>
                      </a:lnTo>
                      <a:lnTo>
                        <a:pt x="146" y="340"/>
                      </a:lnTo>
                      <a:lnTo>
                        <a:pt x="144" y="343"/>
                      </a:lnTo>
                      <a:lnTo>
                        <a:pt x="141" y="346"/>
                      </a:lnTo>
                      <a:lnTo>
                        <a:pt x="140" y="346"/>
                      </a:lnTo>
                      <a:lnTo>
                        <a:pt x="137" y="346"/>
                      </a:lnTo>
                      <a:lnTo>
                        <a:pt x="135" y="345"/>
                      </a:lnTo>
                      <a:lnTo>
                        <a:pt x="134" y="344"/>
                      </a:lnTo>
                      <a:lnTo>
                        <a:pt x="128" y="338"/>
                      </a:lnTo>
                      <a:lnTo>
                        <a:pt x="126" y="336"/>
                      </a:lnTo>
                      <a:lnTo>
                        <a:pt x="123" y="335"/>
                      </a:lnTo>
                      <a:lnTo>
                        <a:pt x="121" y="335"/>
                      </a:lnTo>
                      <a:lnTo>
                        <a:pt x="118" y="336"/>
                      </a:lnTo>
                      <a:lnTo>
                        <a:pt x="117" y="337"/>
                      </a:lnTo>
                      <a:lnTo>
                        <a:pt x="116" y="338"/>
                      </a:lnTo>
                      <a:lnTo>
                        <a:pt x="116" y="343"/>
                      </a:lnTo>
                      <a:lnTo>
                        <a:pt x="116" y="346"/>
                      </a:lnTo>
                      <a:lnTo>
                        <a:pt x="114" y="348"/>
                      </a:lnTo>
                      <a:lnTo>
                        <a:pt x="113" y="349"/>
                      </a:lnTo>
                      <a:lnTo>
                        <a:pt x="107" y="350"/>
                      </a:lnTo>
                      <a:lnTo>
                        <a:pt x="101" y="349"/>
                      </a:lnTo>
                      <a:lnTo>
                        <a:pt x="95" y="346"/>
                      </a:lnTo>
                      <a:lnTo>
                        <a:pt x="93" y="345"/>
                      </a:lnTo>
                      <a:lnTo>
                        <a:pt x="92" y="343"/>
                      </a:lnTo>
                      <a:lnTo>
                        <a:pt x="92" y="340"/>
                      </a:lnTo>
                      <a:lnTo>
                        <a:pt x="93" y="337"/>
                      </a:lnTo>
                      <a:lnTo>
                        <a:pt x="94" y="333"/>
                      </a:lnTo>
                      <a:lnTo>
                        <a:pt x="94" y="329"/>
                      </a:lnTo>
                      <a:lnTo>
                        <a:pt x="93" y="326"/>
                      </a:lnTo>
                      <a:lnTo>
                        <a:pt x="92" y="323"/>
                      </a:lnTo>
                      <a:lnTo>
                        <a:pt x="90" y="319"/>
                      </a:lnTo>
                      <a:lnTo>
                        <a:pt x="88" y="313"/>
                      </a:lnTo>
                      <a:lnTo>
                        <a:pt x="85" y="307"/>
                      </a:lnTo>
                      <a:lnTo>
                        <a:pt x="84" y="301"/>
                      </a:lnTo>
                      <a:lnTo>
                        <a:pt x="84" y="295"/>
                      </a:lnTo>
                      <a:lnTo>
                        <a:pt x="81" y="298"/>
                      </a:lnTo>
                      <a:lnTo>
                        <a:pt x="80" y="301"/>
                      </a:lnTo>
                      <a:lnTo>
                        <a:pt x="76" y="307"/>
                      </a:lnTo>
                      <a:lnTo>
                        <a:pt x="74" y="314"/>
                      </a:lnTo>
                      <a:lnTo>
                        <a:pt x="71" y="317"/>
                      </a:lnTo>
                      <a:lnTo>
                        <a:pt x="69" y="319"/>
                      </a:lnTo>
                      <a:lnTo>
                        <a:pt x="65" y="320"/>
                      </a:lnTo>
                      <a:lnTo>
                        <a:pt x="60" y="319"/>
                      </a:lnTo>
                      <a:lnTo>
                        <a:pt x="55" y="318"/>
                      </a:lnTo>
                      <a:lnTo>
                        <a:pt x="52" y="317"/>
                      </a:lnTo>
                      <a:lnTo>
                        <a:pt x="51" y="314"/>
                      </a:lnTo>
                      <a:lnTo>
                        <a:pt x="51" y="312"/>
                      </a:lnTo>
                      <a:lnTo>
                        <a:pt x="51" y="310"/>
                      </a:lnTo>
                      <a:lnTo>
                        <a:pt x="54" y="305"/>
                      </a:lnTo>
                      <a:lnTo>
                        <a:pt x="57" y="301"/>
                      </a:lnTo>
                      <a:lnTo>
                        <a:pt x="61" y="298"/>
                      </a:lnTo>
                      <a:lnTo>
                        <a:pt x="62" y="295"/>
                      </a:lnTo>
                      <a:lnTo>
                        <a:pt x="62" y="294"/>
                      </a:lnTo>
                      <a:lnTo>
                        <a:pt x="61" y="294"/>
                      </a:lnTo>
                      <a:lnTo>
                        <a:pt x="56" y="294"/>
                      </a:lnTo>
                      <a:lnTo>
                        <a:pt x="52" y="295"/>
                      </a:lnTo>
                      <a:lnTo>
                        <a:pt x="48" y="297"/>
                      </a:lnTo>
                      <a:lnTo>
                        <a:pt x="43" y="299"/>
                      </a:lnTo>
                      <a:lnTo>
                        <a:pt x="42" y="299"/>
                      </a:lnTo>
                      <a:lnTo>
                        <a:pt x="40" y="298"/>
                      </a:lnTo>
                      <a:lnTo>
                        <a:pt x="38" y="295"/>
                      </a:lnTo>
                      <a:lnTo>
                        <a:pt x="38" y="294"/>
                      </a:lnTo>
                      <a:lnTo>
                        <a:pt x="40" y="289"/>
                      </a:lnTo>
                      <a:lnTo>
                        <a:pt x="42" y="285"/>
                      </a:lnTo>
                      <a:lnTo>
                        <a:pt x="43" y="282"/>
                      </a:lnTo>
                      <a:lnTo>
                        <a:pt x="46" y="280"/>
                      </a:lnTo>
                      <a:lnTo>
                        <a:pt x="45" y="279"/>
                      </a:lnTo>
                      <a:lnTo>
                        <a:pt x="43" y="278"/>
                      </a:lnTo>
                      <a:lnTo>
                        <a:pt x="37" y="278"/>
                      </a:lnTo>
                      <a:lnTo>
                        <a:pt x="29" y="278"/>
                      </a:lnTo>
                      <a:lnTo>
                        <a:pt x="23" y="278"/>
                      </a:lnTo>
                      <a:lnTo>
                        <a:pt x="22" y="278"/>
                      </a:lnTo>
                      <a:lnTo>
                        <a:pt x="21" y="276"/>
                      </a:lnTo>
                      <a:lnTo>
                        <a:pt x="19" y="275"/>
                      </a:lnTo>
                      <a:lnTo>
                        <a:pt x="19" y="274"/>
                      </a:lnTo>
                      <a:lnTo>
                        <a:pt x="19" y="272"/>
                      </a:lnTo>
                      <a:lnTo>
                        <a:pt x="19" y="270"/>
                      </a:lnTo>
                      <a:lnTo>
                        <a:pt x="14" y="269"/>
                      </a:lnTo>
                      <a:lnTo>
                        <a:pt x="13" y="269"/>
                      </a:lnTo>
                      <a:lnTo>
                        <a:pt x="12" y="268"/>
                      </a:lnTo>
                      <a:lnTo>
                        <a:pt x="12" y="263"/>
                      </a:lnTo>
                      <a:lnTo>
                        <a:pt x="14" y="260"/>
                      </a:lnTo>
                      <a:lnTo>
                        <a:pt x="18" y="256"/>
                      </a:lnTo>
                      <a:lnTo>
                        <a:pt x="23" y="253"/>
                      </a:lnTo>
                      <a:lnTo>
                        <a:pt x="33" y="247"/>
                      </a:lnTo>
                      <a:lnTo>
                        <a:pt x="37" y="243"/>
                      </a:lnTo>
                      <a:lnTo>
                        <a:pt x="41" y="240"/>
                      </a:lnTo>
                      <a:lnTo>
                        <a:pt x="42" y="237"/>
                      </a:lnTo>
                      <a:lnTo>
                        <a:pt x="42" y="233"/>
                      </a:lnTo>
                      <a:lnTo>
                        <a:pt x="42" y="229"/>
                      </a:lnTo>
                      <a:lnTo>
                        <a:pt x="43" y="228"/>
                      </a:lnTo>
                      <a:lnTo>
                        <a:pt x="46" y="227"/>
                      </a:lnTo>
                      <a:lnTo>
                        <a:pt x="50" y="227"/>
                      </a:lnTo>
                      <a:lnTo>
                        <a:pt x="52" y="227"/>
                      </a:lnTo>
                      <a:lnTo>
                        <a:pt x="59" y="229"/>
                      </a:lnTo>
                      <a:lnTo>
                        <a:pt x="70" y="230"/>
                      </a:lnTo>
                      <a:lnTo>
                        <a:pt x="75" y="230"/>
                      </a:lnTo>
                      <a:lnTo>
                        <a:pt x="80" y="228"/>
                      </a:lnTo>
                      <a:lnTo>
                        <a:pt x="81" y="224"/>
                      </a:lnTo>
                      <a:lnTo>
                        <a:pt x="83" y="223"/>
                      </a:lnTo>
                      <a:lnTo>
                        <a:pt x="84" y="222"/>
                      </a:lnTo>
                      <a:lnTo>
                        <a:pt x="87" y="221"/>
                      </a:lnTo>
                      <a:lnTo>
                        <a:pt x="89" y="222"/>
                      </a:lnTo>
                      <a:lnTo>
                        <a:pt x="93" y="222"/>
                      </a:lnTo>
                      <a:lnTo>
                        <a:pt x="95" y="222"/>
                      </a:lnTo>
                      <a:lnTo>
                        <a:pt x="98" y="220"/>
                      </a:lnTo>
                      <a:lnTo>
                        <a:pt x="98" y="218"/>
                      </a:lnTo>
                      <a:lnTo>
                        <a:pt x="99" y="216"/>
                      </a:lnTo>
                      <a:lnTo>
                        <a:pt x="101" y="215"/>
                      </a:lnTo>
                      <a:lnTo>
                        <a:pt x="108" y="212"/>
                      </a:lnTo>
                      <a:lnTo>
                        <a:pt x="111" y="209"/>
                      </a:lnTo>
                      <a:lnTo>
                        <a:pt x="111" y="205"/>
                      </a:lnTo>
                      <a:lnTo>
                        <a:pt x="109" y="202"/>
                      </a:lnTo>
                      <a:lnTo>
                        <a:pt x="107" y="198"/>
                      </a:lnTo>
                      <a:lnTo>
                        <a:pt x="104" y="196"/>
                      </a:lnTo>
                      <a:lnTo>
                        <a:pt x="102" y="193"/>
                      </a:lnTo>
                      <a:lnTo>
                        <a:pt x="102" y="191"/>
                      </a:lnTo>
                      <a:lnTo>
                        <a:pt x="102" y="189"/>
                      </a:lnTo>
                      <a:lnTo>
                        <a:pt x="106" y="186"/>
                      </a:lnTo>
                      <a:lnTo>
                        <a:pt x="109" y="184"/>
                      </a:lnTo>
                      <a:lnTo>
                        <a:pt x="113" y="182"/>
                      </a:lnTo>
                      <a:lnTo>
                        <a:pt x="113" y="179"/>
                      </a:lnTo>
                      <a:lnTo>
                        <a:pt x="113" y="177"/>
                      </a:lnTo>
                      <a:lnTo>
                        <a:pt x="113" y="176"/>
                      </a:lnTo>
                      <a:lnTo>
                        <a:pt x="111" y="176"/>
                      </a:lnTo>
                      <a:lnTo>
                        <a:pt x="104" y="180"/>
                      </a:lnTo>
                      <a:lnTo>
                        <a:pt x="98" y="184"/>
                      </a:lnTo>
                      <a:lnTo>
                        <a:pt x="84" y="189"/>
                      </a:lnTo>
                      <a:lnTo>
                        <a:pt x="80" y="191"/>
                      </a:lnTo>
                      <a:lnTo>
                        <a:pt x="76" y="193"/>
                      </a:lnTo>
                      <a:lnTo>
                        <a:pt x="75" y="193"/>
                      </a:lnTo>
                      <a:lnTo>
                        <a:pt x="73" y="193"/>
                      </a:lnTo>
                      <a:lnTo>
                        <a:pt x="69" y="192"/>
                      </a:lnTo>
                      <a:lnTo>
                        <a:pt x="65" y="191"/>
                      </a:lnTo>
                      <a:lnTo>
                        <a:pt x="56" y="192"/>
                      </a:lnTo>
                      <a:lnTo>
                        <a:pt x="43" y="192"/>
                      </a:lnTo>
                      <a:lnTo>
                        <a:pt x="32" y="191"/>
                      </a:lnTo>
                      <a:lnTo>
                        <a:pt x="26" y="189"/>
                      </a:lnTo>
                      <a:lnTo>
                        <a:pt x="21" y="186"/>
                      </a:lnTo>
                      <a:lnTo>
                        <a:pt x="15" y="183"/>
                      </a:lnTo>
                      <a:lnTo>
                        <a:pt x="10" y="178"/>
                      </a:lnTo>
                      <a:lnTo>
                        <a:pt x="10" y="176"/>
                      </a:lnTo>
                      <a:lnTo>
                        <a:pt x="10" y="173"/>
                      </a:lnTo>
                      <a:lnTo>
                        <a:pt x="14" y="169"/>
                      </a:lnTo>
                      <a:lnTo>
                        <a:pt x="14" y="166"/>
                      </a:lnTo>
                      <a:lnTo>
                        <a:pt x="13" y="165"/>
                      </a:lnTo>
                      <a:lnTo>
                        <a:pt x="8" y="161"/>
                      </a:lnTo>
                      <a:lnTo>
                        <a:pt x="3" y="159"/>
                      </a:lnTo>
                      <a:lnTo>
                        <a:pt x="0" y="158"/>
                      </a:lnTo>
                      <a:lnTo>
                        <a:pt x="0" y="157"/>
                      </a:lnTo>
                      <a:lnTo>
                        <a:pt x="1" y="153"/>
                      </a:lnTo>
                      <a:lnTo>
                        <a:pt x="4" y="151"/>
                      </a:lnTo>
                      <a:lnTo>
                        <a:pt x="12" y="147"/>
                      </a:lnTo>
                      <a:lnTo>
                        <a:pt x="18" y="144"/>
                      </a:lnTo>
                      <a:lnTo>
                        <a:pt x="24" y="141"/>
                      </a:lnTo>
                      <a:lnTo>
                        <a:pt x="31" y="140"/>
                      </a:lnTo>
                      <a:lnTo>
                        <a:pt x="34" y="139"/>
                      </a:lnTo>
                      <a:lnTo>
                        <a:pt x="42" y="135"/>
                      </a:lnTo>
                      <a:lnTo>
                        <a:pt x="46" y="134"/>
                      </a:lnTo>
                      <a:lnTo>
                        <a:pt x="50" y="133"/>
                      </a:lnTo>
                      <a:lnTo>
                        <a:pt x="52" y="134"/>
                      </a:lnTo>
                      <a:lnTo>
                        <a:pt x="54" y="137"/>
                      </a:lnTo>
                      <a:lnTo>
                        <a:pt x="55" y="142"/>
                      </a:lnTo>
                      <a:lnTo>
                        <a:pt x="55" y="144"/>
                      </a:lnTo>
                      <a:lnTo>
                        <a:pt x="56" y="145"/>
                      </a:lnTo>
                      <a:lnTo>
                        <a:pt x="60" y="145"/>
                      </a:lnTo>
                      <a:lnTo>
                        <a:pt x="64" y="142"/>
                      </a:lnTo>
                      <a:lnTo>
                        <a:pt x="66" y="141"/>
                      </a:lnTo>
                      <a:lnTo>
                        <a:pt x="69" y="141"/>
                      </a:lnTo>
                      <a:lnTo>
                        <a:pt x="71" y="144"/>
                      </a:lnTo>
                      <a:lnTo>
                        <a:pt x="74" y="145"/>
                      </a:lnTo>
                      <a:lnTo>
                        <a:pt x="75" y="145"/>
                      </a:lnTo>
                      <a:lnTo>
                        <a:pt x="79" y="144"/>
                      </a:lnTo>
                      <a:lnTo>
                        <a:pt x="83" y="145"/>
                      </a:lnTo>
                      <a:lnTo>
                        <a:pt x="89" y="146"/>
                      </a:lnTo>
                      <a:lnTo>
                        <a:pt x="95" y="150"/>
                      </a:lnTo>
                      <a:lnTo>
                        <a:pt x="103" y="151"/>
                      </a:lnTo>
                      <a:lnTo>
                        <a:pt x="104" y="150"/>
                      </a:lnTo>
                      <a:lnTo>
                        <a:pt x="106" y="150"/>
                      </a:lnTo>
                      <a:lnTo>
                        <a:pt x="106" y="145"/>
                      </a:lnTo>
                      <a:lnTo>
                        <a:pt x="104" y="142"/>
                      </a:lnTo>
                      <a:lnTo>
                        <a:pt x="102" y="139"/>
                      </a:lnTo>
                      <a:lnTo>
                        <a:pt x="98" y="138"/>
                      </a:lnTo>
                      <a:lnTo>
                        <a:pt x="92" y="135"/>
                      </a:lnTo>
                      <a:lnTo>
                        <a:pt x="89" y="134"/>
                      </a:lnTo>
                      <a:lnTo>
                        <a:pt x="88" y="132"/>
                      </a:lnTo>
                      <a:lnTo>
                        <a:pt x="87" y="129"/>
                      </a:lnTo>
                      <a:lnTo>
                        <a:pt x="88" y="128"/>
                      </a:lnTo>
                      <a:lnTo>
                        <a:pt x="93" y="125"/>
                      </a:lnTo>
                      <a:lnTo>
                        <a:pt x="93" y="123"/>
                      </a:lnTo>
                      <a:lnTo>
                        <a:pt x="93" y="122"/>
                      </a:lnTo>
                      <a:lnTo>
                        <a:pt x="92" y="121"/>
                      </a:lnTo>
                      <a:lnTo>
                        <a:pt x="90" y="121"/>
                      </a:lnTo>
                      <a:lnTo>
                        <a:pt x="84" y="123"/>
                      </a:lnTo>
                      <a:lnTo>
                        <a:pt x="78" y="125"/>
                      </a:lnTo>
                      <a:lnTo>
                        <a:pt x="75" y="126"/>
                      </a:lnTo>
                      <a:lnTo>
                        <a:pt x="73" y="125"/>
                      </a:lnTo>
                      <a:lnTo>
                        <a:pt x="70" y="123"/>
                      </a:lnTo>
                      <a:lnTo>
                        <a:pt x="67" y="121"/>
                      </a:lnTo>
                      <a:lnTo>
                        <a:pt x="60" y="109"/>
                      </a:lnTo>
                      <a:lnTo>
                        <a:pt x="55" y="105"/>
                      </a:lnTo>
                      <a:lnTo>
                        <a:pt x="50" y="101"/>
                      </a:lnTo>
                      <a:lnTo>
                        <a:pt x="41" y="97"/>
                      </a:lnTo>
                      <a:lnTo>
                        <a:pt x="32" y="95"/>
                      </a:lnTo>
                      <a:lnTo>
                        <a:pt x="23" y="90"/>
                      </a:lnTo>
                      <a:lnTo>
                        <a:pt x="19" y="88"/>
                      </a:lnTo>
                      <a:lnTo>
                        <a:pt x="17" y="84"/>
                      </a:lnTo>
                      <a:lnTo>
                        <a:pt x="15" y="80"/>
                      </a:lnTo>
                      <a:lnTo>
                        <a:pt x="15" y="74"/>
                      </a:lnTo>
                      <a:lnTo>
                        <a:pt x="18" y="69"/>
                      </a:lnTo>
                      <a:lnTo>
                        <a:pt x="19" y="68"/>
                      </a:lnTo>
                      <a:lnTo>
                        <a:pt x="21" y="67"/>
                      </a:lnTo>
                      <a:lnTo>
                        <a:pt x="33" y="68"/>
                      </a:lnTo>
                      <a:lnTo>
                        <a:pt x="45" y="68"/>
                      </a:lnTo>
                      <a:lnTo>
                        <a:pt x="51" y="68"/>
                      </a:lnTo>
                      <a:lnTo>
                        <a:pt x="56" y="67"/>
                      </a:lnTo>
                      <a:lnTo>
                        <a:pt x="61" y="64"/>
                      </a:lnTo>
                      <a:lnTo>
                        <a:pt x="65" y="61"/>
                      </a:lnTo>
                      <a:lnTo>
                        <a:pt x="74" y="51"/>
                      </a:lnTo>
                      <a:lnTo>
                        <a:pt x="83" y="42"/>
                      </a:lnTo>
                      <a:lnTo>
                        <a:pt x="84" y="39"/>
                      </a:lnTo>
                      <a:lnTo>
                        <a:pt x="85" y="36"/>
                      </a:lnTo>
                      <a:lnTo>
                        <a:pt x="90" y="32"/>
                      </a:lnTo>
                      <a:lnTo>
                        <a:pt x="95" y="30"/>
                      </a:lnTo>
                      <a:lnTo>
                        <a:pt x="106" y="27"/>
                      </a:lnTo>
                      <a:lnTo>
                        <a:pt x="111" y="24"/>
                      </a:lnTo>
                      <a:lnTo>
                        <a:pt x="117" y="20"/>
                      </a:lnTo>
                      <a:lnTo>
                        <a:pt x="125" y="17"/>
                      </a:lnTo>
                      <a:lnTo>
                        <a:pt x="130" y="14"/>
                      </a:lnTo>
                      <a:lnTo>
                        <a:pt x="134" y="14"/>
                      </a:lnTo>
                      <a:lnTo>
                        <a:pt x="141" y="16"/>
                      </a:lnTo>
                      <a:lnTo>
                        <a:pt x="145" y="16"/>
                      </a:lnTo>
                      <a:lnTo>
                        <a:pt x="149" y="16"/>
                      </a:lnTo>
                      <a:lnTo>
                        <a:pt x="160" y="13"/>
                      </a:lnTo>
                      <a:lnTo>
                        <a:pt x="173" y="10"/>
                      </a:lnTo>
                      <a:lnTo>
                        <a:pt x="174" y="10"/>
                      </a:lnTo>
                      <a:lnTo>
                        <a:pt x="177" y="7"/>
                      </a:lnTo>
                      <a:lnTo>
                        <a:pt x="179" y="5"/>
                      </a:lnTo>
                      <a:lnTo>
                        <a:pt x="186" y="1"/>
                      </a:lnTo>
                      <a:lnTo>
                        <a:pt x="192" y="0"/>
                      </a:lnTo>
                      <a:lnTo>
                        <a:pt x="194" y="0"/>
                      </a:lnTo>
                      <a:lnTo>
                        <a:pt x="198" y="0"/>
                      </a:lnTo>
                      <a:lnTo>
                        <a:pt x="201" y="3"/>
                      </a:lnTo>
                      <a:lnTo>
                        <a:pt x="202" y="4"/>
                      </a:lnTo>
                      <a:lnTo>
                        <a:pt x="206" y="8"/>
                      </a:lnTo>
                      <a:lnTo>
                        <a:pt x="208" y="10"/>
                      </a:lnTo>
                      <a:lnTo>
                        <a:pt x="210" y="10"/>
                      </a:lnTo>
                      <a:lnTo>
                        <a:pt x="216" y="4"/>
                      </a:lnTo>
                      <a:lnTo>
                        <a:pt x="219" y="3"/>
                      </a:lnTo>
                      <a:lnTo>
                        <a:pt x="224" y="4"/>
                      </a:lnTo>
                      <a:lnTo>
                        <a:pt x="226" y="5"/>
                      </a:lnTo>
                      <a:lnTo>
                        <a:pt x="227" y="7"/>
                      </a:lnTo>
                      <a:lnTo>
                        <a:pt x="229" y="13"/>
                      </a:lnTo>
                      <a:lnTo>
                        <a:pt x="230" y="14"/>
                      </a:lnTo>
                      <a:lnTo>
                        <a:pt x="231" y="16"/>
                      </a:lnTo>
                      <a:lnTo>
                        <a:pt x="244" y="12"/>
                      </a:lnTo>
                      <a:lnTo>
                        <a:pt x="249" y="13"/>
                      </a:lnTo>
                      <a:lnTo>
                        <a:pt x="253" y="14"/>
                      </a:lnTo>
                      <a:lnTo>
                        <a:pt x="259" y="19"/>
                      </a:lnTo>
                      <a:lnTo>
                        <a:pt x="268" y="26"/>
                      </a:lnTo>
                      <a:lnTo>
                        <a:pt x="271" y="27"/>
                      </a:lnTo>
                      <a:lnTo>
                        <a:pt x="274" y="29"/>
                      </a:lnTo>
                      <a:lnTo>
                        <a:pt x="282" y="27"/>
                      </a:lnTo>
                      <a:lnTo>
                        <a:pt x="290" y="26"/>
                      </a:lnTo>
                      <a:lnTo>
                        <a:pt x="297" y="25"/>
                      </a:lnTo>
                      <a:lnTo>
                        <a:pt x="304" y="25"/>
                      </a:lnTo>
                      <a:lnTo>
                        <a:pt x="307" y="26"/>
                      </a:lnTo>
                      <a:lnTo>
                        <a:pt x="311" y="29"/>
                      </a:lnTo>
                      <a:lnTo>
                        <a:pt x="314" y="30"/>
                      </a:lnTo>
                      <a:lnTo>
                        <a:pt x="321" y="30"/>
                      </a:lnTo>
                      <a:lnTo>
                        <a:pt x="328" y="29"/>
                      </a:lnTo>
                      <a:lnTo>
                        <a:pt x="335" y="29"/>
                      </a:lnTo>
                      <a:lnTo>
                        <a:pt x="361" y="32"/>
                      </a:lnTo>
                      <a:lnTo>
                        <a:pt x="375" y="33"/>
                      </a:lnTo>
                      <a:lnTo>
                        <a:pt x="387" y="33"/>
                      </a:lnTo>
                      <a:lnTo>
                        <a:pt x="396" y="33"/>
                      </a:lnTo>
                      <a:lnTo>
                        <a:pt x="405" y="36"/>
                      </a:lnTo>
                      <a:lnTo>
                        <a:pt x="412" y="37"/>
                      </a:lnTo>
                      <a:lnTo>
                        <a:pt x="417" y="36"/>
                      </a:lnTo>
                      <a:lnTo>
                        <a:pt x="423" y="36"/>
                      </a:lnTo>
                      <a:lnTo>
                        <a:pt x="429" y="36"/>
                      </a:lnTo>
                      <a:lnTo>
                        <a:pt x="441" y="40"/>
                      </a:lnTo>
                      <a:lnTo>
                        <a:pt x="445" y="40"/>
                      </a:lnTo>
                      <a:lnTo>
                        <a:pt x="452" y="39"/>
                      </a:lnTo>
                      <a:lnTo>
                        <a:pt x="456" y="4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1" name="Freeform 1036">
                  <a:extLst>
                    <a:ext uri="{FF2B5EF4-FFF2-40B4-BE49-F238E27FC236}">
                      <a16:creationId xmlns:a16="http://schemas.microsoft.com/office/drawing/2014/main" id="{463F5CAC-C7C7-2248-A545-A13A36CE8C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7790" y="2556900"/>
                  <a:ext cx="71034" cy="35517"/>
                </a:xfrm>
                <a:custGeom>
                  <a:avLst/>
                  <a:gdLst>
                    <a:gd name="T0" fmla="*/ 2147483647 w 52"/>
                    <a:gd name="T1" fmla="*/ 2147483647 h 24"/>
                    <a:gd name="T2" fmla="*/ 2147483647 w 52"/>
                    <a:gd name="T3" fmla="*/ 2147483647 h 24"/>
                    <a:gd name="T4" fmla="*/ 2147483647 w 52"/>
                    <a:gd name="T5" fmla="*/ 2147483647 h 24"/>
                    <a:gd name="T6" fmla="*/ 2147483647 w 52"/>
                    <a:gd name="T7" fmla="*/ 2147483647 h 24"/>
                    <a:gd name="T8" fmla="*/ 2147483647 w 52"/>
                    <a:gd name="T9" fmla="*/ 2147483647 h 24"/>
                    <a:gd name="T10" fmla="*/ 2147483647 w 52"/>
                    <a:gd name="T11" fmla="*/ 2147483647 h 24"/>
                    <a:gd name="T12" fmla="*/ 2147483647 w 52"/>
                    <a:gd name="T13" fmla="*/ 2147483647 h 24"/>
                    <a:gd name="T14" fmla="*/ 2147483647 w 52"/>
                    <a:gd name="T15" fmla="*/ 2147483647 h 24"/>
                    <a:gd name="T16" fmla="*/ 2147483647 w 52"/>
                    <a:gd name="T17" fmla="*/ 2147483647 h 24"/>
                    <a:gd name="T18" fmla="*/ 2147483647 w 52"/>
                    <a:gd name="T19" fmla="*/ 2147483647 h 24"/>
                    <a:gd name="T20" fmla="*/ 2147483647 w 52"/>
                    <a:gd name="T21" fmla="*/ 2147483647 h 24"/>
                    <a:gd name="T22" fmla="*/ 2147483647 w 52"/>
                    <a:gd name="T23" fmla="*/ 2147483647 h 24"/>
                    <a:gd name="T24" fmla="*/ 2147483647 w 52"/>
                    <a:gd name="T25" fmla="*/ 2147483647 h 24"/>
                    <a:gd name="T26" fmla="*/ 2147483647 w 52"/>
                    <a:gd name="T27" fmla="*/ 2147483647 h 24"/>
                    <a:gd name="T28" fmla="*/ 2147483647 w 52"/>
                    <a:gd name="T29" fmla="*/ 2147483647 h 24"/>
                    <a:gd name="T30" fmla="*/ 2147483647 w 52"/>
                    <a:gd name="T31" fmla="*/ 0 h 24"/>
                    <a:gd name="T32" fmla="*/ 2147483647 w 52"/>
                    <a:gd name="T33" fmla="*/ 2147483647 h 24"/>
                    <a:gd name="T34" fmla="*/ 0 w 52"/>
                    <a:gd name="T35" fmla="*/ 2147483647 h 24"/>
                    <a:gd name="T36" fmla="*/ 2147483647 w 52"/>
                    <a:gd name="T37" fmla="*/ 2147483647 h 24"/>
                    <a:gd name="T38" fmla="*/ 2147483647 w 52"/>
                    <a:gd name="T39" fmla="*/ 2147483647 h 24"/>
                    <a:gd name="T40" fmla="*/ 2147483647 w 52"/>
                    <a:gd name="T41" fmla="*/ 2147483647 h 24"/>
                    <a:gd name="T42" fmla="*/ 2147483647 w 52"/>
                    <a:gd name="T43" fmla="*/ 2147483647 h 24"/>
                    <a:gd name="T44" fmla="*/ 2147483647 w 52"/>
                    <a:gd name="T45" fmla="*/ 2147483647 h 24"/>
                    <a:gd name="T46" fmla="*/ 2147483647 w 52"/>
                    <a:gd name="T47" fmla="*/ 2147483647 h 24"/>
                    <a:gd name="T48" fmla="*/ 2147483647 w 52"/>
                    <a:gd name="T49" fmla="*/ 2147483647 h 24"/>
                    <a:gd name="T50" fmla="*/ 2147483647 w 52"/>
                    <a:gd name="T51" fmla="*/ 2147483647 h 24"/>
                    <a:gd name="T52" fmla="*/ 2147483647 w 52"/>
                    <a:gd name="T53" fmla="*/ 2147483647 h 24"/>
                    <a:gd name="T54" fmla="*/ 2147483647 w 52"/>
                    <a:gd name="T55" fmla="*/ 2147483647 h 24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52"/>
                    <a:gd name="T85" fmla="*/ 0 h 24"/>
                    <a:gd name="T86" fmla="*/ 52 w 52"/>
                    <a:gd name="T87" fmla="*/ 24 h 24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52" h="24">
                      <a:moveTo>
                        <a:pt x="47" y="22"/>
                      </a:moveTo>
                      <a:lnTo>
                        <a:pt x="51" y="19"/>
                      </a:lnTo>
                      <a:lnTo>
                        <a:pt x="52" y="16"/>
                      </a:lnTo>
                      <a:lnTo>
                        <a:pt x="51" y="15"/>
                      </a:lnTo>
                      <a:lnTo>
                        <a:pt x="45" y="11"/>
                      </a:lnTo>
                      <a:lnTo>
                        <a:pt x="41" y="10"/>
                      </a:lnTo>
                      <a:lnTo>
                        <a:pt x="38" y="7"/>
                      </a:lnTo>
                      <a:lnTo>
                        <a:pt x="36" y="4"/>
                      </a:lnTo>
                      <a:lnTo>
                        <a:pt x="32" y="3"/>
                      </a:lnTo>
                      <a:lnTo>
                        <a:pt x="28" y="2"/>
                      </a:lnTo>
                      <a:lnTo>
                        <a:pt x="24" y="3"/>
                      </a:lnTo>
                      <a:lnTo>
                        <a:pt x="16" y="3"/>
                      </a:lnTo>
                      <a:lnTo>
                        <a:pt x="12" y="3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3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3" y="11"/>
                      </a:lnTo>
                      <a:lnTo>
                        <a:pt x="4" y="13"/>
                      </a:lnTo>
                      <a:lnTo>
                        <a:pt x="13" y="14"/>
                      </a:lnTo>
                      <a:lnTo>
                        <a:pt x="21" y="16"/>
                      </a:lnTo>
                      <a:lnTo>
                        <a:pt x="28" y="20"/>
                      </a:lnTo>
                      <a:lnTo>
                        <a:pt x="36" y="23"/>
                      </a:lnTo>
                      <a:lnTo>
                        <a:pt x="38" y="24"/>
                      </a:lnTo>
                      <a:lnTo>
                        <a:pt x="41" y="24"/>
                      </a:lnTo>
                      <a:lnTo>
                        <a:pt x="47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2" name="Freeform 1037">
                  <a:extLst>
                    <a:ext uri="{FF2B5EF4-FFF2-40B4-BE49-F238E27FC236}">
                      <a16:creationId xmlns:a16="http://schemas.microsoft.com/office/drawing/2014/main" id="{15688843-AE3A-CA4C-A0E7-BF6B7F27B6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423" y="2257966"/>
                  <a:ext cx="876084" cy="679262"/>
                </a:xfrm>
                <a:custGeom>
                  <a:avLst/>
                  <a:gdLst>
                    <a:gd name="T0" fmla="*/ 2147483647 w 641"/>
                    <a:gd name="T1" fmla="*/ 2147483647 h 459"/>
                    <a:gd name="T2" fmla="*/ 2147483647 w 641"/>
                    <a:gd name="T3" fmla="*/ 2147483647 h 459"/>
                    <a:gd name="T4" fmla="*/ 2147483647 w 641"/>
                    <a:gd name="T5" fmla="*/ 2147483647 h 459"/>
                    <a:gd name="T6" fmla="*/ 2147483647 w 641"/>
                    <a:gd name="T7" fmla="*/ 2147483647 h 459"/>
                    <a:gd name="T8" fmla="*/ 2147483647 w 641"/>
                    <a:gd name="T9" fmla="*/ 2147483647 h 459"/>
                    <a:gd name="T10" fmla="*/ 2147483647 w 641"/>
                    <a:gd name="T11" fmla="*/ 2147483647 h 459"/>
                    <a:gd name="T12" fmla="*/ 2147483647 w 641"/>
                    <a:gd name="T13" fmla="*/ 2147483647 h 459"/>
                    <a:gd name="T14" fmla="*/ 2147483647 w 641"/>
                    <a:gd name="T15" fmla="*/ 2147483647 h 459"/>
                    <a:gd name="T16" fmla="*/ 2147483647 w 641"/>
                    <a:gd name="T17" fmla="*/ 2147483647 h 459"/>
                    <a:gd name="T18" fmla="*/ 2147483647 w 641"/>
                    <a:gd name="T19" fmla="*/ 2147483647 h 459"/>
                    <a:gd name="T20" fmla="*/ 2147483647 w 641"/>
                    <a:gd name="T21" fmla="*/ 2147483647 h 459"/>
                    <a:gd name="T22" fmla="*/ 2147483647 w 641"/>
                    <a:gd name="T23" fmla="*/ 2147483647 h 459"/>
                    <a:gd name="T24" fmla="*/ 2147483647 w 641"/>
                    <a:gd name="T25" fmla="*/ 2147483647 h 459"/>
                    <a:gd name="T26" fmla="*/ 2147483647 w 641"/>
                    <a:gd name="T27" fmla="*/ 2147483647 h 459"/>
                    <a:gd name="T28" fmla="*/ 2147483647 w 641"/>
                    <a:gd name="T29" fmla="*/ 2147483647 h 459"/>
                    <a:gd name="T30" fmla="*/ 2147483647 w 641"/>
                    <a:gd name="T31" fmla="*/ 2147483647 h 459"/>
                    <a:gd name="T32" fmla="*/ 2147483647 w 641"/>
                    <a:gd name="T33" fmla="*/ 2147483647 h 459"/>
                    <a:gd name="T34" fmla="*/ 2147483647 w 641"/>
                    <a:gd name="T35" fmla="*/ 2147483647 h 459"/>
                    <a:gd name="T36" fmla="*/ 2147483647 w 641"/>
                    <a:gd name="T37" fmla="*/ 2147483647 h 459"/>
                    <a:gd name="T38" fmla="*/ 2147483647 w 641"/>
                    <a:gd name="T39" fmla="*/ 2147483647 h 459"/>
                    <a:gd name="T40" fmla="*/ 2147483647 w 641"/>
                    <a:gd name="T41" fmla="*/ 2147483647 h 459"/>
                    <a:gd name="T42" fmla="*/ 2147483647 w 641"/>
                    <a:gd name="T43" fmla="*/ 2147483647 h 459"/>
                    <a:gd name="T44" fmla="*/ 2147483647 w 641"/>
                    <a:gd name="T45" fmla="*/ 2147483647 h 459"/>
                    <a:gd name="T46" fmla="*/ 2147483647 w 641"/>
                    <a:gd name="T47" fmla="*/ 2147483647 h 459"/>
                    <a:gd name="T48" fmla="*/ 2147483647 w 641"/>
                    <a:gd name="T49" fmla="*/ 2147483647 h 459"/>
                    <a:gd name="T50" fmla="*/ 2147483647 w 641"/>
                    <a:gd name="T51" fmla="*/ 2147483647 h 459"/>
                    <a:gd name="T52" fmla="*/ 2147483647 w 641"/>
                    <a:gd name="T53" fmla="*/ 2147483647 h 459"/>
                    <a:gd name="T54" fmla="*/ 2147483647 w 641"/>
                    <a:gd name="T55" fmla="*/ 2147483647 h 459"/>
                    <a:gd name="T56" fmla="*/ 2147483647 w 641"/>
                    <a:gd name="T57" fmla="*/ 2147483647 h 459"/>
                    <a:gd name="T58" fmla="*/ 2147483647 w 641"/>
                    <a:gd name="T59" fmla="*/ 2147483647 h 459"/>
                    <a:gd name="T60" fmla="*/ 2147483647 w 641"/>
                    <a:gd name="T61" fmla="*/ 2147483647 h 459"/>
                    <a:gd name="T62" fmla="*/ 2147483647 w 641"/>
                    <a:gd name="T63" fmla="*/ 2147483647 h 459"/>
                    <a:gd name="T64" fmla="*/ 2147483647 w 641"/>
                    <a:gd name="T65" fmla="*/ 2147483647 h 459"/>
                    <a:gd name="T66" fmla="*/ 2147483647 w 641"/>
                    <a:gd name="T67" fmla="*/ 2147483647 h 459"/>
                    <a:gd name="T68" fmla="*/ 2147483647 w 641"/>
                    <a:gd name="T69" fmla="*/ 2147483647 h 459"/>
                    <a:gd name="T70" fmla="*/ 2147483647 w 641"/>
                    <a:gd name="T71" fmla="*/ 2147483647 h 459"/>
                    <a:gd name="T72" fmla="*/ 2147483647 w 641"/>
                    <a:gd name="T73" fmla="*/ 2147483647 h 459"/>
                    <a:gd name="T74" fmla="*/ 2147483647 w 641"/>
                    <a:gd name="T75" fmla="*/ 2147483647 h 459"/>
                    <a:gd name="T76" fmla="*/ 2147483647 w 641"/>
                    <a:gd name="T77" fmla="*/ 2147483647 h 459"/>
                    <a:gd name="T78" fmla="*/ 2147483647 w 641"/>
                    <a:gd name="T79" fmla="*/ 2147483647 h 459"/>
                    <a:gd name="T80" fmla="*/ 2147483647 w 641"/>
                    <a:gd name="T81" fmla="*/ 2147483647 h 459"/>
                    <a:gd name="T82" fmla="*/ 2147483647 w 641"/>
                    <a:gd name="T83" fmla="*/ 2147483647 h 459"/>
                    <a:gd name="T84" fmla="*/ 2147483647 w 641"/>
                    <a:gd name="T85" fmla="*/ 2147483647 h 459"/>
                    <a:gd name="T86" fmla="*/ 2147483647 w 641"/>
                    <a:gd name="T87" fmla="*/ 2147483647 h 459"/>
                    <a:gd name="T88" fmla="*/ 2147483647 w 641"/>
                    <a:gd name="T89" fmla="*/ 2147483647 h 459"/>
                    <a:gd name="T90" fmla="*/ 2147483647 w 641"/>
                    <a:gd name="T91" fmla="*/ 2147483647 h 459"/>
                    <a:gd name="T92" fmla="*/ 2147483647 w 641"/>
                    <a:gd name="T93" fmla="*/ 2147483647 h 459"/>
                    <a:gd name="T94" fmla="*/ 2147483647 w 641"/>
                    <a:gd name="T95" fmla="*/ 2147483647 h 459"/>
                    <a:gd name="T96" fmla="*/ 2147483647 w 641"/>
                    <a:gd name="T97" fmla="*/ 2147483647 h 459"/>
                    <a:gd name="T98" fmla="*/ 2147483647 w 641"/>
                    <a:gd name="T99" fmla="*/ 2147483647 h 459"/>
                    <a:gd name="T100" fmla="*/ 2147483647 w 641"/>
                    <a:gd name="T101" fmla="*/ 2147483647 h 459"/>
                    <a:gd name="T102" fmla="*/ 2147483647 w 641"/>
                    <a:gd name="T103" fmla="*/ 2147483647 h 459"/>
                    <a:gd name="T104" fmla="*/ 2147483647 w 641"/>
                    <a:gd name="T105" fmla="*/ 2147483647 h 459"/>
                    <a:gd name="T106" fmla="*/ 2147483647 w 641"/>
                    <a:gd name="T107" fmla="*/ 2147483647 h 459"/>
                    <a:gd name="T108" fmla="*/ 2147483647 w 641"/>
                    <a:gd name="T109" fmla="*/ 2147483647 h 459"/>
                    <a:gd name="T110" fmla="*/ 2147483647 w 641"/>
                    <a:gd name="T111" fmla="*/ 2147483647 h 459"/>
                    <a:gd name="T112" fmla="*/ 2147483647 w 641"/>
                    <a:gd name="T113" fmla="*/ 2147483647 h 459"/>
                    <a:gd name="T114" fmla="*/ 2147483647 w 641"/>
                    <a:gd name="T115" fmla="*/ 0 h 459"/>
                    <a:gd name="T116" fmla="*/ 2147483647 w 641"/>
                    <a:gd name="T117" fmla="*/ 2147483647 h 459"/>
                    <a:gd name="T118" fmla="*/ 2147483647 w 641"/>
                    <a:gd name="T119" fmla="*/ 2147483647 h 459"/>
                    <a:gd name="T120" fmla="*/ 2147483647 w 641"/>
                    <a:gd name="T121" fmla="*/ 2147483647 h 459"/>
                    <a:gd name="T122" fmla="*/ 2147483647 w 641"/>
                    <a:gd name="T123" fmla="*/ 2147483647 h 459"/>
                    <a:gd name="T124" fmla="*/ 2147483647 w 641"/>
                    <a:gd name="T125" fmla="*/ 2147483647 h 45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41"/>
                    <a:gd name="T190" fmla="*/ 0 h 459"/>
                    <a:gd name="T191" fmla="*/ 641 w 641"/>
                    <a:gd name="T192" fmla="*/ 459 h 459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41" h="459">
                      <a:moveTo>
                        <a:pt x="456" y="40"/>
                      </a:moveTo>
                      <a:lnTo>
                        <a:pt x="458" y="299"/>
                      </a:lnTo>
                      <a:lnTo>
                        <a:pt x="466" y="296"/>
                      </a:lnTo>
                      <a:lnTo>
                        <a:pt x="472" y="295"/>
                      </a:lnTo>
                      <a:lnTo>
                        <a:pt x="476" y="296"/>
                      </a:lnTo>
                      <a:lnTo>
                        <a:pt x="479" y="298"/>
                      </a:lnTo>
                      <a:lnTo>
                        <a:pt x="486" y="306"/>
                      </a:lnTo>
                      <a:lnTo>
                        <a:pt x="498" y="318"/>
                      </a:lnTo>
                      <a:lnTo>
                        <a:pt x="504" y="325"/>
                      </a:lnTo>
                      <a:lnTo>
                        <a:pt x="510" y="330"/>
                      </a:lnTo>
                      <a:lnTo>
                        <a:pt x="515" y="333"/>
                      </a:lnTo>
                      <a:lnTo>
                        <a:pt x="521" y="333"/>
                      </a:lnTo>
                      <a:lnTo>
                        <a:pt x="524" y="332"/>
                      </a:lnTo>
                      <a:lnTo>
                        <a:pt x="528" y="330"/>
                      </a:lnTo>
                      <a:lnTo>
                        <a:pt x="535" y="324"/>
                      </a:lnTo>
                      <a:lnTo>
                        <a:pt x="542" y="317"/>
                      </a:lnTo>
                      <a:lnTo>
                        <a:pt x="543" y="314"/>
                      </a:lnTo>
                      <a:lnTo>
                        <a:pt x="546" y="314"/>
                      </a:lnTo>
                      <a:lnTo>
                        <a:pt x="548" y="315"/>
                      </a:lnTo>
                      <a:lnTo>
                        <a:pt x="557" y="322"/>
                      </a:lnTo>
                      <a:lnTo>
                        <a:pt x="565" y="327"/>
                      </a:lnTo>
                      <a:lnTo>
                        <a:pt x="569" y="330"/>
                      </a:lnTo>
                      <a:lnTo>
                        <a:pt x="574" y="334"/>
                      </a:lnTo>
                      <a:lnTo>
                        <a:pt x="580" y="341"/>
                      </a:lnTo>
                      <a:lnTo>
                        <a:pt x="587" y="347"/>
                      </a:lnTo>
                      <a:lnTo>
                        <a:pt x="595" y="357"/>
                      </a:lnTo>
                      <a:lnTo>
                        <a:pt x="604" y="371"/>
                      </a:lnTo>
                      <a:lnTo>
                        <a:pt x="612" y="381"/>
                      </a:lnTo>
                      <a:lnTo>
                        <a:pt x="621" y="388"/>
                      </a:lnTo>
                      <a:lnTo>
                        <a:pt x="630" y="395"/>
                      </a:lnTo>
                      <a:lnTo>
                        <a:pt x="635" y="400"/>
                      </a:lnTo>
                      <a:lnTo>
                        <a:pt x="637" y="404"/>
                      </a:lnTo>
                      <a:lnTo>
                        <a:pt x="640" y="410"/>
                      </a:lnTo>
                      <a:lnTo>
                        <a:pt x="641" y="418"/>
                      </a:lnTo>
                      <a:lnTo>
                        <a:pt x="641" y="427"/>
                      </a:lnTo>
                      <a:lnTo>
                        <a:pt x="640" y="439"/>
                      </a:lnTo>
                      <a:lnTo>
                        <a:pt x="636" y="436"/>
                      </a:lnTo>
                      <a:lnTo>
                        <a:pt x="634" y="435"/>
                      </a:lnTo>
                      <a:lnTo>
                        <a:pt x="630" y="423"/>
                      </a:lnTo>
                      <a:lnTo>
                        <a:pt x="628" y="420"/>
                      </a:lnTo>
                      <a:lnTo>
                        <a:pt x="626" y="416"/>
                      </a:lnTo>
                      <a:lnTo>
                        <a:pt x="622" y="415"/>
                      </a:lnTo>
                      <a:lnTo>
                        <a:pt x="618" y="413"/>
                      </a:lnTo>
                      <a:lnTo>
                        <a:pt x="606" y="411"/>
                      </a:lnTo>
                      <a:lnTo>
                        <a:pt x="604" y="411"/>
                      </a:lnTo>
                      <a:lnTo>
                        <a:pt x="604" y="410"/>
                      </a:lnTo>
                      <a:lnTo>
                        <a:pt x="606" y="405"/>
                      </a:lnTo>
                      <a:lnTo>
                        <a:pt x="606" y="401"/>
                      </a:lnTo>
                      <a:lnTo>
                        <a:pt x="606" y="398"/>
                      </a:lnTo>
                      <a:lnTo>
                        <a:pt x="604" y="396"/>
                      </a:lnTo>
                      <a:lnTo>
                        <a:pt x="598" y="389"/>
                      </a:lnTo>
                      <a:lnTo>
                        <a:pt x="593" y="381"/>
                      </a:lnTo>
                      <a:lnTo>
                        <a:pt x="582" y="365"/>
                      </a:lnTo>
                      <a:lnTo>
                        <a:pt x="570" y="351"/>
                      </a:lnTo>
                      <a:lnTo>
                        <a:pt x="565" y="343"/>
                      </a:lnTo>
                      <a:lnTo>
                        <a:pt x="562" y="339"/>
                      </a:lnTo>
                      <a:lnTo>
                        <a:pt x="559" y="338"/>
                      </a:lnTo>
                      <a:lnTo>
                        <a:pt x="557" y="337"/>
                      </a:lnTo>
                      <a:lnTo>
                        <a:pt x="556" y="338"/>
                      </a:lnTo>
                      <a:lnTo>
                        <a:pt x="555" y="341"/>
                      </a:lnTo>
                      <a:lnTo>
                        <a:pt x="554" y="345"/>
                      </a:lnTo>
                      <a:lnTo>
                        <a:pt x="552" y="349"/>
                      </a:lnTo>
                      <a:lnTo>
                        <a:pt x="551" y="349"/>
                      </a:lnTo>
                      <a:lnTo>
                        <a:pt x="550" y="347"/>
                      </a:lnTo>
                      <a:lnTo>
                        <a:pt x="545" y="344"/>
                      </a:lnTo>
                      <a:lnTo>
                        <a:pt x="542" y="341"/>
                      </a:lnTo>
                      <a:lnTo>
                        <a:pt x="540" y="341"/>
                      </a:lnTo>
                      <a:lnTo>
                        <a:pt x="537" y="344"/>
                      </a:lnTo>
                      <a:lnTo>
                        <a:pt x="536" y="345"/>
                      </a:lnTo>
                      <a:lnTo>
                        <a:pt x="535" y="349"/>
                      </a:lnTo>
                      <a:lnTo>
                        <a:pt x="533" y="350"/>
                      </a:lnTo>
                      <a:lnTo>
                        <a:pt x="531" y="351"/>
                      </a:lnTo>
                      <a:lnTo>
                        <a:pt x="528" y="351"/>
                      </a:lnTo>
                      <a:lnTo>
                        <a:pt x="524" y="349"/>
                      </a:lnTo>
                      <a:lnTo>
                        <a:pt x="521" y="346"/>
                      </a:lnTo>
                      <a:lnTo>
                        <a:pt x="518" y="343"/>
                      </a:lnTo>
                      <a:lnTo>
                        <a:pt x="494" y="330"/>
                      </a:lnTo>
                      <a:lnTo>
                        <a:pt x="484" y="321"/>
                      </a:lnTo>
                      <a:lnTo>
                        <a:pt x="472" y="313"/>
                      </a:lnTo>
                      <a:lnTo>
                        <a:pt x="470" y="312"/>
                      </a:lnTo>
                      <a:lnTo>
                        <a:pt x="466" y="312"/>
                      </a:lnTo>
                      <a:lnTo>
                        <a:pt x="458" y="312"/>
                      </a:lnTo>
                      <a:lnTo>
                        <a:pt x="452" y="311"/>
                      </a:lnTo>
                      <a:lnTo>
                        <a:pt x="447" y="312"/>
                      </a:lnTo>
                      <a:lnTo>
                        <a:pt x="435" y="313"/>
                      </a:lnTo>
                      <a:lnTo>
                        <a:pt x="424" y="314"/>
                      </a:lnTo>
                      <a:lnTo>
                        <a:pt x="419" y="313"/>
                      </a:lnTo>
                      <a:lnTo>
                        <a:pt x="414" y="312"/>
                      </a:lnTo>
                      <a:lnTo>
                        <a:pt x="400" y="306"/>
                      </a:lnTo>
                      <a:lnTo>
                        <a:pt x="395" y="303"/>
                      </a:lnTo>
                      <a:lnTo>
                        <a:pt x="387" y="301"/>
                      </a:lnTo>
                      <a:lnTo>
                        <a:pt x="378" y="300"/>
                      </a:lnTo>
                      <a:lnTo>
                        <a:pt x="373" y="300"/>
                      </a:lnTo>
                      <a:lnTo>
                        <a:pt x="368" y="299"/>
                      </a:lnTo>
                      <a:lnTo>
                        <a:pt x="366" y="296"/>
                      </a:lnTo>
                      <a:lnTo>
                        <a:pt x="364" y="294"/>
                      </a:lnTo>
                      <a:lnTo>
                        <a:pt x="364" y="288"/>
                      </a:lnTo>
                      <a:lnTo>
                        <a:pt x="363" y="286"/>
                      </a:lnTo>
                      <a:lnTo>
                        <a:pt x="363" y="283"/>
                      </a:lnTo>
                      <a:lnTo>
                        <a:pt x="361" y="282"/>
                      </a:lnTo>
                      <a:lnTo>
                        <a:pt x="357" y="282"/>
                      </a:lnTo>
                      <a:lnTo>
                        <a:pt x="354" y="283"/>
                      </a:lnTo>
                      <a:lnTo>
                        <a:pt x="353" y="286"/>
                      </a:lnTo>
                      <a:lnTo>
                        <a:pt x="350" y="288"/>
                      </a:lnTo>
                      <a:lnTo>
                        <a:pt x="348" y="288"/>
                      </a:lnTo>
                      <a:lnTo>
                        <a:pt x="342" y="287"/>
                      </a:lnTo>
                      <a:lnTo>
                        <a:pt x="335" y="286"/>
                      </a:lnTo>
                      <a:lnTo>
                        <a:pt x="329" y="285"/>
                      </a:lnTo>
                      <a:lnTo>
                        <a:pt x="325" y="286"/>
                      </a:lnTo>
                      <a:lnTo>
                        <a:pt x="322" y="288"/>
                      </a:lnTo>
                      <a:lnTo>
                        <a:pt x="321" y="289"/>
                      </a:lnTo>
                      <a:lnTo>
                        <a:pt x="321" y="290"/>
                      </a:lnTo>
                      <a:lnTo>
                        <a:pt x="324" y="294"/>
                      </a:lnTo>
                      <a:lnTo>
                        <a:pt x="328" y="296"/>
                      </a:lnTo>
                      <a:lnTo>
                        <a:pt x="330" y="300"/>
                      </a:lnTo>
                      <a:lnTo>
                        <a:pt x="329" y="303"/>
                      </a:lnTo>
                      <a:lnTo>
                        <a:pt x="326" y="307"/>
                      </a:lnTo>
                      <a:lnTo>
                        <a:pt x="324" y="312"/>
                      </a:lnTo>
                      <a:lnTo>
                        <a:pt x="322" y="313"/>
                      </a:lnTo>
                      <a:lnTo>
                        <a:pt x="319" y="313"/>
                      </a:lnTo>
                      <a:lnTo>
                        <a:pt x="320" y="313"/>
                      </a:lnTo>
                      <a:lnTo>
                        <a:pt x="311" y="314"/>
                      </a:lnTo>
                      <a:lnTo>
                        <a:pt x="307" y="315"/>
                      </a:lnTo>
                      <a:lnTo>
                        <a:pt x="303" y="317"/>
                      </a:lnTo>
                      <a:lnTo>
                        <a:pt x="300" y="320"/>
                      </a:lnTo>
                      <a:lnTo>
                        <a:pt x="297" y="322"/>
                      </a:lnTo>
                      <a:lnTo>
                        <a:pt x="281" y="330"/>
                      </a:lnTo>
                      <a:lnTo>
                        <a:pt x="264" y="338"/>
                      </a:lnTo>
                      <a:lnTo>
                        <a:pt x="260" y="338"/>
                      </a:lnTo>
                      <a:lnTo>
                        <a:pt x="259" y="338"/>
                      </a:lnTo>
                      <a:lnTo>
                        <a:pt x="258" y="336"/>
                      </a:lnTo>
                      <a:lnTo>
                        <a:pt x="259" y="331"/>
                      </a:lnTo>
                      <a:lnTo>
                        <a:pt x="262" y="327"/>
                      </a:lnTo>
                      <a:lnTo>
                        <a:pt x="265" y="324"/>
                      </a:lnTo>
                      <a:lnTo>
                        <a:pt x="268" y="319"/>
                      </a:lnTo>
                      <a:lnTo>
                        <a:pt x="268" y="318"/>
                      </a:lnTo>
                      <a:lnTo>
                        <a:pt x="268" y="317"/>
                      </a:lnTo>
                      <a:lnTo>
                        <a:pt x="265" y="312"/>
                      </a:lnTo>
                      <a:lnTo>
                        <a:pt x="267" y="308"/>
                      </a:lnTo>
                      <a:lnTo>
                        <a:pt x="268" y="303"/>
                      </a:lnTo>
                      <a:lnTo>
                        <a:pt x="270" y="300"/>
                      </a:lnTo>
                      <a:lnTo>
                        <a:pt x="278" y="293"/>
                      </a:lnTo>
                      <a:lnTo>
                        <a:pt x="286" y="287"/>
                      </a:lnTo>
                      <a:lnTo>
                        <a:pt x="288" y="286"/>
                      </a:lnTo>
                      <a:lnTo>
                        <a:pt x="292" y="285"/>
                      </a:lnTo>
                      <a:lnTo>
                        <a:pt x="296" y="285"/>
                      </a:lnTo>
                      <a:lnTo>
                        <a:pt x="300" y="282"/>
                      </a:lnTo>
                      <a:lnTo>
                        <a:pt x="301" y="281"/>
                      </a:lnTo>
                      <a:lnTo>
                        <a:pt x="301" y="280"/>
                      </a:lnTo>
                      <a:lnTo>
                        <a:pt x="298" y="277"/>
                      </a:lnTo>
                      <a:lnTo>
                        <a:pt x="295" y="275"/>
                      </a:lnTo>
                      <a:lnTo>
                        <a:pt x="292" y="275"/>
                      </a:lnTo>
                      <a:lnTo>
                        <a:pt x="288" y="275"/>
                      </a:lnTo>
                      <a:lnTo>
                        <a:pt x="284" y="277"/>
                      </a:lnTo>
                      <a:lnTo>
                        <a:pt x="277" y="281"/>
                      </a:lnTo>
                      <a:lnTo>
                        <a:pt x="267" y="286"/>
                      </a:lnTo>
                      <a:lnTo>
                        <a:pt x="262" y="288"/>
                      </a:lnTo>
                      <a:lnTo>
                        <a:pt x="258" y="292"/>
                      </a:lnTo>
                      <a:lnTo>
                        <a:pt x="255" y="295"/>
                      </a:lnTo>
                      <a:lnTo>
                        <a:pt x="254" y="300"/>
                      </a:lnTo>
                      <a:lnTo>
                        <a:pt x="251" y="309"/>
                      </a:lnTo>
                      <a:lnTo>
                        <a:pt x="249" y="314"/>
                      </a:lnTo>
                      <a:lnTo>
                        <a:pt x="246" y="317"/>
                      </a:lnTo>
                      <a:lnTo>
                        <a:pt x="241" y="319"/>
                      </a:lnTo>
                      <a:lnTo>
                        <a:pt x="234" y="320"/>
                      </a:lnTo>
                      <a:lnTo>
                        <a:pt x="232" y="321"/>
                      </a:lnTo>
                      <a:lnTo>
                        <a:pt x="231" y="322"/>
                      </a:lnTo>
                      <a:lnTo>
                        <a:pt x="230" y="326"/>
                      </a:lnTo>
                      <a:lnTo>
                        <a:pt x="228" y="331"/>
                      </a:lnTo>
                      <a:lnTo>
                        <a:pt x="230" y="334"/>
                      </a:lnTo>
                      <a:lnTo>
                        <a:pt x="232" y="337"/>
                      </a:lnTo>
                      <a:lnTo>
                        <a:pt x="237" y="339"/>
                      </a:lnTo>
                      <a:lnTo>
                        <a:pt x="240" y="341"/>
                      </a:lnTo>
                      <a:lnTo>
                        <a:pt x="240" y="344"/>
                      </a:lnTo>
                      <a:lnTo>
                        <a:pt x="239" y="346"/>
                      </a:lnTo>
                      <a:lnTo>
                        <a:pt x="234" y="350"/>
                      </a:lnTo>
                      <a:lnTo>
                        <a:pt x="217" y="362"/>
                      </a:lnTo>
                      <a:lnTo>
                        <a:pt x="201" y="373"/>
                      </a:lnTo>
                      <a:lnTo>
                        <a:pt x="189" y="379"/>
                      </a:lnTo>
                      <a:lnTo>
                        <a:pt x="184" y="383"/>
                      </a:lnTo>
                      <a:lnTo>
                        <a:pt x="179" y="388"/>
                      </a:lnTo>
                      <a:lnTo>
                        <a:pt x="175" y="390"/>
                      </a:lnTo>
                      <a:lnTo>
                        <a:pt x="173" y="391"/>
                      </a:lnTo>
                      <a:lnTo>
                        <a:pt x="165" y="392"/>
                      </a:lnTo>
                      <a:lnTo>
                        <a:pt x="162" y="394"/>
                      </a:lnTo>
                      <a:lnTo>
                        <a:pt x="161" y="396"/>
                      </a:lnTo>
                      <a:lnTo>
                        <a:pt x="159" y="401"/>
                      </a:lnTo>
                      <a:lnTo>
                        <a:pt x="154" y="404"/>
                      </a:lnTo>
                      <a:lnTo>
                        <a:pt x="146" y="411"/>
                      </a:lnTo>
                      <a:lnTo>
                        <a:pt x="141" y="417"/>
                      </a:lnTo>
                      <a:lnTo>
                        <a:pt x="140" y="421"/>
                      </a:lnTo>
                      <a:lnTo>
                        <a:pt x="136" y="423"/>
                      </a:lnTo>
                      <a:lnTo>
                        <a:pt x="133" y="423"/>
                      </a:lnTo>
                      <a:lnTo>
                        <a:pt x="131" y="423"/>
                      </a:lnTo>
                      <a:lnTo>
                        <a:pt x="126" y="422"/>
                      </a:lnTo>
                      <a:lnTo>
                        <a:pt x="122" y="423"/>
                      </a:lnTo>
                      <a:lnTo>
                        <a:pt x="119" y="426"/>
                      </a:lnTo>
                      <a:lnTo>
                        <a:pt x="114" y="429"/>
                      </a:lnTo>
                      <a:lnTo>
                        <a:pt x="112" y="430"/>
                      </a:lnTo>
                      <a:lnTo>
                        <a:pt x="108" y="430"/>
                      </a:lnTo>
                      <a:lnTo>
                        <a:pt x="102" y="430"/>
                      </a:lnTo>
                      <a:lnTo>
                        <a:pt x="100" y="430"/>
                      </a:lnTo>
                      <a:lnTo>
                        <a:pt x="99" y="432"/>
                      </a:lnTo>
                      <a:lnTo>
                        <a:pt x="96" y="434"/>
                      </a:lnTo>
                      <a:lnTo>
                        <a:pt x="94" y="437"/>
                      </a:lnTo>
                      <a:lnTo>
                        <a:pt x="90" y="439"/>
                      </a:lnTo>
                      <a:lnTo>
                        <a:pt x="75" y="442"/>
                      </a:lnTo>
                      <a:lnTo>
                        <a:pt x="68" y="445"/>
                      </a:lnTo>
                      <a:lnTo>
                        <a:pt x="61" y="449"/>
                      </a:lnTo>
                      <a:lnTo>
                        <a:pt x="52" y="456"/>
                      </a:lnTo>
                      <a:lnTo>
                        <a:pt x="47" y="458"/>
                      </a:lnTo>
                      <a:lnTo>
                        <a:pt x="46" y="459"/>
                      </a:lnTo>
                      <a:lnTo>
                        <a:pt x="44" y="458"/>
                      </a:lnTo>
                      <a:lnTo>
                        <a:pt x="43" y="454"/>
                      </a:lnTo>
                      <a:lnTo>
                        <a:pt x="44" y="451"/>
                      </a:lnTo>
                      <a:lnTo>
                        <a:pt x="46" y="447"/>
                      </a:lnTo>
                      <a:lnTo>
                        <a:pt x="48" y="443"/>
                      </a:lnTo>
                      <a:lnTo>
                        <a:pt x="57" y="439"/>
                      </a:lnTo>
                      <a:lnTo>
                        <a:pt x="66" y="435"/>
                      </a:lnTo>
                      <a:lnTo>
                        <a:pt x="71" y="434"/>
                      </a:lnTo>
                      <a:lnTo>
                        <a:pt x="74" y="434"/>
                      </a:lnTo>
                      <a:lnTo>
                        <a:pt x="75" y="432"/>
                      </a:lnTo>
                      <a:lnTo>
                        <a:pt x="81" y="424"/>
                      </a:lnTo>
                      <a:lnTo>
                        <a:pt x="85" y="421"/>
                      </a:lnTo>
                      <a:lnTo>
                        <a:pt x="88" y="418"/>
                      </a:lnTo>
                      <a:lnTo>
                        <a:pt x="95" y="416"/>
                      </a:lnTo>
                      <a:lnTo>
                        <a:pt x="103" y="414"/>
                      </a:lnTo>
                      <a:lnTo>
                        <a:pt x="109" y="411"/>
                      </a:lnTo>
                      <a:lnTo>
                        <a:pt x="115" y="407"/>
                      </a:lnTo>
                      <a:lnTo>
                        <a:pt x="127" y="398"/>
                      </a:lnTo>
                      <a:lnTo>
                        <a:pt x="132" y="396"/>
                      </a:lnTo>
                      <a:lnTo>
                        <a:pt x="135" y="396"/>
                      </a:lnTo>
                      <a:lnTo>
                        <a:pt x="137" y="395"/>
                      </a:lnTo>
                      <a:lnTo>
                        <a:pt x="140" y="394"/>
                      </a:lnTo>
                      <a:lnTo>
                        <a:pt x="141" y="394"/>
                      </a:lnTo>
                      <a:lnTo>
                        <a:pt x="142" y="392"/>
                      </a:lnTo>
                      <a:lnTo>
                        <a:pt x="145" y="389"/>
                      </a:lnTo>
                      <a:lnTo>
                        <a:pt x="145" y="386"/>
                      </a:lnTo>
                      <a:lnTo>
                        <a:pt x="146" y="385"/>
                      </a:lnTo>
                      <a:lnTo>
                        <a:pt x="150" y="383"/>
                      </a:lnTo>
                      <a:lnTo>
                        <a:pt x="152" y="381"/>
                      </a:lnTo>
                      <a:lnTo>
                        <a:pt x="155" y="377"/>
                      </a:lnTo>
                      <a:lnTo>
                        <a:pt x="155" y="372"/>
                      </a:lnTo>
                      <a:lnTo>
                        <a:pt x="156" y="369"/>
                      </a:lnTo>
                      <a:lnTo>
                        <a:pt x="160" y="360"/>
                      </a:lnTo>
                      <a:lnTo>
                        <a:pt x="166" y="354"/>
                      </a:lnTo>
                      <a:lnTo>
                        <a:pt x="174" y="349"/>
                      </a:lnTo>
                      <a:lnTo>
                        <a:pt x="176" y="346"/>
                      </a:lnTo>
                      <a:lnTo>
                        <a:pt x="178" y="343"/>
                      </a:lnTo>
                      <a:lnTo>
                        <a:pt x="178" y="339"/>
                      </a:lnTo>
                      <a:lnTo>
                        <a:pt x="176" y="338"/>
                      </a:lnTo>
                      <a:lnTo>
                        <a:pt x="175" y="337"/>
                      </a:lnTo>
                      <a:lnTo>
                        <a:pt x="173" y="337"/>
                      </a:lnTo>
                      <a:lnTo>
                        <a:pt x="170" y="338"/>
                      </a:lnTo>
                      <a:lnTo>
                        <a:pt x="165" y="341"/>
                      </a:lnTo>
                      <a:lnTo>
                        <a:pt x="161" y="343"/>
                      </a:lnTo>
                      <a:lnTo>
                        <a:pt x="157" y="341"/>
                      </a:lnTo>
                      <a:lnTo>
                        <a:pt x="154" y="340"/>
                      </a:lnTo>
                      <a:lnTo>
                        <a:pt x="150" y="339"/>
                      </a:lnTo>
                      <a:lnTo>
                        <a:pt x="147" y="339"/>
                      </a:lnTo>
                      <a:lnTo>
                        <a:pt x="146" y="340"/>
                      </a:lnTo>
                      <a:lnTo>
                        <a:pt x="143" y="343"/>
                      </a:lnTo>
                      <a:lnTo>
                        <a:pt x="141" y="346"/>
                      </a:lnTo>
                      <a:lnTo>
                        <a:pt x="140" y="346"/>
                      </a:lnTo>
                      <a:lnTo>
                        <a:pt x="137" y="346"/>
                      </a:lnTo>
                      <a:lnTo>
                        <a:pt x="135" y="345"/>
                      </a:lnTo>
                      <a:lnTo>
                        <a:pt x="133" y="344"/>
                      </a:lnTo>
                      <a:lnTo>
                        <a:pt x="128" y="338"/>
                      </a:lnTo>
                      <a:lnTo>
                        <a:pt x="126" y="336"/>
                      </a:lnTo>
                      <a:lnTo>
                        <a:pt x="123" y="334"/>
                      </a:lnTo>
                      <a:lnTo>
                        <a:pt x="121" y="334"/>
                      </a:lnTo>
                      <a:lnTo>
                        <a:pt x="118" y="336"/>
                      </a:lnTo>
                      <a:lnTo>
                        <a:pt x="117" y="337"/>
                      </a:lnTo>
                      <a:lnTo>
                        <a:pt x="115" y="338"/>
                      </a:lnTo>
                      <a:lnTo>
                        <a:pt x="115" y="343"/>
                      </a:lnTo>
                      <a:lnTo>
                        <a:pt x="115" y="346"/>
                      </a:lnTo>
                      <a:lnTo>
                        <a:pt x="114" y="347"/>
                      </a:lnTo>
                      <a:lnTo>
                        <a:pt x="113" y="349"/>
                      </a:lnTo>
                      <a:lnTo>
                        <a:pt x="107" y="350"/>
                      </a:lnTo>
                      <a:lnTo>
                        <a:pt x="100" y="349"/>
                      </a:lnTo>
                      <a:lnTo>
                        <a:pt x="95" y="346"/>
                      </a:lnTo>
                      <a:lnTo>
                        <a:pt x="93" y="345"/>
                      </a:lnTo>
                      <a:lnTo>
                        <a:pt x="91" y="343"/>
                      </a:lnTo>
                      <a:lnTo>
                        <a:pt x="91" y="340"/>
                      </a:lnTo>
                      <a:lnTo>
                        <a:pt x="93" y="337"/>
                      </a:lnTo>
                      <a:lnTo>
                        <a:pt x="94" y="333"/>
                      </a:lnTo>
                      <a:lnTo>
                        <a:pt x="94" y="328"/>
                      </a:lnTo>
                      <a:lnTo>
                        <a:pt x="93" y="326"/>
                      </a:lnTo>
                      <a:lnTo>
                        <a:pt x="91" y="322"/>
                      </a:lnTo>
                      <a:lnTo>
                        <a:pt x="90" y="319"/>
                      </a:lnTo>
                      <a:lnTo>
                        <a:pt x="88" y="313"/>
                      </a:lnTo>
                      <a:lnTo>
                        <a:pt x="85" y="307"/>
                      </a:lnTo>
                      <a:lnTo>
                        <a:pt x="84" y="301"/>
                      </a:lnTo>
                      <a:lnTo>
                        <a:pt x="84" y="295"/>
                      </a:lnTo>
                      <a:lnTo>
                        <a:pt x="81" y="298"/>
                      </a:lnTo>
                      <a:lnTo>
                        <a:pt x="80" y="301"/>
                      </a:lnTo>
                      <a:lnTo>
                        <a:pt x="76" y="307"/>
                      </a:lnTo>
                      <a:lnTo>
                        <a:pt x="74" y="314"/>
                      </a:lnTo>
                      <a:lnTo>
                        <a:pt x="71" y="317"/>
                      </a:lnTo>
                      <a:lnTo>
                        <a:pt x="68" y="319"/>
                      </a:lnTo>
                      <a:lnTo>
                        <a:pt x="65" y="320"/>
                      </a:lnTo>
                      <a:lnTo>
                        <a:pt x="60" y="319"/>
                      </a:lnTo>
                      <a:lnTo>
                        <a:pt x="55" y="318"/>
                      </a:lnTo>
                      <a:lnTo>
                        <a:pt x="52" y="317"/>
                      </a:lnTo>
                      <a:lnTo>
                        <a:pt x="51" y="314"/>
                      </a:lnTo>
                      <a:lnTo>
                        <a:pt x="51" y="312"/>
                      </a:lnTo>
                      <a:lnTo>
                        <a:pt x="51" y="309"/>
                      </a:lnTo>
                      <a:lnTo>
                        <a:pt x="53" y="305"/>
                      </a:lnTo>
                      <a:lnTo>
                        <a:pt x="57" y="301"/>
                      </a:lnTo>
                      <a:lnTo>
                        <a:pt x="61" y="298"/>
                      </a:lnTo>
                      <a:lnTo>
                        <a:pt x="62" y="295"/>
                      </a:lnTo>
                      <a:lnTo>
                        <a:pt x="62" y="294"/>
                      </a:lnTo>
                      <a:lnTo>
                        <a:pt x="61" y="294"/>
                      </a:lnTo>
                      <a:lnTo>
                        <a:pt x="56" y="294"/>
                      </a:lnTo>
                      <a:lnTo>
                        <a:pt x="52" y="295"/>
                      </a:lnTo>
                      <a:lnTo>
                        <a:pt x="48" y="296"/>
                      </a:lnTo>
                      <a:lnTo>
                        <a:pt x="43" y="299"/>
                      </a:lnTo>
                      <a:lnTo>
                        <a:pt x="42" y="299"/>
                      </a:lnTo>
                      <a:lnTo>
                        <a:pt x="39" y="298"/>
                      </a:lnTo>
                      <a:lnTo>
                        <a:pt x="38" y="295"/>
                      </a:lnTo>
                      <a:lnTo>
                        <a:pt x="38" y="294"/>
                      </a:lnTo>
                      <a:lnTo>
                        <a:pt x="39" y="289"/>
                      </a:lnTo>
                      <a:lnTo>
                        <a:pt x="42" y="285"/>
                      </a:lnTo>
                      <a:lnTo>
                        <a:pt x="43" y="282"/>
                      </a:lnTo>
                      <a:lnTo>
                        <a:pt x="46" y="280"/>
                      </a:lnTo>
                      <a:lnTo>
                        <a:pt x="44" y="279"/>
                      </a:lnTo>
                      <a:lnTo>
                        <a:pt x="43" y="277"/>
                      </a:lnTo>
                      <a:lnTo>
                        <a:pt x="37" y="277"/>
                      </a:lnTo>
                      <a:lnTo>
                        <a:pt x="29" y="277"/>
                      </a:lnTo>
                      <a:lnTo>
                        <a:pt x="23" y="277"/>
                      </a:lnTo>
                      <a:lnTo>
                        <a:pt x="22" y="277"/>
                      </a:lnTo>
                      <a:lnTo>
                        <a:pt x="20" y="276"/>
                      </a:lnTo>
                      <a:lnTo>
                        <a:pt x="19" y="275"/>
                      </a:lnTo>
                      <a:lnTo>
                        <a:pt x="19" y="274"/>
                      </a:lnTo>
                      <a:lnTo>
                        <a:pt x="19" y="271"/>
                      </a:lnTo>
                      <a:lnTo>
                        <a:pt x="19" y="270"/>
                      </a:lnTo>
                      <a:lnTo>
                        <a:pt x="14" y="269"/>
                      </a:lnTo>
                      <a:lnTo>
                        <a:pt x="13" y="269"/>
                      </a:lnTo>
                      <a:lnTo>
                        <a:pt x="11" y="268"/>
                      </a:lnTo>
                      <a:lnTo>
                        <a:pt x="11" y="263"/>
                      </a:lnTo>
                      <a:lnTo>
                        <a:pt x="14" y="260"/>
                      </a:lnTo>
                      <a:lnTo>
                        <a:pt x="18" y="256"/>
                      </a:lnTo>
                      <a:lnTo>
                        <a:pt x="23" y="253"/>
                      </a:lnTo>
                      <a:lnTo>
                        <a:pt x="33" y="247"/>
                      </a:lnTo>
                      <a:lnTo>
                        <a:pt x="37" y="243"/>
                      </a:lnTo>
                      <a:lnTo>
                        <a:pt x="41" y="239"/>
                      </a:lnTo>
                      <a:lnTo>
                        <a:pt x="42" y="237"/>
                      </a:lnTo>
                      <a:lnTo>
                        <a:pt x="42" y="232"/>
                      </a:lnTo>
                      <a:lnTo>
                        <a:pt x="42" y="229"/>
                      </a:lnTo>
                      <a:lnTo>
                        <a:pt x="43" y="228"/>
                      </a:lnTo>
                      <a:lnTo>
                        <a:pt x="46" y="226"/>
                      </a:lnTo>
                      <a:lnTo>
                        <a:pt x="49" y="226"/>
                      </a:lnTo>
                      <a:lnTo>
                        <a:pt x="52" y="226"/>
                      </a:lnTo>
                      <a:lnTo>
                        <a:pt x="58" y="229"/>
                      </a:lnTo>
                      <a:lnTo>
                        <a:pt x="70" y="230"/>
                      </a:lnTo>
                      <a:lnTo>
                        <a:pt x="75" y="230"/>
                      </a:lnTo>
                      <a:lnTo>
                        <a:pt x="80" y="228"/>
                      </a:lnTo>
                      <a:lnTo>
                        <a:pt x="81" y="224"/>
                      </a:lnTo>
                      <a:lnTo>
                        <a:pt x="82" y="223"/>
                      </a:lnTo>
                      <a:lnTo>
                        <a:pt x="84" y="222"/>
                      </a:lnTo>
                      <a:lnTo>
                        <a:pt x="86" y="221"/>
                      </a:lnTo>
                      <a:lnTo>
                        <a:pt x="89" y="222"/>
                      </a:lnTo>
                      <a:lnTo>
                        <a:pt x="93" y="222"/>
                      </a:lnTo>
                      <a:lnTo>
                        <a:pt x="95" y="222"/>
                      </a:lnTo>
                      <a:lnTo>
                        <a:pt x="98" y="219"/>
                      </a:lnTo>
                      <a:lnTo>
                        <a:pt x="98" y="218"/>
                      </a:lnTo>
                      <a:lnTo>
                        <a:pt x="99" y="216"/>
                      </a:lnTo>
                      <a:lnTo>
                        <a:pt x="100" y="215"/>
                      </a:lnTo>
                      <a:lnTo>
                        <a:pt x="108" y="212"/>
                      </a:lnTo>
                      <a:lnTo>
                        <a:pt x="110" y="209"/>
                      </a:lnTo>
                      <a:lnTo>
                        <a:pt x="110" y="205"/>
                      </a:lnTo>
                      <a:lnTo>
                        <a:pt x="109" y="202"/>
                      </a:lnTo>
                      <a:lnTo>
                        <a:pt x="107" y="198"/>
                      </a:lnTo>
                      <a:lnTo>
                        <a:pt x="104" y="196"/>
                      </a:lnTo>
                      <a:lnTo>
                        <a:pt x="102" y="193"/>
                      </a:lnTo>
                      <a:lnTo>
                        <a:pt x="102" y="191"/>
                      </a:lnTo>
                      <a:lnTo>
                        <a:pt x="102" y="188"/>
                      </a:lnTo>
                      <a:lnTo>
                        <a:pt x="105" y="186"/>
                      </a:lnTo>
                      <a:lnTo>
                        <a:pt x="109" y="184"/>
                      </a:lnTo>
                      <a:lnTo>
                        <a:pt x="113" y="181"/>
                      </a:lnTo>
                      <a:lnTo>
                        <a:pt x="113" y="179"/>
                      </a:lnTo>
                      <a:lnTo>
                        <a:pt x="113" y="177"/>
                      </a:lnTo>
                      <a:lnTo>
                        <a:pt x="113" y="175"/>
                      </a:lnTo>
                      <a:lnTo>
                        <a:pt x="110" y="175"/>
                      </a:lnTo>
                      <a:lnTo>
                        <a:pt x="104" y="180"/>
                      </a:lnTo>
                      <a:lnTo>
                        <a:pt x="98" y="184"/>
                      </a:lnTo>
                      <a:lnTo>
                        <a:pt x="84" y="188"/>
                      </a:lnTo>
                      <a:lnTo>
                        <a:pt x="80" y="191"/>
                      </a:lnTo>
                      <a:lnTo>
                        <a:pt x="76" y="193"/>
                      </a:lnTo>
                      <a:lnTo>
                        <a:pt x="75" y="193"/>
                      </a:lnTo>
                      <a:lnTo>
                        <a:pt x="72" y="193"/>
                      </a:lnTo>
                      <a:lnTo>
                        <a:pt x="68" y="192"/>
                      </a:lnTo>
                      <a:lnTo>
                        <a:pt x="65" y="191"/>
                      </a:lnTo>
                      <a:lnTo>
                        <a:pt x="56" y="192"/>
                      </a:lnTo>
                      <a:lnTo>
                        <a:pt x="43" y="192"/>
                      </a:lnTo>
                      <a:lnTo>
                        <a:pt x="32" y="191"/>
                      </a:lnTo>
                      <a:lnTo>
                        <a:pt x="25" y="188"/>
                      </a:lnTo>
                      <a:lnTo>
                        <a:pt x="20" y="186"/>
                      </a:lnTo>
                      <a:lnTo>
                        <a:pt x="15" y="183"/>
                      </a:lnTo>
                      <a:lnTo>
                        <a:pt x="10" y="178"/>
                      </a:lnTo>
                      <a:lnTo>
                        <a:pt x="10" y="175"/>
                      </a:lnTo>
                      <a:lnTo>
                        <a:pt x="10" y="173"/>
                      </a:lnTo>
                      <a:lnTo>
                        <a:pt x="14" y="168"/>
                      </a:lnTo>
                      <a:lnTo>
                        <a:pt x="14" y="166"/>
                      </a:lnTo>
                      <a:lnTo>
                        <a:pt x="13" y="165"/>
                      </a:lnTo>
                      <a:lnTo>
                        <a:pt x="8" y="161"/>
                      </a:lnTo>
                      <a:lnTo>
                        <a:pt x="2" y="159"/>
                      </a:lnTo>
                      <a:lnTo>
                        <a:pt x="0" y="158"/>
                      </a:lnTo>
                      <a:lnTo>
                        <a:pt x="0" y="156"/>
                      </a:lnTo>
                      <a:lnTo>
                        <a:pt x="1" y="153"/>
                      </a:lnTo>
                      <a:lnTo>
                        <a:pt x="4" y="151"/>
                      </a:lnTo>
                      <a:lnTo>
                        <a:pt x="11" y="147"/>
                      </a:lnTo>
                      <a:lnTo>
                        <a:pt x="18" y="143"/>
                      </a:lnTo>
                      <a:lnTo>
                        <a:pt x="24" y="141"/>
                      </a:lnTo>
                      <a:lnTo>
                        <a:pt x="30" y="140"/>
                      </a:lnTo>
                      <a:lnTo>
                        <a:pt x="34" y="139"/>
                      </a:lnTo>
                      <a:lnTo>
                        <a:pt x="42" y="135"/>
                      </a:lnTo>
                      <a:lnTo>
                        <a:pt x="46" y="134"/>
                      </a:lnTo>
                      <a:lnTo>
                        <a:pt x="49" y="133"/>
                      </a:lnTo>
                      <a:lnTo>
                        <a:pt x="52" y="134"/>
                      </a:lnTo>
                      <a:lnTo>
                        <a:pt x="53" y="136"/>
                      </a:lnTo>
                      <a:lnTo>
                        <a:pt x="55" y="142"/>
                      </a:lnTo>
                      <a:lnTo>
                        <a:pt x="55" y="143"/>
                      </a:lnTo>
                      <a:lnTo>
                        <a:pt x="56" y="145"/>
                      </a:lnTo>
                      <a:lnTo>
                        <a:pt x="60" y="145"/>
                      </a:lnTo>
                      <a:lnTo>
                        <a:pt x="63" y="142"/>
                      </a:lnTo>
                      <a:lnTo>
                        <a:pt x="66" y="141"/>
                      </a:lnTo>
                      <a:lnTo>
                        <a:pt x="68" y="141"/>
                      </a:lnTo>
                      <a:lnTo>
                        <a:pt x="71" y="143"/>
                      </a:lnTo>
                      <a:lnTo>
                        <a:pt x="74" y="145"/>
                      </a:lnTo>
                      <a:lnTo>
                        <a:pt x="75" y="145"/>
                      </a:lnTo>
                      <a:lnTo>
                        <a:pt x="79" y="143"/>
                      </a:lnTo>
                      <a:lnTo>
                        <a:pt x="82" y="145"/>
                      </a:lnTo>
                      <a:lnTo>
                        <a:pt x="89" y="146"/>
                      </a:lnTo>
                      <a:lnTo>
                        <a:pt x="95" y="149"/>
                      </a:lnTo>
                      <a:lnTo>
                        <a:pt x="103" y="151"/>
                      </a:lnTo>
                      <a:lnTo>
                        <a:pt x="104" y="149"/>
                      </a:lnTo>
                      <a:lnTo>
                        <a:pt x="105" y="149"/>
                      </a:lnTo>
                      <a:lnTo>
                        <a:pt x="105" y="145"/>
                      </a:lnTo>
                      <a:lnTo>
                        <a:pt x="104" y="142"/>
                      </a:lnTo>
                      <a:lnTo>
                        <a:pt x="102" y="139"/>
                      </a:lnTo>
                      <a:lnTo>
                        <a:pt x="98" y="138"/>
                      </a:lnTo>
                      <a:lnTo>
                        <a:pt x="91" y="135"/>
                      </a:lnTo>
                      <a:lnTo>
                        <a:pt x="89" y="134"/>
                      </a:lnTo>
                      <a:lnTo>
                        <a:pt x="88" y="132"/>
                      </a:lnTo>
                      <a:lnTo>
                        <a:pt x="86" y="129"/>
                      </a:lnTo>
                      <a:lnTo>
                        <a:pt x="88" y="128"/>
                      </a:lnTo>
                      <a:lnTo>
                        <a:pt x="93" y="124"/>
                      </a:lnTo>
                      <a:lnTo>
                        <a:pt x="93" y="123"/>
                      </a:lnTo>
                      <a:lnTo>
                        <a:pt x="93" y="122"/>
                      </a:lnTo>
                      <a:lnTo>
                        <a:pt x="91" y="121"/>
                      </a:lnTo>
                      <a:lnTo>
                        <a:pt x="90" y="121"/>
                      </a:lnTo>
                      <a:lnTo>
                        <a:pt x="84" y="123"/>
                      </a:lnTo>
                      <a:lnTo>
                        <a:pt x="77" y="124"/>
                      </a:lnTo>
                      <a:lnTo>
                        <a:pt x="75" y="126"/>
                      </a:lnTo>
                      <a:lnTo>
                        <a:pt x="72" y="124"/>
                      </a:lnTo>
                      <a:lnTo>
                        <a:pt x="70" y="123"/>
                      </a:lnTo>
                      <a:lnTo>
                        <a:pt x="67" y="121"/>
                      </a:lnTo>
                      <a:lnTo>
                        <a:pt x="60" y="109"/>
                      </a:lnTo>
                      <a:lnTo>
                        <a:pt x="55" y="104"/>
                      </a:lnTo>
                      <a:lnTo>
                        <a:pt x="49" y="101"/>
                      </a:lnTo>
                      <a:lnTo>
                        <a:pt x="41" y="97"/>
                      </a:lnTo>
                      <a:lnTo>
                        <a:pt x="32" y="95"/>
                      </a:lnTo>
                      <a:lnTo>
                        <a:pt x="23" y="90"/>
                      </a:lnTo>
                      <a:lnTo>
                        <a:pt x="19" y="88"/>
                      </a:lnTo>
                      <a:lnTo>
                        <a:pt x="16" y="84"/>
                      </a:lnTo>
                      <a:lnTo>
                        <a:pt x="15" y="79"/>
                      </a:lnTo>
                      <a:lnTo>
                        <a:pt x="15" y="73"/>
                      </a:lnTo>
                      <a:lnTo>
                        <a:pt x="18" y="69"/>
                      </a:lnTo>
                      <a:lnTo>
                        <a:pt x="19" y="68"/>
                      </a:lnTo>
                      <a:lnTo>
                        <a:pt x="20" y="66"/>
                      </a:lnTo>
                      <a:lnTo>
                        <a:pt x="33" y="68"/>
                      </a:lnTo>
                      <a:lnTo>
                        <a:pt x="44" y="68"/>
                      </a:lnTo>
                      <a:lnTo>
                        <a:pt x="51" y="68"/>
                      </a:lnTo>
                      <a:lnTo>
                        <a:pt x="56" y="66"/>
                      </a:lnTo>
                      <a:lnTo>
                        <a:pt x="61" y="64"/>
                      </a:lnTo>
                      <a:lnTo>
                        <a:pt x="65" y="60"/>
                      </a:lnTo>
                      <a:lnTo>
                        <a:pt x="74" y="51"/>
                      </a:lnTo>
                      <a:lnTo>
                        <a:pt x="82" y="41"/>
                      </a:lnTo>
                      <a:lnTo>
                        <a:pt x="84" y="39"/>
                      </a:lnTo>
                      <a:lnTo>
                        <a:pt x="85" y="36"/>
                      </a:lnTo>
                      <a:lnTo>
                        <a:pt x="90" y="32"/>
                      </a:lnTo>
                      <a:lnTo>
                        <a:pt x="95" y="30"/>
                      </a:lnTo>
                      <a:lnTo>
                        <a:pt x="105" y="27"/>
                      </a:lnTo>
                      <a:lnTo>
                        <a:pt x="110" y="24"/>
                      </a:lnTo>
                      <a:lnTo>
                        <a:pt x="117" y="20"/>
                      </a:lnTo>
                      <a:lnTo>
                        <a:pt x="124" y="17"/>
                      </a:lnTo>
                      <a:lnTo>
                        <a:pt x="129" y="14"/>
                      </a:lnTo>
                      <a:lnTo>
                        <a:pt x="133" y="14"/>
                      </a:lnTo>
                      <a:lnTo>
                        <a:pt x="141" y="15"/>
                      </a:lnTo>
                      <a:lnTo>
                        <a:pt x="145" y="15"/>
                      </a:lnTo>
                      <a:lnTo>
                        <a:pt x="148" y="15"/>
                      </a:lnTo>
                      <a:lnTo>
                        <a:pt x="160" y="13"/>
                      </a:lnTo>
                      <a:lnTo>
                        <a:pt x="173" y="9"/>
                      </a:lnTo>
                      <a:lnTo>
                        <a:pt x="174" y="9"/>
                      </a:lnTo>
                      <a:lnTo>
                        <a:pt x="176" y="7"/>
                      </a:lnTo>
                      <a:lnTo>
                        <a:pt x="179" y="5"/>
                      </a:lnTo>
                      <a:lnTo>
                        <a:pt x="185" y="1"/>
                      </a:lnTo>
                      <a:lnTo>
                        <a:pt x="192" y="0"/>
                      </a:lnTo>
                      <a:lnTo>
                        <a:pt x="194" y="0"/>
                      </a:lnTo>
                      <a:lnTo>
                        <a:pt x="198" y="0"/>
                      </a:lnTo>
                      <a:lnTo>
                        <a:pt x="201" y="2"/>
                      </a:lnTo>
                      <a:lnTo>
                        <a:pt x="202" y="4"/>
                      </a:lnTo>
                      <a:lnTo>
                        <a:pt x="206" y="8"/>
                      </a:lnTo>
                      <a:lnTo>
                        <a:pt x="208" y="9"/>
                      </a:lnTo>
                      <a:lnTo>
                        <a:pt x="209" y="9"/>
                      </a:lnTo>
                      <a:lnTo>
                        <a:pt x="216" y="4"/>
                      </a:lnTo>
                      <a:lnTo>
                        <a:pt x="218" y="2"/>
                      </a:lnTo>
                      <a:lnTo>
                        <a:pt x="223" y="4"/>
                      </a:lnTo>
                      <a:lnTo>
                        <a:pt x="226" y="5"/>
                      </a:lnTo>
                      <a:lnTo>
                        <a:pt x="227" y="7"/>
                      </a:lnTo>
                      <a:lnTo>
                        <a:pt x="228" y="13"/>
                      </a:lnTo>
                      <a:lnTo>
                        <a:pt x="230" y="14"/>
                      </a:lnTo>
                      <a:lnTo>
                        <a:pt x="231" y="15"/>
                      </a:lnTo>
                      <a:lnTo>
                        <a:pt x="244" y="12"/>
                      </a:lnTo>
                      <a:lnTo>
                        <a:pt x="249" y="13"/>
                      </a:lnTo>
                      <a:lnTo>
                        <a:pt x="253" y="14"/>
                      </a:lnTo>
                      <a:lnTo>
                        <a:pt x="259" y="19"/>
                      </a:lnTo>
                      <a:lnTo>
                        <a:pt x="268" y="26"/>
                      </a:lnTo>
                      <a:lnTo>
                        <a:pt x="270" y="27"/>
                      </a:lnTo>
                      <a:lnTo>
                        <a:pt x="274" y="28"/>
                      </a:lnTo>
                      <a:lnTo>
                        <a:pt x="282" y="27"/>
                      </a:lnTo>
                      <a:lnTo>
                        <a:pt x="289" y="26"/>
                      </a:lnTo>
                      <a:lnTo>
                        <a:pt x="297" y="25"/>
                      </a:lnTo>
                      <a:lnTo>
                        <a:pt x="303" y="25"/>
                      </a:lnTo>
                      <a:lnTo>
                        <a:pt x="307" y="26"/>
                      </a:lnTo>
                      <a:lnTo>
                        <a:pt x="311" y="28"/>
                      </a:lnTo>
                      <a:lnTo>
                        <a:pt x="314" y="30"/>
                      </a:lnTo>
                      <a:lnTo>
                        <a:pt x="321" y="30"/>
                      </a:lnTo>
                      <a:lnTo>
                        <a:pt x="328" y="28"/>
                      </a:lnTo>
                      <a:lnTo>
                        <a:pt x="335" y="28"/>
                      </a:lnTo>
                      <a:lnTo>
                        <a:pt x="361" y="32"/>
                      </a:lnTo>
                      <a:lnTo>
                        <a:pt x="375" y="33"/>
                      </a:lnTo>
                      <a:lnTo>
                        <a:pt x="387" y="33"/>
                      </a:lnTo>
                      <a:lnTo>
                        <a:pt x="396" y="33"/>
                      </a:lnTo>
                      <a:lnTo>
                        <a:pt x="405" y="36"/>
                      </a:lnTo>
                      <a:lnTo>
                        <a:pt x="411" y="37"/>
                      </a:lnTo>
                      <a:lnTo>
                        <a:pt x="416" y="36"/>
                      </a:lnTo>
                      <a:lnTo>
                        <a:pt x="423" y="36"/>
                      </a:lnTo>
                      <a:lnTo>
                        <a:pt x="429" y="36"/>
                      </a:lnTo>
                      <a:lnTo>
                        <a:pt x="441" y="40"/>
                      </a:lnTo>
                      <a:lnTo>
                        <a:pt x="444" y="40"/>
                      </a:lnTo>
                      <a:lnTo>
                        <a:pt x="452" y="39"/>
                      </a:lnTo>
                      <a:lnTo>
                        <a:pt x="456" y="4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3" name="Freeform 1038">
                  <a:extLst>
                    <a:ext uri="{FF2B5EF4-FFF2-40B4-BE49-F238E27FC236}">
                      <a16:creationId xmlns:a16="http://schemas.microsoft.com/office/drawing/2014/main" id="{F27569CE-AEBC-CB46-AA65-957045D34D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311" y="2553940"/>
                  <a:ext cx="71034" cy="36997"/>
                </a:xfrm>
                <a:custGeom>
                  <a:avLst/>
                  <a:gdLst>
                    <a:gd name="T0" fmla="*/ 2147483647 w 52"/>
                    <a:gd name="T1" fmla="*/ 2147483647 h 25"/>
                    <a:gd name="T2" fmla="*/ 2147483647 w 52"/>
                    <a:gd name="T3" fmla="*/ 2147483647 h 25"/>
                    <a:gd name="T4" fmla="*/ 2147483647 w 52"/>
                    <a:gd name="T5" fmla="*/ 2147483647 h 25"/>
                    <a:gd name="T6" fmla="*/ 2147483647 w 52"/>
                    <a:gd name="T7" fmla="*/ 2147483647 h 25"/>
                    <a:gd name="T8" fmla="*/ 2147483647 w 52"/>
                    <a:gd name="T9" fmla="*/ 2147483647 h 25"/>
                    <a:gd name="T10" fmla="*/ 2147483647 w 52"/>
                    <a:gd name="T11" fmla="*/ 2147483647 h 25"/>
                    <a:gd name="T12" fmla="*/ 2147483647 w 52"/>
                    <a:gd name="T13" fmla="*/ 2147483647 h 25"/>
                    <a:gd name="T14" fmla="*/ 2147483647 w 52"/>
                    <a:gd name="T15" fmla="*/ 2147483647 h 25"/>
                    <a:gd name="T16" fmla="*/ 2147483647 w 52"/>
                    <a:gd name="T17" fmla="*/ 2147483647 h 25"/>
                    <a:gd name="T18" fmla="*/ 2147483647 w 52"/>
                    <a:gd name="T19" fmla="*/ 2147483647 h 25"/>
                    <a:gd name="T20" fmla="*/ 2147483647 w 52"/>
                    <a:gd name="T21" fmla="*/ 2147483647 h 25"/>
                    <a:gd name="T22" fmla="*/ 2147483647 w 52"/>
                    <a:gd name="T23" fmla="*/ 2147483647 h 25"/>
                    <a:gd name="T24" fmla="*/ 2147483647 w 52"/>
                    <a:gd name="T25" fmla="*/ 2147483647 h 25"/>
                    <a:gd name="T26" fmla="*/ 2147483647 w 52"/>
                    <a:gd name="T27" fmla="*/ 2147483647 h 25"/>
                    <a:gd name="T28" fmla="*/ 2147483647 w 52"/>
                    <a:gd name="T29" fmla="*/ 2147483647 h 25"/>
                    <a:gd name="T30" fmla="*/ 2147483647 w 52"/>
                    <a:gd name="T31" fmla="*/ 2147483647 h 25"/>
                    <a:gd name="T32" fmla="*/ 2147483647 w 52"/>
                    <a:gd name="T33" fmla="*/ 2147483647 h 25"/>
                    <a:gd name="T34" fmla="*/ 2147483647 w 52"/>
                    <a:gd name="T35" fmla="*/ 2147483647 h 25"/>
                    <a:gd name="T36" fmla="*/ 2147483647 w 52"/>
                    <a:gd name="T37" fmla="*/ 2147483647 h 25"/>
                    <a:gd name="T38" fmla="*/ 2147483647 w 52"/>
                    <a:gd name="T39" fmla="*/ 0 h 25"/>
                    <a:gd name="T40" fmla="*/ 2147483647 w 52"/>
                    <a:gd name="T41" fmla="*/ 0 h 25"/>
                    <a:gd name="T42" fmla="*/ 2147483647 w 52"/>
                    <a:gd name="T43" fmla="*/ 2147483647 h 25"/>
                    <a:gd name="T44" fmla="*/ 0 w 52"/>
                    <a:gd name="T45" fmla="*/ 2147483647 h 25"/>
                    <a:gd name="T46" fmla="*/ 2147483647 w 52"/>
                    <a:gd name="T47" fmla="*/ 2147483647 h 25"/>
                    <a:gd name="T48" fmla="*/ 2147483647 w 52"/>
                    <a:gd name="T49" fmla="*/ 2147483647 h 25"/>
                    <a:gd name="T50" fmla="*/ 2147483647 w 52"/>
                    <a:gd name="T51" fmla="*/ 2147483647 h 25"/>
                    <a:gd name="T52" fmla="*/ 2147483647 w 52"/>
                    <a:gd name="T53" fmla="*/ 2147483647 h 25"/>
                    <a:gd name="T54" fmla="*/ 2147483647 w 52"/>
                    <a:gd name="T55" fmla="*/ 2147483647 h 25"/>
                    <a:gd name="T56" fmla="*/ 2147483647 w 52"/>
                    <a:gd name="T57" fmla="*/ 2147483647 h 25"/>
                    <a:gd name="T58" fmla="*/ 2147483647 w 52"/>
                    <a:gd name="T59" fmla="*/ 2147483647 h 25"/>
                    <a:gd name="T60" fmla="*/ 2147483647 w 52"/>
                    <a:gd name="T61" fmla="*/ 2147483647 h 25"/>
                    <a:gd name="T62" fmla="*/ 2147483647 w 52"/>
                    <a:gd name="T63" fmla="*/ 2147483647 h 25"/>
                    <a:gd name="T64" fmla="*/ 2147483647 w 52"/>
                    <a:gd name="T65" fmla="*/ 2147483647 h 25"/>
                    <a:gd name="T66" fmla="*/ 2147483647 w 52"/>
                    <a:gd name="T67" fmla="*/ 2147483647 h 25"/>
                    <a:gd name="T68" fmla="*/ 2147483647 w 52"/>
                    <a:gd name="T69" fmla="*/ 2147483647 h 25"/>
                    <a:gd name="T70" fmla="*/ 2147483647 w 52"/>
                    <a:gd name="T71" fmla="*/ 2147483647 h 2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52"/>
                    <a:gd name="T109" fmla="*/ 0 h 25"/>
                    <a:gd name="T110" fmla="*/ 52 w 52"/>
                    <a:gd name="T111" fmla="*/ 25 h 2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52" h="25">
                      <a:moveTo>
                        <a:pt x="47" y="23"/>
                      </a:moveTo>
                      <a:lnTo>
                        <a:pt x="47" y="23"/>
                      </a:lnTo>
                      <a:lnTo>
                        <a:pt x="51" y="19"/>
                      </a:lnTo>
                      <a:lnTo>
                        <a:pt x="52" y="17"/>
                      </a:lnTo>
                      <a:lnTo>
                        <a:pt x="51" y="16"/>
                      </a:lnTo>
                      <a:lnTo>
                        <a:pt x="44" y="12"/>
                      </a:lnTo>
                      <a:lnTo>
                        <a:pt x="41" y="11"/>
                      </a:lnTo>
                      <a:lnTo>
                        <a:pt x="38" y="7"/>
                      </a:lnTo>
                      <a:lnTo>
                        <a:pt x="36" y="5"/>
                      </a:lnTo>
                      <a:lnTo>
                        <a:pt x="32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15" y="4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1" y="4"/>
                      </a:lnTo>
                      <a:lnTo>
                        <a:pt x="0" y="9"/>
                      </a:lnTo>
                      <a:lnTo>
                        <a:pt x="1" y="12"/>
                      </a:lnTo>
                      <a:lnTo>
                        <a:pt x="3" y="12"/>
                      </a:lnTo>
                      <a:lnTo>
                        <a:pt x="4" y="13"/>
                      </a:lnTo>
                      <a:lnTo>
                        <a:pt x="13" y="15"/>
                      </a:lnTo>
                      <a:lnTo>
                        <a:pt x="20" y="17"/>
                      </a:lnTo>
                      <a:lnTo>
                        <a:pt x="28" y="21"/>
                      </a:lnTo>
                      <a:lnTo>
                        <a:pt x="36" y="24"/>
                      </a:lnTo>
                      <a:lnTo>
                        <a:pt x="38" y="25"/>
                      </a:lnTo>
                      <a:lnTo>
                        <a:pt x="41" y="25"/>
                      </a:lnTo>
                      <a:lnTo>
                        <a:pt x="47" y="2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4" name="Freeform 1041">
                  <a:extLst>
                    <a:ext uri="{FF2B5EF4-FFF2-40B4-BE49-F238E27FC236}">
                      <a16:creationId xmlns:a16="http://schemas.microsoft.com/office/drawing/2014/main" id="{38E4E41A-50B1-644C-82A5-91B6549AFC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868" y="6269902"/>
                  <a:ext cx="14799" cy="14799"/>
                </a:xfrm>
                <a:custGeom>
                  <a:avLst/>
                  <a:gdLst>
                    <a:gd name="T0" fmla="*/ 2147483647 w 11"/>
                    <a:gd name="T1" fmla="*/ 2147483647 h 10"/>
                    <a:gd name="T2" fmla="*/ 2147483647 w 11"/>
                    <a:gd name="T3" fmla="*/ 2147483647 h 10"/>
                    <a:gd name="T4" fmla="*/ 2147483647 w 11"/>
                    <a:gd name="T5" fmla="*/ 2147483647 h 10"/>
                    <a:gd name="T6" fmla="*/ 2147483647 w 11"/>
                    <a:gd name="T7" fmla="*/ 2147483647 h 10"/>
                    <a:gd name="T8" fmla="*/ 2147483647 w 11"/>
                    <a:gd name="T9" fmla="*/ 2147483647 h 10"/>
                    <a:gd name="T10" fmla="*/ 2147483647 w 11"/>
                    <a:gd name="T11" fmla="*/ 2147483647 h 10"/>
                    <a:gd name="T12" fmla="*/ 2147483647 w 11"/>
                    <a:gd name="T13" fmla="*/ 2147483647 h 10"/>
                    <a:gd name="T14" fmla="*/ 0 w 11"/>
                    <a:gd name="T15" fmla="*/ 2147483647 h 10"/>
                    <a:gd name="T16" fmla="*/ 0 w 11"/>
                    <a:gd name="T17" fmla="*/ 2147483647 h 10"/>
                    <a:gd name="T18" fmla="*/ 2147483647 w 11"/>
                    <a:gd name="T19" fmla="*/ 2147483647 h 10"/>
                    <a:gd name="T20" fmla="*/ 2147483647 w 11"/>
                    <a:gd name="T21" fmla="*/ 0 h 10"/>
                    <a:gd name="T22" fmla="*/ 2147483647 w 11"/>
                    <a:gd name="T23" fmla="*/ 0 h 10"/>
                    <a:gd name="T24" fmla="*/ 2147483647 w 11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"/>
                    <a:gd name="T40" fmla="*/ 0 h 10"/>
                    <a:gd name="T41" fmla="*/ 11 w 11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" h="10">
                      <a:moveTo>
                        <a:pt x="9" y="2"/>
                      </a:moveTo>
                      <a:lnTo>
                        <a:pt x="11" y="5"/>
                      </a:lnTo>
                      <a:lnTo>
                        <a:pt x="11" y="7"/>
                      </a:lnTo>
                      <a:lnTo>
                        <a:pt x="8" y="9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5" name="Freeform 1043">
                  <a:extLst>
                    <a:ext uri="{FF2B5EF4-FFF2-40B4-BE49-F238E27FC236}">
                      <a16:creationId xmlns:a16="http://schemas.microsoft.com/office/drawing/2014/main" id="{014EC2DA-9CE7-B845-9A63-1D830FC668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3388" y="6268419"/>
                  <a:ext cx="13319" cy="14799"/>
                </a:xfrm>
                <a:custGeom>
                  <a:avLst/>
                  <a:gdLst>
                    <a:gd name="T0" fmla="*/ 2147483647 w 10"/>
                    <a:gd name="T1" fmla="*/ 2147483647 h 10"/>
                    <a:gd name="T2" fmla="*/ 2147483647 w 10"/>
                    <a:gd name="T3" fmla="*/ 2147483647 h 10"/>
                    <a:gd name="T4" fmla="*/ 2147483647 w 10"/>
                    <a:gd name="T5" fmla="*/ 2147483647 h 10"/>
                    <a:gd name="T6" fmla="*/ 2147483647 w 10"/>
                    <a:gd name="T7" fmla="*/ 2147483647 h 10"/>
                    <a:gd name="T8" fmla="*/ 2147483647 w 10"/>
                    <a:gd name="T9" fmla="*/ 2147483647 h 10"/>
                    <a:gd name="T10" fmla="*/ 2147483647 w 10"/>
                    <a:gd name="T11" fmla="*/ 2147483647 h 10"/>
                    <a:gd name="T12" fmla="*/ 2147483647 w 10"/>
                    <a:gd name="T13" fmla="*/ 2147483647 h 10"/>
                    <a:gd name="T14" fmla="*/ 2147483647 w 10"/>
                    <a:gd name="T15" fmla="*/ 2147483647 h 10"/>
                    <a:gd name="T16" fmla="*/ 2147483647 w 10"/>
                    <a:gd name="T17" fmla="*/ 2147483647 h 10"/>
                    <a:gd name="T18" fmla="*/ 2147483647 w 10"/>
                    <a:gd name="T19" fmla="*/ 2147483647 h 10"/>
                    <a:gd name="T20" fmla="*/ 0 w 10"/>
                    <a:gd name="T21" fmla="*/ 2147483647 h 10"/>
                    <a:gd name="T22" fmla="*/ 0 w 10"/>
                    <a:gd name="T23" fmla="*/ 2147483647 h 10"/>
                    <a:gd name="T24" fmla="*/ 2147483647 w 10"/>
                    <a:gd name="T25" fmla="*/ 2147483647 h 10"/>
                    <a:gd name="T26" fmla="*/ 2147483647 w 10"/>
                    <a:gd name="T27" fmla="*/ 0 h 10"/>
                    <a:gd name="T28" fmla="*/ 2147483647 w 10"/>
                    <a:gd name="T29" fmla="*/ 0 h 10"/>
                    <a:gd name="T30" fmla="*/ 2147483647 w 10"/>
                    <a:gd name="T31" fmla="*/ 2147483647 h 10"/>
                    <a:gd name="T32" fmla="*/ 2147483647 w 10"/>
                    <a:gd name="T33" fmla="*/ 2147483647 h 1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"/>
                    <a:gd name="T52" fmla="*/ 0 h 10"/>
                    <a:gd name="T53" fmla="*/ 10 w 10"/>
                    <a:gd name="T54" fmla="*/ 10 h 1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" h="10">
                      <a:moveTo>
                        <a:pt x="9" y="1"/>
                      </a:moveTo>
                      <a:lnTo>
                        <a:pt x="9" y="1"/>
                      </a:lnTo>
                      <a:lnTo>
                        <a:pt x="10" y="5"/>
                      </a:lnTo>
                      <a:lnTo>
                        <a:pt x="10" y="7"/>
                      </a:lnTo>
                      <a:lnTo>
                        <a:pt x="8" y="8"/>
                      </a:lnTo>
                      <a:lnTo>
                        <a:pt x="5" y="10"/>
                      </a:lnTo>
                      <a:lnTo>
                        <a:pt x="3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9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6" name="Freeform 1053">
                  <a:extLst>
                    <a:ext uri="{FF2B5EF4-FFF2-40B4-BE49-F238E27FC236}">
                      <a16:creationId xmlns:a16="http://schemas.microsoft.com/office/drawing/2014/main" id="{4E3F44E5-84C0-BF4C-BD4E-4B745842D2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5673" y="6269899"/>
                  <a:ext cx="29597" cy="22198"/>
                </a:xfrm>
                <a:custGeom>
                  <a:avLst/>
                  <a:gdLst>
                    <a:gd name="T0" fmla="*/ 2147483647 w 22"/>
                    <a:gd name="T1" fmla="*/ 2147483647 h 15"/>
                    <a:gd name="T2" fmla="*/ 2147483647 w 22"/>
                    <a:gd name="T3" fmla="*/ 2147483647 h 15"/>
                    <a:gd name="T4" fmla="*/ 2147483647 w 22"/>
                    <a:gd name="T5" fmla="*/ 2147483647 h 15"/>
                    <a:gd name="T6" fmla="*/ 2147483647 w 22"/>
                    <a:gd name="T7" fmla="*/ 2147483647 h 15"/>
                    <a:gd name="T8" fmla="*/ 2147483647 w 22"/>
                    <a:gd name="T9" fmla="*/ 2147483647 h 15"/>
                    <a:gd name="T10" fmla="*/ 2147483647 w 22"/>
                    <a:gd name="T11" fmla="*/ 2147483647 h 15"/>
                    <a:gd name="T12" fmla="*/ 2147483647 w 22"/>
                    <a:gd name="T13" fmla="*/ 2147483647 h 15"/>
                    <a:gd name="T14" fmla="*/ 2147483647 w 22"/>
                    <a:gd name="T15" fmla="*/ 2147483647 h 15"/>
                    <a:gd name="T16" fmla="*/ 2147483647 w 22"/>
                    <a:gd name="T17" fmla="*/ 2147483647 h 15"/>
                    <a:gd name="T18" fmla="*/ 0 w 22"/>
                    <a:gd name="T19" fmla="*/ 2147483647 h 15"/>
                    <a:gd name="T20" fmla="*/ 2147483647 w 22"/>
                    <a:gd name="T21" fmla="*/ 2147483647 h 15"/>
                    <a:gd name="T22" fmla="*/ 2147483647 w 22"/>
                    <a:gd name="T23" fmla="*/ 0 h 15"/>
                    <a:gd name="T24" fmla="*/ 2147483647 w 22"/>
                    <a:gd name="T25" fmla="*/ 0 h 15"/>
                    <a:gd name="T26" fmla="*/ 2147483647 w 22"/>
                    <a:gd name="T27" fmla="*/ 2147483647 h 15"/>
                    <a:gd name="T28" fmla="*/ 2147483647 w 22"/>
                    <a:gd name="T29" fmla="*/ 2147483647 h 1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2"/>
                    <a:gd name="T46" fmla="*/ 0 h 15"/>
                    <a:gd name="T47" fmla="*/ 22 w 22"/>
                    <a:gd name="T48" fmla="*/ 15 h 1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2" h="15">
                      <a:moveTo>
                        <a:pt x="17" y="6"/>
                      </a:moveTo>
                      <a:lnTo>
                        <a:pt x="21" y="11"/>
                      </a:lnTo>
                      <a:lnTo>
                        <a:pt x="22" y="12"/>
                      </a:lnTo>
                      <a:lnTo>
                        <a:pt x="21" y="13"/>
                      </a:lnTo>
                      <a:lnTo>
                        <a:pt x="18" y="15"/>
                      </a:lnTo>
                      <a:lnTo>
                        <a:pt x="14" y="13"/>
                      </a:lnTo>
                      <a:lnTo>
                        <a:pt x="7" y="11"/>
                      </a:lnTo>
                      <a:lnTo>
                        <a:pt x="4" y="9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8" y="2"/>
                      </a:lnTo>
                      <a:lnTo>
                        <a:pt x="17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7" name="Freeform 1055">
                  <a:extLst>
                    <a:ext uri="{FF2B5EF4-FFF2-40B4-BE49-F238E27FC236}">
                      <a16:creationId xmlns:a16="http://schemas.microsoft.com/office/drawing/2014/main" id="{885E3932-B287-614A-9AA8-37A5A0BEC5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4192" y="6268422"/>
                  <a:ext cx="29597" cy="20718"/>
                </a:xfrm>
                <a:custGeom>
                  <a:avLst/>
                  <a:gdLst>
                    <a:gd name="T0" fmla="*/ 2147483647 w 22"/>
                    <a:gd name="T1" fmla="*/ 2147483647 h 14"/>
                    <a:gd name="T2" fmla="*/ 2147483647 w 22"/>
                    <a:gd name="T3" fmla="*/ 2147483647 h 14"/>
                    <a:gd name="T4" fmla="*/ 2147483647 w 22"/>
                    <a:gd name="T5" fmla="*/ 2147483647 h 14"/>
                    <a:gd name="T6" fmla="*/ 2147483647 w 22"/>
                    <a:gd name="T7" fmla="*/ 2147483647 h 14"/>
                    <a:gd name="T8" fmla="*/ 2147483647 w 22"/>
                    <a:gd name="T9" fmla="*/ 2147483647 h 14"/>
                    <a:gd name="T10" fmla="*/ 2147483647 w 22"/>
                    <a:gd name="T11" fmla="*/ 2147483647 h 14"/>
                    <a:gd name="T12" fmla="*/ 2147483647 w 22"/>
                    <a:gd name="T13" fmla="*/ 2147483647 h 14"/>
                    <a:gd name="T14" fmla="*/ 2147483647 w 22"/>
                    <a:gd name="T15" fmla="*/ 2147483647 h 14"/>
                    <a:gd name="T16" fmla="*/ 2147483647 w 22"/>
                    <a:gd name="T17" fmla="*/ 2147483647 h 14"/>
                    <a:gd name="T18" fmla="*/ 2147483647 w 22"/>
                    <a:gd name="T19" fmla="*/ 2147483647 h 14"/>
                    <a:gd name="T20" fmla="*/ 2147483647 w 22"/>
                    <a:gd name="T21" fmla="*/ 2147483647 h 14"/>
                    <a:gd name="T22" fmla="*/ 0 w 22"/>
                    <a:gd name="T23" fmla="*/ 2147483647 h 14"/>
                    <a:gd name="T24" fmla="*/ 2147483647 w 22"/>
                    <a:gd name="T25" fmla="*/ 2147483647 h 14"/>
                    <a:gd name="T26" fmla="*/ 2147483647 w 22"/>
                    <a:gd name="T27" fmla="*/ 2147483647 h 14"/>
                    <a:gd name="T28" fmla="*/ 2147483647 w 22"/>
                    <a:gd name="T29" fmla="*/ 0 h 14"/>
                    <a:gd name="T30" fmla="*/ 2147483647 w 22"/>
                    <a:gd name="T31" fmla="*/ 0 h 14"/>
                    <a:gd name="T32" fmla="*/ 2147483647 w 22"/>
                    <a:gd name="T33" fmla="*/ 2147483647 h 14"/>
                    <a:gd name="T34" fmla="*/ 2147483647 w 22"/>
                    <a:gd name="T35" fmla="*/ 2147483647 h 14"/>
                    <a:gd name="T36" fmla="*/ 2147483647 w 22"/>
                    <a:gd name="T37" fmla="*/ 2147483647 h 1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2"/>
                    <a:gd name="T58" fmla="*/ 0 h 14"/>
                    <a:gd name="T59" fmla="*/ 22 w 22"/>
                    <a:gd name="T60" fmla="*/ 14 h 1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2" h="14">
                      <a:moveTo>
                        <a:pt x="16" y="6"/>
                      </a:moveTo>
                      <a:lnTo>
                        <a:pt x="16" y="6"/>
                      </a:lnTo>
                      <a:lnTo>
                        <a:pt x="20" y="11"/>
                      </a:lnTo>
                      <a:lnTo>
                        <a:pt x="22" y="12"/>
                      </a:lnTo>
                      <a:lnTo>
                        <a:pt x="20" y="13"/>
                      </a:lnTo>
                      <a:lnTo>
                        <a:pt x="18" y="14"/>
                      </a:lnTo>
                      <a:lnTo>
                        <a:pt x="14" y="13"/>
                      </a:lnTo>
                      <a:lnTo>
                        <a:pt x="6" y="11"/>
                      </a:lnTo>
                      <a:lnTo>
                        <a:pt x="4" y="8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8" y="1"/>
                      </a:lnTo>
                      <a:lnTo>
                        <a:pt x="1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8" name="Freeform 1056">
                  <a:extLst>
                    <a:ext uri="{FF2B5EF4-FFF2-40B4-BE49-F238E27FC236}">
                      <a16:creationId xmlns:a16="http://schemas.microsoft.com/office/drawing/2014/main" id="{6487470C-69C0-8A4C-999E-E83C090E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9351" y="6296539"/>
                  <a:ext cx="28117" cy="26638"/>
                </a:xfrm>
                <a:custGeom>
                  <a:avLst/>
                  <a:gdLst>
                    <a:gd name="T0" fmla="*/ 2147483647 w 21"/>
                    <a:gd name="T1" fmla="*/ 2147483647 h 18"/>
                    <a:gd name="T2" fmla="*/ 0 w 21"/>
                    <a:gd name="T3" fmla="*/ 2147483647 h 18"/>
                    <a:gd name="T4" fmla="*/ 0 w 21"/>
                    <a:gd name="T5" fmla="*/ 2147483647 h 18"/>
                    <a:gd name="T6" fmla="*/ 0 w 21"/>
                    <a:gd name="T7" fmla="*/ 2147483647 h 18"/>
                    <a:gd name="T8" fmla="*/ 2147483647 w 21"/>
                    <a:gd name="T9" fmla="*/ 0 h 18"/>
                    <a:gd name="T10" fmla="*/ 2147483647 w 21"/>
                    <a:gd name="T11" fmla="*/ 0 h 18"/>
                    <a:gd name="T12" fmla="*/ 2147483647 w 21"/>
                    <a:gd name="T13" fmla="*/ 2147483647 h 18"/>
                    <a:gd name="T14" fmla="*/ 2147483647 w 21"/>
                    <a:gd name="T15" fmla="*/ 2147483647 h 18"/>
                    <a:gd name="T16" fmla="*/ 2147483647 w 21"/>
                    <a:gd name="T17" fmla="*/ 2147483647 h 18"/>
                    <a:gd name="T18" fmla="*/ 2147483647 w 21"/>
                    <a:gd name="T19" fmla="*/ 2147483647 h 18"/>
                    <a:gd name="T20" fmla="*/ 2147483647 w 21"/>
                    <a:gd name="T21" fmla="*/ 2147483647 h 18"/>
                    <a:gd name="T22" fmla="*/ 2147483647 w 21"/>
                    <a:gd name="T23" fmla="*/ 2147483647 h 18"/>
                    <a:gd name="T24" fmla="*/ 2147483647 w 21"/>
                    <a:gd name="T25" fmla="*/ 2147483647 h 18"/>
                    <a:gd name="T26" fmla="*/ 2147483647 w 21"/>
                    <a:gd name="T27" fmla="*/ 2147483647 h 18"/>
                    <a:gd name="T28" fmla="*/ 2147483647 w 21"/>
                    <a:gd name="T29" fmla="*/ 2147483647 h 18"/>
                    <a:gd name="T30" fmla="*/ 2147483647 w 21"/>
                    <a:gd name="T31" fmla="*/ 2147483647 h 18"/>
                    <a:gd name="T32" fmla="*/ 2147483647 w 21"/>
                    <a:gd name="T33" fmla="*/ 2147483647 h 18"/>
                    <a:gd name="T34" fmla="*/ 2147483647 w 21"/>
                    <a:gd name="T35" fmla="*/ 2147483647 h 1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1"/>
                    <a:gd name="T55" fmla="*/ 0 h 18"/>
                    <a:gd name="T56" fmla="*/ 21 w 21"/>
                    <a:gd name="T57" fmla="*/ 18 h 1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1" h="18">
                      <a:moveTo>
                        <a:pt x="1" y="7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1"/>
                      </a:lnTo>
                      <a:lnTo>
                        <a:pt x="12" y="3"/>
                      </a:lnTo>
                      <a:lnTo>
                        <a:pt x="17" y="7"/>
                      </a:lnTo>
                      <a:lnTo>
                        <a:pt x="20" y="13"/>
                      </a:lnTo>
                      <a:lnTo>
                        <a:pt x="21" y="14"/>
                      </a:lnTo>
                      <a:lnTo>
                        <a:pt x="20" y="17"/>
                      </a:lnTo>
                      <a:lnTo>
                        <a:pt x="20" y="18"/>
                      </a:lnTo>
                      <a:lnTo>
                        <a:pt x="19" y="18"/>
                      </a:lnTo>
                      <a:lnTo>
                        <a:pt x="12" y="18"/>
                      </a:lnTo>
                      <a:lnTo>
                        <a:pt x="7" y="16"/>
                      </a:lnTo>
                      <a:lnTo>
                        <a:pt x="4" y="13"/>
                      </a:lnTo>
                      <a:lnTo>
                        <a:pt x="1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9" name="Freeform 1058">
                  <a:extLst>
                    <a:ext uri="{FF2B5EF4-FFF2-40B4-BE49-F238E27FC236}">
                      <a16:creationId xmlns:a16="http://schemas.microsoft.com/office/drawing/2014/main" id="{3BA6DA90-A9A6-4F4E-BADF-4950ED41D8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391" y="6295057"/>
                  <a:ext cx="29597" cy="26638"/>
                </a:xfrm>
                <a:custGeom>
                  <a:avLst/>
                  <a:gdLst>
                    <a:gd name="T0" fmla="*/ 2147483647 w 22"/>
                    <a:gd name="T1" fmla="*/ 2147483647 h 18"/>
                    <a:gd name="T2" fmla="*/ 2147483647 w 22"/>
                    <a:gd name="T3" fmla="*/ 2147483647 h 18"/>
                    <a:gd name="T4" fmla="*/ 0 w 22"/>
                    <a:gd name="T5" fmla="*/ 2147483647 h 18"/>
                    <a:gd name="T6" fmla="*/ 0 w 22"/>
                    <a:gd name="T7" fmla="*/ 2147483647 h 18"/>
                    <a:gd name="T8" fmla="*/ 0 w 22"/>
                    <a:gd name="T9" fmla="*/ 2147483647 h 18"/>
                    <a:gd name="T10" fmla="*/ 0 w 22"/>
                    <a:gd name="T11" fmla="*/ 2147483647 h 18"/>
                    <a:gd name="T12" fmla="*/ 2147483647 w 22"/>
                    <a:gd name="T13" fmla="*/ 0 h 18"/>
                    <a:gd name="T14" fmla="*/ 2147483647 w 22"/>
                    <a:gd name="T15" fmla="*/ 0 h 18"/>
                    <a:gd name="T16" fmla="*/ 2147483647 w 22"/>
                    <a:gd name="T17" fmla="*/ 2147483647 h 18"/>
                    <a:gd name="T18" fmla="*/ 2147483647 w 22"/>
                    <a:gd name="T19" fmla="*/ 2147483647 h 18"/>
                    <a:gd name="T20" fmla="*/ 2147483647 w 22"/>
                    <a:gd name="T21" fmla="*/ 2147483647 h 18"/>
                    <a:gd name="T22" fmla="*/ 2147483647 w 22"/>
                    <a:gd name="T23" fmla="*/ 2147483647 h 18"/>
                    <a:gd name="T24" fmla="*/ 2147483647 w 22"/>
                    <a:gd name="T25" fmla="*/ 2147483647 h 18"/>
                    <a:gd name="T26" fmla="*/ 2147483647 w 22"/>
                    <a:gd name="T27" fmla="*/ 2147483647 h 18"/>
                    <a:gd name="T28" fmla="*/ 2147483647 w 22"/>
                    <a:gd name="T29" fmla="*/ 2147483647 h 18"/>
                    <a:gd name="T30" fmla="*/ 2147483647 w 22"/>
                    <a:gd name="T31" fmla="*/ 2147483647 h 18"/>
                    <a:gd name="T32" fmla="*/ 2147483647 w 22"/>
                    <a:gd name="T33" fmla="*/ 2147483647 h 18"/>
                    <a:gd name="T34" fmla="*/ 2147483647 w 22"/>
                    <a:gd name="T35" fmla="*/ 2147483647 h 18"/>
                    <a:gd name="T36" fmla="*/ 2147483647 w 22"/>
                    <a:gd name="T37" fmla="*/ 2147483647 h 18"/>
                    <a:gd name="T38" fmla="*/ 2147483647 w 22"/>
                    <a:gd name="T39" fmla="*/ 2147483647 h 18"/>
                    <a:gd name="T40" fmla="*/ 2147483647 w 22"/>
                    <a:gd name="T41" fmla="*/ 2147483647 h 18"/>
                    <a:gd name="T42" fmla="*/ 2147483647 w 22"/>
                    <a:gd name="T43" fmla="*/ 2147483647 h 18"/>
                    <a:gd name="T44" fmla="*/ 2147483647 w 22"/>
                    <a:gd name="T45" fmla="*/ 2147483647 h 18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2"/>
                    <a:gd name="T70" fmla="*/ 0 h 18"/>
                    <a:gd name="T71" fmla="*/ 22 w 22"/>
                    <a:gd name="T72" fmla="*/ 18 h 18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2" h="18">
                      <a:moveTo>
                        <a:pt x="2" y="7"/>
                      </a:move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13" y="2"/>
                      </a:lnTo>
                      <a:lnTo>
                        <a:pt x="18" y="7"/>
                      </a:lnTo>
                      <a:lnTo>
                        <a:pt x="21" y="13"/>
                      </a:lnTo>
                      <a:lnTo>
                        <a:pt x="22" y="14"/>
                      </a:lnTo>
                      <a:lnTo>
                        <a:pt x="21" y="17"/>
                      </a:lnTo>
                      <a:lnTo>
                        <a:pt x="21" y="18"/>
                      </a:lnTo>
                      <a:lnTo>
                        <a:pt x="19" y="18"/>
                      </a:lnTo>
                      <a:lnTo>
                        <a:pt x="13" y="18"/>
                      </a:lnTo>
                      <a:lnTo>
                        <a:pt x="8" y="15"/>
                      </a:lnTo>
                      <a:lnTo>
                        <a:pt x="4" y="13"/>
                      </a:lnTo>
                      <a:lnTo>
                        <a:pt x="2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0" name="Freeform 1060">
                  <a:extLst>
                    <a:ext uri="{FF2B5EF4-FFF2-40B4-BE49-F238E27FC236}">
                      <a16:creationId xmlns:a16="http://schemas.microsoft.com/office/drawing/2014/main" id="{02EF77F8-0905-914F-8278-45C39A5294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74" y="6172232"/>
                  <a:ext cx="11839" cy="20718"/>
                </a:xfrm>
                <a:custGeom>
                  <a:avLst/>
                  <a:gdLst>
                    <a:gd name="T0" fmla="*/ 2147483647 w 9"/>
                    <a:gd name="T1" fmla="*/ 2147483647 h 14"/>
                    <a:gd name="T2" fmla="*/ 2147483647 w 9"/>
                    <a:gd name="T3" fmla="*/ 2147483647 h 14"/>
                    <a:gd name="T4" fmla="*/ 2147483647 w 9"/>
                    <a:gd name="T5" fmla="*/ 0 h 14"/>
                    <a:gd name="T6" fmla="*/ 2147483647 w 9"/>
                    <a:gd name="T7" fmla="*/ 0 h 14"/>
                    <a:gd name="T8" fmla="*/ 2147483647 w 9"/>
                    <a:gd name="T9" fmla="*/ 0 h 14"/>
                    <a:gd name="T10" fmla="*/ 0 w 9"/>
                    <a:gd name="T11" fmla="*/ 2147483647 h 14"/>
                    <a:gd name="T12" fmla="*/ 0 w 9"/>
                    <a:gd name="T13" fmla="*/ 2147483647 h 14"/>
                    <a:gd name="T14" fmla="*/ 0 w 9"/>
                    <a:gd name="T15" fmla="*/ 2147483647 h 14"/>
                    <a:gd name="T16" fmla="*/ 2147483647 w 9"/>
                    <a:gd name="T17" fmla="*/ 2147483647 h 14"/>
                    <a:gd name="T18" fmla="*/ 2147483647 w 9"/>
                    <a:gd name="T19" fmla="*/ 2147483647 h 14"/>
                    <a:gd name="T20" fmla="*/ 2147483647 w 9"/>
                    <a:gd name="T21" fmla="*/ 2147483647 h 14"/>
                    <a:gd name="T22" fmla="*/ 2147483647 w 9"/>
                    <a:gd name="T23" fmla="*/ 2147483647 h 14"/>
                    <a:gd name="T24" fmla="*/ 2147483647 w 9"/>
                    <a:gd name="T25" fmla="*/ 2147483647 h 14"/>
                    <a:gd name="T26" fmla="*/ 2147483647 w 9"/>
                    <a:gd name="T27" fmla="*/ 2147483647 h 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4"/>
                    <a:gd name="T44" fmla="*/ 9 w 9"/>
                    <a:gd name="T45" fmla="*/ 14 h 1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4">
                      <a:moveTo>
                        <a:pt x="7" y="7"/>
                      </a:move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1" y="13"/>
                      </a:lnTo>
                      <a:lnTo>
                        <a:pt x="2" y="14"/>
                      </a:lnTo>
                      <a:lnTo>
                        <a:pt x="5" y="14"/>
                      </a:lnTo>
                      <a:lnTo>
                        <a:pt x="7" y="12"/>
                      </a:lnTo>
                      <a:lnTo>
                        <a:pt x="9" y="9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1" name="Freeform 1061">
                  <a:extLst>
                    <a:ext uri="{FF2B5EF4-FFF2-40B4-BE49-F238E27FC236}">
                      <a16:creationId xmlns:a16="http://schemas.microsoft.com/office/drawing/2014/main" id="{4A5881B6-B536-7243-9175-C1C4557208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0112" y="6189989"/>
                  <a:ext cx="11839" cy="20718"/>
                </a:xfrm>
                <a:custGeom>
                  <a:avLst/>
                  <a:gdLst>
                    <a:gd name="T0" fmla="*/ 2147483647 w 9"/>
                    <a:gd name="T1" fmla="*/ 2147483647 h 14"/>
                    <a:gd name="T2" fmla="*/ 2147483647 w 9"/>
                    <a:gd name="T3" fmla="*/ 2147483647 h 14"/>
                    <a:gd name="T4" fmla="*/ 2147483647 w 9"/>
                    <a:gd name="T5" fmla="*/ 2147483647 h 14"/>
                    <a:gd name="T6" fmla="*/ 2147483647 w 9"/>
                    <a:gd name="T7" fmla="*/ 0 h 14"/>
                    <a:gd name="T8" fmla="*/ 2147483647 w 9"/>
                    <a:gd name="T9" fmla="*/ 0 h 14"/>
                    <a:gd name="T10" fmla="*/ 2147483647 w 9"/>
                    <a:gd name="T11" fmla="*/ 2147483647 h 14"/>
                    <a:gd name="T12" fmla="*/ 2147483647 w 9"/>
                    <a:gd name="T13" fmla="*/ 2147483647 h 14"/>
                    <a:gd name="T14" fmla="*/ 0 w 9"/>
                    <a:gd name="T15" fmla="*/ 2147483647 h 14"/>
                    <a:gd name="T16" fmla="*/ 2147483647 w 9"/>
                    <a:gd name="T17" fmla="*/ 2147483647 h 14"/>
                    <a:gd name="T18" fmla="*/ 2147483647 w 9"/>
                    <a:gd name="T19" fmla="*/ 2147483647 h 14"/>
                    <a:gd name="T20" fmla="*/ 2147483647 w 9"/>
                    <a:gd name="T21" fmla="*/ 2147483647 h 14"/>
                    <a:gd name="T22" fmla="*/ 2147483647 w 9"/>
                    <a:gd name="T23" fmla="*/ 2147483647 h 14"/>
                    <a:gd name="T24" fmla="*/ 2147483647 w 9"/>
                    <a:gd name="T25" fmla="*/ 2147483647 h 14"/>
                    <a:gd name="T26" fmla="*/ 2147483647 w 9"/>
                    <a:gd name="T27" fmla="*/ 2147483647 h 14"/>
                    <a:gd name="T28" fmla="*/ 2147483647 w 9"/>
                    <a:gd name="T29" fmla="*/ 2147483647 h 1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14"/>
                    <a:gd name="T47" fmla="*/ 9 w 9"/>
                    <a:gd name="T48" fmla="*/ 14 h 1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14">
                      <a:moveTo>
                        <a:pt x="7" y="8"/>
                      </a:moveTo>
                      <a:lnTo>
                        <a:pt x="7" y="6"/>
                      </a:lnTo>
                      <a:lnTo>
                        <a:pt x="7" y="2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3"/>
                      </a:lnTo>
                      <a:lnTo>
                        <a:pt x="5" y="14"/>
                      </a:lnTo>
                      <a:lnTo>
                        <a:pt x="7" y="13"/>
                      </a:lnTo>
                      <a:lnTo>
                        <a:pt x="9" y="12"/>
                      </a:lnTo>
                      <a:lnTo>
                        <a:pt x="9" y="11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2" name="Freeform 1062">
                  <a:extLst>
                    <a:ext uri="{FF2B5EF4-FFF2-40B4-BE49-F238E27FC236}">
                      <a16:creationId xmlns:a16="http://schemas.microsoft.com/office/drawing/2014/main" id="{04F27F6E-D56D-7E4E-AE60-355DC8E4B3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7916" y="6170750"/>
                  <a:ext cx="11839" cy="20718"/>
                </a:xfrm>
                <a:custGeom>
                  <a:avLst/>
                  <a:gdLst>
                    <a:gd name="T0" fmla="*/ 2147483647 w 9"/>
                    <a:gd name="T1" fmla="*/ 2147483647 h 14"/>
                    <a:gd name="T2" fmla="*/ 2147483647 w 9"/>
                    <a:gd name="T3" fmla="*/ 2147483647 h 14"/>
                    <a:gd name="T4" fmla="*/ 2147483647 w 9"/>
                    <a:gd name="T5" fmla="*/ 2147483647 h 14"/>
                    <a:gd name="T6" fmla="*/ 2147483647 w 9"/>
                    <a:gd name="T7" fmla="*/ 0 h 14"/>
                    <a:gd name="T8" fmla="*/ 2147483647 w 9"/>
                    <a:gd name="T9" fmla="*/ 0 h 14"/>
                    <a:gd name="T10" fmla="*/ 2147483647 w 9"/>
                    <a:gd name="T11" fmla="*/ 0 h 14"/>
                    <a:gd name="T12" fmla="*/ 2147483647 w 9"/>
                    <a:gd name="T13" fmla="*/ 0 h 14"/>
                    <a:gd name="T14" fmla="*/ 0 w 9"/>
                    <a:gd name="T15" fmla="*/ 2147483647 h 14"/>
                    <a:gd name="T16" fmla="*/ 0 w 9"/>
                    <a:gd name="T17" fmla="*/ 2147483647 h 14"/>
                    <a:gd name="T18" fmla="*/ 0 w 9"/>
                    <a:gd name="T19" fmla="*/ 2147483647 h 14"/>
                    <a:gd name="T20" fmla="*/ 2147483647 w 9"/>
                    <a:gd name="T21" fmla="*/ 2147483647 h 14"/>
                    <a:gd name="T22" fmla="*/ 2147483647 w 9"/>
                    <a:gd name="T23" fmla="*/ 2147483647 h 14"/>
                    <a:gd name="T24" fmla="*/ 2147483647 w 9"/>
                    <a:gd name="T25" fmla="*/ 2147483647 h 14"/>
                    <a:gd name="T26" fmla="*/ 2147483647 w 9"/>
                    <a:gd name="T27" fmla="*/ 2147483647 h 14"/>
                    <a:gd name="T28" fmla="*/ 2147483647 w 9"/>
                    <a:gd name="T29" fmla="*/ 2147483647 h 14"/>
                    <a:gd name="T30" fmla="*/ 2147483647 w 9"/>
                    <a:gd name="T31" fmla="*/ 2147483647 h 14"/>
                    <a:gd name="T32" fmla="*/ 2147483647 w 9"/>
                    <a:gd name="T33" fmla="*/ 2147483647 h 14"/>
                    <a:gd name="T34" fmla="*/ 2147483647 w 9"/>
                    <a:gd name="T35" fmla="*/ 2147483647 h 14"/>
                    <a:gd name="T36" fmla="*/ 2147483647 w 9"/>
                    <a:gd name="T37" fmla="*/ 2147483647 h 1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9"/>
                    <a:gd name="T58" fmla="*/ 0 h 14"/>
                    <a:gd name="T59" fmla="*/ 9 w 9"/>
                    <a:gd name="T60" fmla="*/ 14 h 1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9" h="14">
                      <a:moveTo>
                        <a:pt x="8" y="7"/>
                      </a:moveTo>
                      <a:lnTo>
                        <a:pt x="8" y="7"/>
                      </a:lnTo>
                      <a:lnTo>
                        <a:pt x="7" y="2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2" y="13"/>
                      </a:lnTo>
                      <a:lnTo>
                        <a:pt x="3" y="14"/>
                      </a:lnTo>
                      <a:lnTo>
                        <a:pt x="6" y="14"/>
                      </a:lnTo>
                      <a:lnTo>
                        <a:pt x="8" y="12"/>
                      </a:lnTo>
                      <a:lnTo>
                        <a:pt x="9" y="9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3" name="Freeform 1063">
                  <a:extLst>
                    <a:ext uri="{FF2B5EF4-FFF2-40B4-BE49-F238E27FC236}">
                      <a16:creationId xmlns:a16="http://schemas.microsoft.com/office/drawing/2014/main" id="{CA32986E-286A-2A47-8B25-C03427E23B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7154" y="6188510"/>
                  <a:ext cx="11839" cy="20718"/>
                </a:xfrm>
                <a:custGeom>
                  <a:avLst/>
                  <a:gdLst>
                    <a:gd name="T0" fmla="*/ 2147483647 w 9"/>
                    <a:gd name="T1" fmla="*/ 2147483647 h 14"/>
                    <a:gd name="T2" fmla="*/ 2147483647 w 9"/>
                    <a:gd name="T3" fmla="*/ 2147483647 h 14"/>
                    <a:gd name="T4" fmla="*/ 2147483647 w 9"/>
                    <a:gd name="T5" fmla="*/ 2147483647 h 14"/>
                    <a:gd name="T6" fmla="*/ 2147483647 w 9"/>
                    <a:gd name="T7" fmla="*/ 2147483647 h 14"/>
                    <a:gd name="T8" fmla="*/ 2147483647 w 9"/>
                    <a:gd name="T9" fmla="*/ 0 h 14"/>
                    <a:gd name="T10" fmla="*/ 2147483647 w 9"/>
                    <a:gd name="T11" fmla="*/ 0 h 14"/>
                    <a:gd name="T12" fmla="*/ 2147483647 w 9"/>
                    <a:gd name="T13" fmla="*/ 0 h 14"/>
                    <a:gd name="T14" fmla="*/ 2147483647 w 9"/>
                    <a:gd name="T15" fmla="*/ 0 h 14"/>
                    <a:gd name="T16" fmla="*/ 2147483647 w 9"/>
                    <a:gd name="T17" fmla="*/ 2147483647 h 14"/>
                    <a:gd name="T18" fmla="*/ 2147483647 w 9"/>
                    <a:gd name="T19" fmla="*/ 2147483647 h 14"/>
                    <a:gd name="T20" fmla="*/ 0 w 9"/>
                    <a:gd name="T21" fmla="*/ 2147483647 h 14"/>
                    <a:gd name="T22" fmla="*/ 2147483647 w 9"/>
                    <a:gd name="T23" fmla="*/ 2147483647 h 14"/>
                    <a:gd name="T24" fmla="*/ 2147483647 w 9"/>
                    <a:gd name="T25" fmla="*/ 2147483647 h 14"/>
                    <a:gd name="T26" fmla="*/ 2147483647 w 9"/>
                    <a:gd name="T27" fmla="*/ 2147483647 h 14"/>
                    <a:gd name="T28" fmla="*/ 2147483647 w 9"/>
                    <a:gd name="T29" fmla="*/ 2147483647 h 14"/>
                    <a:gd name="T30" fmla="*/ 2147483647 w 9"/>
                    <a:gd name="T31" fmla="*/ 2147483647 h 14"/>
                    <a:gd name="T32" fmla="*/ 2147483647 w 9"/>
                    <a:gd name="T33" fmla="*/ 2147483647 h 14"/>
                    <a:gd name="T34" fmla="*/ 2147483647 w 9"/>
                    <a:gd name="T35" fmla="*/ 2147483647 h 14"/>
                    <a:gd name="T36" fmla="*/ 2147483647 w 9"/>
                    <a:gd name="T37" fmla="*/ 2147483647 h 14"/>
                    <a:gd name="T38" fmla="*/ 2147483647 w 9"/>
                    <a:gd name="T39" fmla="*/ 2147483647 h 14"/>
                    <a:gd name="T40" fmla="*/ 2147483647 w 9"/>
                    <a:gd name="T41" fmla="*/ 2147483647 h 1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9"/>
                    <a:gd name="T64" fmla="*/ 0 h 14"/>
                    <a:gd name="T65" fmla="*/ 9 w 9"/>
                    <a:gd name="T66" fmla="*/ 14 h 1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9" h="14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8" y="6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3" y="13"/>
                      </a:lnTo>
                      <a:lnTo>
                        <a:pt x="6" y="14"/>
                      </a:lnTo>
                      <a:lnTo>
                        <a:pt x="8" y="13"/>
                      </a:lnTo>
                      <a:lnTo>
                        <a:pt x="9" y="12"/>
                      </a:lnTo>
                      <a:lnTo>
                        <a:pt x="9" y="1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4" name="Freeform 1064">
                  <a:extLst>
                    <a:ext uri="{FF2B5EF4-FFF2-40B4-BE49-F238E27FC236}">
                      <a16:creationId xmlns:a16="http://schemas.microsoft.com/office/drawing/2014/main" id="{BFBD3117-A22C-984C-987C-4B2E11C07C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8274" y="6212183"/>
                  <a:ext cx="8879" cy="19239"/>
                </a:xfrm>
                <a:custGeom>
                  <a:avLst/>
                  <a:gdLst>
                    <a:gd name="T0" fmla="*/ 2147483647 w 6"/>
                    <a:gd name="T1" fmla="*/ 2147483647 h 13"/>
                    <a:gd name="T2" fmla="*/ 2147483647 w 6"/>
                    <a:gd name="T3" fmla="*/ 2147483647 h 13"/>
                    <a:gd name="T4" fmla="*/ 2147483647 w 6"/>
                    <a:gd name="T5" fmla="*/ 2147483647 h 13"/>
                    <a:gd name="T6" fmla="*/ 2147483647 w 6"/>
                    <a:gd name="T7" fmla="*/ 0 h 13"/>
                    <a:gd name="T8" fmla="*/ 2147483647 w 6"/>
                    <a:gd name="T9" fmla="*/ 2147483647 h 13"/>
                    <a:gd name="T10" fmla="*/ 0 w 6"/>
                    <a:gd name="T11" fmla="*/ 2147483647 h 13"/>
                    <a:gd name="T12" fmla="*/ 0 w 6"/>
                    <a:gd name="T13" fmla="*/ 2147483647 h 13"/>
                    <a:gd name="T14" fmla="*/ 0 w 6"/>
                    <a:gd name="T15" fmla="*/ 2147483647 h 13"/>
                    <a:gd name="T16" fmla="*/ 2147483647 w 6"/>
                    <a:gd name="T17" fmla="*/ 2147483647 h 13"/>
                    <a:gd name="T18" fmla="*/ 2147483647 w 6"/>
                    <a:gd name="T19" fmla="*/ 2147483647 h 13"/>
                    <a:gd name="T20" fmla="*/ 2147483647 w 6"/>
                    <a:gd name="T21" fmla="*/ 2147483647 h 13"/>
                    <a:gd name="T22" fmla="*/ 2147483647 w 6"/>
                    <a:gd name="T23" fmla="*/ 2147483647 h 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13"/>
                    <a:gd name="T38" fmla="*/ 6 w 6"/>
                    <a:gd name="T39" fmla="*/ 13 h 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13">
                      <a:moveTo>
                        <a:pt x="5" y="9"/>
                      </a:moveTo>
                      <a:lnTo>
                        <a:pt x="6" y="4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3" y="13"/>
                      </a:lnTo>
                      <a:lnTo>
                        <a:pt x="4" y="13"/>
                      </a:lnTo>
                      <a:lnTo>
                        <a:pt x="5" y="12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5" name="Freeform 1065">
                  <a:extLst>
                    <a:ext uri="{FF2B5EF4-FFF2-40B4-BE49-F238E27FC236}">
                      <a16:creationId xmlns:a16="http://schemas.microsoft.com/office/drawing/2014/main" id="{F222CA75-5296-C544-AFEA-36B1CA391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308" y="6314297"/>
                  <a:ext cx="14799" cy="10359"/>
                </a:xfrm>
                <a:custGeom>
                  <a:avLst/>
                  <a:gdLst>
                    <a:gd name="T0" fmla="*/ 2147483647 w 11"/>
                    <a:gd name="T1" fmla="*/ 2147483647 h 7"/>
                    <a:gd name="T2" fmla="*/ 2147483647 w 11"/>
                    <a:gd name="T3" fmla="*/ 0 h 7"/>
                    <a:gd name="T4" fmla="*/ 2147483647 w 11"/>
                    <a:gd name="T5" fmla="*/ 0 h 7"/>
                    <a:gd name="T6" fmla="*/ 0 w 11"/>
                    <a:gd name="T7" fmla="*/ 0 h 7"/>
                    <a:gd name="T8" fmla="*/ 0 w 11"/>
                    <a:gd name="T9" fmla="*/ 2147483647 h 7"/>
                    <a:gd name="T10" fmla="*/ 0 w 11"/>
                    <a:gd name="T11" fmla="*/ 2147483647 h 7"/>
                    <a:gd name="T12" fmla="*/ 2147483647 w 11"/>
                    <a:gd name="T13" fmla="*/ 2147483647 h 7"/>
                    <a:gd name="T14" fmla="*/ 2147483647 w 11"/>
                    <a:gd name="T15" fmla="*/ 2147483647 h 7"/>
                    <a:gd name="T16" fmla="*/ 2147483647 w 11"/>
                    <a:gd name="T17" fmla="*/ 2147483647 h 7"/>
                    <a:gd name="T18" fmla="*/ 2147483647 w 11"/>
                    <a:gd name="T19" fmla="*/ 2147483647 h 7"/>
                    <a:gd name="T20" fmla="*/ 2147483647 w 11"/>
                    <a:gd name="T21" fmla="*/ 2147483647 h 7"/>
                    <a:gd name="T22" fmla="*/ 2147483647 w 11"/>
                    <a:gd name="T23" fmla="*/ 2147483647 h 7"/>
                    <a:gd name="T24" fmla="*/ 2147483647 w 11"/>
                    <a:gd name="T25" fmla="*/ 2147483647 h 7"/>
                    <a:gd name="T26" fmla="*/ 2147483647 w 11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"/>
                    <a:gd name="T43" fmla="*/ 0 h 7"/>
                    <a:gd name="T44" fmla="*/ 11 w 11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" h="7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6" y="7"/>
                      </a:lnTo>
                      <a:lnTo>
                        <a:pt x="9" y="7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11" y="2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6" name="Freeform 1066">
                  <a:extLst>
                    <a:ext uri="{FF2B5EF4-FFF2-40B4-BE49-F238E27FC236}">
                      <a16:creationId xmlns:a16="http://schemas.microsoft.com/office/drawing/2014/main" id="{053C3A80-6D8A-D44F-9C85-78B940D4DA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8273" y="6210706"/>
                  <a:ext cx="7400" cy="19238"/>
                </a:xfrm>
                <a:custGeom>
                  <a:avLst/>
                  <a:gdLst>
                    <a:gd name="T0" fmla="*/ 2147483647 w 6"/>
                    <a:gd name="T1" fmla="*/ 2147483647 h 13"/>
                    <a:gd name="T2" fmla="*/ 2147483647 w 6"/>
                    <a:gd name="T3" fmla="*/ 2147483647 h 13"/>
                    <a:gd name="T4" fmla="*/ 2147483647 w 6"/>
                    <a:gd name="T5" fmla="*/ 2147483647 h 13"/>
                    <a:gd name="T6" fmla="*/ 2147483647 w 6"/>
                    <a:gd name="T7" fmla="*/ 2147483647 h 13"/>
                    <a:gd name="T8" fmla="*/ 2147483647 w 6"/>
                    <a:gd name="T9" fmla="*/ 0 h 13"/>
                    <a:gd name="T10" fmla="*/ 2147483647 w 6"/>
                    <a:gd name="T11" fmla="*/ 0 h 13"/>
                    <a:gd name="T12" fmla="*/ 2147483647 w 6"/>
                    <a:gd name="T13" fmla="*/ 2147483647 h 13"/>
                    <a:gd name="T14" fmla="*/ 0 w 6"/>
                    <a:gd name="T15" fmla="*/ 2147483647 h 13"/>
                    <a:gd name="T16" fmla="*/ 0 w 6"/>
                    <a:gd name="T17" fmla="*/ 2147483647 h 13"/>
                    <a:gd name="T18" fmla="*/ 0 w 6"/>
                    <a:gd name="T19" fmla="*/ 2147483647 h 13"/>
                    <a:gd name="T20" fmla="*/ 2147483647 w 6"/>
                    <a:gd name="T21" fmla="*/ 2147483647 h 13"/>
                    <a:gd name="T22" fmla="*/ 2147483647 w 6"/>
                    <a:gd name="T23" fmla="*/ 2147483647 h 13"/>
                    <a:gd name="T24" fmla="*/ 2147483647 w 6"/>
                    <a:gd name="T25" fmla="*/ 2147483647 h 13"/>
                    <a:gd name="T26" fmla="*/ 2147483647 w 6"/>
                    <a:gd name="T27" fmla="*/ 2147483647 h 13"/>
                    <a:gd name="T28" fmla="*/ 2147483647 w 6"/>
                    <a:gd name="T29" fmla="*/ 2147483647 h 13"/>
                    <a:gd name="T30" fmla="*/ 2147483647 w 6"/>
                    <a:gd name="T31" fmla="*/ 2147483647 h 1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"/>
                    <a:gd name="T49" fmla="*/ 0 h 13"/>
                    <a:gd name="T50" fmla="*/ 6 w 6"/>
                    <a:gd name="T51" fmla="*/ 13 h 1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" h="13">
                      <a:moveTo>
                        <a:pt x="5" y="8"/>
                      </a:moveTo>
                      <a:lnTo>
                        <a:pt x="5" y="8"/>
                      </a:lnTo>
                      <a:lnTo>
                        <a:pt x="6" y="4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2" y="13"/>
                      </a:lnTo>
                      <a:lnTo>
                        <a:pt x="4" y="13"/>
                      </a:lnTo>
                      <a:lnTo>
                        <a:pt x="5" y="12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7" name="Freeform 1067">
                  <a:extLst>
                    <a:ext uri="{FF2B5EF4-FFF2-40B4-BE49-F238E27FC236}">
                      <a16:creationId xmlns:a16="http://schemas.microsoft.com/office/drawing/2014/main" id="{EAC63456-D902-1142-B137-FA8991508A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27" y="6312817"/>
                  <a:ext cx="14799" cy="10360"/>
                </a:xfrm>
                <a:custGeom>
                  <a:avLst/>
                  <a:gdLst>
                    <a:gd name="T0" fmla="*/ 2147483647 w 11"/>
                    <a:gd name="T1" fmla="*/ 2147483647 h 7"/>
                    <a:gd name="T2" fmla="*/ 2147483647 w 11"/>
                    <a:gd name="T3" fmla="*/ 2147483647 h 7"/>
                    <a:gd name="T4" fmla="*/ 2147483647 w 11"/>
                    <a:gd name="T5" fmla="*/ 0 h 7"/>
                    <a:gd name="T6" fmla="*/ 2147483647 w 11"/>
                    <a:gd name="T7" fmla="*/ 0 h 7"/>
                    <a:gd name="T8" fmla="*/ 0 w 11"/>
                    <a:gd name="T9" fmla="*/ 0 h 7"/>
                    <a:gd name="T10" fmla="*/ 0 w 11"/>
                    <a:gd name="T11" fmla="*/ 0 h 7"/>
                    <a:gd name="T12" fmla="*/ 0 w 11"/>
                    <a:gd name="T13" fmla="*/ 2147483647 h 7"/>
                    <a:gd name="T14" fmla="*/ 0 w 11"/>
                    <a:gd name="T15" fmla="*/ 2147483647 h 7"/>
                    <a:gd name="T16" fmla="*/ 2147483647 w 11"/>
                    <a:gd name="T17" fmla="*/ 2147483647 h 7"/>
                    <a:gd name="T18" fmla="*/ 2147483647 w 11"/>
                    <a:gd name="T19" fmla="*/ 2147483647 h 7"/>
                    <a:gd name="T20" fmla="*/ 2147483647 w 11"/>
                    <a:gd name="T21" fmla="*/ 2147483647 h 7"/>
                    <a:gd name="T22" fmla="*/ 2147483647 w 11"/>
                    <a:gd name="T23" fmla="*/ 2147483647 h 7"/>
                    <a:gd name="T24" fmla="*/ 2147483647 w 11"/>
                    <a:gd name="T25" fmla="*/ 2147483647 h 7"/>
                    <a:gd name="T26" fmla="*/ 2147483647 w 11"/>
                    <a:gd name="T27" fmla="*/ 2147483647 h 7"/>
                    <a:gd name="T28" fmla="*/ 2147483647 w 11"/>
                    <a:gd name="T29" fmla="*/ 2147483647 h 7"/>
                    <a:gd name="T30" fmla="*/ 2147483647 w 11"/>
                    <a:gd name="T31" fmla="*/ 2147483647 h 7"/>
                    <a:gd name="T32" fmla="*/ 2147483647 w 11"/>
                    <a:gd name="T33" fmla="*/ 2147483647 h 7"/>
                    <a:gd name="T34" fmla="*/ 2147483647 w 11"/>
                    <a:gd name="T35" fmla="*/ 2147483647 h 7"/>
                    <a:gd name="T36" fmla="*/ 2147483647 w 11"/>
                    <a:gd name="T37" fmla="*/ 2147483647 h 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1"/>
                    <a:gd name="T58" fmla="*/ 0 h 7"/>
                    <a:gd name="T59" fmla="*/ 11 w 11"/>
                    <a:gd name="T60" fmla="*/ 7 h 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1" h="7">
                      <a:moveTo>
                        <a:pt x="9" y="2"/>
                      </a:moveTo>
                      <a:lnTo>
                        <a:pt x="9" y="2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6" y="7"/>
                      </a:lnTo>
                      <a:lnTo>
                        <a:pt x="9" y="7"/>
                      </a:lnTo>
                      <a:lnTo>
                        <a:pt x="11" y="6"/>
                      </a:lnTo>
                      <a:lnTo>
                        <a:pt x="11" y="3"/>
                      </a:lnTo>
                      <a:lnTo>
                        <a:pt x="11" y="2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8" name="Freeform 1068">
                  <a:extLst>
                    <a:ext uri="{FF2B5EF4-FFF2-40B4-BE49-F238E27FC236}">
                      <a16:creationId xmlns:a16="http://schemas.microsoft.com/office/drawing/2014/main" id="{380B2D54-00AB-5E48-87B1-C8155B14F5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4469" y="6300980"/>
                  <a:ext cx="13318" cy="20718"/>
                </a:xfrm>
                <a:custGeom>
                  <a:avLst/>
                  <a:gdLst>
                    <a:gd name="T0" fmla="*/ 2147483647 w 10"/>
                    <a:gd name="T1" fmla="*/ 2147483647 h 14"/>
                    <a:gd name="T2" fmla="*/ 2147483647 w 10"/>
                    <a:gd name="T3" fmla="*/ 2147483647 h 14"/>
                    <a:gd name="T4" fmla="*/ 2147483647 w 10"/>
                    <a:gd name="T5" fmla="*/ 2147483647 h 14"/>
                    <a:gd name="T6" fmla="*/ 2147483647 w 10"/>
                    <a:gd name="T7" fmla="*/ 2147483647 h 14"/>
                    <a:gd name="T8" fmla="*/ 2147483647 w 10"/>
                    <a:gd name="T9" fmla="*/ 0 h 14"/>
                    <a:gd name="T10" fmla="*/ 2147483647 w 10"/>
                    <a:gd name="T11" fmla="*/ 0 h 14"/>
                    <a:gd name="T12" fmla="*/ 2147483647 w 10"/>
                    <a:gd name="T13" fmla="*/ 2147483647 h 14"/>
                    <a:gd name="T14" fmla="*/ 0 w 10"/>
                    <a:gd name="T15" fmla="*/ 2147483647 h 14"/>
                    <a:gd name="T16" fmla="*/ 0 w 10"/>
                    <a:gd name="T17" fmla="*/ 2147483647 h 14"/>
                    <a:gd name="T18" fmla="*/ 2147483647 w 10"/>
                    <a:gd name="T19" fmla="*/ 2147483647 h 14"/>
                    <a:gd name="T20" fmla="*/ 2147483647 w 10"/>
                    <a:gd name="T21" fmla="*/ 2147483647 h 14"/>
                    <a:gd name="T22" fmla="*/ 2147483647 w 10"/>
                    <a:gd name="T23" fmla="*/ 2147483647 h 14"/>
                    <a:gd name="T24" fmla="*/ 2147483647 w 10"/>
                    <a:gd name="T25" fmla="*/ 2147483647 h 14"/>
                    <a:gd name="T26" fmla="*/ 2147483647 w 10"/>
                    <a:gd name="T27" fmla="*/ 2147483647 h 14"/>
                    <a:gd name="T28" fmla="*/ 2147483647 w 10"/>
                    <a:gd name="T29" fmla="*/ 2147483647 h 14"/>
                    <a:gd name="T30" fmla="*/ 2147483647 w 10"/>
                    <a:gd name="T31" fmla="*/ 2147483647 h 14"/>
                    <a:gd name="T32" fmla="*/ 2147483647 w 10"/>
                    <a:gd name="T33" fmla="*/ 2147483647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"/>
                    <a:gd name="T52" fmla="*/ 0 h 14"/>
                    <a:gd name="T53" fmla="*/ 10 w 10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" h="14">
                      <a:moveTo>
                        <a:pt x="8" y="8"/>
                      </a:moveTo>
                      <a:lnTo>
                        <a:pt x="6" y="5"/>
                      </a:lnTo>
                      <a:lnTo>
                        <a:pt x="5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1" y="9"/>
                      </a:lnTo>
                      <a:lnTo>
                        <a:pt x="2" y="11"/>
                      </a:lnTo>
                      <a:lnTo>
                        <a:pt x="5" y="13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3"/>
                      </a:lnTo>
                      <a:lnTo>
                        <a:pt x="10" y="11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9" name="Freeform 1069">
                  <a:extLst>
                    <a:ext uri="{FF2B5EF4-FFF2-40B4-BE49-F238E27FC236}">
                      <a16:creationId xmlns:a16="http://schemas.microsoft.com/office/drawing/2014/main" id="{8A979ACC-AC45-A74A-BDD7-3A4BA9D93A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6979" y="6342412"/>
                  <a:ext cx="22199" cy="13319"/>
                </a:xfrm>
                <a:custGeom>
                  <a:avLst/>
                  <a:gdLst>
                    <a:gd name="T0" fmla="*/ 2147483647 w 16"/>
                    <a:gd name="T1" fmla="*/ 2147483647 h 9"/>
                    <a:gd name="T2" fmla="*/ 2147483647 w 16"/>
                    <a:gd name="T3" fmla="*/ 2147483647 h 9"/>
                    <a:gd name="T4" fmla="*/ 2147483647 w 16"/>
                    <a:gd name="T5" fmla="*/ 2147483647 h 9"/>
                    <a:gd name="T6" fmla="*/ 2147483647 w 16"/>
                    <a:gd name="T7" fmla="*/ 2147483647 h 9"/>
                    <a:gd name="T8" fmla="*/ 2147483647 w 16"/>
                    <a:gd name="T9" fmla="*/ 2147483647 h 9"/>
                    <a:gd name="T10" fmla="*/ 2147483647 w 16"/>
                    <a:gd name="T11" fmla="*/ 2147483647 h 9"/>
                    <a:gd name="T12" fmla="*/ 2147483647 w 16"/>
                    <a:gd name="T13" fmla="*/ 0 h 9"/>
                    <a:gd name="T14" fmla="*/ 2147483647 w 16"/>
                    <a:gd name="T15" fmla="*/ 2147483647 h 9"/>
                    <a:gd name="T16" fmla="*/ 2147483647 w 16"/>
                    <a:gd name="T17" fmla="*/ 2147483647 h 9"/>
                    <a:gd name="T18" fmla="*/ 0 w 16"/>
                    <a:gd name="T19" fmla="*/ 2147483647 h 9"/>
                    <a:gd name="T20" fmla="*/ 0 w 16"/>
                    <a:gd name="T21" fmla="*/ 2147483647 h 9"/>
                    <a:gd name="T22" fmla="*/ 2147483647 w 16"/>
                    <a:gd name="T23" fmla="*/ 2147483647 h 9"/>
                    <a:gd name="T24" fmla="*/ 2147483647 w 16"/>
                    <a:gd name="T25" fmla="*/ 2147483647 h 9"/>
                    <a:gd name="T26" fmla="*/ 2147483647 w 16"/>
                    <a:gd name="T27" fmla="*/ 2147483647 h 9"/>
                    <a:gd name="T28" fmla="*/ 2147483647 w 16"/>
                    <a:gd name="T29" fmla="*/ 2147483647 h 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6"/>
                    <a:gd name="T46" fmla="*/ 0 h 9"/>
                    <a:gd name="T47" fmla="*/ 16 w 16"/>
                    <a:gd name="T48" fmla="*/ 9 h 9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6" h="9">
                      <a:moveTo>
                        <a:pt x="9" y="9"/>
                      </a:moveTo>
                      <a:lnTo>
                        <a:pt x="14" y="8"/>
                      </a:lnTo>
                      <a:lnTo>
                        <a:pt x="16" y="8"/>
                      </a:lnTo>
                      <a:lnTo>
                        <a:pt x="16" y="6"/>
                      </a:lnTo>
                      <a:lnTo>
                        <a:pt x="13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8"/>
                      </a:lnTo>
                      <a:lnTo>
                        <a:pt x="7" y="9"/>
                      </a:lnTo>
                      <a:lnTo>
                        <a:pt x="1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0" name="Freeform 1070">
                  <a:extLst>
                    <a:ext uri="{FF2B5EF4-FFF2-40B4-BE49-F238E27FC236}">
                      <a16:creationId xmlns:a16="http://schemas.microsoft.com/office/drawing/2014/main" id="{0B7CE241-2A47-7B4A-88ED-F645F32DF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2985" y="6298017"/>
                  <a:ext cx="13319" cy="22199"/>
                </a:xfrm>
                <a:custGeom>
                  <a:avLst/>
                  <a:gdLst>
                    <a:gd name="T0" fmla="*/ 2147483647 w 10"/>
                    <a:gd name="T1" fmla="*/ 2147483647 h 15"/>
                    <a:gd name="T2" fmla="*/ 2147483647 w 10"/>
                    <a:gd name="T3" fmla="*/ 2147483647 h 15"/>
                    <a:gd name="T4" fmla="*/ 2147483647 w 10"/>
                    <a:gd name="T5" fmla="*/ 2147483647 h 15"/>
                    <a:gd name="T6" fmla="*/ 2147483647 w 10"/>
                    <a:gd name="T7" fmla="*/ 2147483647 h 15"/>
                    <a:gd name="T8" fmla="*/ 2147483647 w 10"/>
                    <a:gd name="T9" fmla="*/ 2147483647 h 15"/>
                    <a:gd name="T10" fmla="*/ 2147483647 w 10"/>
                    <a:gd name="T11" fmla="*/ 0 h 15"/>
                    <a:gd name="T12" fmla="*/ 2147483647 w 10"/>
                    <a:gd name="T13" fmla="*/ 0 h 15"/>
                    <a:gd name="T14" fmla="*/ 2147483647 w 10"/>
                    <a:gd name="T15" fmla="*/ 0 h 15"/>
                    <a:gd name="T16" fmla="*/ 2147483647 w 10"/>
                    <a:gd name="T17" fmla="*/ 2147483647 h 15"/>
                    <a:gd name="T18" fmla="*/ 0 w 10"/>
                    <a:gd name="T19" fmla="*/ 2147483647 h 15"/>
                    <a:gd name="T20" fmla="*/ 0 w 10"/>
                    <a:gd name="T21" fmla="*/ 2147483647 h 15"/>
                    <a:gd name="T22" fmla="*/ 2147483647 w 10"/>
                    <a:gd name="T23" fmla="*/ 2147483647 h 15"/>
                    <a:gd name="T24" fmla="*/ 2147483647 w 10"/>
                    <a:gd name="T25" fmla="*/ 2147483647 h 15"/>
                    <a:gd name="T26" fmla="*/ 2147483647 w 10"/>
                    <a:gd name="T27" fmla="*/ 2147483647 h 15"/>
                    <a:gd name="T28" fmla="*/ 2147483647 w 10"/>
                    <a:gd name="T29" fmla="*/ 2147483647 h 15"/>
                    <a:gd name="T30" fmla="*/ 2147483647 w 10"/>
                    <a:gd name="T31" fmla="*/ 2147483647 h 15"/>
                    <a:gd name="T32" fmla="*/ 2147483647 w 10"/>
                    <a:gd name="T33" fmla="*/ 2147483647 h 15"/>
                    <a:gd name="T34" fmla="*/ 2147483647 w 10"/>
                    <a:gd name="T35" fmla="*/ 2147483647 h 15"/>
                    <a:gd name="T36" fmla="*/ 2147483647 w 10"/>
                    <a:gd name="T37" fmla="*/ 2147483647 h 15"/>
                    <a:gd name="T38" fmla="*/ 2147483647 w 10"/>
                    <a:gd name="T39" fmla="*/ 2147483647 h 15"/>
                    <a:gd name="T40" fmla="*/ 2147483647 w 10"/>
                    <a:gd name="T41" fmla="*/ 2147483647 h 1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0"/>
                    <a:gd name="T64" fmla="*/ 0 h 15"/>
                    <a:gd name="T65" fmla="*/ 10 w 10"/>
                    <a:gd name="T66" fmla="*/ 15 h 1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0" h="15">
                      <a:moveTo>
                        <a:pt x="7" y="9"/>
                      </a:moveTo>
                      <a:lnTo>
                        <a:pt x="7" y="9"/>
                      </a:lnTo>
                      <a:lnTo>
                        <a:pt x="6" y="6"/>
                      </a:lnTo>
                      <a:lnTo>
                        <a:pt x="5" y="3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2" y="12"/>
                      </a:lnTo>
                      <a:lnTo>
                        <a:pt x="5" y="13"/>
                      </a:lnTo>
                      <a:lnTo>
                        <a:pt x="7" y="15"/>
                      </a:lnTo>
                      <a:lnTo>
                        <a:pt x="10" y="15"/>
                      </a:lnTo>
                      <a:lnTo>
                        <a:pt x="10" y="13"/>
                      </a:lnTo>
                      <a:lnTo>
                        <a:pt x="10" y="12"/>
                      </a:lnTo>
                      <a:lnTo>
                        <a:pt x="7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1" name="Freeform 1071">
                  <a:extLst>
                    <a:ext uri="{FF2B5EF4-FFF2-40B4-BE49-F238E27FC236}">
                      <a16:creationId xmlns:a16="http://schemas.microsoft.com/office/drawing/2014/main" id="{DB59651A-2264-1F4F-A1D1-6C7FBAA5D0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5503" y="6340936"/>
                  <a:ext cx="20718" cy="13319"/>
                </a:xfrm>
                <a:custGeom>
                  <a:avLst/>
                  <a:gdLst>
                    <a:gd name="T0" fmla="*/ 2147483647 w 15"/>
                    <a:gd name="T1" fmla="*/ 2147483647 h 9"/>
                    <a:gd name="T2" fmla="*/ 2147483647 w 15"/>
                    <a:gd name="T3" fmla="*/ 2147483647 h 9"/>
                    <a:gd name="T4" fmla="*/ 2147483647 w 15"/>
                    <a:gd name="T5" fmla="*/ 2147483647 h 9"/>
                    <a:gd name="T6" fmla="*/ 2147483647 w 15"/>
                    <a:gd name="T7" fmla="*/ 2147483647 h 9"/>
                    <a:gd name="T8" fmla="*/ 2147483647 w 15"/>
                    <a:gd name="T9" fmla="*/ 2147483647 h 9"/>
                    <a:gd name="T10" fmla="*/ 2147483647 w 15"/>
                    <a:gd name="T11" fmla="*/ 2147483647 h 9"/>
                    <a:gd name="T12" fmla="*/ 2147483647 w 15"/>
                    <a:gd name="T13" fmla="*/ 2147483647 h 9"/>
                    <a:gd name="T14" fmla="*/ 2147483647 w 15"/>
                    <a:gd name="T15" fmla="*/ 2147483647 h 9"/>
                    <a:gd name="T16" fmla="*/ 2147483647 w 15"/>
                    <a:gd name="T17" fmla="*/ 0 h 9"/>
                    <a:gd name="T18" fmla="*/ 2147483647 w 15"/>
                    <a:gd name="T19" fmla="*/ 2147483647 h 9"/>
                    <a:gd name="T20" fmla="*/ 2147483647 w 15"/>
                    <a:gd name="T21" fmla="*/ 2147483647 h 9"/>
                    <a:gd name="T22" fmla="*/ 0 w 15"/>
                    <a:gd name="T23" fmla="*/ 2147483647 h 9"/>
                    <a:gd name="T24" fmla="*/ 0 w 15"/>
                    <a:gd name="T25" fmla="*/ 2147483647 h 9"/>
                    <a:gd name="T26" fmla="*/ 0 w 15"/>
                    <a:gd name="T27" fmla="*/ 2147483647 h 9"/>
                    <a:gd name="T28" fmla="*/ 2147483647 w 15"/>
                    <a:gd name="T29" fmla="*/ 2147483647 h 9"/>
                    <a:gd name="T30" fmla="*/ 2147483647 w 15"/>
                    <a:gd name="T31" fmla="*/ 2147483647 h 9"/>
                    <a:gd name="T32" fmla="*/ 2147483647 w 15"/>
                    <a:gd name="T33" fmla="*/ 2147483647 h 9"/>
                    <a:gd name="T34" fmla="*/ 2147483647 w 15"/>
                    <a:gd name="T35" fmla="*/ 2147483647 h 9"/>
                    <a:gd name="T36" fmla="*/ 2147483647 w 15"/>
                    <a:gd name="T37" fmla="*/ 2147483647 h 9"/>
                    <a:gd name="T38" fmla="*/ 2147483647 w 15"/>
                    <a:gd name="T39" fmla="*/ 2147483647 h 9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5"/>
                    <a:gd name="T61" fmla="*/ 0 h 9"/>
                    <a:gd name="T62" fmla="*/ 15 w 15"/>
                    <a:gd name="T63" fmla="*/ 9 h 9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5" h="9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14" y="8"/>
                      </a:lnTo>
                      <a:lnTo>
                        <a:pt x="15" y="8"/>
                      </a:lnTo>
                      <a:lnTo>
                        <a:pt x="15" y="6"/>
                      </a:lnTo>
                      <a:lnTo>
                        <a:pt x="13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8"/>
                      </a:lnTo>
                      <a:lnTo>
                        <a:pt x="6" y="9"/>
                      </a:lnTo>
                      <a:lnTo>
                        <a:pt x="1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2" name="Freeform 1072">
                  <a:extLst>
                    <a:ext uri="{FF2B5EF4-FFF2-40B4-BE49-F238E27FC236}">
                      <a16:creationId xmlns:a16="http://schemas.microsoft.com/office/drawing/2014/main" id="{9150AC3D-13D9-5E47-98CA-3B58F4C9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657" y="6376453"/>
                  <a:ext cx="8879" cy="7399"/>
                </a:xfrm>
                <a:custGeom>
                  <a:avLst/>
                  <a:gdLst>
                    <a:gd name="T0" fmla="*/ 2147483647 w 7"/>
                    <a:gd name="T1" fmla="*/ 2147483647 h 5"/>
                    <a:gd name="T2" fmla="*/ 0 w 7"/>
                    <a:gd name="T3" fmla="*/ 2147483647 h 5"/>
                    <a:gd name="T4" fmla="*/ 0 w 7"/>
                    <a:gd name="T5" fmla="*/ 2147483647 h 5"/>
                    <a:gd name="T6" fmla="*/ 2147483647 w 7"/>
                    <a:gd name="T7" fmla="*/ 0 h 5"/>
                    <a:gd name="T8" fmla="*/ 2147483647 w 7"/>
                    <a:gd name="T9" fmla="*/ 0 h 5"/>
                    <a:gd name="T10" fmla="*/ 2147483647 w 7"/>
                    <a:gd name="T11" fmla="*/ 2147483647 h 5"/>
                    <a:gd name="T12" fmla="*/ 2147483647 w 7"/>
                    <a:gd name="T13" fmla="*/ 2147483647 h 5"/>
                    <a:gd name="T14" fmla="*/ 2147483647 w 7"/>
                    <a:gd name="T15" fmla="*/ 2147483647 h 5"/>
                    <a:gd name="T16" fmla="*/ 2147483647 w 7"/>
                    <a:gd name="T17" fmla="*/ 2147483647 h 5"/>
                    <a:gd name="T18" fmla="*/ 2147483647 w 7"/>
                    <a:gd name="T19" fmla="*/ 2147483647 h 5"/>
                    <a:gd name="T20" fmla="*/ 2147483647 w 7"/>
                    <a:gd name="T21" fmla="*/ 2147483647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5"/>
                    <a:gd name="T35" fmla="*/ 7 w 7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5">
                      <a:moveTo>
                        <a:pt x="1" y="4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7" y="4"/>
                      </a:lnTo>
                      <a:lnTo>
                        <a:pt x="6" y="5"/>
                      </a:lnTo>
                      <a:lnTo>
                        <a:pt x="4" y="5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3" name="Freeform 1073">
                  <a:extLst>
                    <a:ext uri="{FF2B5EF4-FFF2-40B4-BE49-F238E27FC236}">
                      <a16:creationId xmlns:a16="http://schemas.microsoft.com/office/drawing/2014/main" id="{D57B4240-2281-9348-8E5E-B097576A18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61" y="6364614"/>
                  <a:ext cx="14799" cy="8879"/>
                </a:xfrm>
                <a:custGeom>
                  <a:avLst/>
                  <a:gdLst>
                    <a:gd name="T0" fmla="*/ 2147483647 w 11"/>
                    <a:gd name="T1" fmla="*/ 2147483647 h 6"/>
                    <a:gd name="T2" fmla="*/ 2147483647 w 11"/>
                    <a:gd name="T3" fmla="*/ 2147483647 h 6"/>
                    <a:gd name="T4" fmla="*/ 2147483647 w 11"/>
                    <a:gd name="T5" fmla="*/ 2147483647 h 6"/>
                    <a:gd name="T6" fmla="*/ 2147483647 w 11"/>
                    <a:gd name="T7" fmla="*/ 2147483647 h 6"/>
                    <a:gd name="T8" fmla="*/ 2147483647 w 11"/>
                    <a:gd name="T9" fmla="*/ 2147483647 h 6"/>
                    <a:gd name="T10" fmla="*/ 2147483647 w 11"/>
                    <a:gd name="T11" fmla="*/ 2147483647 h 6"/>
                    <a:gd name="T12" fmla="*/ 2147483647 w 11"/>
                    <a:gd name="T13" fmla="*/ 2147483647 h 6"/>
                    <a:gd name="T14" fmla="*/ 0 w 11"/>
                    <a:gd name="T15" fmla="*/ 0 h 6"/>
                    <a:gd name="T16" fmla="*/ 2147483647 w 11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"/>
                    <a:gd name="T28" fmla="*/ 0 h 6"/>
                    <a:gd name="T29" fmla="*/ 11 w 11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" h="6">
                      <a:moveTo>
                        <a:pt x="8" y="3"/>
                      </a:moveTo>
                      <a:lnTo>
                        <a:pt x="11" y="4"/>
                      </a:lnTo>
                      <a:lnTo>
                        <a:pt x="11" y="5"/>
                      </a:lnTo>
                      <a:lnTo>
                        <a:pt x="11" y="6"/>
                      </a:lnTo>
                      <a:lnTo>
                        <a:pt x="7" y="6"/>
                      </a:lnTo>
                      <a:lnTo>
                        <a:pt x="4" y="6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8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4" name="Freeform 1074">
                  <a:extLst>
                    <a:ext uri="{FF2B5EF4-FFF2-40B4-BE49-F238E27FC236}">
                      <a16:creationId xmlns:a16="http://schemas.microsoft.com/office/drawing/2014/main" id="{1675FDB4-3166-054A-B272-2D7DEEDBBF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9180" y="6373493"/>
                  <a:ext cx="8879" cy="8879"/>
                </a:xfrm>
                <a:custGeom>
                  <a:avLst/>
                  <a:gdLst>
                    <a:gd name="T0" fmla="*/ 2147483647 w 7"/>
                    <a:gd name="T1" fmla="*/ 2147483647 h 6"/>
                    <a:gd name="T2" fmla="*/ 2147483647 w 7"/>
                    <a:gd name="T3" fmla="*/ 2147483647 h 6"/>
                    <a:gd name="T4" fmla="*/ 0 w 7"/>
                    <a:gd name="T5" fmla="*/ 2147483647 h 6"/>
                    <a:gd name="T6" fmla="*/ 0 w 7"/>
                    <a:gd name="T7" fmla="*/ 2147483647 h 6"/>
                    <a:gd name="T8" fmla="*/ 0 w 7"/>
                    <a:gd name="T9" fmla="*/ 2147483647 h 6"/>
                    <a:gd name="T10" fmla="*/ 2147483647 w 7"/>
                    <a:gd name="T11" fmla="*/ 0 h 6"/>
                    <a:gd name="T12" fmla="*/ 2147483647 w 7"/>
                    <a:gd name="T13" fmla="*/ 0 h 6"/>
                    <a:gd name="T14" fmla="*/ 2147483647 w 7"/>
                    <a:gd name="T15" fmla="*/ 2147483647 h 6"/>
                    <a:gd name="T16" fmla="*/ 2147483647 w 7"/>
                    <a:gd name="T17" fmla="*/ 2147483647 h 6"/>
                    <a:gd name="T18" fmla="*/ 2147483647 w 7"/>
                    <a:gd name="T19" fmla="*/ 2147483647 h 6"/>
                    <a:gd name="T20" fmla="*/ 2147483647 w 7"/>
                    <a:gd name="T21" fmla="*/ 2147483647 h 6"/>
                    <a:gd name="T22" fmla="*/ 2147483647 w 7"/>
                    <a:gd name="T23" fmla="*/ 2147483647 h 6"/>
                    <a:gd name="T24" fmla="*/ 2147483647 w 7"/>
                    <a:gd name="T25" fmla="*/ 2147483647 h 6"/>
                    <a:gd name="T26" fmla="*/ 2147483647 w 7"/>
                    <a:gd name="T27" fmla="*/ 2147483647 h 6"/>
                    <a:gd name="T28" fmla="*/ 2147483647 w 7"/>
                    <a:gd name="T29" fmla="*/ 2147483647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"/>
                    <a:gd name="T46" fmla="*/ 0 h 6"/>
                    <a:gd name="T47" fmla="*/ 7 w 7"/>
                    <a:gd name="T48" fmla="*/ 6 h 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" h="6">
                      <a:moveTo>
                        <a:pt x="1" y="5"/>
                      </a:move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6" y="6"/>
                      </a:lnTo>
                      <a:lnTo>
                        <a:pt x="3" y="6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5" name="Freeform 1075">
                  <a:extLst>
                    <a:ext uri="{FF2B5EF4-FFF2-40B4-BE49-F238E27FC236}">
                      <a16:creationId xmlns:a16="http://schemas.microsoft.com/office/drawing/2014/main" id="{D90208A3-6D1E-534B-B9F1-5C1AAA4435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9580" y="6363134"/>
                  <a:ext cx="14799" cy="8879"/>
                </a:xfrm>
                <a:custGeom>
                  <a:avLst/>
                  <a:gdLst>
                    <a:gd name="T0" fmla="*/ 2147483647 w 10"/>
                    <a:gd name="T1" fmla="*/ 2147483647 h 6"/>
                    <a:gd name="T2" fmla="*/ 2147483647 w 10"/>
                    <a:gd name="T3" fmla="*/ 2147483647 h 6"/>
                    <a:gd name="T4" fmla="*/ 2147483647 w 10"/>
                    <a:gd name="T5" fmla="*/ 2147483647 h 6"/>
                    <a:gd name="T6" fmla="*/ 2147483647 w 10"/>
                    <a:gd name="T7" fmla="*/ 2147483647 h 6"/>
                    <a:gd name="T8" fmla="*/ 2147483647 w 10"/>
                    <a:gd name="T9" fmla="*/ 2147483647 h 6"/>
                    <a:gd name="T10" fmla="*/ 2147483647 w 10"/>
                    <a:gd name="T11" fmla="*/ 2147483647 h 6"/>
                    <a:gd name="T12" fmla="*/ 2147483647 w 10"/>
                    <a:gd name="T13" fmla="*/ 2147483647 h 6"/>
                    <a:gd name="T14" fmla="*/ 2147483647 w 10"/>
                    <a:gd name="T15" fmla="*/ 2147483647 h 6"/>
                    <a:gd name="T16" fmla="*/ 2147483647 w 10"/>
                    <a:gd name="T17" fmla="*/ 2147483647 h 6"/>
                    <a:gd name="T18" fmla="*/ 0 w 10"/>
                    <a:gd name="T19" fmla="*/ 0 h 6"/>
                    <a:gd name="T20" fmla="*/ 0 w 10"/>
                    <a:gd name="T21" fmla="*/ 0 h 6"/>
                    <a:gd name="T22" fmla="*/ 2147483647 w 10"/>
                    <a:gd name="T23" fmla="*/ 2147483647 h 6"/>
                    <a:gd name="T24" fmla="*/ 2147483647 w 10"/>
                    <a:gd name="T25" fmla="*/ 2147483647 h 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6"/>
                    <a:gd name="T41" fmla="*/ 10 w 10"/>
                    <a:gd name="T42" fmla="*/ 6 h 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6">
                      <a:moveTo>
                        <a:pt x="8" y="3"/>
                      </a:moveTo>
                      <a:lnTo>
                        <a:pt x="8" y="3"/>
                      </a:lnTo>
                      <a:lnTo>
                        <a:pt x="10" y="4"/>
                      </a:lnTo>
                      <a:lnTo>
                        <a:pt x="10" y="5"/>
                      </a:lnTo>
                      <a:lnTo>
                        <a:pt x="10" y="6"/>
                      </a:lnTo>
                      <a:lnTo>
                        <a:pt x="7" y="6"/>
                      </a:lnTo>
                      <a:lnTo>
                        <a:pt x="4" y="6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8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6" name="Freeform 1076">
                  <a:extLst>
                    <a:ext uri="{FF2B5EF4-FFF2-40B4-BE49-F238E27FC236}">
                      <a16:creationId xmlns:a16="http://schemas.microsoft.com/office/drawing/2014/main" id="{16F9DBC5-FBB8-A14D-85A8-B74944B30A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901" y="6360174"/>
                  <a:ext cx="10359" cy="8879"/>
                </a:xfrm>
                <a:custGeom>
                  <a:avLst/>
                  <a:gdLst>
                    <a:gd name="T0" fmla="*/ 2147483647 w 8"/>
                    <a:gd name="T1" fmla="*/ 2147483647 h 6"/>
                    <a:gd name="T2" fmla="*/ 2147483647 w 8"/>
                    <a:gd name="T3" fmla="*/ 2147483647 h 6"/>
                    <a:gd name="T4" fmla="*/ 2147483647 w 8"/>
                    <a:gd name="T5" fmla="*/ 2147483647 h 6"/>
                    <a:gd name="T6" fmla="*/ 2147483647 w 8"/>
                    <a:gd name="T7" fmla="*/ 2147483647 h 6"/>
                    <a:gd name="T8" fmla="*/ 2147483647 w 8"/>
                    <a:gd name="T9" fmla="*/ 2147483647 h 6"/>
                    <a:gd name="T10" fmla="*/ 0 w 8"/>
                    <a:gd name="T11" fmla="*/ 2147483647 h 6"/>
                    <a:gd name="T12" fmla="*/ 2147483647 w 8"/>
                    <a:gd name="T13" fmla="*/ 2147483647 h 6"/>
                    <a:gd name="T14" fmla="*/ 2147483647 w 8"/>
                    <a:gd name="T15" fmla="*/ 0 h 6"/>
                    <a:gd name="T16" fmla="*/ 2147483647 w 8"/>
                    <a:gd name="T17" fmla="*/ 2147483647 h 6"/>
                    <a:gd name="T18" fmla="*/ 2147483647 w 8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"/>
                    <a:gd name="T31" fmla="*/ 0 h 6"/>
                    <a:gd name="T32" fmla="*/ 8 w 8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" h="6">
                      <a:moveTo>
                        <a:pt x="7" y="2"/>
                      </a:move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6" y="6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7" name="Freeform 1077">
                  <a:extLst>
                    <a:ext uri="{FF2B5EF4-FFF2-40B4-BE49-F238E27FC236}">
                      <a16:creationId xmlns:a16="http://schemas.microsoft.com/office/drawing/2014/main" id="{0259C439-397B-514B-B799-E9AD898980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3344" y="6352775"/>
                  <a:ext cx="10359" cy="7399"/>
                </a:xfrm>
                <a:custGeom>
                  <a:avLst/>
                  <a:gdLst>
                    <a:gd name="T0" fmla="*/ 2147483647 w 8"/>
                    <a:gd name="T1" fmla="*/ 2147483647 h 5"/>
                    <a:gd name="T2" fmla="*/ 2147483647 w 8"/>
                    <a:gd name="T3" fmla="*/ 2147483647 h 5"/>
                    <a:gd name="T4" fmla="*/ 0 w 8"/>
                    <a:gd name="T5" fmla="*/ 2147483647 h 5"/>
                    <a:gd name="T6" fmla="*/ 2147483647 w 8"/>
                    <a:gd name="T7" fmla="*/ 0 h 5"/>
                    <a:gd name="T8" fmla="*/ 2147483647 w 8"/>
                    <a:gd name="T9" fmla="*/ 0 h 5"/>
                    <a:gd name="T10" fmla="*/ 2147483647 w 8"/>
                    <a:gd name="T11" fmla="*/ 0 h 5"/>
                    <a:gd name="T12" fmla="*/ 2147483647 w 8"/>
                    <a:gd name="T13" fmla="*/ 2147483647 h 5"/>
                    <a:gd name="T14" fmla="*/ 2147483647 w 8"/>
                    <a:gd name="T15" fmla="*/ 2147483647 h 5"/>
                    <a:gd name="T16" fmla="*/ 2147483647 w 8"/>
                    <a:gd name="T17" fmla="*/ 2147483647 h 5"/>
                    <a:gd name="T18" fmla="*/ 2147483647 w 8"/>
                    <a:gd name="T19" fmla="*/ 2147483647 h 5"/>
                    <a:gd name="T20" fmla="*/ 2147483647 w 8"/>
                    <a:gd name="T21" fmla="*/ 2147483647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5"/>
                    <a:gd name="T35" fmla="*/ 8 w 8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5">
                      <a:moveTo>
                        <a:pt x="4" y="4"/>
                      </a:move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2"/>
                      </a:lnTo>
                      <a:lnTo>
                        <a:pt x="7" y="5"/>
                      </a:lnTo>
                      <a:lnTo>
                        <a:pt x="5" y="5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8" name="Freeform 1078">
                  <a:extLst>
                    <a:ext uri="{FF2B5EF4-FFF2-40B4-BE49-F238E27FC236}">
                      <a16:creationId xmlns:a16="http://schemas.microsoft.com/office/drawing/2014/main" id="{4D26EFAB-4B78-EA4A-92C0-9E12AC8D21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4425" y="6358695"/>
                  <a:ext cx="10360" cy="8879"/>
                </a:xfrm>
                <a:custGeom>
                  <a:avLst/>
                  <a:gdLst>
                    <a:gd name="T0" fmla="*/ 2147483647 w 8"/>
                    <a:gd name="T1" fmla="*/ 2147483647 h 6"/>
                    <a:gd name="T2" fmla="*/ 2147483647 w 8"/>
                    <a:gd name="T3" fmla="*/ 2147483647 h 6"/>
                    <a:gd name="T4" fmla="*/ 2147483647 w 8"/>
                    <a:gd name="T5" fmla="*/ 2147483647 h 6"/>
                    <a:gd name="T6" fmla="*/ 2147483647 w 8"/>
                    <a:gd name="T7" fmla="*/ 2147483647 h 6"/>
                    <a:gd name="T8" fmla="*/ 2147483647 w 8"/>
                    <a:gd name="T9" fmla="*/ 2147483647 h 6"/>
                    <a:gd name="T10" fmla="*/ 2147483647 w 8"/>
                    <a:gd name="T11" fmla="*/ 2147483647 h 6"/>
                    <a:gd name="T12" fmla="*/ 2147483647 w 8"/>
                    <a:gd name="T13" fmla="*/ 2147483647 h 6"/>
                    <a:gd name="T14" fmla="*/ 0 w 8"/>
                    <a:gd name="T15" fmla="*/ 2147483647 h 6"/>
                    <a:gd name="T16" fmla="*/ 2147483647 w 8"/>
                    <a:gd name="T17" fmla="*/ 2147483647 h 6"/>
                    <a:gd name="T18" fmla="*/ 2147483647 w 8"/>
                    <a:gd name="T19" fmla="*/ 2147483647 h 6"/>
                    <a:gd name="T20" fmla="*/ 2147483647 w 8"/>
                    <a:gd name="T21" fmla="*/ 0 h 6"/>
                    <a:gd name="T22" fmla="*/ 2147483647 w 8"/>
                    <a:gd name="T23" fmla="*/ 2147483647 h 6"/>
                    <a:gd name="T24" fmla="*/ 2147483647 w 8"/>
                    <a:gd name="T25" fmla="*/ 2147483647 h 6"/>
                    <a:gd name="T26" fmla="*/ 2147483647 w 8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"/>
                    <a:gd name="T43" fmla="*/ 0 h 6"/>
                    <a:gd name="T44" fmla="*/ 8 w 8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" h="6">
                      <a:moveTo>
                        <a:pt x="7" y="2"/>
                      </a:moveTo>
                      <a:lnTo>
                        <a:pt x="7" y="2"/>
                      </a:lnTo>
                      <a:lnTo>
                        <a:pt x="8" y="3"/>
                      </a:lnTo>
                      <a:lnTo>
                        <a:pt x="8" y="4"/>
                      </a:lnTo>
                      <a:lnTo>
                        <a:pt x="5" y="6"/>
                      </a:lnTo>
                      <a:lnTo>
                        <a:pt x="3" y="4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9" name="Freeform 1079">
                  <a:extLst>
                    <a:ext uri="{FF2B5EF4-FFF2-40B4-BE49-F238E27FC236}">
                      <a16:creationId xmlns:a16="http://schemas.microsoft.com/office/drawing/2014/main" id="{08B8E46E-C0A2-6A4B-82AB-563AA78289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1868" y="6351291"/>
                  <a:ext cx="10360" cy="7400"/>
                </a:xfrm>
                <a:custGeom>
                  <a:avLst/>
                  <a:gdLst>
                    <a:gd name="T0" fmla="*/ 2147483647 w 8"/>
                    <a:gd name="T1" fmla="*/ 2147483647 h 5"/>
                    <a:gd name="T2" fmla="*/ 2147483647 w 8"/>
                    <a:gd name="T3" fmla="*/ 2147483647 h 5"/>
                    <a:gd name="T4" fmla="*/ 2147483647 w 8"/>
                    <a:gd name="T5" fmla="*/ 2147483647 h 5"/>
                    <a:gd name="T6" fmla="*/ 0 w 8"/>
                    <a:gd name="T7" fmla="*/ 2147483647 h 5"/>
                    <a:gd name="T8" fmla="*/ 2147483647 w 8"/>
                    <a:gd name="T9" fmla="*/ 0 h 5"/>
                    <a:gd name="T10" fmla="*/ 2147483647 w 8"/>
                    <a:gd name="T11" fmla="*/ 0 h 5"/>
                    <a:gd name="T12" fmla="*/ 2147483647 w 8"/>
                    <a:gd name="T13" fmla="*/ 0 h 5"/>
                    <a:gd name="T14" fmla="*/ 2147483647 w 8"/>
                    <a:gd name="T15" fmla="*/ 0 h 5"/>
                    <a:gd name="T16" fmla="*/ 2147483647 w 8"/>
                    <a:gd name="T17" fmla="*/ 2147483647 h 5"/>
                    <a:gd name="T18" fmla="*/ 2147483647 w 8"/>
                    <a:gd name="T19" fmla="*/ 2147483647 h 5"/>
                    <a:gd name="T20" fmla="*/ 2147483647 w 8"/>
                    <a:gd name="T21" fmla="*/ 2147483647 h 5"/>
                    <a:gd name="T22" fmla="*/ 2147483647 w 8"/>
                    <a:gd name="T23" fmla="*/ 2147483647 h 5"/>
                    <a:gd name="T24" fmla="*/ 2147483647 w 8"/>
                    <a:gd name="T25" fmla="*/ 2147483647 h 5"/>
                    <a:gd name="T26" fmla="*/ 2147483647 w 8"/>
                    <a:gd name="T27" fmla="*/ 2147483647 h 5"/>
                    <a:gd name="T28" fmla="*/ 2147483647 w 8"/>
                    <a:gd name="T29" fmla="*/ 2147483647 h 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8"/>
                    <a:gd name="T46" fmla="*/ 0 h 5"/>
                    <a:gd name="T47" fmla="*/ 8 w 8"/>
                    <a:gd name="T48" fmla="*/ 5 h 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8" h="5">
                      <a:moveTo>
                        <a:pt x="4" y="3"/>
                      </a:moveTo>
                      <a:lnTo>
                        <a:pt x="4" y="3"/>
                      </a:lnTo>
                      <a:lnTo>
                        <a:pt x="1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2"/>
                      </a:ln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0" name="Freeform 1081">
                  <a:extLst>
                    <a:ext uri="{FF2B5EF4-FFF2-40B4-BE49-F238E27FC236}">
                      <a16:creationId xmlns:a16="http://schemas.microsoft.com/office/drawing/2014/main" id="{01F64736-4937-9F44-9201-CDAFF96319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3748" y="6268423"/>
                  <a:ext cx="84352" cy="81393"/>
                </a:xfrm>
                <a:custGeom>
                  <a:avLst/>
                  <a:gdLst>
                    <a:gd name="T0" fmla="*/ 2147483647 w 61"/>
                    <a:gd name="T1" fmla="*/ 2147483647 h 55"/>
                    <a:gd name="T2" fmla="*/ 2147483647 w 61"/>
                    <a:gd name="T3" fmla="*/ 2147483647 h 55"/>
                    <a:gd name="T4" fmla="*/ 2147483647 w 61"/>
                    <a:gd name="T5" fmla="*/ 2147483647 h 55"/>
                    <a:gd name="T6" fmla="*/ 2147483647 w 61"/>
                    <a:gd name="T7" fmla="*/ 2147483647 h 55"/>
                    <a:gd name="T8" fmla="*/ 2147483647 w 61"/>
                    <a:gd name="T9" fmla="*/ 2147483647 h 55"/>
                    <a:gd name="T10" fmla="*/ 2147483647 w 61"/>
                    <a:gd name="T11" fmla="*/ 0 h 55"/>
                    <a:gd name="T12" fmla="*/ 2147483647 w 61"/>
                    <a:gd name="T13" fmla="*/ 2147483647 h 55"/>
                    <a:gd name="T14" fmla="*/ 2147483647 w 61"/>
                    <a:gd name="T15" fmla="*/ 2147483647 h 55"/>
                    <a:gd name="T16" fmla="*/ 2147483647 w 61"/>
                    <a:gd name="T17" fmla="*/ 0 h 55"/>
                    <a:gd name="T18" fmla="*/ 2147483647 w 61"/>
                    <a:gd name="T19" fmla="*/ 2147483647 h 55"/>
                    <a:gd name="T20" fmla="*/ 2147483647 w 61"/>
                    <a:gd name="T21" fmla="*/ 2147483647 h 55"/>
                    <a:gd name="T22" fmla="*/ 2147483647 w 61"/>
                    <a:gd name="T23" fmla="*/ 2147483647 h 55"/>
                    <a:gd name="T24" fmla="*/ 2147483647 w 61"/>
                    <a:gd name="T25" fmla="*/ 2147483647 h 55"/>
                    <a:gd name="T26" fmla="*/ 2147483647 w 61"/>
                    <a:gd name="T27" fmla="*/ 2147483647 h 55"/>
                    <a:gd name="T28" fmla="*/ 2147483647 w 61"/>
                    <a:gd name="T29" fmla="*/ 2147483647 h 55"/>
                    <a:gd name="T30" fmla="*/ 2147483647 w 61"/>
                    <a:gd name="T31" fmla="*/ 2147483647 h 55"/>
                    <a:gd name="T32" fmla="*/ 2147483647 w 61"/>
                    <a:gd name="T33" fmla="*/ 2147483647 h 55"/>
                    <a:gd name="T34" fmla="*/ 2147483647 w 61"/>
                    <a:gd name="T35" fmla="*/ 2147483647 h 55"/>
                    <a:gd name="T36" fmla="*/ 2147483647 w 61"/>
                    <a:gd name="T37" fmla="*/ 2147483647 h 55"/>
                    <a:gd name="T38" fmla="*/ 2147483647 w 61"/>
                    <a:gd name="T39" fmla="*/ 2147483647 h 55"/>
                    <a:gd name="T40" fmla="*/ 2147483647 w 61"/>
                    <a:gd name="T41" fmla="*/ 2147483647 h 55"/>
                    <a:gd name="T42" fmla="*/ 2147483647 w 61"/>
                    <a:gd name="T43" fmla="*/ 2147483647 h 55"/>
                    <a:gd name="T44" fmla="*/ 2147483647 w 61"/>
                    <a:gd name="T45" fmla="*/ 2147483647 h 55"/>
                    <a:gd name="T46" fmla="*/ 2147483647 w 61"/>
                    <a:gd name="T47" fmla="*/ 2147483647 h 55"/>
                    <a:gd name="T48" fmla="*/ 2147483647 w 61"/>
                    <a:gd name="T49" fmla="*/ 2147483647 h 55"/>
                    <a:gd name="T50" fmla="*/ 2147483647 w 61"/>
                    <a:gd name="T51" fmla="*/ 2147483647 h 55"/>
                    <a:gd name="T52" fmla="*/ 2147483647 w 61"/>
                    <a:gd name="T53" fmla="*/ 2147483647 h 55"/>
                    <a:gd name="T54" fmla="*/ 2147483647 w 61"/>
                    <a:gd name="T55" fmla="*/ 2147483647 h 55"/>
                    <a:gd name="T56" fmla="*/ 2147483647 w 61"/>
                    <a:gd name="T57" fmla="*/ 2147483647 h 55"/>
                    <a:gd name="T58" fmla="*/ 2147483647 w 61"/>
                    <a:gd name="T59" fmla="*/ 2147483647 h 55"/>
                    <a:gd name="T60" fmla="*/ 2147483647 w 61"/>
                    <a:gd name="T61" fmla="*/ 2147483647 h 55"/>
                    <a:gd name="T62" fmla="*/ 2147483647 w 61"/>
                    <a:gd name="T63" fmla="*/ 2147483647 h 55"/>
                    <a:gd name="T64" fmla="*/ 2147483647 w 61"/>
                    <a:gd name="T65" fmla="*/ 2147483647 h 55"/>
                    <a:gd name="T66" fmla="*/ 2147483647 w 61"/>
                    <a:gd name="T67" fmla="*/ 2147483647 h 55"/>
                    <a:gd name="T68" fmla="*/ 2147483647 w 61"/>
                    <a:gd name="T69" fmla="*/ 2147483647 h 55"/>
                    <a:gd name="T70" fmla="*/ 2147483647 w 61"/>
                    <a:gd name="T71" fmla="*/ 2147483647 h 55"/>
                    <a:gd name="T72" fmla="*/ 2147483647 w 61"/>
                    <a:gd name="T73" fmla="*/ 2147483647 h 55"/>
                    <a:gd name="T74" fmla="*/ 2147483647 w 61"/>
                    <a:gd name="T75" fmla="*/ 2147483647 h 55"/>
                    <a:gd name="T76" fmla="*/ 2147483647 w 61"/>
                    <a:gd name="T77" fmla="*/ 2147483647 h 55"/>
                    <a:gd name="T78" fmla="*/ 2147483647 w 61"/>
                    <a:gd name="T79" fmla="*/ 2147483647 h 55"/>
                    <a:gd name="T80" fmla="*/ 2147483647 w 61"/>
                    <a:gd name="T81" fmla="*/ 2147483647 h 55"/>
                    <a:gd name="T82" fmla="*/ 2147483647 w 61"/>
                    <a:gd name="T83" fmla="*/ 2147483647 h 55"/>
                    <a:gd name="T84" fmla="*/ 0 w 61"/>
                    <a:gd name="T85" fmla="*/ 2147483647 h 55"/>
                    <a:gd name="T86" fmla="*/ 2147483647 w 61"/>
                    <a:gd name="T87" fmla="*/ 2147483647 h 55"/>
                    <a:gd name="T88" fmla="*/ 2147483647 w 61"/>
                    <a:gd name="T89" fmla="*/ 2147483647 h 55"/>
                    <a:gd name="T90" fmla="*/ 2147483647 w 61"/>
                    <a:gd name="T91" fmla="*/ 2147483647 h 55"/>
                    <a:gd name="T92" fmla="*/ 2147483647 w 61"/>
                    <a:gd name="T93" fmla="*/ 2147483647 h 55"/>
                    <a:gd name="T94" fmla="*/ 2147483647 w 61"/>
                    <a:gd name="T95" fmla="*/ 2147483647 h 55"/>
                    <a:gd name="T96" fmla="*/ 2147483647 w 61"/>
                    <a:gd name="T97" fmla="*/ 2147483647 h 55"/>
                    <a:gd name="T98" fmla="*/ 2147483647 w 61"/>
                    <a:gd name="T99" fmla="*/ 2147483647 h 55"/>
                    <a:gd name="T100" fmla="*/ 2147483647 w 61"/>
                    <a:gd name="T101" fmla="*/ 2147483647 h 55"/>
                    <a:gd name="T102" fmla="*/ 2147483647 w 61"/>
                    <a:gd name="T103" fmla="*/ 2147483647 h 55"/>
                    <a:gd name="T104" fmla="*/ 2147483647 w 61"/>
                    <a:gd name="T105" fmla="*/ 2147483647 h 55"/>
                    <a:gd name="T106" fmla="*/ 2147483647 w 61"/>
                    <a:gd name="T107" fmla="*/ 2147483647 h 55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1"/>
                    <a:gd name="T163" fmla="*/ 0 h 55"/>
                    <a:gd name="T164" fmla="*/ 61 w 61"/>
                    <a:gd name="T165" fmla="*/ 55 h 55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1" h="55">
                      <a:moveTo>
                        <a:pt x="61" y="49"/>
                      </a:moveTo>
                      <a:lnTo>
                        <a:pt x="61" y="14"/>
                      </a:lnTo>
                      <a:lnTo>
                        <a:pt x="59" y="8"/>
                      </a:lnTo>
                      <a:lnTo>
                        <a:pt x="56" y="3"/>
                      </a:lnTo>
                      <a:lnTo>
                        <a:pt x="54" y="1"/>
                      </a:lnTo>
                      <a:lnTo>
                        <a:pt x="51" y="0"/>
                      </a:lnTo>
                      <a:lnTo>
                        <a:pt x="44" y="1"/>
                      </a:lnTo>
                      <a:lnTo>
                        <a:pt x="43" y="1"/>
                      </a:lnTo>
                      <a:lnTo>
                        <a:pt x="40" y="0"/>
                      </a:lnTo>
                      <a:lnTo>
                        <a:pt x="33" y="1"/>
                      </a:lnTo>
                      <a:lnTo>
                        <a:pt x="30" y="3"/>
                      </a:lnTo>
                      <a:lnTo>
                        <a:pt x="28" y="4"/>
                      </a:lnTo>
                      <a:lnTo>
                        <a:pt x="26" y="6"/>
                      </a:lnTo>
                      <a:lnTo>
                        <a:pt x="25" y="10"/>
                      </a:lnTo>
                      <a:lnTo>
                        <a:pt x="24" y="14"/>
                      </a:lnTo>
                      <a:lnTo>
                        <a:pt x="25" y="16"/>
                      </a:lnTo>
                      <a:lnTo>
                        <a:pt x="26" y="16"/>
                      </a:lnTo>
                      <a:lnTo>
                        <a:pt x="30" y="12"/>
                      </a:lnTo>
                      <a:lnTo>
                        <a:pt x="37" y="10"/>
                      </a:lnTo>
                      <a:lnTo>
                        <a:pt x="39" y="10"/>
                      </a:lnTo>
                      <a:lnTo>
                        <a:pt x="40" y="11"/>
                      </a:lnTo>
                      <a:lnTo>
                        <a:pt x="40" y="13"/>
                      </a:lnTo>
                      <a:lnTo>
                        <a:pt x="39" y="14"/>
                      </a:lnTo>
                      <a:lnTo>
                        <a:pt x="37" y="19"/>
                      </a:lnTo>
                      <a:lnTo>
                        <a:pt x="34" y="23"/>
                      </a:lnTo>
                      <a:lnTo>
                        <a:pt x="34" y="26"/>
                      </a:lnTo>
                      <a:lnTo>
                        <a:pt x="35" y="30"/>
                      </a:lnTo>
                      <a:lnTo>
                        <a:pt x="38" y="32"/>
                      </a:lnTo>
                      <a:lnTo>
                        <a:pt x="40" y="36"/>
                      </a:lnTo>
                      <a:lnTo>
                        <a:pt x="48" y="42"/>
                      </a:lnTo>
                      <a:lnTo>
                        <a:pt x="48" y="43"/>
                      </a:lnTo>
                      <a:lnTo>
                        <a:pt x="44" y="44"/>
                      </a:lnTo>
                      <a:lnTo>
                        <a:pt x="40" y="44"/>
                      </a:lnTo>
                      <a:lnTo>
                        <a:pt x="37" y="44"/>
                      </a:lnTo>
                      <a:lnTo>
                        <a:pt x="29" y="41"/>
                      </a:lnTo>
                      <a:lnTo>
                        <a:pt x="26" y="39"/>
                      </a:lnTo>
                      <a:lnTo>
                        <a:pt x="24" y="39"/>
                      </a:lnTo>
                      <a:lnTo>
                        <a:pt x="17" y="41"/>
                      </a:lnTo>
                      <a:lnTo>
                        <a:pt x="11" y="41"/>
                      </a:lnTo>
                      <a:lnTo>
                        <a:pt x="5" y="42"/>
                      </a:lnTo>
                      <a:lnTo>
                        <a:pt x="2" y="42"/>
                      </a:lnTo>
                      <a:lnTo>
                        <a:pt x="1" y="43"/>
                      </a:lnTo>
                      <a:lnTo>
                        <a:pt x="0" y="45"/>
                      </a:lnTo>
                      <a:lnTo>
                        <a:pt x="1" y="48"/>
                      </a:lnTo>
                      <a:lnTo>
                        <a:pt x="4" y="49"/>
                      </a:lnTo>
                      <a:lnTo>
                        <a:pt x="7" y="50"/>
                      </a:lnTo>
                      <a:lnTo>
                        <a:pt x="17" y="51"/>
                      </a:lnTo>
                      <a:lnTo>
                        <a:pt x="25" y="51"/>
                      </a:lnTo>
                      <a:lnTo>
                        <a:pt x="29" y="52"/>
                      </a:lnTo>
                      <a:lnTo>
                        <a:pt x="34" y="54"/>
                      </a:lnTo>
                      <a:lnTo>
                        <a:pt x="38" y="54"/>
                      </a:lnTo>
                      <a:lnTo>
                        <a:pt x="42" y="55"/>
                      </a:lnTo>
                      <a:lnTo>
                        <a:pt x="51" y="52"/>
                      </a:lnTo>
                      <a:lnTo>
                        <a:pt x="61" y="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1" name="Freeform 1082">
                  <a:extLst>
                    <a:ext uri="{FF2B5EF4-FFF2-40B4-BE49-F238E27FC236}">
                      <a16:creationId xmlns:a16="http://schemas.microsoft.com/office/drawing/2014/main" id="{E382AC5C-9B4D-814D-9221-A2C4BCE415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6435" y="5151115"/>
                  <a:ext cx="204222" cy="1154300"/>
                </a:xfrm>
                <a:custGeom>
                  <a:avLst/>
                  <a:gdLst>
                    <a:gd name="T0" fmla="*/ 2147483647 w 149"/>
                    <a:gd name="T1" fmla="*/ 2147483647 h 780"/>
                    <a:gd name="T2" fmla="*/ 2147483647 w 149"/>
                    <a:gd name="T3" fmla="*/ 2147483647 h 780"/>
                    <a:gd name="T4" fmla="*/ 2147483647 w 149"/>
                    <a:gd name="T5" fmla="*/ 2147483647 h 780"/>
                    <a:gd name="T6" fmla="*/ 2147483647 w 149"/>
                    <a:gd name="T7" fmla="*/ 2147483647 h 780"/>
                    <a:gd name="T8" fmla="*/ 2147483647 w 149"/>
                    <a:gd name="T9" fmla="*/ 2147483647 h 780"/>
                    <a:gd name="T10" fmla="*/ 2147483647 w 149"/>
                    <a:gd name="T11" fmla="*/ 2147483647 h 780"/>
                    <a:gd name="T12" fmla="*/ 2147483647 w 149"/>
                    <a:gd name="T13" fmla="*/ 2147483647 h 780"/>
                    <a:gd name="T14" fmla="*/ 2147483647 w 149"/>
                    <a:gd name="T15" fmla="*/ 2147483647 h 780"/>
                    <a:gd name="T16" fmla="*/ 2147483647 w 149"/>
                    <a:gd name="T17" fmla="*/ 2147483647 h 780"/>
                    <a:gd name="T18" fmla="*/ 2147483647 w 149"/>
                    <a:gd name="T19" fmla="*/ 2147483647 h 780"/>
                    <a:gd name="T20" fmla="*/ 2147483647 w 149"/>
                    <a:gd name="T21" fmla="*/ 2147483647 h 780"/>
                    <a:gd name="T22" fmla="*/ 2147483647 w 149"/>
                    <a:gd name="T23" fmla="*/ 2147483647 h 780"/>
                    <a:gd name="T24" fmla="*/ 2147483647 w 149"/>
                    <a:gd name="T25" fmla="*/ 2147483647 h 780"/>
                    <a:gd name="T26" fmla="*/ 2147483647 w 149"/>
                    <a:gd name="T27" fmla="*/ 2147483647 h 780"/>
                    <a:gd name="T28" fmla="*/ 2147483647 w 149"/>
                    <a:gd name="T29" fmla="*/ 2147483647 h 780"/>
                    <a:gd name="T30" fmla="*/ 2147483647 w 149"/>
                    <a:gd name="T31" fmla="*/ 2147483647 h 780"/>
                    <a:gd name="T32" fmla="*/ 2147483647 w 149"/>
                    <a:gd name="T33" fmla="*/ 2147483647 h 780"/>
                    <a:gd name="T34" fmla="*/ 2147483647 w 149"/>
                    <a:gd name="T35" fmla="*/ 2147483647 h 780"/>
                    <a:gd name="T36" fmla="*/ 2147483647 w 149"/>
                    <a:gd name="T37" fmla="*/ 2147483647 h 780"/>
                    <a:gd name="T38" fmla="*/ 2147483647 w 149"/>
                    <a:gd name="T39" fmla="*/ 2147483647 h 780"/>
                    <a:gd name="T40" fmla="*/ 2147483647 w 149"/>
                    <a:gd name="T41" fmla="*/ 2147483647 h 780"/>
                    <a:gd name="T42" fmla="*/ 2147483647 w 149"/>
                    <a:gd name="T43" fmla="*/ 2147483647 h 780"/>
                    <a:gd name="T44" fmla="*/ 2147483647 w 149"/>
                    <a:gd name="T45" fmla="*/ 2147483647 h 780"/>
                    <a:gd name="T46" fmla="*/ 2147483647 w 149"/>
                    <a:gd name="T47" fmla="*/ 2147483647 h 780"/>
                    <a:gd name="T48" fmla="*/ 2147483647 w 149"/>
                    <a:gd name="T49" fmla="*/ 2147483647 h 780"/>
                    <a:gd name="T50" fmla="*/ 2147483647 w 149"/>
                    <a:gd name="T51" fmla="*/ 2147483647 h 780"/>
                    <a:gd name="T52" fmla="*/ 2147483647 w 149"/>
                    <a:gd name="T53" fmla="*/ 2147483647 h 780"/>
                    <a:gd name="T54" fmla="*/ 2147483647 w 149"/>
                    <a:gd name="T55" fmla="*/ 2147483647 h 780"/>
                    <a:gd name="T56" fmla="*/ 2147483647 w 149"/>
                    <a:gd name="T57" fmla="*/ 2147483647 h 780"/>
                    <a:gd name="T58" fmla="*/ 2147483647 w 149"/>
                    <a:gd name="T59" fmla="*/ 2147483647 h 780"/>
                    <a:gd name="T60" fmla="*/ 2147483647 w 149"/>
                    <a:gd name="T61" fmla="*/ 2147483647 h 780"/>
                    <a:gd name="T62" fmla="*/ 2147483647 w 149"/>
                    <a:gd name="T63" fmla="*/ 2147483647 h 780"/>
                    <a:gd name="T64" fmla="*/ 2147483647 w 149"/>
                    <a:gd name="T65" fmla="*/ 2147483647 h 780"/>
                    <a:gd name="T66" fmla="*/ 2147483647 w 149"/>
                    <a:gd name="T67" fmla="*/ 2147483647 h 780"/>
                    <a:gd name="T68" fmla="*/ 0 w 149"/>
                    <a:gd name="T69" fmla="*/ 2147483647 h 780"/>
                    <a:gd name="T70" fmla="*/ 2147483647 w 149"/>
                    <a:gd name="T71" fmla="*/ 2147483647 h 780"/>
                    <a:gd name="T72" fmla="*/ 2147483647 w 149"/>
                    <a:gd name="T73" fmla="*/ 2147483647 h 780"/>
                    <a:gd name="T74" fmla="*/ 2147483647 w 149"/>
                    <a:gd name="T75" fmla="*/ 2147483647 h 780"/>
                    <a:gd name="T76" fmla="*/ 2147483647 w 149"/>
                    <a:gd name="T77" fmla="*/ 2147483647 h 780"/>
                    <a:gd name="T78" fmla="*/ 2147483647 w 149"/>
                    <a:gd name="T79" fmla="*/ 2147483647 h 780"/>
                    <a:gd name="T80" fmla="*/ 2147483647 w 149"/>
                    <a:gd name="T81" fmla="*/ 2147483647 h 780"/>
                    <a:gd name="T82" fmla="*/ 2147483647 w 149"/>
                    <a:gd name="T83" fmla="*/ 2147483647 h 780"/>
                    <a:gd name="T84" fmla="*/ 2147483647 w 149"/>
                    <a:gd name="T85" fmla="*/ 2147483647 h 780"/>
                    <a:gd name="T86" fmla="*/ 2147483647 w 149"/>
                    <a:gd name="T87" fmla="*/ 2147483647 h 780"/>
                    <a:gd name="T88" fmla="*/ 2147483647 w 149"/>
                    <a:gd name="T89" fmla="*/ 2147483647 h 780"/>
                    <a:gd name="T90" fmla="*/ 2147483647 w 149"/>
                    <a:gd name="T91" fmla="*/ 2147483647 h 780"/>
                    <a:gd name="T92" fmla="*/ 2147483647 w 149"/>
                    <a:gd name="T93" fmla="*/ 2147483647 h 780"/>
                    <a:gd name="T94" fmla="*/ 2147483647 w 149"/>
                    <a:gd name="T95" fmla="*/ 2147483647 h 780"/>
                    <a:gd name="T96" fmla="*/ 2147483647 w 149"/>
                    <a:gd name="T97" fmla="*/ 2147483647 h 780"/>
                    <a:gd name="T98" fmla="*/ 2147483647 w 149"/>
                    <a:gd name="T99" fmla="*/ 2147483647 h 780"/>
                    <a:gd name="T100" fmla="*/ 2147483647 w 149"/>
                    <a:gd name="T101" fmla="*/ 2147483647 h 780"/>
                    <a:gd name="T102" fmla="*/ 2147483647 w 149"/>
                    <a:gd name="T103" fmla="*/ 2147483647 h 780"/>
                    <a:gd name="T104" fmla="*/ 2147483647 w 149"/>
                    <a:gd name="T105" fmla="*/ 2147483647 h 780"/>
                    <a:gd name="T106" fmla="*/ 2147483647 w 149"/>
                    <a:gd name="T107" fmla="*/ 2147483647 h 780"/>
                    <a:gd name="T108" fmla="*/ 2147483647 w 149"/>
                    <a:gd name="T109" fmla="*/ 2147483647 h 780"/>
                    <a:gd name="T110" fmla="*/ 2147483647 w 149"/>
                    <a:gd name="T111" fmla="*/ 2147483647 h 780"/>
                    <a:gd name="T112" fmla="*/ 2147483647 w 149"/>
                    <a:gd name="T113" fmla="*/ 2147483647 h 780"/>
                    <a:gd name="T114" fmla="*/ 2147483647 w 149"/>
                    <a:gd name="T115" fmla="*/ 2147483647 h 780"/>
                    <a:gd name="T116" fmla="*/ 2147483647 w 149"/>
                    <a:gd name="T117" fmla="*/ 2147483647 h 78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49"/>
                    <a:gd name="T178" fmla="*/ 0 h 780"/>
                    <a:gd name="T179" fmla="*/ 149 w 149"/>
                    <a:gd name="T180" fmla="*/ 780 h 78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49" h="780">
                      <a:moveTo>
                        <a:pt x="145" y="90"/>
                      </a:moveTo>
                      <a:lnTo>
                        <a:pt x="145" y="90"/>
                      </a:lnTo>
                      <a:lnTo>
                        <a:pt x="148" y="97"/>
                      </a:lnTo>
                      <a:lnTo>
                        <a:pt x="149" y="106"/>
                      </a:lnTo>
                      <a:lnTo>
                        <a:pt x="149" y="109"/>
                      </a:lnTo>
                      <a:lnTo>
                        <a:pt x="148" y="113"/>
                      </a:lnTo>
                      <a:lnTo>
                        <a:pt x="146" y="116"/>
                      </a:lnTo>
                      <a:lnTo>
                        <a:pt x="144" y="119"/>
                      </a:lnTo>
                      <a:lnTo>
                        <a:pt x="134" y="127"/>
                      </a:lnTo>
                      <a:lnTo>
                        <a:pt x="126" y="135"/>
                      </a:lnTo>
                      <a:lnTo>
                        <a:pt x="120" y="146"/>
                      </a:lnTo>
                      <a:lnTo>
                        <a:pt x="117" y="156"/>
                      </a:lnTo>
                      <a:lnTo>
                        <a:pt x="113" y="172"/>
                      </a:lnTo>
                      <a:lnTo>
                        <a:pt x="108" y="187"/>
                      </a:lnTo>
                      <a:lnTo>
                        <a:pt x="98" y="216"/>
                      </a:lnTo>
                      <a:lnTo>
                        <a:pt x="95" y="225"/>
                      </a:lnTo>
                      <a:lnTo>
                        <a:pt x="93" y="234"/>
                      </a:lnTo>
                      <a:lnTo>
                        <a:pt x="92" y="251"/>
                      </a:lnTo>
                      <a:lnTo>
                        <a:pt x="88" y="266"/>
                      </a:lnTo>
                      <a:lnTo>
                        <a:pt x="87" y="273"/>
                      </a:lnTo>
                      <a:lnTo>
                        <a:pt x="85" y="280"/>
                      </a:lnTo>
                      <a:lnTo>
                        <a:pt x="85" y="287"/>
                      </a:lnTo>
                      <a:lnTo>
                        <a:pt x="87" y="294"/>
                      </a:lnTo>
                      <a:lnTo>
                        <a:pt x="89" y="307"/>
                      </a:lnTo>
                      <a:lnTo>
                        <a:pt x="92" y="320"/>
                      </a:lnTo>
                      <a:lnTo>
                        <a:pt x="92" y="327"/>
                      </a:lnTo>
                      <a:lnTo>
                        <a:pt x="90" y="334"/>
                      </a:lnTo>
                      <a:lnTo>
                        <a:pt x="87" y="345"/>
                      </a:lnTo>
                      <a:lnTo>
                        <a:pt x="85" y="351"/>
                      </a:lnTo>
                      <a:lnTo>
                        <a:pt x="84" y="358"/>
                      </a:lnTo>
                      <a:lnTo>
                        <a:pt x="84" y="363"/>
                      </a:lnTo>
                      <a:lnTo>
                        <a:pt x="84" y="368"/>
                      </a:lnTo>
                      <a:lnTo>
                        <a:pt x="85" y="371"/>
                      </a:lnTo>
                      <a:lnTo>
                        <a:pt x="84" y="375"/>
                      </a:lnTo>
                      <a:lnTo>
                        <a:pt x="83" y="379"/>
                      </a:lnTo>
                      <a:lnTo>
                        <a:pt x="80" y="382"/>
                      </a:lnTo>
                      <a:lnTo>
                        <a:pt x="76" y="384"/>
                      </a:lnTo>
                      <a:lnTo>
                        <a:pt x="75" y="386"/>
                      </a:lnTo>
                      <a:lnTo>
                        <a:pt x="73" y="391"/>
                      </a:lnTo>
                      <a:lnTo>
                        <a:pt x="73" y="398"/>
                      </a:lnTo>
                      <a:lnTo>
                        <a:pt x="73" y="407"/>
                      </a:lnTo>
                      <a:lnTo>
                        <a:pt x="76" y="420"/>
                      </a:lnTo>
                      <a:lnTo>
                        <a:pt x="76" y="423"/>
                      </a:lnTo>
                      <a:lnTo>
                        <a:pt x="76" y="426"/>
                      </a:lnTo>
                      <a:lnTo>
                        <a:pt x="75" y="428"/>
                      </a:lnTo>
                      <a:lnTo>
                        <a:pt x="73" y="432"/>
                      </a:lnTo>
                      <a:lnTo>
                        <a:pt x="69" y="437"/>
                      </a:lnTo>
                      <a:lnTo>
                        <a:pt x="65" y="446"/>
                      </a:lnTo>
                      <a:lnTo>
                        <a:pt x="60" y="461"/>
                      </a:lnTo>
                      <a:lnTo>
                        <a:pt x="59" y="469"/>
                      </a:lnTo>
                      <a:lnTo>
                        <a:pt x="57" y="479"/>
                      </a:lnTo>
                      <a:lnTo>
                        <a:pt x="57" y="498"/>
                      </a:lnTo>
                      <a:lnTo>
                        <a:pt x="60" y="517"/>
                      </a:lnTo>
                      <a:lnTo>
                        <a:pt x="62" y="536"/>
                      </a:lnTo>
                      <a:lnTo>
                        <a:pt x="62" y="542"/>
                      </a:lnTo>
                      <a:lnTo>
                        <a:pt x="62" y="548"/>
                      </a:lnTo>
                      <a:lnTo>
                        <a:pt x="64" y="550"/>
                      </a:lnTo>
                      <a:lnTo>
                        <a:pt x="66" y="552"/>
                      </a:lnTo>
                      <a:lnTo>
                        <a:pt x="70" y="556"/>
                      </a:lnTo>
                      <a:lnTo>
                        <a:pt x="71" y="560"/>
                      </a:lnTo>
                      <a:lnTo>
                        <a:pt x="70" y="561"/>
                      </a:lnTo>
                      <a:lnTo>
                        <a:pt x="65" y="564"/>
                      </a:lnTo>
                      <a:lnTo>
                        <a:pt x="64" y="567"/>
                      </a:lnTo>
                      <a:lnTo>
                        <a:pt x="65" y="568"/>
                      </a:lnTo>
                      <a:lnTo>
                        <a:pt x="68" y="571"/>
                      </a:lnTo>
                      <a:lnTo>
                        <a:pt x="69" y="574"/>
                      </a:lnTo>
                      <a:lnTo>
                        <a:pt x="69" y="576"/>
                      </a:lnTo>
                      <a:lnTo>
                        <a:pt x="66" y="581"/>
                      </a:lnTo>
                      <a:lnTo>
                        <a:pt x="65" y="586"/>
                      </a:lnTo>
                      <a:lnTo>
                        <a:pt x="65" y="592"/>
                      </a:lnTo>
                      <a:lnTo>
                        <a:pt x="65" y="596"/>
                      </a:lnTo>
                      <a:lnTo>
                        <a:pt x="65" y="605"/>
                      </a:lnTo>
                      <a:lnTo>
                        <a:pt x="61" y="619"/>
                      </a:lnTo>
                      <a:lnTo>
                        <a:pt x="55" y="632"/>
                      </a:lnTo>
                      <a:lnTo>
                        <a:pt x="54" y="635"/>
                      </a:lnTo>
                      <a:lnTo>
                        <a:pt x="55" y="638"/>
                      </a:lnTo>
                      <a:lnTo>
                        <a:pt x="56" y="643"/>
                      </a:lnTo>
                      <a:lnTo>
                        <a:pt x="56" y="646"/>
                      </a:lnTo>
                      <a:lnTo>
                        <a:pt x="54" y="651"/>
                      </a:lnTo>
                      <a:lnTo>
                        <a:pt x="51" y="654"/>
                      </a:lnTo>
                      <a:lnTo>
                        <a:pt x="48" y="658"/>
                      </a:lnTo>
                      <a:lnTo>
                        <a:pt x="46" y="662"/>
                      </a:lnTo>
                      <a:lnTo>
                        <a:pt x="43" y="670"/>
                      </a:lnTo>
                      <a:lnTo>
                        <a:pt x="40" y="677"/>
                      </a:lnTo>
                      <a:lnTo>
                        <a:pt x="37" y="683"/>
                      </a:lnTo>
                      <a:lnTo>
                        <a:pt x="35" y="689"/>
                      </a:lnTo>
                      <a:lnTo>
                        <a:pt x="36" y="695"/>
                      </a:lnTo>
                      <a:lnTo>
                        <a:pt x="36" y="698"/>
                      </a:lnTo>
                      <a:lnTo>
                        <a:pt x="38" y="699"/>
                      </a:lnTo>
                      <a:lnTo>
                        <a:pt x="43" y="704"/>
                      </a:lnTo>
                      <a:lnTo>
                        <a:pt x="47" y="708"/>
                      </a:lnTo>
                      <a:lnTo>
                        <a:pt x="50" y="713"/>
                      </a:lnTo>
                      <a:lnTo>
                        <a:pt x="51" y="718"/>
                      </a:lnTo>
                      <a:lnTo>
                        <a:pt x="52" y="723"/>
                      </a:lnTo>
                      <a:lnTo>
                        <a:pt x="54" y="728"/>
                      </a:lnTo>
                      <a:lnTo>
                        <a:pt x="55" y="731"/>
                      </a:lnTo>
                      <a:lnTo>
                        <a:pt x="57" y="733"/>
                      </a:lnTo>
                      <a:lnTo>
                        <a:pt x="62" y="735"/>
                      </a:lnTo>
                      <a:lnTo>
                        <a:pt x="69" y="736"/>
                      </a:lnTo>
                      <a:lnTo>
                        <a:pt x="75" y="736"/>
                      </a:lnTo>
                      <a:lnTo>
                        <a:pt x="76" y="737"/>
                      </a:lnTo>
                      <a:lnTo>
                        <a:pt x="95" y="737"/>
                      </a:lnTo>
                      <a:lnTo>
                        <a:pt x="116" y="737"/>
                      </a:lnTo>
                      <a:lnTo>
                        <a:pt x="116" y="740"/>
                      </a:lnTo>
                      <a:lnTo>
                        <a:pt x="117" y="742"/>
                      </a:lnTo>
                      <a:lnTo>
                        <a:pt x="116" y="743"/>
                      </a:lnTo>
                      <a:lnTo>
                        <a:pt x="115" y="743"/>
                      </a:lnTo>
                      <a:lnTo>
                        <a:pt x="111" y="743"/>
                      </a:lnTo>
                      <a:lnTo>
                        <a:pt x="107" y="743"/>
                      </a:lnTo>
                      <a:lnTo>
                        <a:pt x="103" y="743"/>
                      </a:lnTo>
                      <a:lnTo>
                        <a:pt x="94" y="747"/>
                      </a:lnTo>
                      <a:lnTo>
                        <a:pt x="85" y="752"/>
                      </a:lnTo>
                      <a:lnTo>
                        <a:pt x="80" y="756"/>
                      </a:lnTo>
                      <a:lnTo>
                        <a:pt x="76" y="763"/>
                      </a:lnTo>
                      <a:lnTo>
                        <a:pt x="73" y="771"/>
                      </a:lnTo>
                      <a:lnTo>
                        <a:pt x="69" y="778"/>
                      </a:lnTo>
                      <a:lnTo>
                        <a:pt x="66" y="780"/>
                      </a:lnTo>
                      <a:lnTo>
                        <a:pt x="64" y="779"/>
                      </a:lnTo>
                      <a:lnTo>
                        <a:pt x="59" y="777"/>
                      </a:lnTo>
                      <a:lnTo>
                        <a:pt x="57" y="774"/>
                      </a:lnTo>
                      <a:lnTo>
                        <a:pt x="59" y="772"/>
                      </a:lnTo>
                      <a:lnTo>
                        <a:pt x="60" y="771"/>
                      </a:lnTo>
                      <a:lnTo>
                        <a:pt x="62" y="769"/>
                      </a:lnTo>
                      <a:lnTo>
                        <a:pt x="65" y="769"/>
                      </a:lnTo>
                      <a:lnTo>
                        <a:pt x="66" y="768"/>
                      </a:lnTo>
                      <a:lnTo>
                        <a:pt x="70" y="766"/>
                      </a:lnTo>
                      <a:lnTo>
                        <a:pt x="71" y="762"/>
                      </a:lnTo>
                      <a:lnTo>
                        <a:pt x="73" y="759"/>
                      </a:lnTo>
                      <a:lnTo>
                        <a:pt x="71" y="756"/>
                      </a:lnTo>
                      <a:lnTo>
                        <a:pt x="65" y="750"/>
                      </a:lnTo>
                      <a:lnTo>
                        <a:pt x="62" y="749"/>
                      </a:lnTo>
                      <a:lnTo>
                        <a:pt x="60" y="749"/>
                      </a:lnTo>
                      <a:lnTo>
                        <a:pt x="57" y="749"/>
                      </a:lnTo>
                      <a:lnTo>
                        <a:pt x="55" y="750"/>
                      </a:lnTo>
                      <a:lnTo>
                        <a:pt x="52" y="754"/>
                      </a:lnTo>
                      <a:lnTo>
                        <a:pt x="51" y="759"/>
                      </a:lnTo>
                      <a:lnTo>
                        <a:pt x="48" y="763"/>
                      </a:lnTo>
                      <a:lnTo>
                        <a:pt x="47" y="763"/>
                      </a:lnTo>
                      <a:lnTo>
                        <a:pt x="46" y="763"/>
                      </a:lnTo>
                      <a:lnTo>
                        <a:pt x="41" y="760"/>
                      </a:lnTo>
                      <a:lnTo>
                        <a:pt x="36" y="755"/>
                      </a:lnTo>
                      <a:lnTo>
                        <a:pt x="35" y="753"/>
                      </a:lnTo>
                      <a:lnTo>
                        <a:pt x="33" y="750"/>
                      </a:lnTo>
                      <a:lnTo>
                        <a:pt x="33" y="747"/>
                      </a:lnTo>
                      <a:lnTo>
                        <a:pt x="35" y="745"/>
                      </a:lnTo>
                      <a:lnTo>
                        <a:pt x="38" y="743"/>
                      </a:lnTo>
                      <a:lnTo>
                        <a:pt x="42" y="741"/>
                      </a:lnTo>
                      <a:lnTo>
                        <a:pt x="45" y="739"/>
                      </a:lnTo>
                      <a:lnTo>
                        <a:pt x="46" y="737"/>
                      </a:lnTo>
                      <a:lnTo>
                        <a:pt x="46" y="735"/>
                      </a:lnTo>
                      <a:lnTo>
                        <a:pt x="42" y="735"/>
                      </a:lnTo>
                      <a:lnTo>
                        <a:pt x="38" y="734"/>
                      </a:lnTo>
                      <a:lnTo>
                        <a:pt x="36" y="733"/>
                      </a:lnTo>
                      <a:lnTo>
                        <a:pt x="33" y="729"/>
                      </a:lnTo>
                      <a:lnTo>
                        <a:pt x="31" y="723"/>
                      </a:lnTo>
                      <a:lnTo>
                        <a:pt x="31" y="717"/>
                      </a:lnTo>
                      <a:lnTo>
                        <a:pt x="32" y="710"/>
                      </a:lnTo>
                      <a:lnTo>
                        <a:pt x="29" y="703"/>
                      </a:lnTo>
                      <a:lnTo>
                        <a:pt x="26" y="696"/>
                      </a:lnTo>
                      <a:lnTo>
                        <a:pt x="21" y="691"/>
                      </a:lnTo>
                      <a:lnTo>
                        <a:pt x="19" y="689"/>
                      </a:lnTo>
                      <a:lnTo>
                        <a:pt x="21" y="686"/>
                      </a:lnTo>
                      <a:lnTo>
                        <a:pt x="23" y="682"/>
                      </a:lnTo>
                      <a:lnTo>
                        <a:pt x="26" y="675"/>
                      </a:lnTo>
                      <a:lnTo>
                        <a:pt x="27" y="666"/>
                      </a:lnTo>
                      <a:lnTo>
                        <a:pt x="27" y="659"/>
                      </a:lnTo>
                      <a:lnTo>
                        <a:pt x="26" y="651"/>
                      </a:lnTo>
                      <a:lnTo>
                        <a:pt x="24" y="650"/>
                      </a:lnTo>
                      <a:lnTo>
                        <a:pt x="26" y="648"/>
                      </a:lnTo>
                      <a:lnTo>
                        <a:pt x="28" y="646"/>
                      </a:lnTo>
                      <a:lnTo>
                        <a:pt x="32" y="646"/>
                      </a:lnTo>
                      <a:lnTo>
                        <a:pt x="33" y="645"/>
                      </a:lnTo>
                      <a:lnTo>
                        <a:pt x="33" y="644"/>
                      </a:lnTo>
                      <a:lnTo>
                        <a:pt x="33" y="643"/>
                      </a:lnTo>
                      <a:lnTo>
                        <a:pt x="29" y="640"/>
                      </a:lnTo>
                      <a:lnTo>
                        <a:pt x="26" y="639"/>
                      </a:lnTo>
                      <a:lnTo>
                        <a:pt x="23" y="637"/>
                      </a:lnTo>
                      <a:lnTo>
                        <a:pt x="21" y="634"/>
                      </a:lnTo>
                      <a:lnTo>
                        <a:pt x="21" y="632"/>
                      </a:lnTo>
                      <a:lnTo>
                        <a:pt x="21" y="631"/>
                      </a:lnTo>
                      <a:lnTo>
                        <a:pt x="26" y="622"/>
                      </a:lnTo>
                      <a:lnTo>
                        <a:pt x="27" y="619"/>
                      </a:lnTo>
                      <a:lnTo>
                        <a:pt x="27" y="614"/>
                      </a:lnTo>
                      <a:lnTo>
                        <a:pt x="26" y="613"/>
                      </a:lnTo>
                      <a:lnTo>
                        <a:pt x="24" y="613"/>
                      </a:lnTo>
                      <a:lnTo>
                        <a:pt x="22" y="613"/>
                      </a:lnTo>
                      <a:lnTo>
                        <a:pt x="19" y="614"/>
                      </a:lnTo>
                      <a:lnTo>
                        <a:pt x="9" y="614"/>
                      </a:lnTo>
                      <a:lnTo>
                        <a:pt x="5" y="615"/>
                      </a:lnTo>
                      <a:lnTo>
                        <a:pt x="0" y="618"/>
                      </a:lnTo>
                      <a:lnTo>
                        <a:pt x="0" y="615"/>
                      </a:lnTo>
                      <a:lnTo>
                        <a:pt x="0" y="612"/>
                      </a:lnTo>
                      <a:lnTo>
                        <a:pt x="5" y="606"/>
                      </a:lnTo>
                      <a:lnTo>
                        <a:pt x="8" y="601"/>
                      </a:lnTo>
                      <a:lnTo>
                        <a:pt x="10" y="595"/>
                      </a:lnTo>
                      <a:lnTo>
                        <a:pt x="12" y="593"/>
                      </a:lnTo>
                      <a:lnTo>
                        <a:pt x="15" y="593"/>
                      </a:lnTo>
                      <a:lnTo>
                        <a:pt x="18" y="593"/>
                      </a:lnTo>
                      <a:lnTo>
                        <a:pt x="21" y="595"/>
                      </a:lnTo>
                      <a:lnTo>
                        <a:pt x="23" y="601"/>
                      </a:lnTo>
                      <a:lnTo>
                        <a:pt x="24" y="603"/>
                      </a:lnTo>
                      <a:lnTo>
                        <a:pt x="27" y="606"/>
                      </a:lnTo>
                      <a:lnTo>
                        <a:pt x="29" y="607"/>
                      </a:lnTo>
                      <a:lnTo>
                        <a:pt x="32" y="607"/>
                      </a:lnTo>
                      <a:lnTo>
                        <a:pt x="35" y="606"/>
                      </a:lnTo>
                      <a:lnTo>
                        <a:pt x="35" y="605"/>
                      </a:lnTo>
                      <a:lnTo>
                        <a:pt x="37" y="586"/>
                      </a:lnTo>
                      <a:lnTo>
                        <a:pt x="38" y="579"/>
                      </a:lnTo>
                      <a:lnTo>
                        <a:pt x="40" y="577"/>
                      </a:lnTo>
                      <a:lnTo>
                        <a:pt x="42" y="576"/>
                      </a:lnTo>
                      <a:lnTo>
                        <a:pt x="48" y="575"/>
                      </a:lnTo>
                      <a:lnTo>
                        <a:pt x="52" y="573"/>
                      </a:lnTo>
                      <a:lnTo>
                        <a:pt x="55" y="569"/>
                      </a:lnTo>
                      <a:lnTo>
                        <a:pt x="56" y="566"/>
                      </a:lnTo>
                      <a:lnTo>
                        <a:pt x="59" y="562"/>
                      </a:lnTo>
                      <a:lnTo>
                        <a:pt x="57" y="560"/>
                      </a:lnTo>
                      <a:lnTo>
                        <a:pt x="55" y="558"/>
                      </a:lnTo>
                      <a:lnTo>
                        <a:pt x="51" y="556"/>
                      </a:lnTo>
                      <a:lnTo>
                        <a:pt x="45" y="555"/>
                      </a:lnTo>
                      <a:lnTo>
                        <a:pt x="48" y="549"/>
                      </a:lnTo>
                      <a:lnTo>
                        <a:pt x="50" y="542"/>
                      </a:lnTo>
                      <a:lnTo>
                        <a:pt x="51" y="535"/>
                      </a:lnTo>
                      <a:lnTo>
                        <a:pt x="51" y="526"/>
                      </a:lnTo>
                      <a:lnTo>
                        <a:pt x="50" y="509"/>
                      </a:lnTo>
                      <a:lnTo>
                        <a:pt x="47" y="494"/>
                      </a:lnTo>
                      <a:lnTo>
                        <a:pt x="47" y="493"/>
                      </a:lnTo>
                      <a:lnTo>
                        <a:pt x="46" y="493"/>
                      </a:lnTo>
                      <a:lnTo>
                        <a:pt x="43" y="494"/>
                      </a:lnTo>
                      <a:lnTo>
                        <a:pt x="42" y="497"/>
                      </a:lnTo>
                      <a:lnTo>
                        <a:pt x="40" y="498"/>
                      </a:lnTo>
                      <a:lnTo>
                        <a:pt x="37" y="498"/>
                      </a:lnTo>
                      <a:lnTo>
                        <a:pt x="35" y="497"/>
                      </a:lnTo>
                      <a:lnTo>
                        <a:pt x="32" y="494"/>
                      </a:lnTo>
                      <a:lnTo>
                        <a:pt x="31" y="491"/>
                      </a:lnTo>
                      <a:lnTo>
                        <a:pt x="29" y="487"/>
                      </a:lnTo>
                      <a:lnTo>
                        <a:pt x="31" y="479"/>
                      </a:lnTo>
                      <a:lnTo>
                        <a:pt x="33" y="472"/>
                      </a:lnTo>
                      <a:lnTo>
                        <a:pt x="36" y="462"/>
                      </a:lnTo>
                      <a:lnTo>
                        <a:pt x="38" y="456"/>
                      </a:lnTo>
                      <a:lnTo>
                        <a:pt x="38" y="452"/>
                      </a:lnTo>
                      <a:lnTo>
                        <a:pt x="40" y="433"/>
                      </a:lnTo>
                      <a:lnTo>
                        <a:pt x="41" y="414"/>
                      </a:lnTo>
                      <a:lnTo>
                        <a:pt x="40" y="413"/>
                      </a:lnTo>
                      <a:lnTo>
                        <a:pt x="38" y="411"/>
                      </a:lnTo>
                      <a:lnTo>
                        <a:pt x="37" y="409"/>
                      </a:lnTo>
                      <a:lnTo>
                        <a:pt x="37" y="407"/>
                      </a:lnTo>
                      <a:lnTo>
                        <a:pt x="40" y="400"/>
                      </a:lnTo>
                      <a:lnTo>
                        <a:pt x="41" y="391"/>
                      </a:lnTo>
                      <a:lnTo>
                        <a:pt x="42" y="391"/>
                      </a:lnTo>
                      <a:lnTo>
                        <a:pt x="45" y="381"/>
                      </a:lnTo>
                      <a:lnTo>
                        <a:pt x="47" y="371"/>
                      </a:lnTo>
                      <a:lnTo>
                        <a:pt x="56" y="351"/>
                      </a:lnTo>
                      <a:lnTo>
                        <a:pt x="59" y="345"/>
                      </a:lnTo>
                      <a:lnTo>
                        <a:pt x="59" y="341"/>
                      </a:lnTo>
                      <a:lnTo>
                        <a:pt x="61" y="333"/>
                      </a:lnTo>
                      <a:lnTo>
                        <a:pt x="65" y="325"/>
                      </a:lnTo>
                      <a:lnTo>
                        <a:pt x="66" y="313"/>
                      </a:lnTo>
                      <a:lnTo>
                        <a:pt x="69" y="307"/>
                      </a:lnTo>
                      <a:lnTo>
                        <a:pt x="70" y="302"/>
                      </a:lnTo>
                      <a:lnTo>
                        <a:pt x="73" y="296"/>
                      </a:lnTo>
                      <a:lnTo>
                        <a:pt x="73" y="293"/>
                      </a:lnTo>
                      <a:lnTo>
                        <a:pt x="71" y="289"/>
                      </a:lnTo>
                      <a:lnTo>
                        <a:pt x="71" y="287"/>
                      </a:lnTo>
                      <a:lnTo>
                        <a:pt x="71" y="285"/>
                      </a:lnTo>
                      <a:lnTo>
                        <a:pt x="71" y="280"/>
                      </a:lnTo>
                      <a:lnTo>
                        <a:pt x="69" y="267"/>
                      </a:lnTo>
                      <a:lnTo>
                        <a:pt x="68" y="255"/>
                      </a:lnTo>
                      <a:lnTo>
                        <a:pt x="69" y="243"/>
                      </a:lnTo>
                      <a:lnTo>
                        <a:pt x="70" y="231"/>
                      </a:lnTo>
                      <a:lnTo>
                        <a:pt x="69" y="230"/>
                      </a:lnTo>
                      <a:lnTo>
                        <a:pt x="68" y="228"/>
                      </a:lnTo>
                      <a:lnTo>
                        <a:pt x="66" y="223"/>
                      </a:lnTo>
                      <a:lnTo>
                        <a:pt x="69" y="217"/>
                      </a:lnTo>
                      <a:lnTo>
                        <a:pt x="73" y="210"/>
                      </a:lnTo>
                      <a:lnTo>
                        <a:pt x="75" y="206"/>
                      </a:lnTo>
                      <a:lnTo>
                        <a:pt x="76" y="203"/>
                      </a:lnTo>
                      <a:lnTo>
                        <a:pt x="79" y="193"/>
                      </a:lnTo>
                      <a:lnTo>
                        <a:pt x="80" y="187"/>
                      </a:lnTo>
                      <a:lnTo>
                        <a:pt x="80" y="184"/>
                      </a:lnTo>
                      <a:lnTo>
                        <a:pt x="80" y="180"/>
                      </a:lnTo>
                      <a:lnTo>
                        <a:pt x="81" y="174"/>
                      </a:lnTo>
                      <a:lnTo>
                        <a:pt x="81" y="168"/>
                      </a:lnTo>
                      <a:lnTo>
                        <a:pt x="81" y="162"/>
                      </a:lnTo>
                      <a:lnTo>
                        <a:pt x="81" y="158"/>
                      </a:lnTo>
                      <a:lnTo>
                        <a:pt x="85" y="151"/>
                      </a:lnTo>
                      <a:lnTo>
                        <a:pt x="87" y="147"/>
                      </a:lnTo>
                      <a:lnTo>
                        <a:pt x="85" y="145"/>
                      </a:lnTo>
                      <a:lnTo>
                        <a:pt x="83" y="138"/>
                      </a:lnTo>
                      <a:lnTo>
                        <a:pt x="83" y="135"/>
                      </a:lnTo>
                      <a:lnTo>
                        <a:pt x="83" y="134"/>
                      </a:lnTo>
                      <a:lnTo>
                        <a:pt x="84" y="129"/>
                      </a:lnTo>
                      <a:lnTo>
                        <a:pt x="84" y="124"/>
                      </a:lnTo>
                      <a:lnTo>
                        <a:pt x="84" y="120"/>
                      </a:lnTo>
                      <a:lnTo>
                        <a:pt x="85" y="116"/>
                      </a:lnTo>
                      <a:lnTo>
                        <a:pt x="88" y="113"/>
                      </a:lnTo>
                      <a:lnTo>
                        <a:pt x="88" y="109"/>
                      </a:lnTo>
                      <a:lnTo>
                        <a:pt x="87" y="107"/>
                      </a:lnTo>
                      <a:lnTo>
                        <a:pt x="85" y="104"/>
                      </a:lnTo>
                      <a:lnTo>
                        <a:pt x="85" y="102"/>
                      </a:lnTo>
                      <a:lnTo>
                        <a:pt x="85" y="98"/>
                      </a:lnTo>
                      <a:lnTo>
                        <a:pt x="88" y="94"/>
                      </a:lnTo>
                      <a:lnTo>
                        <a:pt x="90" y="84"/>
                      </a:lnTo>
                      <a:lnTo>
                        <a:pt x="92" y="69"/>
                      </a:lnTo>
                      <a:lnTo>
                        <a:pt x="90" y="45"/>
                      </a:lnTo>
                      <a:lnTo>
                        <a:pt x="89" y="20"/>
                      </a:lnTo>
                      <a:lnTo>
                        <a:pt x="87" y="4"/>
                      </a:lnTo>
                      <a:lnTo>
                        <a:pt x="93" y="4"/>
                      </a:lnTo>
                      <a:lnTo>
                        <a:pt x="98" y="2"/>
                      </a:lnTo>
                      <a:lnTo>
                        <a:pt x="108" y="0"/>
                      </a:lnTo>
                      <a:lnTo>
                        <a:pt x="115" y="7"/>
                      </a:lnTo>
                      <a:lnTo>
                        <a:pt x="118" y="15"/>
                      </a:lnTo>
                      <a:lnTo>
                        <a:pt x="122" y="25"/>
                      </a:lnTo>
                      <a:lnTo>
                        <a:pt x="123" y="34"/>
                      </a:lnTo>
                      <a:lnTo>
                        <a:pt x="123" y="41"/>
                      </a:lnTo>
                      <a:lnTo>
                        <a:pt x="126" y="49"/>
                      </a:lnTo>
                      <a:lnTo>
                        <a:pt x="130" y="60"/>
                      </a:lnTo>
                      <a:lnTo>
                        <a:pt x="134" y="72"/>
                      </a:lnTo>
                      <a:lnTo>
                        <a:pt x="137" y="81"/>
                      </a:lnTo>
                      <a:lnTo>
                        <a:pt x="140" y="88"/>
                      </a:lnTo>
                      <a:lnTo>
                        <a:pt x="142" y="90"/>
                      </a:lnTo>
                      <a:lnTo>
                        <a:pt x="145" y="9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2" name="Freeform 1083">
                  <a:extLst>
                    <a:ext uri="{FF2B5EF4-FFF2-40B4-BE49-F238E27FC236}">
                      <a16:creationId xmlns:a16="http://schemas.microsoft.com/office/drawing/2014/main" id="{CDB1CE57-7CAB-E94F-93D7-48CD0555A5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0787" y="6266939"/>
                  <a:ext cx="84352" cy="81392"/>
                </a:xfrm>
                <a:custGeom>
                  <a:avLst/>
                  <a:gdLst>
                    <a:gd name="T0" fmla="*/ 2147483647 w 61"/>
                    <a:gd name="T1" fmla="*/ 2147483647 h 55"/>
                    <a:gd name="T2" fmla="*/ 2147483647 w 61"/>
                    <a:gd name="T3" fmla="*/ 2147483647 h 55"/>
                    <a:gd name="T4" fmla="*/ 2147483647 w 61"/>
                    <a:gd name="T5" fmla="*/ 2147483647 h 55"/>
                    <a:gd name="T6" fmla="*/ 2147483647 w 61"/>
                    <a:gd name="T7" fmla="*/ 0 h 55"/>
                    <a:gd name="T8" fmla="*/ 2147483647 w 61"/>
                    <a:gd name="T9" fmla="*/ 2147483647 h 55"/>
                    <a:gd name="T10" fmla="*/ 2147483647 w 61"/>
                    <a:gd name="T11" fmla="*/ 0 h 55"/>
                    <a:gd name="T12" fmla="*/ 2147483647 w 61"/>
                    <a:gd name="T13" fmla="*/ 2147483647 h 55"/>
                    <a:gd name="T14" fmla="*/ 2147483647 w 61"/>
                    <a:gd name="T15" fmla="*/ 2147483647 h 55"/>
                    <a:gd name="T16" fmla="*/ 2147483647 w 61"/>
                    <a:gd name="T17" fmla="*/ 2147483647 h 55"/>
                    <a:gd name="T18" fmla="*/ 2147483647 w 61"/>
                    <a:gd name="T19" fmla="*/ 2147483647 h 55"/>
                    <a:gd name="T20" fmla="*/ 2147483647 w 61"/>
                    <a:gd name="T21" fmla="*/ 2147483647 h 55"/>
                    <a:gd name="T22" fmla="*/ 2147483647 w 61"/>
                    <a:gd name="T23" fmla="*/ 2147483647 h 55"/>
                    <a:gd name="T24" fmla="*/ 2147483647 w 61"/>
                    <a:gd name="T25" fmla="*/ 2147483647 h 55"/>
                    <a:gd name="T26" fmla="*/ 2147483647 w 61"/>
                    <a:gd name="T27" fmla="*/ 2147483647 h 55"/>
                    <a:gd name="T28" fmla="*/ 2147483647 w 61"/>
                    <a:gd name="T29" fmla="*/ 2147483647 h 55"/>
                    <a:gd name="T30" fmla="*/ 2147483647 w 61"/>
                    <a:gd name="T31" fmla="*/ 2147483647 h 55"/>
                    <a:gd name="T32" fmla="*/ 2147483647 w 61"/>
                    <a:gd name="T33" fmla="*/ 2147483647 h 55"/>
                    <a:gd name="T34" fmla="*/ 2147483647 w 61"/>
                    <a:gd name="T35" fmla="*/ 2147483647 h 55"/>
                    <a:gd name="T36" fmla="*/ 2147483647 w 61"/>
                    <a:gd name="T37" fmla="*/ 2147483647 h 55"/>
                    <a:gd name="T38" fmla="*/ 2147483647 w 61"/>
                    <a:gd name="T39" fmla="*/ 2147483647 h 55"/>
                    <a:gd name="T40" fmla="*/ 2147483647 w 61"/>
                    <a:gd name="T41" fmla="*/ 2147483647 h 55"/>
                    <a:gd name="T42" fmla="*/ 2147483647 w 61"/>
                    <a:gd name="T43" fmla="*/ 2147483647 h 55"/>
                    <a:gd name="T44" fmla="*/ 2147483647 w 61"/>
                    <a:gd name="T45" fmla="*/ 2147483647 h 55"/>
                    <a:gd name="T46" fmla="*/ 2147483647 w 61"/>
                    <a:gd name="T47" fmla="*/ 2147483647 h 55"/>
                    <a:gd name="T48" fmla="*/ 2147483647 w 61"/>
                    <a:gd name="T49" fmla="*/ 2147483647 h 55"/>
                    <a:gd name="T50" fmla="*/ 2147483647 w 61"/>
                    <a:gd name="T51" fmla="*/ 2147483647 h 55"/>
                    <a:gd name="T52" fmla="*/ 2147483647 w 61"/>
                    <a:gd name="T53" fmla="*/ 2147483647 h 55"/>
                    <a:gd name="T54" fmla="*/ 2147483647 w 61"/>
                    <a:gd name="T55" fmla="*/ 2147483647 h 55"/>
                    <a:gd name="T56" fmla="*/ 0 w 61"/>
                    <a:gd name="T57" fmla="*/ 2147483647 h 55"/>
                    <a:gd name="T58" fmla="*/ 2147483647 w 61"/>
                    <a:gd name="T59" fmla="*/ 2147483647 h 55"/>
                    <a:gd name="T60" fmla="*/ 2147483647 w 61"/>
                    <a:gd name="T61" fmla="*/ 2147483647 h 55"/>
                    <a:gd name="T62" fmla="*/ 2147483647 w 61"/>
                    <a:gd name="T63" fmla="*/ 2147483647 h 55"/>
                    <a:gd name="T64" fmla="*/ 2147483647 w 61"/>
                    <a:gd name="T65" fmla="*/ 2147483647 h 55"/>
                    <a:gd name="T66" fmla="*/ 2147483647 w 61"/>
                    <a:gd name="T67" fmla="*/ 2147483647 h 55"/>
                    <a:gd name="T68" fmla="*/ 2147483647 w 61"/>
                    <a:gd name="T69" fmla="*/ 2147483647 h 55"/>
                    <a:gd name="T70" fmla="*/ 2147483647 w 61"/>
                    <a:gd name="T71" fmla="*/ 2147483647 h 5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1"/>
                    <a:gd name="T109" fmla="*/ 0 h 55"/>
                    <a:gd name="T110" fmla="*/ 61 w 61"/>
                    <a:gd name="T111" fmla="*/ 55 h 5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1" h="55">
                      <a:moveTo>
                        <a:pt x="61" y="49"/>
                      </a:moveTo>
                      <a:lnTo>
                        <a:pt x="61" y="14"/>
                      </a:lnTo>
                      <a:lnTo>
                        <a:pt x="60" y="8"/>
                      </a:lnTo>
                      <a:lnTo>
                        <a:pt x="56" y="2"/>
                      </a:lnTo>
                      <a:lnTo>
                        <a:pt x="55" y="1"/>
                      </a:lnTo>
                      <a:lnTo>
                        <a:pt x="51" y="0"/>
                      </a:lnTo>
                      <a:lnTo>
                        <a:pt x="45" y="1"/>
                      </a:lnTo>
                      <a:lnTo>
                        <a:pt x="44" y="1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31" y="2"/>
                      </a:lnTo>
                      <a:lnTo>
                        <a:pt x="28" y="4"/>
                      </a:lnTo>
                      <a:lnTo>
                        <a:pt x="27" y="6"/>
                      </a:lnTo>
                      <a:lnTo>
                        <a:pt x="26" y="9"/>
                      </a:lnTo>
                      <a:lnTo>
                        <a:pt x="25" y="14"/>
                      </a:lnTo>
                      <a:lnTo>
                        <a:pt x="26" y="15"/>
                      </a:lnTo>
                      <a:lnTo>
                        <a:pt x="27" y="15"/>
                      </a:lnTo>
                      <a:lnTo>
                        <a:pt x="31" y="12"/>
                      </a:lnTo>
                      <a:lnTo>
                        <a:pt x="37" y="9"/>
                      </a:lnTo>
                      <a:lnTo>
                        <a:pt x="40" y="9"/>
                      </a:lnTo>
                      <a:lnTo>
                        <a:pt x="41" y="11"/>
                      </a:lnTo>
                      <a:lnTo>
                        <a:pt x="41" y="13"/>
                      </a:lnTo>
                      <a:lnTo>
                        <a:pt x="40" y="14"/>
                      </a:lnTo>
                      <a:lnTo>
                        <a:pt x="37" y="19"/>
                      </a:lnTo>
                      <a:lnTo>
                        <a:pt x="35" y="23"/>
                      </a:lnTo>
                      <a:lnTo>
                        <a:pt x="35" y="26"/>
                      </a:lnTo>
                      <a:lnTo>
                        <a:pt x="36" y="30"/>
                      </a:lnTo>
                      <a:lnTo>
                        <a:pt x="39" y="32"/>
                      </a:lnTo>
                      <a:lnTo>
                        <a:pt x="41" y="36"/>
                      </a:lnTo>
                      <a:lnTo>
                        <a:pt x="49" y="42"/>
                      </a:lnTo>
                      <a:lnTo>
                        <a:pt x="49" y="43"/>
                      </a:lnTo>
                      <a:lnTo>
                        <a:pt x="45" y="44"/>
                      </a:lnTo>
                      <a:lnTo>
                        <a:pt x="41" y="44"/>
                      </a:lnTo>
                      <a:lnTo>
                        <a:pt x="37" y="44"/>
                      </a:lnTo>
                      <a:lnTo>
                        <a:pt x="30" y="40"/>
                      </a:lnTo>
                      <a:lnTo>
                        <a:pt x="27" y="39"/>
                      </a:lnTo>
                      <a:lnTo>
                        <a:pt x="25" y="39"/>
                      </a:lnTo>
                      <a:lnTo>
                        <a:pt x="18" y="40"/>
                      </a:lnTo>
                      <a:lnTo>
                        <a:pt x="12" y="40"/>
                      </a:lnTo>
                      <a:lnTo>
                        <a:pt x="6" y="42"/>
                      </a:lnTo>
                      <a:lnTo>
                        <a:pt x="3" y="42"/>
                      </a:lnTo>
                      <a:lnTo>
                        <a:pt x="2" y="43"/>
                      </a:lnTo>
                      <a:lnTo>
                        <a:pt x="0" y="45"/>
                      </a:lnTo>
                      <a:lnTo>
                        <a:pt x="2" y="47"/>
                      </a:lnTo>
                      <a:lnTo>
                        <a:pt x="4" y="49"/>
                      </a:lnTo>
                      <a:lnTo>
                        <a:pt x="8" y="50"/>
                      </a:lnTo>
                      <a:lnTo>
                        <a:pt x="18" y="51"/>
                      </a:lnTo>
                      <a:lnTo>
                        <a:pt x="26" y="51"/>
                      </a:lnTo>
                      <a:lnTo>
                        <a:pt x="30" y="52"/>
                      </a:lnTo>
                      <a:lnTo>
                        <a:pt x="35" y="53"/>
                      </a:lnTo>
                      <a:lnTo>
                        <a:pt x="39" y="53"/>
                      </a:lnTo>
                      <a:lnTo>
                        <a:pt x="42" y="55"/>
                      </a:lnTo>
                      <a:lnTo>
                        <a:pt x="51" y="52"/>
                      </a:lnTo>
                      <a:lnTo>
                        <a:pt x="61" y="4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3" name="Freeform 1085">
                  <a:extLst>
                    <a:ext uri="{FF2B5EF4-FFF2-40B4-BE49-F238E27FC236}">
                      <a16:creationId xmlns:a16="http://schemas.microsoft.com/office/drawing/2014/main" id="{830899BC-5706-584F-968C-6B1931C660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8100" y="6289136"/>
                  <a:ext cx="72514" cy="54756"/>
                </a:xfrm>
                <a:custGeom>
                  <a:avLst/>
                  <a:gdLst>
                    <a:gd name="T0" fmla="*/ 0 w 54"/>
                    <a:gd name="T1" fmla="*/ 2147483647 h 37"/>
                    <a:gd name="T2" fmla="*/ 0 w 54"/>
                    <a:gd name="T3" fmla="*/ 0 h 37"/>
                    <a:gd name="T4" fmla="*/ 2147483647 w 54"/>
                    <a:gd name="T5" fmla="*/ 2147483647 h 37"/>
                    <a:gd name="T6" fmla="*/ 2147483647 w 54"/>
                    <a:gd name="T7" fmla="*/ 2147483647 h 37"/>
                    <a:gd name="T8" fmla="*/ 2147483647 w 54"/>
                    <a:gd name="T9" fmla="*/ 2147483647 h 37"/>
                    <a:gd name="T10" fmla="*/ 2147483647 w 54"/>
                    <a:gd name="T11" fmla="*/ 2147483647 h 37"/>
                    <a:gd name="T12" fmla="*/ 2147483647 w 54"/>
                    <a:gd name="T13" fmla="*/ 2147483647 h 37"/>
                    <a:gd name="T14" fmla="*/ 2147483647 w 54"/>
                    <a:gd name="T15" fmla="*/ 2147483647 h 37"/>
                    <a:gd name="T16" fmla="*/ 2147483647 w 54"/>
                    <a:gd name="T17" fmla="*/ 2147483647 h 37"/>
                    <a:gd name="T18" fmla="*/ 2147483647 w 54"/>
                    <a:gd name="T19" fmla="*/ 2147483647 h 37"/>
                    <a:gd name="T20" fmla="*/ 2147483647 w 54"/>
                    <a:gd name="T21" fmla="*/ 2147483647 h 37"/>
                    <a:gd name="T22" fmla="*/ 2147483647 w 54"/>
                    <a:gd name="T23" fmla="*/ 2147483647 h 37"/>
                    <a:gd name="T24" fmla="*/ 2147483647 w 54"/>
                    <a:gd name="T25" fmla="*/ 2147483647 h 37"/>
                    <a:gd name="T26" fmla="*/ 2147483647 w 54"/>
                    <a:gd name="T27" fmla="*/ 2147483647 h 37"/>
                    <a:gd name="T28" fmla="*/ 2147483647 w 54"/>
                    <a:gd name="T29" fmla="*/ 2147483647 h 37"/>
                    <a:gd name="T30" fmla="*/ 2147483647 w 54"/>
                    <a:gd name="T31" fmla="*/ 2147483647 h 37"/>
                    <a:gd name="T32" fmla="*/ 2147483647 w 54"/>
                    <a:gd name="T33" fmla="*/ 2147483647 h 37"/>
                    <a:gd name="T34" fmla="*/ 2147483647 w 54"/>
                    <a:gd name="T35" fmla="*/ 2147483647 h 37"/>
                    <a:gd name="T36" fmla="*/ 2147483647 w 54"/>
                    <a:gd name="T37" fmla="*/ 2147483647 h 37"/>
                    <a:gd name="T38" fmla="*/ 2147483647 w 54"/>
                    <a:gd name="T39" fmla="*/ 2147483647 h 37"/>
                    <a:gd name="T40" fmla="*/ 2147483647 w 54"/>
                    <a:gd name="T41" fmla="*/ 2147483647 h 37"/>
                    <a:gd name="T42" fmla="*/ 2147483647 w 54"/>
                    <a:gd name="T43" fmla="*/ 2147483647 h 37"/>
                    <a:gd name="T44" fmla="*/ 2147483647 w 54"/>
                    <a:gd name="T45" fmla="*/ 2147483647 h 37"/>
                    <a:gd name="T46" fmla="*/ 2147483647 w 54"/>
                    <a:gd name="T47" fmla="*/ 2147483647 h 37"/>
                    <a:gd name="T48" fmla="*/ 2147483647 w 54"/>
                    <a:gd name="T49" fmla="*/ 2147483647 h 37"/>
                    <a:gd name="T50" fmla="*/ 2147483647 w 54"/>
                    <a:gd name="T51" fmla="*/ 2147483647 h 37"/>
                    <a:gd name="T52" fmla="*/ 2147483647 w 54"/>
                    <a:gd name="T53" fmla="*/ 2147483647 h 37"/>
                    <a:gd name="T54" fmla="*/ 0 w 54"/>
                    <a:gd name="T55" fmla="*/ 2147483647 h 37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54"/>
                    <a:gd name="T85" fmla="*/ 0 h 37"/>
                    <a:gd name="T86" fmla="*/ 54 w 54"/>
                    <a:gd name="T87" fmla="*/ 37 h 37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54" h="37">
                      <a:moveTo>
                        <a:pt x="0" y="35"/>
                      </a:move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6" y="8"/>
                      </a:lnTo>
                      <a:lnTo>
                        <a:pt x="7" y="9"/>
                      </a:lnTo>
                      <a:lnTo>
                        <a:pt x="11" y="12"/>
                      </a:lnTo>
                      <a:lnTo>
                        <a:pt x="15" y="17"/>
                      </a:lnTo>
                      <a:lnTo>
                        <a:pt x="24" y="22"/>
                      </a:lnTo>
                      <a:lnTo>
                        <a:pt x="34" y="27"/>
                      </a:lnTo>
                      <a:lnTo>
                        <a:pt x="44" y="30"/>
                      </a:lnTo>
                      <a:lnTo>
                        <a:pt x="50" y="30"/>
                      </a:lnTo>
                      <a:lnTo>
                        <a:pt x="53" y="30"/>
                      </a:lnTo>
                      <a:lnTo>
                        <a:pt x="54" y="32"/>
                      </a:lnTo>
                      <a:lnTo>
                        <a:pt x="49" y="35"/>
                      </a:lnTo>
                      <a:lnTo>
                        <a:pt x="44" y="36"/>
                      </a:lnTo>
                      <a:lnTo>
                        <a:pt x="39" y="37"/>
                      </a:lnTo>
                      <a:lnTo>
                        <a:pt x="34" y="37"/>
                      </a:lnTo>
                      <a:lnTo>
                        <a:pt x="29" y="37"/>
                      </a:lnTo>
                      <a:lnTo>
                        <a:pt x="24" y="36"/>
                      </a:lnTo>
                      <a:lnTo>
                        <a:pt x="19" y="34"/>
                      </a:lnTo>
                      <a:lnTo>
                        <a:pt x="14" y="31"/>
                      </a:lnTo>
                      <a:lnTo>
                        <a:pt x="12" y="31"/>
                      </a:lnTo>
                      <a:lnTo>
                        <a:pt x="10" y="31"/>
                      </a:lnTo>
                      <a:lnTo>
                        <a:pt x="7" y="34"/>
                      </a:lnTo>
                      <a:lnTo>
                        <a:pt x="5" y="35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4" name="Freeform 1087">
                  <a:extLst>
                    <a:ext uri="{FF2B5EF4-FFF2-40B4-BE49-F238E27FC236}">
                      <a16:creationId xmlns:a16="http://schemas.microsoft.com/office/drawing/2014/main" id="{7469DF0E-4F59-5646-80AD-79E3C11F14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5142" y="6287658"/>
                  <a:ext cx="73994" cy="54755"/>
                </a:xfrm>
                <a:custGeom>
                  <a:avLst/>
                  <a:gdLst>
                    <a:gd name="T0" fmla="*/ 0 w 55"/>
                    <a:gd name="T1" fmla="*/ 2147483647 h 37"/>
                    <a:gd name="T2" fmla="*/ 0 w 55"/>
                    <a:gd name="T3" fmla="*/ 0 h 37"/>
                    <a:gd name="T4" fmla="*/ 0 w 55"/>
                    <a:gd name="T5" fmla="*/ 0 h 37"/>
                    <a:gd name="T6" fmla="*/ 2147483647 w 55"/>
                    <a:gd name="T7" fmla="*/ 2147483647 h 37"/>
                    <a:gd name="T8" fmla="*/ 2147483647 w 55"/>
                    <a:gd name="T9" fmla="*/ 2147483647 h 37"/>
                    <a:gd name="T10" fmla="*/ 2147483647 w 55"/>
                    <a:gd name="T11" fmla="*/ 2147483647 h 37"/>
                    <a:gd name="T12" fmla="*/ 2147483647 w 55"/>
                    <a:gd name="T13" fmla="*/ 2147483647 h 37"/>
                    <a:gd name="T14" fmla="*/ 2147483647 w 55"/>
                    <a:gd name="T15" fmla="*/ 2147483647 h 37"/>
                    <a:gd name="T16" fmla="*/ 2147483647 w 55"/>
                    <a:gd name="T17" fmla="*/ 2147483647 h 37"/>
                    <a:gd name="T18" fmla="*/ 2147483647 w 55"/>
                    <a:gd name="T19" fmla="*/ 2147483647 h 37"/>
                    <a:gd name="T20" fmla="*/ 2147483647 w 55"/>
                    <a:gd name="T21" fmla="*/ 2147483647 h 37"/>
                    <a:gd name="T22" fmla="*/ 2147483647 w 55"/>
                    <a:gd name="T23" fmla="*/ 2147483647 h 37"/>
                    <a:gd name="T24" fmla="*/ 2147483647 w 55"/>
                    <a:gd name="T25" fmla="*/ 2147483647 h 37"/>
                    <a:gd name="T26" fmla="*/ 2147483647 w 55"/>
                    <a:gd name="T27" fmla="*/ 2147483647 h 37"/>
                    <a:gd name="T28" fmla="*/ 2147483647 w 55"/>
                    <a:gd name="T29" fmla="*/ 2147483647 h 37"/>
                    <a:gd name="T30" fmla="*/ 2147483647 w 55"/>
                    <a:gd name="T31" fmla="*/ 2147483647 h 37"/>
                    <a:gd name="T32" fmla="*/ 2147483647 w 55"/>
                    <a:gd name="T33" fmla="*/ 2147483647 h 37"/>
                    <a:gd name="T34" fmla="*/ 2147483647 w 55"/>
                    <a:gd name="T35" fmla="*/ 2147483647 h 37"/>
                    <a:gd name="T36" fmla="*/ 2147483647 w 55"/>
                    <a:gd name="T37" fmla="*/ 2147483647 h 37"/>
                    <a:gd name="T38" fmla="*/ 2147483647 w 55"/>
                    <a:gd name="T39" fmla="*/ 2147483647 h 37"/>
                    <a:gd name="T40" fmla="*/ 2147483647 w 55"/>
                    <a:gd name="T41" fmla="*/ 2147483647 h 37"/>
                    <a:gd name="T42" fmla="*/ 2147483647 w 55"/>
                    <a:gd name="T43" fmla="*/ 2147483647 h 37"/>
                    <a:gd name="T44" fmla="*/ 2147483647 w 55"/>
                    <a:gd name="T45" fmla="*/ 2147483647 h 37"/>
                    <a:gd name="T46" fmla="*/ 2147483647 w 55"/>
                    <a:gd name="T47" fmla="*/ 2147483647 h 37"/>
                    <a:gd name="T48" fmla="*/ 2147483647 w 55"/>
                    <a:gd name="T49" fmla="*/ 2147483647 h 37"/>
                    <a:gd name="T50" fmla="*/ 2147483647 w 55"/>
                    <a:gd name="T51" fmla="*/ 2147483647 h 37"/>
                    <a:gd name="T52" fmla="*/ 2147483647 w 55"/>
                    <a:gd name="T53" fmla="*/ 2147483647 h 37"/>
                    <a:gd name="T54" fmla="*/ 2147483647 w 55"/>
                    <a:gd name="T55" fmla="*/ 2147483647 h 37"/>
                    <a:gd name="T56" fmla="*/ 2147483647 w 55"/>
                    <a:gd name="T57" fmla="*/ 2147483647 h 37"/>
                    <a:gd name="T58" fmla="*/ 2147483647 w 55"/>
                    <a:gd name="T59" fmla="*/ 2147483647 h 37"/>
                    <a:gd name="T60" fmla="*/ 2147483647 w 55"/>
                    <a:gd name="T61" fmla="*/ 2147483647 h 37"/>
                    <a:gd name="T62" fmla="*/ 2147483647 w 55"/>
                    <a:gd name="T63" fmla="*/ 2147483647 h 37"/>
                    <a:gd name="T64" fmla="*/ 2147483647 w 55"/>
                    <a:gd name="T65" fmla="*/ 2147483647 h 37"/>
                    <a:gd name="T66" fmla="*/ 2147483647 w 55"/>
                    <a:gd name="T67" fmla="*/ 2147483647 h 37"/>
                    <a:gd name="T68" fmla="*/ 2147483647 w 55"/>
                    <a:gd name="T69" fmla="*/ 2147483647 h 37"/>
                    <a:gd name="T70" fmla="*/ 0 w 55"/>
                    <a:gd name="T71" fmla="*/ 2147483647 h 37"/>
                    <a:gd name="T72" fmla="*/ 0 w 55"/>
                    <a:gd name="T73" fmla="*/ 2147483647 h 37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55"/>
                    <a:gd name="T112" fmla="*/ 0 h 37"/>
                    <a:gd name="T113" fmla="*/ 55 w 55"/>
                    <a:gd name="T114" fmla="*/ 37 h 37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55" h="37">
                      <a:moveTo>
                        <a:pt x="0" y="35"/>
                      </a:move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8" y="9"/>
                      </a:lnTo>
                      <a:lnTo>
                        <a:pt x="12" y="12"/>
                      </a:lnTo>
                      <a:lnTo>
                        <a:pt x="16" y="17"/>
                      </a:lnTo>
                      <a:lnTo>
                        <a:pt x="25" y="22"/>
                      </a:lnTo>
                      <a:lnTo>
                        <a:pt x="35" y="26"/>
                      </a:lnTo>
                      <a:lnTo>
                        <a:pt x="45" y="30"/>
                      </a:lnTo>
                      <a:lnTo>
                        <a:pt x="51" y="30"/>
                      </a:lnTo>
                      <a:lnTo>
                        <a:pt x="54" y="30"/>
                      </a:lnTo>
                      <a:lnTo>
                        <a:pt x="55" y="32"/>
                      </a:lnTo>
                      <a:lnTo>
                        <a:pt x="50" y="35"/>
                      </a:lnTo>
                      <a:lnTo>
                        <a:pt x="45" y="36"/>
                      </a:lnTo>
                      <a:lnTo>
                        <a:pt x="40" y="37"/>
                      </a:lnTo>
                      <a:lnTo>
                        <a:pt x="35" y="37"/>
                      </a:lnTo>
                      <a:lnTo>
                        <a:pt x="30" y="37"/>
                      </a:lnTo>
                      <a:lnTo>
                        <a:pt x="25" y="36"/>
                      </a:lnTo>
                      <a:lnTo>
                        <a:pt x="19" y="33"/>
                      </a:lnTo>
                      <a:lnTo>
                        <a:pt x="14" y="31"/>
                      </a:lnTo>
                      <a:lnTo>
                        <a:pt x="13" y="31"/>
                      </a:lnTo>
                      <a:lnTo>
                        <a:pt x="11" y="31"/>
                      </a:lnTo>
                      <a:lnTo>
                        <a:pt x="8" y="33"/>
                      </a:lnTo>
                      <a:lnTo>
                        <a:pt x="5" y="35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5" name="Freeform 1088">
                  <a:extLst>
                    <a:ext uri="{FF2B5EF4-FFF2-40B4-BE49-F238E27FC236}">
                      <a16:creationId xmlns:a16="http://schemas.microsoft.com/office/drawing/2014/main" id="{EB0DBB88-A201-8D4B-A004-0B19D7ED32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2815" y="6339452"/>
                  <a:ext cx="16279" cy="5919"/>
                </a:xfrm>
                <a:custGeom>
                  <a:avLst/>
                  <a:gdLst>
                    <a:gd name="T0" fmla="*/ 2147483647 w 12"/>
                    <a:gd name="T1" fmla="*/ 0 h 4"/>
                    <a:gd name="T2" fmla="*/ 2147483647 w 12"/>
                    <a:gd name="T3" fmla="*/ 0 h 4"/>
                    <a:gd name="T4" fmla="*/ 2147483647 w 12"/>
                    <a:gd name="T5" fmla="*/ 2147483647 h 4"/>
                    <a:gd name="T6" fmla="*/ 2147483647 w 12"/>
                    <a:gd name="T7" fmla="*/ 2147483647 h 4"/>
                    <a:gd name="T8" fmla="*/ 0 w 12"/>
                    <a:gd name="T9" fmla="*/ 2147483647 h 4"/>
                    <a:gd name="T10" fmla="*/ 0 w 12"/>
                    <a:gd name="T11" fmla="*/ 2147483647 h 4"/>
                    <a:gd name="T12" fmla="*/ 2147483647 w 12"/>
                    <a:gd name="T13" fmla="*/ 2147483647 h 4"/>
                    <a:gd name="T14" fmla="*/ 2147483647 w 12"/>
                    <a:gd name="T15" fmla="*/ 2147483647 h 4"/>
                    <a:gd name="T16" fmla="*/ 2147483647 w 12"/>
                    <a:gd name="T17" fmla="*/ 2147483647 h 4"/>
                    <a:gd name="T18" fmla="*/ 2147483647 w 12"/>
                    <a:gd name="T19" fmla="*/ 2147483647 h 4"/>
                    <a:gd name="T20" fmla="*/ 2147483647 w 12"/>
                    <a:gd name="T21" fmla="*/ 0 h 4"/>
                    <a:gd name="T22" fmla="*/ 2147483647 w 12"/>
                    <a:gd name="T23" fmla="*/ 0 h 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2"/>
                    <a:gd name="T37" fmla="*/ 0 h 4"/>
                    <a:gd name="T38" fmla="*/ 12 w 12"/>
                    <a:gd name="T39" fmla="*/ 4 h 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2" h="4">
                      <a:moveTo>
                        <a:pt x="11" y="0"/>
                      </a:move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2" y="1"/>
                      </a:lnTo>
                      <a:lnTo>
                        <a:pt x="12" y="0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6" name="Freeform 1090">
                  <a:extLst>
                    <a:ext uri="{FF2B5EF4-FFF2-40B4-BE49-F238E27FC236}">
                      <a16:creationId xmlns:a16="http://schemas.microsoft.com/office/drawing/2014/main" id="{D433F5DA-365A-2A4E-BAD3-403B05A7C7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9851" y="6336492"/>
                  <a:ext cx="17758" cy="7400"/>
                </a:xfrm>
                <a:custGeom>
                  <a:avLst/>
                  <a:gdLst>
                    <a:gd name="T0" fmla="*/ 2147483647 w 13"/>
                    <a:gd name="T1" fmla="*/ 0 h 5"/>
                    <a:gd name="T2" fmla="*/ 2147483647 w 13"/>
                    <a:gd name="T3" fmla="*/ 0 h 5"/>
                    <a:gd name="T4" fmla="*/ 2147483647 w 13"/>
                    <a:gd name="T5" fmla="*/ 0 h 5"/>
                    <a:gd name="T6" fmla="*/ 2147483647 w 13"/>
                    <a:gd name="T7" fmla="*/ 2147483647 h 5"/>
                    <a:gd name="T8" fmla="*/ 2147483647 w 13"/>
                    <a:gd name="T9" fmla="*/ 2147483647 h 5"/>
                    <a:gd name="T10" fmla="*/ 0 w 13"/>
                    <a:gd name="T11" fmla="*/ 2147483647 h 5"/>
                    <a:gd name="T12" fmla="*/ 0 w 13"/>
                    <a:gd name="T13" fmla="*/ 2147483647 h 5"/>
                    <a:gd name="T14" fmla="*/ 0 w 13"/>
                    <a:gd name="T15" fmla="*/ 2147483647 h 5"/>
                    <a:gd name="T16" fmla="*/ 2147483647 w 13"/>
                    <a:gd name="T17" fmla="*/ 2147483647 h 5"/>
                    <a:gd name="T18" fmla="*/ 2147483647 w 13"/>
                    <a:gd name="T19" fmla="*/ 2147483647 h 5"/>
                    <a:gd name="T20" fmla="*/ 2147483647 w 13"/>
                    <a:gd name="T21" fmla="*/ 2147483647 h 5"/>
                    <a:gd name="T22" fmla="*/ 2147483647 w 13"/>
                    <a:gd name="T23" fmla="*/ 2147483647 h 5"/>
                    <a:gd name="T24" fmla="*/ 2147483647 w 13"/>
                    <a:gd name="T25" fmla="*/ 2147483647 h 5"/>
                    <a:gd name="T26" fmla="*/ 2147483647 w 13"/>
                    <a:gd name="T27" fmla="*/ 2147483647 h 5"/>
                    <a:gd name="T28" fmla="*/ 2147483647 w 13"/>
                    <a:gd name="T29" fmla="*/ 0 h 5"/>
                    <a:gd name="T30" fmla="*/ 2147483647 w 13"/>
                    <a:gd name="T31" fmla="*/ 0 h 5"/>
                    <a:gd name="T32" fmla="*/ 2147483647 w 13"/>
                    <a:gd name="T33" fmla="*/ 0 h 5"/>
                    <a:gd name="T34" fmla="*/ 2147483647 w 13"/>
                    <a:gd name="T35" fmla="*/ 0 h 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"/>
                    <a:gd name="T55" fmla="*/ 0 h 5"/>
                    <a:gd name="T56" fmla="*/ 13 w 13"/>
                    <a:gd name="T57" fmla="*/ 5 h 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" h="5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9" y="4"/>
                      </a:lnTo>
                      <a:lnTo>
                        <a:pt x="13" y="2"/>
                      </a:lnTo>
                      <a:lnTo>
                        <a:pt x="13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7" name="Freeform 1291">
                  <a:extLst>
                    <a:ext uri="{FF2B5EF4-FFF2-40B4-BE49-F238E27FC236}">
                      <a16:creationId xmlns:a16="http://schemas.microsoft.com/office/drawing/2014/main" id="{27FB7D82-612B-B54F-AFC9-D435AFC4BD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6218" y="2426671"/>
                  <a:ext cx="174625" cy="108031"/>
                </a:xfrm>
                <a:custGeom>
                  <a:avLst/>
                  <a:gdLst>
                    <a:gd name="T0" fmla="*/ 2147483647 w 127"/>
                    <a:gd name="T1" fmla="*/ 2147483647 h 73"/>
                    <a:gd name="T2" fmla="*/ 2147483647 w 127"/>
                    <a:gd name="T3" fmla="*/ 2147483647 h 73"/>
                    <a:gd name="T4" fmla="*/ 2147483647 w 127"/>
                    <a:gd name="T5" fmla="*/ 2147483647 h 73"/>
                    <a:gd name="T6" fmla="*/ 2147483647 w 127"/>
                    <a:gd name="T7" fmla="*/ 2147483647 h 73"/>
                    <a:gd name="T8" fmla="*/ 2147483647 w 127"/>
                    <a:gd name="T9" fmla="*/ 2147483647 h 73"/>
                    <a:gd name="T10" fmla="*/ 2147483647 w 127"/>
                    <a:gd name="T11" fmla="*/ 2147483647 h 73"/>
                    <a:gd name="T12" fmla="*/ 2147483647 w 127"/>
                    <a:gd name="T13" fmla="*/ 2147483647 h 73"/>
                    <a:gd name="T14" fmla="*/ 2147483647 w 127"/>
                    <a:gd name="T15" fmla="*/ 2147483647 h 73"/>
                    <a:gd name="T16" fmla="*/ 2147483647 w 127"/>
                    <a:gd name="T17" fmla="*/ 2147483647 h 73"/>
                    <a:gd name="T18" fmla="*/ 2147483647 w 127"/>
                    <a:gd name="T19" fmla="*/ 2147483647 h 73"/>
                    <a:gd name="T20" fmla="*/ 2147483647 w 127"/>
                    <a:gd name="T21" fmla="*/ 2147483647 h 73"/>
                    <a:gd name="T22" fmla="*/ 2147483647 w 127"/>
                    <a:gd name="T23" fmla="*/ 2147483647 h 73"/>
                    <a:gd name="T24" fmla="*/ 2147483647 w 127"/>
                    <a:gd name="T25" fmla="*/ 2147483647 h 73"/>
                    <a:gd name="T26" fmla="*/ 2147483647 w 127"/>
                    <a:gd name="T27" fmla="*/ 2147483647 h 73"/>
                    <a:gd name="T28" fmla="*/ 2147483647 w 127"/>
                    <a:gd name="T29" fmla="*/ 2147483647 h 73"/>
                    <a:gd name="T30" fmla="*/ 2147483647 w 127"/>
                    <a:gd name="T31" fmla="*/ 2147483647 h 73"/>
                    <a:gd name="T32" fmla="*/ 2147483647 w 127"/>
                    <a:gd name="T33" fmla="*/ 2147483647 h 73"/>
                    <a:gd name="T34" fmla="*/ 2147483647 w 127"/>
                    <a:gd name="T35" fmla="*/ 2147483647 h 73"/>
                    <a:gd name="T36" fmla="*/ 2147483647 w 127"/>
                    <a:gd name="T37" fmla="*/ 2147483647 h 73"/>
                    <a:gd name="T38" fmla="*/ 2147483647 w 127"/>
                    <a:gd name="T39" fmla="*/ 2147483647 h 73"/>
                    <a:gd name="T40" fmla="*/ 2147483647 w 127"/>
                    <a:gd name="T41" fmla="*/ 2147483647 h 73"/>
                    <a:gd name="T42" fmla="*/ 2147483647 w 127"/>
                    <a:gd name="T43" fmla="*/ 2147483647 h 73"/>
                    <a:gd name="T44" fmla="*/ 2147483647 w 127"/>
                    <a:gd name="T45" fmla="*/ 2147483647 h 73"/>
                    <a:gd name="T46" fmla="*/ 2147483647 w 127"/>
                    <a:gd name="T47" fmla="*/ 2147483647 h 73"/>
                    <a:gd name="T48" fmla="*/ 2147483647 w 127"/>
                    <a:gd name="T49" fmla="*/ 2147483647 h 73"/>
                    <a:gd name="T50" fmla="*/ 2147483647 w 127"/>
                    <a:gd name="T51" fmla="*/ 2147483647 h 73"/>
                    <a:gd name="T52" fmla="*/ 2147483647 w 127"/>
                    <a:gd name="T53" fmla="*/ 2147483647 h 73"/>
                    <a:gd name="T54" fmla="*/ 2147483647 w 127"/>
                    <a:gd name="T55" fmla="*/ 2147483647 h 73"/>
                    <a:gd name="T56" fmla="*/ 2147483647 w 127"/>
                    <a:gd name="T57" fmla="*/ 2147483647 h 73"/>
                    <a:gd name="T58" fmla="*/ 2147483647 w 127"/>
                    <a:gd name="T59" fmla="*/ 2147483647 h 73"/>
                    <a:gd name="T60" fmla="*/ 2147483647 w 127"/>
                    <a:gd name="T61" fmla="*/ 2147483647 h 73"/>
                    <a:gd name="T62" fmla="*/ 2147483647 w 127"/>
                    <a:gd name="T63" fmla="*/ 2147483647 h 73"/>
                    <a:gd name="T64" fmla="*/ 2147483647 w 127"/>
                    <a:gd name="T65" fmla="*/ 2147483647 h 73"/>
                    <a:gd name="T66" fmla="*/ 2147483647 w 127"/>
                    <a:gd name="T67" fmla="*/ 2147483647 h 73"/>
                    <a:gd name="T68" fmla="*/ 2147483647 w 127"/>
                    <a:gd name="T69" fmla="*/ 2147483647 h 73"/>
                    <a:gd name="T70" fmla="*/ 2147483647 w 127"/>
                    <a:gd name="T71" fmla="*/ 2147483647 h 73"/>
                    <a:gd name="T72" fmla="*/ 2147483647 w 127"/>
                    <a:gd name="T73" fmla="*/ 2147483647 h 73"/>
                    <a:gd name="T74" fmla="*/ 2147483647 w 127"/>
                    <a:gd name="T75" fmla="*/ 2147483647 h 73"/>
                    <a:gd name="T76" fmla="*/ 2147483647 w 127"/>
                    <a:gd name="T77" fmla="*/ 2147483647 h 73"/>
                    <a:gd name="T78" fmla="*/ 2147483647 w 127"/>
                    <a:gd name="T79" fmla="*/ 2147483647 h 73"/>
                    <a:gd name="T80" fmla="*/ 2147483647 w 127"/>
                    <a:gd name="T81" fmla="*/ 0 h 73"/>
                    <a:gd name="T82" fmla="*/ 2147483647 w 127"/>
                    <a:gd name="T83" fmla="*/ 0 h 73"/>
                    <a:gd name="T84" fmla="*/ 2147483647 w 127"/>
                    <a:gd name="T85" fmla="*/ 2147483647 h 7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27"/>
                    <a:gd name="T130" fmla="*/ 0 h 73"/>
                    <a:gd name="T131" fmla="*/ 127 w 127"/>
                    <a:gd name="T132" fmla="*/ 73 h 7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27" h="73">
                      <a:moveTo>
                        <a:pt x="67" y="5"/>
                      </a:moveTo>
                      <a:lnTo>
                        <a:pt x="57" y="8"/>
                      </a:lnTo>
                      <a:lnTo>
                        <a:pt x="47" y="12"/>
                      </a:lnTo>
                      <a:lnTo>
                        <a:pt x="35" y="12"/>
                      </a:lnTo>
                      <a:lnTo>
                        <a:pt x="25" y="13"/>
                      </a:lnTo>
                      <a:lnTo>
                        <a:pt x="21" y="13"/>
                      </a:lnTo>
                      <a:lnTo>
                        <a:pt x="19" y="13"/>
                      </a:lnTo>
                      <a:lnTo>
                        <a:pt x="17" y="10"/>
                      </a:lnTo>
                      <a:lnTo>
                        <a:pt x="12" y="12"/>
                      </a:lnTo>
                      <a:lnTo>
                        <a:pt x="7" y="13"/>
                      </a:lnTo>
                      <a:lnTo>
                        <a:pt x="2" y="15"/>
                      </a:lnTo>
                      <a:lnTo>
                        <a:pt x="1" y="16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1" y="22"/>
                      </a:lnTo>
                      <a:lnTo>
                        <a:pt x="4" y="25"/>
                      </a:lnTo>
                      <a:lnTo>
                        <a:pt x="6" y="26"/>
                      </a:lnTo>
                      <a:lnTo>
                        <a:pt x="16" y="25"/>
                      </a:lnTo>
                      <a:lnTo>
                        <a:pt x="21" y="25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33" y="25"/>
                      </a:lnTo>
                      <a:lnTo>
                        <a:pt x="37" y="22"/>
                      </a:lnTo>
                      <a:lnTo>
                        <a:pt x="40" y="22"/>
                      </a:lnTo>
                      <a:lnTo>
                        <a:pt x="44" y="22"/>
                      </a:lnTo>
                      <a:lnTo>
                        <a:pt x="47" y="24"/>
                      </a:lnTo>
                      <a:lnTo>
                        <a:pt x="59" y="31"/>
                      </a:lnTo>
                      <a:lnTo>
                        <a:pt x="62" y="32"/>
                      </a:lnTo>
                      <a:lnTo>
                        <a:pt x="62" y="34"/>
                      </a:lnTo>
                      <a:lnTo>
                        <a:pt x="62" y="37"/>
                      </a:lnTo>
                      <a:lnTo>
                        <a:pt x="61" y="39"/>
                      </a:lnTo>
                      <a:lnTo>
                        <a:pt x="59" y="39"/>
                      </a:lnTo>
                      <a:lnTo>
                        <a:pt x="57" y="38"/>
                      </a:lnTo>
                      <a:lnTo>
                        <a:pt x="56" y="37"/>
                      </a:lnTo>
                      <a:lnTo>
                        <a:pt x="53" y="37"/>
                      </a:lnTo>
                      <a:lnTo>
                        <a:pt x="50" y="37"/>
                      </a:lnTo>
                      <a:lnTo>
                        <a:pt x="49" y="35"/>
                      </a:lnTo>
                      <a:lnTo>
                        <a:pt x="45" y="35"/>
                      </a:lnTo>
                      <a:lnTo>
                        <a:pt x="44" y="37"/>
                      </a:lnTo>
                      <a:lnTo>
                        <a:pt x="45" y="39"/>
                      </a:lnTo>
                      <a:lnTo>
                        <a:pt x="45" y="40"/>
                      </a:lnTo>
                      <a:lnTo>
                        <a:pt x="45" y="41"/>
                      </a:lnTo>
                      <a:lnTo>
                        <a:pt x="39" y="46"/>
                      </a:lnTo>
                      <a:lnTo>
                        <a:pt x="38" y="48"/>
                      </a:lnTo>
                      <a:lnTo>
                        <a:pt x="37" y="52"/>
                      </a:lnTo>
                      <a:lnTo>
                        <a:pt x="37" y="54"/>
                      </a:lnTo>
                      <a:lnTo>
                        <a:pt x="35" y="57"/>
                      </a:lnTo>
                      <a:lnTo>
                        <a:pt x="30" y="59"/>
                      </a:lnTo>
                      <a:lnTo>
                        <a:pt x="30" y="60"/>
                      </a:lnTo>
                      <a:lnTo>
                        <a:pt x="30" y="61"/>
                      </a:lnTo>
                      <a:lnTo>
                        <a:pt x="34" y="64"/>
                      </a:lnTo>
                      <a:lnTo>
                        <a:pt x="37" y="66"/>
                      </a:lnTo>
                      <a:lnTo>
                        <a:pt x="43" y="71"/>
                      </a:lnTo>
                      <a:lnTo>
                        <a:pt x="45" y="71"/>
                      </a:lnTo>
                      <a:lnTo>
                        <a:pt x="48" y="70"/>
                      </a:lnTo>
                      <a:lnTo>
                        <a:pt x="49" y="66"/>
                      </a:lnTo>
                      <a:lnTo>
                        <a:pt x="52" y="64"/>
                      </a:lnTo>
                      <a:lnTo>
                        <a:pt x="57" y="60"/>
                      </a:lnTo>
                      <a:lnTo>
                        <a:pt x="61" y="57"/>
                      </a:lnTo>
                      <a:lnTo>
                        <a:pt x="63" y="54"/>
                      </a:lnTo>
                      <a:lnTo>
                        <a:pt x="66" y="53"/>
                      </a:lnTo>
                      <a:lnTo>
                        <a:pt x="75" y="50"/>
                      </a:lnTo>
                      <a:lnTo>
                        <a:pt x="78" y="50"/>
                      </a:lnTo>
                      <a:lnTo>
                        <a:pt x="84" y="50"/>
                      </a:lnTo>
                      <a:lnTo>
                        <a:pt x="85" y="51"/>
                      </a:lnTo>
                      <a:lnTo>
                        <a:pt x="86" y="53"/>
                      </a:lnTo>
                      <a:lnTo>
                        <a:pt x="85" y="56"/>
                      </a:lnTo>
                      <a:lnTo>
                        <a:pt x="82" y="59"/>
                      </a:lnTo>
                      <a:lnTo>
                        <a:pt x="78" y="61"/>
                      </a:lnTo>
                      <a:lnTo>
                        <a:pt x="75" y="64"/>
                      </a:lnTo>
                      <a:lnTo>
                        <a:pt x="68" y="69"/>
                      </a:lnTo>
                      <a:lnTo>
                        <a:pt x="63" y="73"/>
                      </a:lnTo>
                      <a:lnTo>
                        <a:pt x="73" y="72"/>
                      </a:lnTo>
                      <a:lnTo>
                        <a:pt x="85" y="70"/>
                      </a:lnTo>
                      <a:lnTo>
                        <a:pt x="94" y="66"/>
                      </a:lnTo>
                      <a:lnTo>
                        <a:pt x="103" y="60"/>
                      </a:lnTo>
                      <a:lnTo>
                        <a:pt x="99" y="57"/>
                      </a:lnTo>
                      <a:lnTo>
                        <a:pt x="95" y="52"/>
                      </a:lnTo>
                      <a:lnTo>
                        <a:pt x="94" y="47"/>
                      </a:lnTo>
                      <a:lnTo>
                        <a:pt x="94" y="45"/>
                      </a:lnTo>
                      <a:lnTo>
                        <a:pt x="95" y="44"/>
                      </a:lnTo>
                      <a:lnTo>
                        <a:pt x="96" y="41"/>
                      </a:lnTo>
                      <a:lnTo>
                        <a:pt x="97" y="41"/>
                      </a:lnTo>
                      <a:lnTo>
                        <a:pt x="103" y="42"/>
                      </a:lnTo>
                      <a:lnTo>
                        <a:pt x="110" y="47"/>
                      </a:lnTo>
                      <a:lnTo>
                        <a:pt x="113" y="48"/>
                      </a:lnTo>
                      <a:lnTo>
                        <a:pt x="115" y="50"/>
                      </a:lnTo>
                      <a:lnTo>
                        <a:pt x="119" y="50"/>
                      </a:lnTo>
                      <a:lnTo>
                        <a:pt x="120" y="47"/>
                      </a:lnTo>
                      <a:lnTo>
                        <a:pt x="122" y="46"/>
                      </a:lnTo>
                      <a:lnTo>
                        <a:pt x="120" y="44"/>
                      </a:lnTo>
                      <a:lnTo>
                        <a:pt x="119" y="42"/>
                      </a:lnTo>
                      <a:lnTo>
                        <a:pt x="118" y="40"/>
                      </a:lnTo>
                      <a:lnTo>
                        <a:pt x="118" y="38"/>
                      </a:lnTo>
                      <a:lnTo>
                        <a:pt x="119" y="37"/>
                      </a:lnTo>
                      <a:lnTo>
                        <a:pt x="123" y="34"/>
                      </a:lnTo>
                      <a:lnTo>
                        <a:pt x="124" y="33"/>
                      </a:lnTo>
                      <a:lnTo>
                        <a:pt x="124" y="32"/>
                      </a:lnTo>
                      <a:lnTo>
                        <a:pt x="122" y="29"/>
                      </a:lnTo>
                      <a:lnTo>
                        <a:pt x="120" y="28"/>
                      </a:lnTo>
                      <a:lnTo>
                        <a:pt x="120" y="26"/>
                      </a:lnTo>
                      <a:lnTo>
                        <a:pt x="124" y="24"/>
                      </a:lnTo>
                      <a:lnTo>
                        <a:pt x="125" y="21"/>
                      </a:lnTo>
                      <a:lnTo>
                        <a:pt x="127" y="19"/>
                      </a:lnTo>
                      <a:lnTo>
                        <a:pt x="119" y="20"/>
                      </a:lnTo>
                      <a:lnTo>
                        <a:pt x="111" y="22"/>
                      </a:lnTo>
                      <a:lnTo>
                        <a:pt x="109" y="22"/>
                      </a:lnTo>
                      <a:lnTo>
                        <a:pt x="106" y="21"/>
                      </a:lnTo>
                      <a:lnTo>
                        <a:pt x="103" y="20"/>
                      </a:lnTo>
                      <a:lnTo>
                        <a:pt x="100" y="21"/>
                      </a:lnTo>
                      <a:lnTo>
                        <a:pt x="95" y="21"/>
                      </a:lnTo>
                      <a:lnTo>
                        <a:pt x="90" y="20"/>
                      </a:lnTo>
                      <a:lnTo>
                        <a:pt x="86" y="18"/>
                      </a:lnTo>
                      <a:lnTo>
                        <a:pt x="85" y="14"/>
                      </a:lnTo>
                      <a:lnTo>
                        <a:pt x="85" y="13"/>
                      </a:lnTo>
                      <a:lnTo>
                        <a:pt x="86" y="12"/>
                      </a:lnTo>
                      <a:lnTo>
                        <a:pt x="90" y="9"/>
                      </a:lnTo>
                      <a:lnTo>
                        <a:pt x="95" y="8"/>
                      </a:lnTo>
                      <a:lnTo>
                        <a:pt x="99" y="6"/>
                      </a:lnTo>
                      <a:lnTo>
                        <a:pt x="101" y="2"/>
                      </a:lnTo>
                      <a:lnTo>
                        <a:pt x="101" y="1"/>
                      </a:lnTo>
                      <a:lnTo>
                        <a:pt x="100" y="0"/>
                      </a:lnTo>
                      <a:lnTo>
                        <a:pt x="97" y="0"/>
                      </a:lnTo>
                      <a:lnTo>
                        <a:pt x="94" y="0"/>
                      </a:lnTo>
                      <a:lnTo>
                        <a:pt x="91" y="0"/>
                      </a:lnTo>
                      <a:lnTo>
                        <a:pt x="87" y="0"/>
                      </a:lnTo>
                      <a:lnTo>
                        <a:pt x="82" y="0"/>
                      </a:lnTo>
                      <a:lnTo>
                        <a:pt x="77" y="0"/>
                      </a:lnTo>
                      <a:lnTo>
                        <a:pt x="72" y="2"/>
                      </a:lnTo>
                      <a:lnTo>
                        <a:pt x="67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8" name="Freeform 1293">
                  <a:extLst>
                    <a:ext uri="{FF2B5EF4-FFF2-40B4-BE49-F238E27FC236}">
                      <a16:creationId xmlns:a16="http://schemas.microsoft.com/office/drawing/2014/main" id="{953F1A98-A866-024C-B2F6-FCE38D0289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4736" y="2425192"/>
                  <a:ext cx="173145" cy="108030"/>
                </a:xfrm>
                <a:custGeom>
                  <a:avLst/>
                  <a:gdLst>
                    <a:gd name="T0" fmla="*/ 2147483647 w 127"/>
                    <a:gd name="T1" fmla="*/ 2147483647 h 73"/>
                    <a:gd name="T2" fmla="*/ 2147483647 w 127"/>
                    <a:gd name="T3" fmla="*/ 2147483647 h 73"/>
                    <a:gd name="T4" fmla="*/ 2147483647 w 127"/>
                    <a:gd name="T5" fmla="*/ 2147483647 h 73"/>
                    <a:gd name="T6" fmla="*/ 2147483647 w 127"/>
                    <a:gd name="T7" fmla="*/ 2147483647 h 73"/>
                    <a:gd name="T8" fmla="*/ 2147483647 w 127"/>
                    <a:gd name="T9" fmla="*/ 2147483647 h 73"/>
                    <a:gd name="T10" fmla="*/ 0 w 127"/>
                    <a:gd name="T11" fmla="*/ 2147483647 h 73"/>
                    <a:gd name="T12" fmla="*/ 2147483647 w 127"/>
                    <a:gd name="T13" fmla="*/ 2147483647 h 73"/>
                    <a:gd name="T14" fmla="*/ 2147483647 w 127"/>
                    <a:gd name="T15" fmla="*/ 2147483647 h 73"/>
                    <a:gd name="T16" fmla="*/ 2147483647 w 127"/>
                    <a:gd name="T17" fmla="*/ 2147483647 h 73"/>
                    <a:gd name="T18" fmla="*/ 2147483647 w 127"/>
                    <a:gd name="T19" fmla="*/ 2147483647 h 73"/>
                    <a:gd name="T20" fmla="*/ 2147483647 w 127"/>
                    <a:gd name="T21" fmla="*/ 2147483647 h 73"/>
                    <a:gd name="T22" fmla="*/ 2147483647 w 127"/>
                    <a:gd name="T23" fmla="*/ 2147483647 h 73"/>
                    <a:gd name="T24" fmla="*/ 2147483647 w 127"/>
                    <a:gd name="T25" fmla="*/ 2147483647 h 73"/>
                    <a:gd name="T26" fmla="*/ 2147483647 w 127"/>
                    <a:gd name="T27" fmla="*/ 2147483647 h 73"/>
                    <a:gd name="T28" fmla="*/ 2147483647 w 127"/>
                    <a:gd name="T29" fmla="*/ 2147483647 h 73"/>
                    <a:gd name="T30" fmla="*/ 2147483647 w 127"/>
                    <a:gd name="T31" fmla="*/ 2147483647 h 73"/>
                    <a:gd name="T32" fmla="*/ 2147483647 w 127"/>
                    <a:gd name="T33" fmla="*/ 2147483647 h 73"/>
                    <a:gd name="T34" fmla="*/ 2147483647 w 127"/>
                    <a:gd name="T35" fmla="*/ 2147483647 h 73"/>
                    <a:gd name="T36" fmla="*/ 2147483647 w 127"/>
                    <a:gd name="T37" fmla="*/ 2147483647 h 73"/>
                    <a:gd name="T38" fmla="*/ 2147483647 w 127"/>
                    <a:gd name="T39" fmla="*/ 2147483647 h 73"/>
                    <a:gd name="T40" fmla="*/ 2147483647 w 127"/>
                    <a:gd name="T41" fmla="*/ 2147483647 h 73"/>
                    <a:gd name="T42" fmla="*/ 2147483647 w 127"/>
                    <a:gd name="T43" fmla="*/ 2147483647 h 73"/>
                    <a:gd name="T44" fmla="*/ 2147483647 w 127"/>
                    <a:gd name="T45" fmla="*/ 2147483647 h 73"/>
                    <a:gd name="T46" fmla="*/ 2147483647 w 127"/>
                    <a:gd name="T47" fmla="*/ 2147483647 h 73"/>
                    <a:gd name="T48" fmla="*/ 2147483647 w 127"/>
                    <a:gd name="T49" fmla="*/ 2147483647 h 73"/>
                    <a:gd name="T50" fmla="*/ 2147483647 w 127"/>
                    <a:gd name="T51" fmla="*/ 2147483647 h 73"/>
                    <a:gd name="T52" fmla="*/ 2147483647 w 127"/>
                    <a:gd name="T53" fmla="*/ 2147483647 h 73"/>
                    <a:gd name="T54" fmla="*/ 2147483647 w 127"/>
                    <a:gd name="T55" fmla="*/ 2147483647 h 73"/>
                    <a:gd name="T56" fmla="*/ 2147483647 w 127"/>
                    <a:gd name="T57" fmla="*/ 2147483647 h 73"/>
                    <a:gd name="T58" fmla="*/ 2147483647 w 127"/>
                    <a:gd name="T59" fmla="*/ 2147483647 h 73"/>
                    <a:gd name="T60" fmla="*/ 2147483647 w 127"/>
                    <a:gd name="T61" fmla="*/ 2147483647 h 73"/>
                    <a:gd name="T62" fmla="*/ 2147483647 w 127"/>
                    <a:gd name="T63" fmla="*/ 2147483647 h 73"/>
                    <a:gd name="T64" fmla="*/ 2147483647 w 127"/>
                    <a:gd name="T65" fmla="*/ 2147483647 h 73"/>
                    <a:gd name="T66" fmla="*/ 2147483647 w 127"/>
                    <a:gd name="T67" fmla="*/ 2147483647 h 73"/>
                    <a:gd name="T68" fmla="*/ 2147483647 w 127"/>
                    <a:gd name="T69" fmla="*/ 2147483647 h 73"/>
                    <a:gd name="T70" fmla="*/ 2147483647 w 127"/>
                    <a:gd name="T71" fmla="*/ 2147483647 h 73"/>
                    <a:gd name="T72" fmla="*/ 2147483647 w 127"/>
                    <a:gd name="T73" fmla="*/ 2147483647 h 73"/>
                    <a:gd name="T74" fmla="*/ 2147483647 w 127"/>
                    <a:gd name="T75" fmla="*/ 2147483647 h 73"/>
                    <a:gd name="T76" fmla="*/ 2147483647 w 127"/>
                    <a:gd name="T77" fmla="*/ 2147483647 h 73"/>
                    <a:gd name="T78" fmla="*/ 2147483647 w 127"/>
                    <a:gd name="T79" fmla="*/ 2147483647 h 73"/>
                    <a:gd name="T80" fmla="*/ 2147483647 w 127"/>
                    <a:gd name="T81" fmla="*/ 2147483647 h 73"/>
                    <a:gd name="T82" fmla="*/ 2147483647 w 127"/>
                    <a:gd name="T83" fmla="*/ 2147483647 h 73"/>
                    <a:gd name="T84" fmla="*/ 2147483647 w 127"/>
                    <a:gd name="T85" fmla="*/ 2147483647 h 73"/>
                    <a:gd name="T86" fmla="*/ 2147483647 w 127"/>
                    <a:gd name="T87" fmla="*/ 2147483647 h 73"/>
                    <a:gd name="T88" fmla="*/ 2147483647 w 127"/>
                    <a:gd name="T89" fmla="*/ 2147483647 h 73"/>
                    <a:gd name="T90" fmla="*/ 2147483647 w 127"/>
                    <a:gd name="T91" fmla="*/ 2147483647 h 73"/>
                    <a:gd name="T92" fmla="*/ 2147483647 w 127"/>
                    <a:gd name="T93" fmla="*/ 2147483647 h 73"/>
                    <a:gd name="T94" fmla="*/ 2147483647 w 127"/>
                    <a:gd name="T95" fmla="*/ 2147483647 h 73"/>
                    <a:gd name="T96" fmla="*/ 2147483647 w 127"/>
                    <a:gd name="T97" fmla="*/ 2147483647 h 73"/>
                    <a:gd name="T98" fmla="*/ 2147483647 w 127"/>
                    <a:gd name="T99" fmla="*/ 2147483647 h 73"/>
                    <a:gd name="T100" fmla="*/ 2147483647 w 127"/>
                    <a:gd name="T101" fmla="*/ 2147483647 h 73"/>
                    <a:gd name="T102" fmla="*/ 2147483647 w 127"/>
                    <a:gd name="T103" fmla="*/ 2147483647 h 73"/>
                    <a:gd name="T104" fmla="*/ 2147483647 w 127"/>
                    <a:gd name="T105" fmla="*/ 2147483647 h 73"/>
                    <a:gd name="T106" fmla="*/ 2147483647 w 127"/>
                    <a:gd name="T107" fmla="*/ 0 h 73"/>
                    <a:gd name="T108" fmla="*/ 2147483647 w 127"/>
                    <a:gd name="T109" fmla="*/ 0 h 73"/>
                    <a:gd name="T110" fmla="*/ 2147483647 w 127"/>
                    <a:gd name="T111" fmla="*/ 0 h 73"/>
                    <a:gd name="T112" fmla="*/ 2147483647 w 127"/>
                    <a:gd name="T113" fmla="*/ 2147483647 h 7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27"/>
                    <a:gd name="T172" fmla="*/ 0 h 73"/>
                    <a:gd name="T173" fmla="*/ 127 w 127"/>
                    <a:gd name="T174" fmla="*/ 73 h 73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27" h="73">
                      <a:moveTo>
                        <a:pt x="68" y="4"/>
                      </a:moveTo>
                      <a:lnTo>
                        <a:pt x="68" y="4"/>
                      </a:lnTo>
                      <a:lnTo>
                        <a:pt x="58" y="8"/>
                      </a:lnTo>
                      <a:lnTo>
                        <a:pt x="47" y="11"/>
                      </a:lnTo>
                      <a:lnTo>
                        <a:pt x="36" y="11"/>
                      </a:lnTo>
                      <a:lnTo>
                        <a:pt x="26" y="13"/>
                      </a:lnTo>
                      <a:lnTo>
                        <a:pt x="22" y="13"/>
                      </a:lnTo>
                      <a:lnTo>
                        <a:pt x="19" y="13"/>
                      </a:lnTo>
                      <a:lnTo>
                        <a:pt x="18" y="10"/>
                      </a:lnTo>
                      <a:lnTo>
                        <a:pt x="13" y="11"/>
                      </a:lnTo>
                      <a:lnTo>
                        <a:pt x="8" y="13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7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4" y="25"/>
                      </a:lnTo>
                      <a:lnTo>
                        <a:pt x="7" y="26"/>
                      </a:lnTo>
                      <a:lnTo>
                        <a:pt x="17" y="25"/>
                      </a:lnTo>
                      <a:lnTo>
                        <a:pt x="22" y="25"/>
                      </a:lnTo>
                      <a:lnTo>
                        <a:pt x="27" y="26"/>
                      </a:lnTo>
                      <a:lnTo>
                        <a:pt x="31" y="26"/>
                      </a:lnTo>
                      <a:lnTo>
                        <a:pt x="33" y="25"/>
                      </a:lnTo>
                      <a:lnTo>
                        <a:pt x="37" y="22"/>
                      </a:lnTo>
                      <a:lnTo>
                        <a:pt x="41" y="22"/>
                      </a:lnTo>
                      <a:lnTo>
                        <a:pt x="45" y="22"/>
                      </a:lnTo>
                      <a:lnTo>
                        <a:pt x="47" y="23"/>
                      </a:lnTo>
                      <a:lnTo>
                        <a:pt x="60" y="30"/>
                      </a:lnTo>
                      <a:lnTo>
                        <a:pt x="63" y="32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1" y="39"/>
                      </a:lnTo>
                      <a:lnTo>
                        <a:pt x="60" y="39"/>
                      </a:lnTo>
                      <a:lnTo>
                        <a:pt x="58" y="38"/>
                      </a:lnTo>
                      <a:lnTo>
                        <a:pt x="56" y="36"/>
                      </a:lnTo>
                      <a:lnTo>
                        <a:pt x="54" y="36"/>
                      </a:lnTo>
                      <a:lnTo>
                        <a:pt x="51" y="36"/>
                      </a:lnTo>
                      <a:lnTo>
                        <a:pt x="50" y="35"/>
                      </a:lnTo>
                      <a:lnTo>
                        <a:pt x="46" y="35"/>
                      </a:lnTo>
                      <a:lnTo>
                        <a:pt x="45" y="36"/>
                      </a:lnTo>
                      <a:lnTo>
                        <a:pt x="46" y="39"/>
                      </a:lnTo>
                      <a:lnTo>
                        <a:pt x="46" y="40"/>
                      </a:lnTo>
                      <a:lnTo>
                        <a:pt x="46" y="41"/>
                      </a:lnTo>
                      <a:lnTo>
                        <a:pt x="40" y="46"/>
                      </a:lnTo>
                      <a:lnTo>
                        <a:pt x="39" y="48"/>
                      </a:lnTo>
                      <a:lnTo>
                        <a:pt x="37" y="52"/>
                      </a:lnTo>
                      <a:lnTo>
                        <a:pt x="37" y="54"/>
                      </a:lnTo>
                      <a:lnTo>
                        <a:pt x="36" y="57"/>
                      </a:lnTo>
                      <a:lnTo>
                        <a:pt x="31" y="59"/>
                      </a:lnTo>
                      <a:lnTo>
                        <a:pt x="31" y="60"/>
                      </a:lnTo>
                      <a:lnTo>
                        <a:pt x="31" y="61"/>
                      </a:lnTo>
                      <a:lnTo>
                        <a:pt x="35" y="64"/>
                      </a:lnTo>
                      <a:lnTo>
                        <a:pt x="37" y="66"/>
                      </a:lnTo>
                      <a:lnTo>
                        <a:pt x="44" y="71"/>
                      </a:lnTo>
                      <a:lnTo>
                        <a:pt x="46" y="71"/>
                      </a:lnTo>
                      <a:lnTo>
                        <a:pt x="49" y="70"/>
                      </a:lnTo>
                      <a:lnTo>
                        <a:pt x="50" y="66"/>
                      </a:lnTo>
                      <a:lnTo>
                        <a:pt x="52" y="64"/>
                      </a:lnTo>
                      <a:lnTo>
                        <a:pt x="58" y="60"/>
                      </a:lnTo>
                      <a:lnTo>
                        <a:pt x="61" y="57"/>
                      </a:lnTo>
                      <a:lnTo>
                        <a:pt x="64" y="54"/>
                      </a:lnTo>
                      <a:lnTo>
                        <a:pt x="66" y="53"/>
                      </a:lnTo>
                      <a:lnTo>
                        <a:pt x="75" y="49"/>
                      </a:lnTo>
                      <a:lnTo>
                        <a:pt x="79" y="49"/>
                      </a:lnTo>
                      <a:lnTo>
                        <a:pt x="84" y="49"/>
                      </a:lnTo>
                      <a:lnTo>
                        <a:pt x="86" y="51"/>
                      </a:lnTo>
                      <a:lnTo>
                        <a:pt x="87" y="53"/>
                      </a:lnTo>
                      <a:lnTo>
                        <a:pt x="86" y="55"/>
                      </a:lnTo>
                      <a:lnTo>
                        <a:pt x="83" y="59"/>
                      </a:lnTo>
                      <a:lnTo>
                        <a:pt x="79" y="61"/>
                      </a:lnTo>
                      <a:lnTo>
                        <a:pt x="75" y="64"/>
                      </a:lnTo>
                      <a:lnTo>
                        <a:pt x="69" y="68"/>
                      </a:lnTo>
                      <a:lnTo>
                        <a:pt x="64" y="73"/>
                      </a:lnTo>
                      <a:lnTo>
                        <a:pt x="74" y="72"/>
                      </a:lnTo>
                      <a:lnTo>
                        <a:pt x="86" y="70"/>
                      </a:lnTo>
                      <a:lnTo>
                        <a:pt x="94" y="66"/>
                      </a:lnTo>
                      <a:lnTo>
                        <a:pt x="103" y="60"/>
                      </a:lnTo>
                      <a:lnTo>
                        <a:pt x="99" y="57"/>
                      </a:lnTo>
                      <a:lnTo>
                        <a:pt x="96" y="52"/>
                      </a:lnTo>
                      <a:lnTo>
                        <a:pt x="94" y="47"/>
                      </a:lnTo>
                      <a:lnTo>
                        <a:pt x="94" y="45"/>
                      </a:lnTo>
                      <a:lnTo>
                        <a:pt x="96" y="43"/>
                      </a:lnTo>
                      <a:lnTo>
                        <a:pt x="97" y="41"/>
                      </a:lnTo>
                      <a:lnTo>
                        <a:pt x="98" y="41"/>
                      </a:lnTo>
                      <a:lnTo>
                        <a:pt x="103" y="42"/>
                      </a:lnTo>
                      <a:lnTo>
                        <a:pt x="111" y="47"/>
                      </a:lnTo>
                      <a:lnTo>
                        <a:pt x="113" y="48"/>
                      </a:lnTo>
                      <a:lnTo>
                        <a:pt x="116" y="49"/>
                      </a:lnTo>
                      <a:lnTo>
                        <a:pt x="120" y="49"/>
                      </a:lnTo>
                      <a:lnTo>
                        <a:pt x="121" y="47"/>
                      </a:lnTo>
                      <a:lnTo>
                        <a:pt x="122" y="46"/>
                      </a:lnTo>
                      <a:lnTo>
                        <a:pt x="121" y="43"/>
                      </a:lnTo>
                      <a:lnTo>
                        <a:pt x="120" y="42"/>
                      </a:lnTo>
                      <a:lnTo>
                        <a:pt x="119" y="40"/>
                      </a:lnTo>
                      <a:lnTo>
                        <a:pt x="119" y="38"/>
                      </a:lnTo>
                      <a:lnTo>
                        <a:pt x="120" y="36"/>
                      </a:lnTo>
                      <a:lnTo>
                        <a:pt x="124" y="34"/>
                      </a:lnTo>
                      <a:lnTo>
                        <a:pt x="125" y="33"/>
                      </a:lnTo>
                      <a:lnTo>
                        <a:pt x="125" y="32"/>
                      </a:lnTo>
                      <a:lnTo>
                        <a:pt x="122" y="29"/>
                      </a:lnTo>
                      <a:lnTo>
                        <a:pt x="121" y="28"/>
                      </a:lnTo>
                      <a:lnTo>
                        <a:pt x="121" y="26"/>
                      </a:lnTo>
                      <a:lnTo>
                        <a:pt x="125" y="23"/>
                      </a:lnTo>
                      <a:lnTo>
                        <a:pt x="126" y="21"/>
                      </a:lnTo>
                      <a:lnTo>
                        <a:pt x="127" y="19"/>
                      </a:lnTo>
                      <a:lnTo>
                        <a:pt x="120" y="20"/>
                      </a:lnTo>
                      <a:lnTo>
                        <a:pt x="112" y="22"/>
                      </a:lnTo>
                      <a:lnTo>
                        <a:pt x="110" y="22"/>
                      </a:lnTo>
                      <a:lnTo>
                        <a:pt x="107" y="21"/>
                      </a:lnTo>
                      <a:lnTo>
                        <a:pt x="103" y="20"/>
                      </a:lnTo>
                      <a:lnTo>
                        <a:pt x="101" y="21"/>
                      </a:lnTo>
                      <a:lnTo>
                        <a:pt x="96" y="21"/>
                      </a:lnTo>
                      <a:lnTo>
                        <a:pt x="91" y="20"/>
                      </a:lnTo>
                      <a:lnTo>
                        <a:pt x="87" y="17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7" y="11"/>
                      </a:lnTo>
                      <a:lnTo>
                        <a:pt x="91" y="9"/>
                      </a:lnTo>
                      <a:lnTo>
                        <a:pt x="96" y="8"/>
                      </a:lnTo>
                      <a:lnTo>
                        <a:pt x="99" y="6"/>
                      </a:lnTo>
                      <a:lnTo>
                        <a:pt x="102" y="2"/>
                      </a:lnTo>
                      <a:lnTo>
                        <a:pt x="102" y="1"/>
                      </a:lnTo>
                      <a:lnTo>
                        <a:pt x="101" y="0"/>
                      </a:lnTo>
                      <a:lnTo>
                        <a:pt x="98" y="0"/>
                      </a:lnTo>
                      <a:lnTo>
                        <a:pt x="94" y="0"/>
                      </a:lnTo>
                      <a:lnTo>
                        <a:pt x="92" y="0"/>
                      </a:lnTo>
                      <a:lnTo>
                        <a:pt x="88" y="0"/>
                      </a:lnTo>
                      <a:lnTo>
                        <a:pt x="83" y="0"/>
                      </a:lnTo>
                      <a:lnTo>
                        <a:pt x="78" y="0"/>
                      </a:lnTo>
                      <a:lnTo>
                        <a:pt x="73" y="2"/>
                      </a:lnTo>
                      <a:lnTo>
                        <a:pt x="68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9" name="Freeform 1294">
                  <a:extLst>
                    <a:ext uri="{FF2B5EF4-FFF2-40B4-BE49-F238E27FC236}">
                      <a16:creationId xmlns:a16="http://schemas.microsoft.com/office/drawing/2014/main" id="{D121A396-E6D8-4648-A86B-7682692F65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79" y="2579102"/>
                  <a:ext cx="195343" cy="113950"/>
                </a:xfrm>
                <a:custGeom>
                  <a:avLst/>
                  <a:gdLst>
                    <a:gd name="T0" fmla="*/ 2147483647 w 143"/>
                    <a:gd name="T1" fmla="*/ 2147483647 h 77"/>
                    <a:gd name="T2" fmla="*/ 2147483647 w 143"/>
                    <a:gd name="T3" fmla="*/ 2147483647 h 77"/>
                    <a:gd name="T4" fmla="*/ 2147483647 w 143"/>
                    <a:gd name="T5" fmla="*/ 2147483647 h 77"/>
                    <a:gd name="T6" fmla="*/ 2147483647 w 143"/>
                    <a:gd name="T7" fmla="*/ 2147483647 h 77"/>
                    <a:gd name="T8" fmla="*/ 2147483647 w 143"/>
                    <a:gd name="T9" fmla="*/ 2147483647 h 77"/>
                    <a:gd name="T10" fmla="*/ 2147483647 w 143"/>
                    <a:gd name="T11" fmla="*/ 2147483647 h 77"/>
                    <a:gd name="T12" fmla="*/ 2147483647 w 143"/>
                    <a:gd name="T13" fmla="*/ 2147483647 h 77"/>
                    <a:gd name="T14" fmla="*/ 2147483647 w 143"/>
                    <a:gd name="T15" fmla="*/ 0 h 77"/>
                    <a:gd name="T16" fmla="*/ 2147483647 w 143"/>
                    <a:gd name="T17" fmla="*/ 2147483647 h 77"/>
                    <a:gd name="T18" fmla="*/ 2147483647 w 143"/>
                    <a:gd name="T19" fmla="*/ 2147483647 h 77"/>
                    <a:gd name="T20" fmla="*/ 2147483647 w 143"/>
                    <a:gd name="T21" fmla="*/ 2147483647 h 77"/>
                    <a:gd name="T22" fmla="*/ 2147483647 w 143"/>
                    <a:gd name="T23" fmla="*/ 2147483647 h 77"/>
                    <a:gd name="T24" fmla="*/ 2147483647 w 143"/>
                    <a:gd name="T25" fmla="*/ 2147483647 h 77"/>
                    <a:gd name="T26" fmla="*/ 2147483647 w 143"/>
                    <a:gd name="T27" fmla="*/ 2147483647 h 77"/>
                    <a:gd name="T28" fmla="*/ 2147483647 w 143"/>
                    <a:gd name="T29" fmla="*/ 2147483647 h 77"/>
                    <a:gd name="T30" fmla="*/ 2147483647 w 143"/>
                    <a:gd name="T31" fmla="*/ 2147483647 h 77"/>
                    <a:gd name="T32" fmla="*/ 2147483647 w 143"/>
                    <a:gd name="T33" fmla="*/ 2147483647 h 77"/>
                    <a:gd name="T34" fmla="*/ 2147483647 w 143"/>
                    <a:gd name="T35" fmla="*/ 2147483647 h 77"/>
                    <a:gd name="T36" fmla="*/ 2147483647 w 143"/>
                    <a:gd name="T37" fmla="*/ 2147483647 h 77"/>
                    <a:gd name="T38" fmla="*/ 2147483647 w 143"/>
                    <a:gd name="T39" fmla="*/ 2147483647 h 77"/>
                    <a:gd name="T40" fmla="*/ 2147483647 w 143"/>
                    <a:gd name="T41" fmla="*/ 2147483647 h 77"/>
                    <a:gd name="T42" fmla="*/ 0 w 143"/>
                    <a:gd name="T43" fmla="*/ 2147483647 h 77"/>
                    <a:gd name="T44" fmla="*/ 2147483647 w 143"/>
                    <a:gd name="T45" fmla="*/ 2147483647 h 77"/>
                    <a:gd name="T46" fmla="*/ 2147483647 w 143"/>
                    <a:gd name="T47" fmla="*/ 2147483647 h 77"/>
                    <a:gd name="T48" fmla="*/ 2147483647 w 143"/>
                    <a:gd name="T49" fmla="*/ 2147483647 h 77"/>
                    <a:gd name="T50" fmla="*/ 2147483647 w 143"/>
                    <a:gd name="T51" fmla="*/ 2147483647 h 77"/>
                    <a:gd name="T52" fmla="*/ 2147483647 w 143"/>
                    <a:gd name="T53" fmla="*/ 2147483647 h 77"/>
                    <a:gd name="T54" fmla="*/ 2147483647 w 143"/>
                    <a:gd name="T55" fmla="*/ 2147483647 h 77"/>
                    <a:gd name="T56" fmla="*/ 2147483647 w 143"/>
                    <a:gd name="T57" fmla="*/ 2147483647 h 77"/>
                    <a:gd name="T58" fmla="*/ 2147483647 w 143"/>
                    <a:gd name="T59" fmla="*/ 2147483647 h 77"/>
                    <a:gd name="T60" fmla="*/ 2147483647 w 143"/>
                    <a:gd name="T61" fmla="*/ 2147483647 h 77"/>
                    <a:gd name="T62" fmla="*/ 2147483647 w 143"/>
                    <a:gd name="T63" fmla="*/ 2147483647 h 77"/>
                    <a:gd name="T64" fmla="*/ 2147483647 w 143"/>
                    <a:gd name="T65" fmla="*/ 2147483647 h 77"/>
                    <a:gd name="T66" fmla="*/ 2147483647 w 143"/>
                    <a:gd name="T67" fmla="*/ 2147483647 h 77"/>
                    <a:gd name="T68" fmla="*/ 2147483647 w 143"/>
                    <a:gd name="T69" fmla="*/ 2147483647 h 77"/>
                    <a:gd name="T70" fmla="*/ 2147483647 w 143"/>
                    <a:gd name="T71" fmla="*/ 2147483647 h 77"/>
                    <a:gd name="T72" fmla="*/ 2147483647 w 143"/>
                    <a:gd name="T73" fmla="*/ 2147483647 h 77"/>
                    <a:gd name="T74" fmla="*/ 2147483647 w 143"/>
                    <a:gd name="T75" fmla="*/ 2147483647 h 77"/>
                    <a:gd name="T76" fmla="*/ 2147483647 w 143"/>
                    <a:gd name="T77" fmla="*/ 2147483647 h 77"/>
                    <a:gd name="T78" fmla="*/ 2147483647 w 143"/>
                    <a:gd name="T79" fmla="*/ 2147483647 h 77"/>
                    <a:gd name="T80" fmla="*/ 2147483647 w 143"/>
                    <a:gd name="T81" fmla="*/ 2147483647 h 77"/>
                    <a:gd name="T82" fmla="*/ 2147483647 w 143"/>
                    <a:gd name="T83" fmla="*/ 2147483647 h 7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43"/>
                    <a:gd name="T127" fmla="*/ 0 h 77"/>
                    <a:gd name="T128" fmla="*/ 143 w 143"/>
                    <a:gd name="T129" fmla="*/ 77 h 7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43" h="77">
                      <a:moveTo>
                        <a:pt x="92" y="13"/>
                      </a:moveTo>
                      <a:lnTo>
                        <a:pt x="87" y="15"/>
                      </a:lnTo>
                      <a:lnTo>
                        <a:pt x="82" y="17"/>
                      </a:lnTo>
                      <a:lnTo>
                        <a:pt x="78" y="18"/>
                      </a:lnTo>
                      <a:lnTo>
                        <a:pt x="73" y="20"/>
                      </a:lnTo>
                      <a:lnTo>
                        <a:pt x="66" y="27"/>
                      </a:lnTo>
                      <a:lnTo>
                        <a:pt x="61" y="31"/>
                      </a:lnTo>
                      <a:lnTo>
                        <a:pt x="58" y="31"/>
                      </a:lnTo>
                      <a:lnTo>
                        <a:pt x="55" y="31"/>
                      </a:lnTo>
                      <a:lnTo>
                        <a:pt x="54" y="30"/>
                      </a:lnTo>
                      <a:lnTo>
                        <a:pt x="53" y="27"/>
                      </a:lnTo>
                      <a:lnTo>
                        <a:pt x="53" y="25"/>
                      </a:lnTo>
                      <a:lnTo>
                        <a:pt x="50" y="22"/>
                      </a:lnTo>
                      <a:lnTo>
                        <a:pt x="43" y="19"/>
                      </a:lnTo>
                      <a:lnTo>
                        <a:pt x="36" y="13"/>
                      </a:lnTo>
                      <a:lnTo>
                        <a:pt x="25" y="0"/>
                      </a:lnTo>
                      <a:lnTo>
                        <a:pt x="22" y="0"/>
                      </a:lnTo>
                      <a:lnTo>
                        <a:pt x="20" y="1"/>
                      </a:lnTo>
                      <a:lnTo>
                        <a:pt x="19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1" y="13"/>
                      </a:lnTo>
                      <a:lnTo>
                        <a:pt x="25" y="17"/>
                      </a:lnTo>
                      <a:lnTo>
                        <a:pt x="31" y="22"/>
                      </a:lnTo>
                      <a:lnTo>
                        <a:pt x="36" y="28"/>
                      </a:lnTo>
                      <a:lnTo>
                        <a:pt x="39" y="32"/>
                      </a:lnTo>
                      <a:lnTo>
                        <a:pt x="40" y="36"/>
                      </a:lnTo>
                      <a:lnTo>
                        <a:pt x="39" y="39"/>
                      </a:lnTo>
                      <a:lnTo>
                        <a:pt x="38" y="41"/>
                      </a:lnTo>
                      <a:lnTo>
                        <a:pt x="35" y="44"/>
                      </a:lnTo>
                      <a:lnTo>
                        <a:pt x="31" y="45"/>
                      </a:lnTo>
                      <a:lnTo>
                        <a:pt x="22" y="49"/>
                      </a:lnTo>
                      <a:lnTo>
                        <a:pt x="19" y="50"/>
                      </a:lnTo>
                      <a:lnTo>
                        <a:pt x="15" y="52"/>
                      </a:lnTo>
                      <a:lnTo>
                        <a:pt x="15" y="53"/>
                      </a:lnTo>
                      <a:lnTo>
                        <a:pt x="16" y="54"/>
                      </a:lnTo>
                      <a:lnTo>
                        <a:pt x="16" y="57"/>
                      </a:lnTo>
                      <a:lnTo>
                        <a:pt x="15" y="59"/>
                      </a:lnTo>
                      <a:lnTo>
                        <a:pt x="14" y="60"/>
                      </a:lnTo>
                      <a:lnTo>
                        <a:pt x="12" y="59"/>
                      </a:lnTo>
                      <a:lnTo>
                        <a:pt x="8" y="59"/>
                      </a:lnTo>
                      <a:lnTo>
                        <a:pt x="6" y="59"/>
                      </a:lnTo>
                      <a:lnTo>
                        <a:pt x="0" y="62"/>
                      </a:lnTo>
                      <a:lnTo>
                        <a:pt x="0" y="63"/>
                      </a:lnTo>
                      <a:lnTo>
                        <a:pt x="7" y="71"/>
                      </a:lnTo>
                      <a:lnTo>
                        <a:pt x="11" y="75"/>
                      </a:lnTo>
                      <a:lnTo>
                        <a:pt x="16" y="76"/>
                      </a:lnTo>
                      <a:lnTo>
                        <a:pt x="28" y="77"/>
                      </a:lnTo>
                      <a:lnTo>
                        <a:pt x="39" y="76"/>
                      </a:lnTo>
                      <a:lnTo>
                        <a:pt x="44" y="75"/>
                      </a:lnTo>
                      <a:lnTo>
                        <a:pt x="49" y="72"/>
                      </a:lnTo>
                      <a:lnTo>
                        <a:pt x="53" y="69"/>
                      </a:lnTo>
                      <a:lnTo>
                        <a:pt x="55" y="63"/>
                      </a:lnTo>
                      <a:lnTo>
                        <a:pt x="55" y="62"/>
                      </a:lnTo>
                      <a:lnTo>
                        <a:pt x="58" y="62"/>
                      </a:lnTo>
                      <a:lnTo>
                        <a:pt x="62" y="59"/>
                      </a:lnTo>
                      <a:lnTo>
                        <a:pt x="63" y="58"/>
                      </a:lnTo>
                      <a:lnTo>
                        <a:pt x="64" y="56"/>
                      </a:lnTo>
                      <a:lnTo>
                        <a:pt x="64" y="51"/>
                      </a:lnTo>
                      <a:lnTo>
                        <a:pt x="66" y="49"/>
                      </a:lnTo>
                      <a:lnTo>
                        <a:pt x="68" y="46"/>
                      </a:lnTo>
                      <a:lnTo>
                        <a:pt x="87" y="37"/>
                      </a:lnTo>
                      <a:lnTo>
                        <a:pt x="97" y="31"/>
                      </a:lnTo>
                      <a:lnTo>
                        <a:pt x="101" y="27"/>
                      </a:lnTo>
                      <a:lnTo>
                        <a:pt x="105" y="22"/>
                      </a:lnTo>
                      <a:lnTo>
                        <a:pt x="109" y="20"/>
                      </a:lnTo>
                      <a:lnTo>
                        <a:pt x="113" y="18"/>
                      </a:lnTo>
                      <a:lnTo>
                        <a:pt x="116" y="17"/>
                      </a:lnTo>
                      <a:lnTo>
                        <a:pt x="121" y="17"/>
                      </a:lnTo>
                      <a:lnTo>
                        <a:pt x="130" y="17"/>
                      </a:lnTo>
                      <a:lnTo>
                        <a:pt x="141" y="18"/>
                      </a:lnTo>
                      <a:lnTo>
                        <a:pt x="142" y="17"/>
                      </a:lnTo>
                      <a:lnTo>
                        <a:pt x="143" y="17"/>
                      </a:lnTo>
                      <a:lnTo>
                        <a:pt x="133" y="12"/>
                      </a:lnTo>
                      <a:lnTo>
                        <a:pt x="124" y="7"/>
                      </a:lnTo>
                      <a:lnTo>
                        <a:pt x="119" y="5"/>
                      </a:lnTo>
                      <a:lnTo>
                        <a:pt x="114" y="5"/>
                      </a:lnTo>
                      <a:lnTo>
                        <a:pt x="109" y="5"/>
                      </a:lnTo>
                      <a:lnTo>
                        <a:pt x="104" y="6"/>
                      </a:lnTo>
                      <a:lnTo>
                        <a:pt x="99" y="8"/>
                      </a:lnTo>
                      <a:lnTo>
                        <a:pt x="95" y="11"/>
                      </a:lnTo>
                      <a:lnTo>
                        <a:pt x="90" y="14"/>
                      </a:lnTo>
                      <a:lnTo>
                        <a:pt x="83" y="15"/>
                      </a:lnTo>
                      <a:lnTo>
                        <a:pt x="92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0" name="Freeform 1295">
                  <a:extLst>
                    <a:ext uri="{FF2B5EF4-FFF2-40B4-BE49-F238E27FC236}">
                      <a16:creationId xmlns:a16="http://schemas.microsoft.com/office/drawing/2014/main" id="{E52EF119-7ADD-DB44-B0BC-EB8FFA4D18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0002" y="2940188"/>
                  <a:ext cx="71034" cy="122829"/>
                </a:xfrm>
                <a:custGeom>
                  <a:avLst/>
                  <a:gdLst>
                    <a:gd name="T0" fmla="*/ 2147483647 w 52"/>
                    <a:gd name="T1" fmla="*/ 2147483647 h 83"/>
                    <a:gd name="T2" fmla="*/ 2147483647 w 52"/>
                    <a:gd name="T3" fmla="*/ 2147483647 h 83"/>
                    <a:gd name="T4" fmla="*/ 2147483647 w 52"/>
                    <a:gd name="T5" fmla="*/ 2147483647 h 83"/>
                    <a:gd name="T6" fmla="*/ 2147483647 w 52"/>
                    <a:gd name="T7" fmla="*/ 2147483647 h 83"/>
                    <a:gd name="T8" fmla="*/ 2147483647 w 52"/>
                    <a:gd name="T9" fmla="*/ 2147483647 h 83"/>
                    <a:gd name="T10" fmla="*/ 2147483647 w 52"/>
                    <a:gd name="T11" fmla="*/ 2147483647 h 83"/>
                    <a:gd name="T12" fmla="*/ 2147483647 w 52"/>
                    <a:gd name="T13" fmla="*/ 2147483647 h 83"/>
                    <a:gd name="T14" fmla="*/ 2147483647 w 52"/>
                    <a:gd name="T15" fmla="*/ 2147483647 h 83"/>
                    <a:gd name="T16" fmla="*/ 2147483647 w 52"/>
                    <a:gd name="T17" fmla="*/ 2147483647 h 83"/>
                    <a:gd name="T18" fmla="*/ 2147483647 w 52"/>
                    <a:gd name="T19" fmla="*/ 2147483647 h 83"/>
                    <a:gd name="T20" fmla="*/ 2147483647 w 52"/>
                    <a:gd name="T21" fmla="*/ 2147483647 h 83"/>
                    <a:gd name="T22" fmla="*/ 2147483647 w 52"/>
                    <a:gd name="T23" fmla="*/ 0 h 83"/>
                    <a:gd name="T24" fmla="*/ 2147483647 w 52"/>
                    <a:gd name="T25" fmla="*/ 0 h 83"/>
                    <a:gd name="T26" fmla="*/ 2147483647 w 52"/>
                    <a:gd name="T27" fmla="*/ 0 h 83"/>
                    <a:gd name="T28" fmla="*/ 2147483647 w 52"/>
                    <a:gd name="T29" fmla="*/ 2147483647 h 83"/>
                    <a:gd name="T30" fmla="*/ 2147483647 w 52"/>
                    <a:gd name="T31" fmla="*/ 2147483647 h 83"/>
                    <a:gd name="T32" fmla="*/ 2147483647 w 52"/>
                    <a:gd name="T33" fmla="*/ 2147483647 h 83"/>
                    <a:gd name="T34" fmla="*/ 2147483647 w 52"/>
                    <a:gd name="T35" fmla="*/ 2147483647 h 83"/>
                    <a:gd name="T36" fmla="*/ 2147483647 w 52"/>
                    <a:gd name="T37" fmla="*/ 2147483647 h 83"/>
                    <a:gd name="T38" fmla="*/ 0 w 52"/>
                    <a:gd name="T39" fmla="*/ 2147483647 h 83"/>
                    <a:gd name="T40" fmla="*/ 0 w 52"/>
                    <a:gd name="T41" fmla="*/ 2147483647 h 83"/>
                    <a:gd name="T42" fmla="*/ 2147483647 w 52"/>
                    <a:gd name="T43" fmla="*/ 2147483647 h 83"/>
                    <a:gd name="T44" fmla="*/ 2147483647 w 52"/>
                    <a:gd name="T45" fmla="*/ 2147483647 h 83"/>
                    <a:gd name="T46" fmla="*/ 2147483647 w 52"/>
                    <a:gd name="T47" fmla="*/ 2147483647 h 83"/>
                    <a:gd name="T48" fmla="*/ 2147483647 w 52"/>
                    <a:gd name="T49" fmla="*/ 2147483647 h 83"/>
                    <a:gd name="T50" fmla="*/ 2147483647 w 52"/>
                    <a:gd name="T51" fmla="*/ 2147483647 h 83"/>
                    <a:gd name="T52" fmla="*/ 2147483647 w 52"/>
                    <a:gd name="T53" fmla="*/ 2147483647 h 83"/>
                    <a:gd name="T54" fmla="*/ 2147483647 w 52"/>
                    <a:gd name="T55" fmla="*/ 2147483647 h 83"/>
                    <a:gd name="T56" fmla="*/ 2147483647 w 52"/>
                    <a:gd name="T57" fmla="*/ 2147483647 h 83"/>
                    <a:gd name="T58" fmla="*/ 2147483647 w 52"/>
                    <a:gd name="T59" fmla="*/ 2147483647 h 83"/>
                    <a:gd name="T60" fmla="*/ 2147483647 w 52"/>
                    <a:gd name="T61" fmla="*/ 2147483647 h 83"/>
                    <a:gd name="T62" fmla="*/ 2147483647 w 52"/>
                    <a:gd name="T63" fmla="*/ 2147483647 h 83"/>
                    <a:gd name="T64" fmla="*/ 2147483647 w 52"/>
                    <a:gd name="T65" fmla="*/ 2147483647 h 83"/>
                    <a:gd name="T66" fmla="*/ 2147483647 w 52"/>
                    <a:gd name="T67" fmla="*/ 2147483647 h 83"/>
                    <a:gd name="T68" fmla="*/ 2147483647 w 52"/>
                    <a:gd name="T69" fmla="*/ 2147483647 h 83"/>
                    <a:gd name="T70" fmla="*/ 2147483647 w 52"/>
                    <a:gd name="T71" fmla="*/ 2147483647 h 83"/>
                    <a:gd name="T72" fmla="*/ 2147483647 w 52"/>
                    <a:gd name="T73" fmla="*/ 2147483647 h 83"/>
                    <a:gd name="T74" fmla="*/ 2147483647 w 52"/>
                    <a:gd name="T75" fmla="*/ 2147483647 h 83"/>
                    <a:gd name="T76" fmla="*/ 2147483647 w 52"/>
                    <a:gd name="T77" fmla="*/ 2147483647 h 83"/>
                    <a:gd name="T78" fmla="*/ 2147483647 w 52"/>
                    <a:gd name="T79" fmla="*/ 2147483647 h 83"/>
                    <a:gd name="T80" fmla="*/ 2147483647 w 52"/>
                    <a:gd name="T81" fmla="*/ 2147483647 h 83"/>
                    <a:gd name="T82" fmla="*/ 2147483647 w 52"/>
                    <a:gd name="T83" fmla="*/ 2147483647 h 83"/>
                    <a:gd name="T84" fmla="*/ 2147483647 w 52"/>
                    <a:gd name="T85" fmla="*/ 2147483647 h 83"/>
                    <a:gd name="T86" fmla="*/ 2147483647 w 52"/>
                    <a:gd name="T87" fmla="*/ 2147483647 h 83"/>
                    <a:gd name="T88" fmla="*/ 2147483647 w 52"/>
                    <a:gd name="T89" fmla="*/ 2147483647 h 83"/>
                    <a:gd name="T90" fmla="*/ 2147483647 w 52"/>
                    <a:gd name="T91" fmla="*/ 2147483647 h 83"/>
                    <a:gd name="T92" fmla="*/ 2147483647 w 52"/>
                    <a:gd name="T93" fmla="*/ 2147483647 h 83"/>
                    <a:gd name="T94" fmla="*/ 2147483647 w 52"/>
                    <a:gd name="T95" fmla="*/ 2147483647 h 83"/>
                    <a:gd name="T96" fmla="*/ 2147483647 w 52"/>
                    <a:gd name="T97" fmla="*/ 2147483647 h 83"/>
                    <a:gd name="T98" fmla="*/ 2147483647 w 52"/>
                    <a:gd name="T99" fmla="*/ 2147483647 h 83"/>
                    <a:gd name="T100" fmla="*/ 2147483647 w 52"/>
                    <a:gd name="T101" fmla="*/ 2147483647 h 83"/>
                    <a:gd name="T102" fmla="*/ 2147483647 w 52"/>
                    <a:gd name="T103" fmla="*/ 2147483647 h 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2"/>
                    <a:gd name="T157" fmla="*/ 0 h 83"/>
                    <a:gd name="T158" fmla="*/ 52 w 52"/>
                    <a:gd name="T159" fmla="*/ 83 h 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2" h="83">
                      <a:moveTo>
                        <a:pt x="39" y="50"/>
                      </a:moveTo>
                      <a:lnTo>
                        <a:pt x="38" y="46"/>
                      </a:lnTo>
                      <a:lnTo>
                        <a:pt x="35" y="44"/>
                      </a:lnTo>
                      <a:lnTo>
                        <a:pt x="28" y="30"/>
                      </a:lnTo>
                      <a:lnTo>
                        <a:pt x="21" y="17"/>
                      </a:lnTo>
                      <a:lnTo>
                        <a:pt x="20" y="13"/>
                      </a:lnTo>
                      <a:lnTo>
                        <a:pt x="19" y="10"/>
                      </a:lnTo>
                      <a:lnTo>
                        <a:pt x="19" y="6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5" y="3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6" y="1"/>
                      </a:lnTo>
                      <a:lnTo>
                        <a:pt x="6" y="4"/>
                      </a:lnTo>
                      <a:lnTo>
                        <a:pt x="5" y="6"/>
                      </a:lnTo>
                      <a:lnTo>
                        <a:pt x="3" y="8"/>
                      </a:lnTo>
                      <a:lnTo>
                        <a:pt x="1" y="14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2" y="19"/>
                      </a:lnTo>
                      <a:lnTo>
                        <a:pt x="7" y="19"/>
                      </a:lnTo>
                      <a:lnTo>
                        <a:pt x="10" y="20"/>
                      </a:lnTo>
                      <a:lnTo>
                        <a:pt x="11" y="22"/>
                      </a:lnTo>
                      <a:lnTo>
                        <a:pt x="11" y="24"/>
                      </a:lnTo>
                      <a:lnTo>
                        <a:pt x="10" y="26"/>
                      </a:lnTo>
                      <a:lnTo>
                        <a:pt x="8" y="29"/>
                      </a:lnTo>
                      <a:lnTo>
                        <a:pt x="7" y="31"/>
                      </a:lnTo>
                      <a:lnTo>
                        <a:pt x="7" y="33"/>
                      </a:lnTo>
                      <a:lnTo>
                        <a:pt x="11" y="42"/>
                      </a:lnTo>
                      <a:lnTo>
                        <a:pt x="15" y="45"/>
                      </a:lnTo>
                      <a:lnTo>
                        <a:pt x="16" y="45"/>
                      </a:lnTo>
                      <a:lnTo>
                        <a:pt x="19" y="45"/>
                      </a:lnTo>
                      <a:lnTo>
                        <a:pt x="22" y="44"/>
                      </a:lnTo>
                      <a:lnTo>
                        <a:pt x="24" y="44"/>
                      </a:lnTo>
                      <a:lnTo>
                        <a:pt x="25" y="44"/>
                      </a:lnTo>
                      <a:lnTo>
                        <a:pt x="29" y="49"/>
                      </a:lnTo>
                      <a:lnTo>
                        <a:pt x="31" y="54"/>
                      </a:lnTo>
                      <a:lnTo>
                        <a:pt x="34" y="58"/>
                      </a:lnTo>
                      <a:lnTo>
                        <a:pt x="38" y="63"/>
                      </a:lnTo>
                      <a:lnTo>
                        <a:pt x="40" y="65"/>
                      </a:lnTo>
                      <a:lnTo>
                        <a:pt x="40" y="67"/>
                      </a:lnTo>
                      <a:lnTo>
                        <a:pt x="42" y="72"/>
                      </a:lnTo>
                      <a:lnTo>
                        <a:pt x="40" y="83"/>
                      </a:lnTo>
                      <a:lnTo>
                        <a:pt x="47" y="78"/>
                      </a:lnTo>
                      <a:lnTo>
                        <a:pt x="50" y="75"/>
                      </a:lnTo>
                      <a:lnTo>
                        <a:pt x="52" y="69"/>
                      </a:lnTo>
                      <a:lnTo>
                        <a:pt x="52" y="62"/>
                      </a:lnTo>
                      <a:lnTo>
                        <a:pt x="49" y="58"/>
                      </a:lnTo>
                      <a:lnTo>
                        <a:pt x="47" y="55"/>
                      </a:lnTo>
                      <a:lnTo>
                        <a:pt x="39" y="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1" name="Freeform 1296">
                  <a:extLst>
                    <a:ext uri="{FF2B5EF4-FFF2-40B4-BE49-F238E27FC236}">
                      <a16:creationId xmlns:a16="http://schemas.microsoft.com/office/drawing/2014/main" id="{9C248BA1-AB9D-AB4D-9315-9DD28EEB02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9719" y="2577619"/>
                  <a:ext cx="196823" cy="113951"/>
                </a:xfrm>
                <a:custGeom>
                  <a:avLst/>
                  <a:gdLst>
                    <a:gd name="T0" fmla="*/ 2147483647 w 144"/>
                    <a:gd name="T1" fmla="*/ 2147483647 h 77"/>
                    <a:gd name="T2" fmla="*/ 2147483647 w 144"/>
                    <a:gd name="T3" fmla="*/ 2147483647 h 77"/>
                    <a:gd name="T4" fmla="*/ 2147483647 w 144"/>
                    <a:gd name="T5" fmla="*/ 2147483647 h 77"/>
                    <a:gd name="T6" fmla="*/ 2147483647 w 144"/>
                    <a:gd name="T7" fmla="*/ 2147483647 h 77"/>
                    <a:gd name="T8" fmla="*/ 2147483647 w 144"/>
                    <a:gd name="T9" fmla="*/ 2147483647 h 77"/>
                    <a:gd name="T10" fmla="*/ 2147483647 w 144"/>
                    <a:gd name="T11" fmla="*/ 2147483647 h 77"/>
                    <a:gd name="T12" fmla="*/ 2147483647 w 144"/>
                    <a:gd name="T13" fmla="*/ 2147483647 h 77"/>
                    <a:gd name="T14" fmla="*/ 2147483647 w 144"/>
                    <a:gd name="T15" fmla="*/ 2147483647 h 77"/>
                    <a:gd name="T16" fmla="*/ 2147483647 w 144"/>
                    <a:gd name="T17" fmla="*/ 2147483647 h 77"/>
                    <a:gd name="T18" fmla="*/ 2147483647 w 144"/>
                    <a:gd name="T19" fmla="*/ 0 h 77"/>
                    <a:gd name="T20" fmla="*/ 2147483647 w 144"/>
                    <a:gd name="T21" fmla="*/ 0 h 77"/>
                    <a:gd name="T22" fmla="*/ 2147483647 w 144"/>
                    <a:gd name="T23" fmla="*/ 2147483647 h 77"/>
                    <a:gd name="T24" fmla="*/ 2147483647 w 144"/>
                    <a:gd name="T25" fmla="*/ 2147483647 h 77"/>
                    <a:gd name="T26" fmla="*/ 2147483647 w 144"/>
                    <a:gd name="T27" fmla="*/ 2147483647 h 77"/>
                    <a:gd name="T28" fmla="*/ 2147483647 w 144"/>
                    <a:gd name="T29" fmla="*/ 2147483647 h 77"/>
                    <a:gd name="T30" fmla="*/ 2147483647 w 144"/>
                    <a:gd name="T31" fmla="*/ 2147483647 h 77"/>
                    <a:gd name="T32" fmla="*/ 2147483647 w 144"/>
                    <a:gd name="T33" fmla="*/ 2147483647 h 77"/>
                    <a:gd name="T34" fmla="*/ 2147483647 w 144"/>
                    <a:gd name="T35" fmla="*/ 2147483647 h 77"/>
                    <a:gd name="T36" fmla="*/ 2147483647 w 144"/>
                    <a:gd name="T37" fmla="*/ 2147483647 h 77"/>
                    <a:gd name="T38" fmla="*/ 2147483647 w 144"/>
                    <a:gd name="T39" fmla="*/ 2147483647 h 77"/>
                    <a:gd name="T40" fmla="*/ 2147483647 w 144"/>
                    <a:gd name="T41" fmla="*/ 2147483647 h 77"/>
                    <a:gd name="T42" fmla="*/ 2147483647 w 144"/>
                    <a:gd name="T43" fmla="*/ 2147483647 h 77"/>
                    <a:gd name="T44" fmla="*/ 2147483647 w 144"/>
                    <a:gd name="T45" fmla="*/ 2147483647 h 77"/>
                    <a:gd name="T46" fmla="*/ 2147483647 w 144"/>
                    <a:gd name="T47" fmla="*/ 2147483647 h 77"/>
                    <a:gd name="T48" fmla="*/ 2147483647 w 144"/>
                    <a:gd name="T49" fmla="*/ 2147483647 h 77"/>
                    <a:gd name="T50" fmla="*/ 2147483647 w 144"/>
                    <a:gd name="T51" fmla="*/ 2147483647 h 77"/>
                    <a:gd name="T52" fmla="*/ 2147483647 w 144"/>
                    <a:gd name="T53" fmla="*/ 2147483647 h 77"/>
                    <a:gd name="T54" fmla="*/ 0 w 144"/>
                    <a:gd name="T55" fmla="*/ 2147483647 h 77"/>
                    <a:gd name="T56" fmla="*/ 0 w 144"/>
                    <a:gd name="T57" fmla="*/ 2147483647 h 77"/>
                    <a:gd name="T58" fmla="*/ 2147483647 w 144"/>
                    <a:gd name="T59" fmla="*/ 2147483647 h 77"/>
                    <a:gd name="T60" fmla="*/ 2147483647 w 144"/>
                    <a:gd name="T61" fmla="*/ 2147483647 h 77"/>
                    <a:gd name="T62" fmla="*/ 2147483647 w 144"/>
                    <a:gd name="T63" fmla="*/ 2147483647 h 77"/>
                    <a:gd name="T64" fmla="*/ 2147483647 w 144"/>
                    <a:gd name="T65" fmla="*/ 2147483647 h 77"/>
                    <a:gd name="T66" fmla="*/ 2147483647 w 144"/>
                    <a:gd name="T67" fmla="*/ 2147483647 h 77"/>
                    <a:gd name="T68" fmla="*/ 2147483647 w 144"/>
                    <a:gd name="T69" fmla="*/ 2147483647 h 77"/>
                    <a:gd name="T70" fmla="*/ 2147483647 w 144"/>
                    <a:gd name="T71" fmla="*/ 2147483647 h 77"/>
                    <a:gd name="T72" fmla="*/ 2147483647 w 144"/>
                    <a:gd name="T73" fmla="*/ 2147483647 h 77"/>
                    <a:gd name="T74" fmla="*/ 2147483647 w 144"/>
                    <a:gd name="T75" fmla="*/ 2147483647 h 77"/>
                    <a:gd name="T76" fmla="*/ 2147483647 w 144"/>
                    <a:gd name="T77" fmla="*/ 2147483647 h 77"/>
                    <a:gd name="T78" fmla="*/ 2147483647 w 144"/>
                    <a:gd name="T79" fmla="*/ 2147483647 h 77"/>
                    <a:gd name="T80" fmla="*/ 2147483647 w 144"/>
                    <a:gd name="T81" fmla="*/ 2147483647 h 77"/>
                    <a:gd name="T82" fmla="*/ 2147483647 w 144"/>
                    <a:gd name="T83" fmla="*/ 2147483647 h 77"/>
                    <a:gd name="T84" fmla="*/ 2147483647 w 144"/>
                    <a:gd name="T85" fmla="*/ 2147483647 h 77"/>
                    <a:gd name="T86" fmla="*/ 2147483647 w 144"/>
                    <a:gd name="T87" fmla="*/ 2147483647 h 77"/>
                    <a:gd name="T88" fmla="*/ 2147483647 w 144"/>
                    <a:gd name="T89" fmla="*/ 2147483647 h 77"/>
                    <a:gd name="T90" fmla="*/ 2147483647 w 144"/>
                    <a:gd name="T91" fmla="*/ 2147483647 h 77"/>
                    <a:gd name="T92" fmla="*/ 2147483647 w 144"/>
                    <a:gd name="T93" fmla="*/ 2147483647 h 77"/>
                    <a:gd name="T94" fmla="*/ 2147483647 w 144"/>
                    <a:gd name="T95" fmla="*/ 2147483647 h 77"/>
                    <a:gd name="T96" fmla="*/ 2147483647 w 144"/>
                    <a:gd name="T97" fmla="*/ 2147483647 h 77"/>
                    <a:gd name="T98" fmla="*/ 2147483647 w 144"/>
                    <a:gd name="T99" fmla="*/ 2147483647 h 77"/>
                    <a:gd name="T100" fmla="*/ 2147483647 w 144"/>
                    <a:gd name="T101" fmla="*/ 2147483647 h 77"/>
                    <a:gd name="T102" fmla="*/ 2147483647 w 144"/>
                    <a:gd name="T103" fmla="*/ 2147483647 h 77"/>
                    <a:gd name="T104" fmla="*/ 2147483647 w 144"/>
                    <a:gd name="T105" fmla="*/ 2147483647 h 77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44"/>
                    <a:gd name="T160" fmla="*/ 0 h 77"/>
                    <a:gd name="T161" fmla="*/ 144 w 144"/>
                    <a:gd name="T162" fmla="*/ 77 h 77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44" h="77">
                      <a:moveTo>
                        <a:pt x="93" y="13"/>
                      </a:moveTo>
                      <a:lnTo>
                        <a:pt x="93" y="13"/>
                      </a:lnTo>
                      <a:lnTo>
                        <a:pt x="88" y="15"/>
                      </a:lnTo>
                      <a:lnTo>
                        <a:pt x="83" y="16"/>
                      </a:lnTo>
                      <a:lnTo>
                        <a:pt x="79" y="18"/>
                      </a:lnTo>
                      <a:lnTo>
                        <a:pt x="74" y="20"/>
                      </a:lnTo>
                      <a:lnTo>
                        <a:pt x="66" y="27"/>
                      </a:lnTo>
                      <a:lnTo>
                        <a:pt x="61" y="31"/>
                      </a:lnTo>
                      <a:lnTo>
                        <a:pt x="59" y="31"/>
                      </a:lnTo>
                      <a:lnTo>
                        <a:pt x="56" y="31"/>
                      </a:lnTo>
                      <a:lnTo>
                        <a:pt x="55" y="29"/>
                      </a:lnTo>
                      <a:lnTo>
                        <a:pt x="54" y="27"/>
                      </a:lnTo>
                      <a:lnTo>
                        <a:pt x="54" y="25"/>
                      </a:lnTo>
                      <a:lnTo>
                        <a:pt x="51" y="22"/>
                      </a:lnTo>
                      <a:lnTo>
                        <a:pt x="43" y="19"/>
                      </a:lnTo>
                      <a:lnTo>
                        <a:pt x="37" y="13"/>
                      </a:lnTo>
                      <a:lnTo>
                        <a:pt x="26" y="0"/>
                      </a:lnTo>
                      <a:lnTo>
                        <a:pt x="23" y="0"/>
                      </a:lnTo>
                      <a:lnTo>
                        <a:pt x="21" y="1"/>
                      </a:lnTo>
                      <a:lnTo>
                        <a:pt x="19" y="3"/>
                      </a:lnTo>
                      <a:lnTo>
                        <a:pt x="17" y="6"/>
                      </a:lnTo>
                      <a:lnTo>
                        <a:pt x="19" y="7"/>
                      </a:lnTo>
                      <a:lnTo>
                        <a:pt x="21" y="8"/>
                      </a:lnTo>
                      <a:lnTo>
                        <a:pt x="22" y="13"/>
                      </a:lnTo>
                      <a:lnTo>
                        <a:pt x="26" y="16"/>
                      </a:lnTo>
                      <a:lnTo>
                        <a:pt x="32" y="22"/>
                      </a:lnTo>
                      <a:lnTo>
                        <a:pt x="37" y="28"/>
                      </a:lnTo>
                      <a:lnTo>
                        <a:pt x="40" y="32"/>
                      </a:lnTo>
                      <a:lnTo>
                        <a:pt x="41" y="35"/>
                      </a:lnTo>
                      <a:lnTo>
                        <a:pt x="40" y="39"/>
                      </a:lnTo>
                      <a:lnTo>
                        <a:pt x="38" y="41"/>
                      </a:lnTo>
                      <a:lnTo>
                        <a:pt x="36" y="44"/>
                      </a:lnTo>
                      <a:lnTo>
                        <a:pt x="32" y="45"/>
                      </a:lnTo>
                      <a:lnTo>
                        <a:pt x="23" y="48"/>
                      </a:lnTo>
                      <a:lnTo>
                        <a:pt x="19" y="50"/>
                      </a:lnTo>
                      <a:lnTo>
                        <a:pt x="16" y="52"/>
                      </a:lnTo>
                      <a:lnTo>
                        <a:pt x="16" y="53"/>
                      </a:lnTo>
                      <a:lnTo>
                        <a:pt x="17" y="54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4" y="60"/>
                      </a:lnTo>
                      <a:lnTo>
                        <a:pt x="13" y="59"/>
                      </a:lnTo>
                      <a:lnTo>
                        <a:pt x="9" y="59"/>
                      </a:lnTo>
                      <a:lnTo>
                        <a:pt x="7" y="59"/>
                      </a:lnTo>
                      <a:lnTo>
                        <a:pt x="0" y="61"/>
                      </a:lnTo>
                      <a:lnTo>
                        <a:pt x="0" y="63"/>
                      </a:lnTo>
                      <a:lnTo>
                        <a:pt x="8" y="71"/>
                      </a:lnTo>
                      <a:lnTo>
                        <a:pt x="12" y="74"/>
                      </a:lnTo>
                      <a:lnTo>
                        <a:pt x="17" y="76"/>
                      </a:lnTo>
                      <a:lnTo>
                        <a:pt x="28" y="77"/>
                      </a:lnTo>
                      <a:lnTo>
                        <a:pt x="40" y="76"/>
                      </a:lnTo>
                      <a:lnTo>
                        <a:pt x="45" y="74"/>
                      </a:lnTo>
                      <a:lnTo>
                        <a:pt x="50" y="72"/>
                      </a:lnTo>
                      <a:lnTo>
                        <a:pt x="54" y="69"/>
                      </a:lnTo>
                      <a:lnTo>
                        <a:pt x="56" y="63"/>
                      </a:lnTo>
                      <a:lnTo>
                        <a:pt x="56" y="61"/>
                      </a:lnTo>
                      <a:lnTo>
                        <a:pt x="59" y="61"/>
                      </a:lnTo>
                      <a:lnTo>
                        <a:pt x="63" y="59"/>
                      </a:lnTo>
                      <a:lnTo>
                        <a:pt x="64" y="58"/>
                      </a:lnTo>
                      <a:lnTo>
                        <a:pt x="65" y="55"/>
                      </a:lnTo>
                      <a:lnTo>
                        <a:pt x="65" y="51"/>
                      </a:lnTo>
                      <a:lnTo>
                        <a:pt x="66" y="48"/>
                      </a:lnTo>
                      <a:lnTo>
                        <a:pt x="69" y="46"/>
                      </a:lnTo>
                      <a:lnTo>
                        <a:pt x="88" y="37"/>
                      </a:lnTo>
                      <a:lnTo>
                        <a:pt x="98" y="31"/>
                      </a:lnTo>
                      <a:lnTo>
                        <a:pt x="102" y="27"/>
                      </a:lnTo>
                      <a:lnTo>
                        <a:pt x="106" y="22"/>
                      </a:lnTo>
                      <a:lnTo>
                        <a:pt x="110" y="20"/>
                      </a:lnTo>
                      <a:lnTo>
                        <a:pt x="113" y="18"/>
                      </a:lnTo>
                      <a:lnTo>
                        <a:pt x="117" y="16"/>
                      </a:lnTo>
                      <a:lnTo>
                        <a:pt x="122" y="16"/>
                      </a:lnTo>
                      <a:lnTo>
                        <a:pt x="131" y="16"/>
                      </a:lnTo>
                      <a:lnTo>
                        <a:pt x="141" y="18"/>
                      </a:lnTo>
                      <a:lnTo>
                        <a:pt x="143" y="16"/>
                      </a:lnTo>
                      <a:lnTo>
                        <a:pt x="144" y="16"/>
                      </a:lnTo>
                      <a:lnTo>
                        <a:pt x="134" y="12"/>
                      </a:lnTo>
                      <a:lnTo>
                        <a:pt x="125" y="7"/>
                      </a:lnTo>
                      <a:lnTo>
                        <a:pt x="120" y="5"/>
                      </a:lnTo>
                      <a:lnTo>
                        <a:pt x="115" y="5"/>
                      </a:lnTo>
                      <a:lnTo>
                        <a:pt x="110" y="5"/>
                      </a:lnTo>
                      <a:lnTo>
                        <a:pt x="104" y="6"/>
                      </a:lnTo>
                      <a:lnTo>
                        <a:pt x="99" y="8"/>
                      </a:lnTo>
                      <a:lnTo>
                        <a:pt x="96" y="10"/>
                      </a:lnTo>
                      <a:lnTo>
                        <a:pt x="90" y="14"/>
                      </a:lnTo>
                      <a:lnTo>
                        <a:pt x="84" y="15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2" name="Freeform 1297">
                  <a:extLst>
                    <a:ext uri="{FF2B5EF4-FFF2-40B4-BE49-F238E27FC236}">
                      <a16:creationId xmlns:a16="http://schemas.microsoft.com/office/drawing/2014/main" id="{D4AF57F0-B9CB-174E-98A6-7DE2DC6EA1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8524" y="2938709"/>
                  <a:ext cx="71034" cy="122830"/>
                </a:xfrm>
                <a:custGeom>
                  <a:avLst/>
                  <a:gdLst>
                    <a:gd name="T0" fmla="*/ 2147483647 w 52"/>
                    <a:gd name="T1" fmla="*/ 2147483647 h 83"/>
                    <a:gd name="T2" fmla="*/ 2147483647 w 52"/>
                    <a:gd name="T3" fmla="*/ 2147483647 h 83"/>
                    <a:gd name="T4" fmla="*/ 2147483647 w 52"/>
                    <a:gd name="T5" fmla="*/ 2147483647 h 83"/>
                    <a:gd name="T6" fmla="*/ 2147483647 w 52"/>
                    <a:gd name="T7" fmla="*/ 2147483647 h 83"/>
                    <a:gd name="T8" fmla="*/ 2147483647 w 52"/>
                    <a:gd name="T9" fmla="*/ 2147483647 h 83"/>
                    <a:gd name="T10" fmla="*/ 2147483647 w 52"/>
                    <a:gd name="T11" fmla="*/ 2147483647 h 83"/>
                    <a:gd name="T12" fmla="*/ 2147483647 w 52"/>
                    <a:gd name="T13" fmla="*/ 2147483647 h 83"/>
                    <a:gd name="T14" fmla="*/ 2147483647 w 52"/>
                    <a:gd name="T15" fmla="*/ 2147483647 h 83"/>
                    <a:gd name="T16" fmla="*/ 2147483647 w 52"/>
                    <a:gd name="T17" fmla="*/ 0 h 83"/>
                    <a:gd name="T18" fmla="*/ 2147483647 w 52"/>
                    <a:gd name="T19" fmla="*/ 0 h 83"/>
                    <a:gd name="T20" fmla="*/ 2147483647 w 52"/>
                    <a:gd name="T21" fmla="*/ 2147483647 h 83"/>
                    <a:gd name="T22" fmla="*/ 2147483647 w 52"/>
                    <a:gd name="T23" fmla="*/ 2147483647 h 83"/>
                    <a:gd name="T24" fmla="*/ 2147483647 w 52"/>
                    <a:gd name="T25" fmla="*/ 2147483647 h 83"/>
                    <a:gd name="T26" fmla="*/ 0 w 52"/>
                    <a:gd name="T27" fmla="*/ 2147483647 h 83"/>
                    <a:gd name="T28" fmla="*/ 2147483647 w 52"/>
                    <a:gd name="T29" fmla="*/ 2147483647 h 83"/>
                    <a:gd name="T30" fmla="*/ 2147483647 w 52"/>
                    <a:gd name="T31" fmla="*/ 2147483647 h 83"/>
                    <a:gd name="T32" fmla="*/ 2147483647 w 52"/>
                    <a:gd name="T33" fmla="*/ 2147483647 h 83"/>
                    <a:gd name="T34" fmla="*/ 2147483647 w 52"/>
                    <a:gd name="T35" fmla="*/ 2147483647 h 83"/>
                    <a:gd name="T36" fmla="*/ 2147483647 w 52"/>
                    <a:gd name="T37" fmla="*/ 2147483647 h 83"/>
                    <a:gd name="T38" fmla="*/ 2147483647 w 52"/>
                    <a:gd name="T39" fmla="*/ 2147483647 h 83"/>
                    <a:gd name="T40" fmla="*/ 2147483647 w 52"/>
                    <a:gd name="T41" fmla="*/ 2147483647 h 83"/>
                    <a:gd name="T42" fmla="*/ 2147483647 w 52"/>
                    <a:gd name="T43" fmla="*/ 2147483647 h 83"/>
                    <a:gd name="T44" fmla="*/ 2147483647 w 52"/>
                    <a:gd name="T45" fmla="*/ 2147483647 h 83"/>
                    <a:gd name="T46" fmla="*/ 2147483647 w 52"/>
                    <a:gd name="T47" fmla="*/ 2147483647 h 83"/>
                    <a:gd name="T48" fmla="*/ 2147483647 w 52"/>
                    <a:gd name="T49" fmla="*/ 2147483647 h 83"/>
                    <a:gd name="T50" fmla="*/ 2147483647 w 52"/>
                    <a:gd name="T51" fmla="*/ 2147483647 h 83"/>
                    <a:gd name="T52" fmla="*/ 2147483647 w 52"/>
                    <a:gd name="T53" fmla="*/ 2147483647 h 83"/>
                    <a:gd name="T54" fmla="*/ 2147483647 w 52"/>
                    <a:gd name="T55" fmla="*/ 2147483647 h 83"/>
                    <a:gd name="T56" fmla="*/ 2147483647 w 52"/>
                    <a:gd name="T57" fmla="*/ 2147483647 h 83"/>
                    <a:gd name="T58" fmla="*/ 2147483647 w 52"/>
                    <a:gd name="T59" fmla="*/ 2147483647 h 83"/>
                    <a:gd name="T60" fmla="*/ 2147483647 w 52"/>
                    <a:gd name="T61" fmla="*/ 2147483647 h 83"/>
                    <a:gd name="T62" fmla="*/ 2147483647 w 52"/>
                    <a:gd name="T63" fmla="*/ 2147483647 h 83"/>
                    <a:gd name="T64" fmla="*/ 2147483647 w 52"/>
                    <a:gd name="T65" fmla="*/ 2147483647 h 83"/>
                    <a:gd name="T66" fmla="*/ 2147483647 w 52"/>
                    <a:gd name="T67" fmla="*/ 2147483647 h 83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52"/>
                    <a:gd name="T103" fmla="*/ 0 h 83"/>
                    <a:gd name="T104" fmla="*/ 52 w 52"/>
                    <a:gd name="T105" fmla="*/ 83 h 83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52" h="83">
                      <a:moveTo>
                        <a:pt x="40" y="50"/>
                      </a:moveTo>
                      <a:lnTo>
                        <a:pt x="40" y="50"/>
                      </a:lnTo>
                      <a:lnTo>
                        <a:pt x="38" y="46"/>
                      </a:lnTo>
                      <a:lnTo>
                        <a:pt x="36" y="44"/>
                      </a:lnTo>
                      <a:lnTo>
                        <a:pt x="28" y="30"/>
                      </a:lnTo>
                      <a:lnTo>
                        <a:pt x="22" y="17"/>
                      </a:lnTo>
                      <a:lnTo>
                        <a:pt x="21" y="13"/>
                      </a:lnTo>
                      <a:lnTo>
                        <a:pt x="19" y="9"/>
                      </a:lnTo>
                      <a:lnTo>
                        <a:pt x="19" y="6"/>
                      </a:lnTo>
                      <a:lnTo>
                        <a:pt x="18" y="2"/>
                      </a:lnTo>
                      <a:lnTo>
                        <a:pt x="17" y="2"/>
                      </a:lnTo>
                      <a:lnTo>
                        <a:pt x="16" y="2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7" y="1"/>
                      </a:lnTo>
                      <a:lnTo>
                        <a:pt x="7" y="4"/>
                      </a:lnTo>
                      <a:lnTo>
                        <a:pt x="5" y="6"/>
                      </a:lnTo>
                      <a:lnTo>
                        <a:pt x="4" y="8"/>
                      </a:lnTo>
                      <a:lnTo>
                        <a:pt x="2" y="14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3" y="19"/>
                      </a:lnTo>
                      <a:lnTo>
                        <a:pt x="8" y="19"/>
                      </a:lnTo>
                      <a:lnTo>
                        <a:pt x="10" y="20"/>
                      </a:lnTo>
                      <a:lnTo>
                        <a:pt x="12" y="21"/>
                      </a:lnTo>
                      <a:lnTo>
                        <a:pt x="12" y="24"/>
                      </a:lnTo>
                      <a:lnTo>
                        <a:pt x="10" y="26"/>
                      </a:lnTo>
                      <a:lnTo>
                        <a:pt x="9" y="28"/>
                      </a:lnTo>
                      <a:lnTo>
                        <a:pt x="8" y="31"/>
                      </a:lnTo>
                      <a:lnTo>
                        <a:pt x="8" y="33"/>
                      </a:lnTo>
                      <a:lnTo>
                        <a:pt x="12" y="41"/>
                      </a:lnTo>
                      <a:lnTo>
                        <a:pt x="16" y="45"/>
                      </a:lnTo>
                      <a:lnTo>
                        <a:pt x="17" y="45"/>
                      </a:lnTo>
                      <a:lnTo>
                        <a:pt x="19" y="45"/>
                      </a:lnTo>
                      <a:lnTo>
                        <a:pt x="23" y="44"/>
                      </a:lnTo>
                      <a:lnTo>
                        <a:pt x="24" y="44"/>
                      </a:lnTo>
                      <a:lnTo>
                        <a:pt x="26" y="44"/>
                      </a:lnTo>
                      <a:lnTo>
                        <a:pt x="30" y="49"/>
                      </a:lnTo>
                      <a:lnTo>
                        <a:pt x="32" y="53"/>
                      </a:lnTo>
                      <a:lnTo>
                        <a:pt x="35" y="58"/>
                      </a:lnTo>
                      <a:lnTo>
                        <a:pt x="38" y="63"/>
                      </a:lnTo>
                      <a:lnTo>
                        <a:pt x="41" y="65"/>
                      </a:lnTo>
                      <a:lnTo>
                        <a:pt x="41" y="66"/>
                      </a:lnTo>
                      <a:lnTo>
                        <a:pt x="42" y="72"/>
                      </a:lnTo>
                      <a:lnTo>
                        <a:pt x="41" y="83"/>
                      </a:lnTo>
                      <a:lnTo>
                        <a:pt x="47" y="78"/>
                      </a:lnTo>
                      <a:lnTo>
                        <a:pt x="51" y="75"/>
                      </a:lnTo>
                      <a:lnTo>
                        <a:pt x="52" y="69"/>
                      </a:lnTo>
                      <a:lnTo>
                        <a:pt x="52" y="62"/>
                      </a:lnTo>
                      <a:lnTo>
                        <a:pt x="50" y="58"/>
                      </a:lnTo>
                      <a:lnTo>
                        <a:pt x="47" y="55"/>
                      </a:lnTo>
                      <a:lnTo>
                        <a:pt x="40" y="5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3" name="Freeform 1298">
                  <a:extLst>
                    <a:ext uri="{FF2B5EF4-FFF2-40B4-BE49-F238E27FC236}">
                      <a16:creationId xmlns:a16="http://schemas.microsoft.com/office/drawing/2014/main" id="{C73FCB3A-F87D-9843-AAA8-16A52F61B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7590" y="3110375"/>
                  <a:ext cx="282656" cy="253059"/>
                </a:xfrm>
                <a:custGeom>
                  <a:avLst/>
                  <a:gdLst>
                    <a:gd name="T0" fmla="*/ 2147483647 w 207"/>
                    <a:gd name="T1" fmla="*/ 2147483647 h 171"/>
                    <a:gd name="T2" fmla="*/ 2147483647 w 207"/>
                    <a:gd name="T3" fmla="*/ 2147483647 h 171"/>
                    <a:gd name="T4" fmla="*/ 2147483647 w 207"/>
                    <a:gd name="T5" fmla="*/ 2147483647 h 171"/>
                    <a:gd name="T6" fmla="*/ 2147483647 w 207"/>
                    <a:gd name="T7" fmla="*/ 2147483647 h 171"/>
                    <a:gd name="T8" fmla="*/ 2147483647 w 207"/>
                    <a:gd name="T9" fmla="*/ 2147483647 h 171"/>
                    <a:gd name="T10" fmla="*/ 2147483647 w 207"/>
                    <a:gd name="T11" fmla="*/ 2147483647 h 171"/>
                    <a:gd name="T12" fmla="*/ 2147483647 w 207"/>
                    <a:gd name="T13" fmla="*/ 2147483647 h 171"/>
                    <a:gd name="T14" fmla="*/ 2147483647 w 207"/>
                    <a:gd name="T15" fmla="*/ 2147483647 h 171"/>
                    <a:gd name="T16" fmla="*/ 2147483647 w 207"/>
                    <a:gd name="T17" fmla="*/ 2147483647 h 171"/>
                    <a:gd name="T18" fmla="*/ 2147483647 w 207"/>
                    <a:gd name="T19" fmla="*/ 2147483647 h 171"/>
                    <a:gd name="T20" fmla="*/ 2147483647 w 207"/>
                    <a:gd name="T21" fmla="*/ 2147483647 h 171"/>
                    <a:gd name="T22" fmla="*/ 2147483647 w 207"/>
                    <a:gd name="T23" fmla="*/ 2147483647 h 171"/>
                    <a:gd name="T24" fmla="*/ 2147483647 w 207"/>
                    <a:gd name="T25" fmla="*/ 2147483647 h 171"/>
                    <a:gd name="T26" fmla="*/ 2147483647 w 207"/>
                    <a:gd name="T27" fmla="*/ 2147483647 h 171"/>
                    <a:gd name="T28" fmla="*/ 2147483647 w 207"/>
                    <a:gd name="T29" fmla="*/ 2147483647 h 171"/>
                    <a:gd name="T30" fmla="*/ 2147483647 w 207"/>
                    <a:gd name="T31" fmla="*/ 2147483647 h 171"/>
                    <a:gd name="T32" fmla="*/ 2147483647 w 207"/>
                    <a:gd name="T33" fmla="*/ 2147483647 h 171"/>
                    <a:gd name="T34" fmla="*/ 2147483647 w 207"/>
                    <a:gd name="T35" fmla="*/ 2147483647 h 171"/>
                    <a:gd name="T36" fmla="*/ 2147483647 w 207"/>
                    <a:gd name="T37" fmla="*/ 2147483647 h 171"/>
                    <a:gd name="T38" fmla="*/ 2147483647 w 207"/>
                    <a:gd name="T39" fmla="*/ 2147483647 h 171"/>
                    <a:gd name="T40" fmla="*/ 2147483647 w 207"/>
                    <a:gd name="T41" fmla="*/ 2147483647 h 171"/>
                    <a:gd name="T42" fmla="*/ 2147483647 w 207"/>
                    <a:gd name="T43" fmla="*/ 2147483647 h 171"/>
                    <a:gd name="T44" fmla="*/ 2147483647 w 207"/>
                    <a:gd name="T45" fmla="*/ 2147483647 h 171"/>
                    <a:gd name="T46" fmla="*/ 2147483647 w 207"/>
                    <a:gd name="T47" fmla="*/ 2147483647 h 171"/>
                    <a:gd name="T48" fmla="*/ 2147483647 w 207"/>
                    <a:gd name="T49" fmla="*/ 2147483647 h 171"/>
                    <a:gd name="T50" fmla="*/ 2147483647 w 207"/>
                    <a:gd name="T51" fmla="*/ 2147483647 h 171"/>
                    <a:gd name="T52" fmla="*/ 2147483647 w 207"/>
                    <a:gd name="T53" fmla="*/ 2147483647 h 171"/>
                    <a:gd name="T54" fmla="*/ 2147483647 w 207"/>
                    <a:gd name="T55" fmla="*/ 2147483647 h 171"/>
                    <a:gd name="T56" fmla="*/ 2147483647 w 207"/>
                    <a:gd name="T57" fmla="*/ 2147483647 h 171"/>
                    <a:gd name="T58" fmla="*/ 2147483647 w 207"/>
                    <a:gd name="T59" fmla="*/ 2147483647 h 171"/>
                    <a:gd name="T60" fmla="*/ 2147483647 w 207"/>
                    <a:gd name="T61" fmla="*/ 2147483647 h 171"/>
                    <a:gd name="T62" fmla="*/ 2147483647 w 207"/>
                    <a:gd name="T63" fmla="*/ 2147483647 h 171"/>
                    <a:gd name="T64" fmla="*/ 2147483647 w 207"/>
                    <a:gd name="T65" fmla="*/ 2147483647 h 171"/>
                    <a:gd name="T66" fmla="*/ 2147483647 w 207"/>
                    <a:gd name="T67" fmla="*/ 2147483647 h 171"/>
                    <a:gd name="T68" fmla="*/ 2147483647 w 207"/>
                    <a:gd name="T69" fmla="*/ 2147483647 h 171"/>
                    <a:gd name="T70" fmla="*/ 2147483647 w 207"/>
                    <a:gd name="T71" fmla="*/ 2147483647 h 171"/>
                    <a:gd name="T72" fmla="*/ 2147483647 w 207"/>
                    <a:gd name="T73" fmla="*/ 2147483647 h 171"/>
                    <a:gd name="T74" fmla="*/ 2147483647 w 207"/>
                    <a:gd name="T75" fmla="*/ 2147483647 h 171"/>
                    <a:gd name="T76" fmla="*/ 2147483647 w 207"/>
                    <a:gd name="T77" fmla="*/ 2147483647 h 171"/>
                    <a:gd name="T78" fmla="*/ 2147483647 w 207"/>
                    <a:gd name="T79" fmla="*/ 2147483647 h 171"/>
                    <a:gd name="T80" fmla="*/ 2147483647 w 207"/>
                    <a:gd name="T81" fmla="*/ 2147483647 h 171"/>
                    <a:gd name="T82" fmla="*/ 2147483647 w 207"/>
                    <a:gd name="T83" fmla="*/ 2147483647 h 171"/>
                    <a:gd name="T84" fmla="*/ 2147483647 w 207"/>
                    <a:gd name="T85" fmla="*/ 2147483647 h 171"/>
                    <a:gd name="T86" fmla="*/ 2147483647 w 207"/>
                    <a:gd name="T87" fmla="*/ 2147483647 h 171"/>
                    <a:gd name="T88" fmla="*/ 2147483647 w 207"/>
                    <a:gd name="T89" fmla="*/ 2147483647 h 171"/>
                    <a:gd name="T90" fmla="*/ 2147483647 w 207"/>
                    <a:gd name="T91" fmla="*/ 2147483647 h 171"/>
                    <a:gd name="T92" fmla="*/ 2147483647 w 207"/>
                    <a:gd name="T93" fmla="*/ 2147483647 h 171"/>
                    <a:gd name="T94" fmla="*/ 2147483647 w 207"/>
                    <a:gd name="T95" fmla="*/ 2147483647 h 171"/>
                    <a:gd name="T96" fmla="*/ 2147483647 w 207"/>
                    <a:gd name="T97" fmla="*/ 2147483647 h 171"/>
                    <a:gd name="T98" fmla="*/ 2147483647 w 207"/>
                    <a:gd name="T99" fmla="*/ 2147483647 h 171"/>
                    <a:gd name="T100" fmla="*/ 2147483647 w 207"/>
                    <a:gd name="T101" fmla="*/ 2147483647 h 171"/>
                    <a:gd name="T102" fmla="*/ 0 w 207"/>
                    <a:gd name="T103" fmla="*/ 2147483647 h 171"/>
                    <a:gd name="T104" fmla="*/ 2147483647 w 207"/>
                    <a:gd name="T105" fmla="*/ 2147483647 h 171"/>
                    <a:gd name="T106" fmla="*/ 2147483647 w 207"/>
                    <a:gd name="T107" fmla="*/ 2147483647 h 171"/>
                    <a:gd name="T108" fmla="*/ 2147483647 w 207"/>
                    <a:gd name="T109" fmla="*/ 2147483647 h 171"/>
                    <a:gd name="T110" fmla="*/ 2147483647 w 207"/>
                    <a:gd name="T111" fmla="*/ 2147483647 h 171"/>
                    <a:gd name="T112" fmla="*/ 2147483647 w 207"/>
                    <a:gd name="T113" fmla="*/ 2147483647 h 171"/>
                    <a:gd name="T114" fmla="*/ 2147483647 w 207"/>
                    <a:gd name="T115" fmla="*/ 2147483647 h 171"/>
                    <a:gd name="T116" fmla="*/ 2147483647 w 207"/>
                    <a:gd name="T117" fmla="*/ 2147483647 h 171"/>
                    <a:gd name="T118" fmla="*/ 2147483647 w 207"/>
                    <a:gd name="T119" fmla="*/ 2147483647 h 17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07"/>
                    <a:gd name="T181" fmla="*/ 0 h 171"/>
                    <a:gd name="T182" fmla="*/ 207 w 207"/>
                    <a:gd name="T183" fmla="*/ 171 h 17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07" h="171">
                      <a:moveTo>
                        <a:pt x="121" y="63"/>
                      </a:moveTo>
                      <a:lnTo>
                        <a:pt x="125" y="69"/>
                      </a:lnTo>
                      <a:lnTo>
                        <a:pt x="126" y="70"/>
                      </a:lnTo>
                      <a:lnTo>
                        <a:pt x="126" y="71"/>
                      </a:lnTo>
                      <a:lnTo>
                        <a:pt x="116" y="74"/>
                      </a:lnTo>
                      <a:lnTo>
                        <a:pt x="106" y="75"/>
                      </a:lnTo>
                      <a:lnTo>
                        <a:pt x="95" y="77"/>
                      </a:lnTo>
                      <a:lnTo>
                        <a:pt x="90" y="80"/>
                      </a:lnTo>
                      <a:lnTo>
                        <a:pt x="85" y="83"/>
                      </a:lnTo>
                      <a:lnTo>
                        <a:pt x="84" y="84"/>
                      </a:lnTo>
                      <a:lnTo>
                        <a:pt x="81" y="84"/>
                      </a:lnTo>
                      <a:lnTo>
                        <a:pt x="76" y="86"/>
                      </a:lnTo>
                      <a:lnTo>
                        <a:pt x="73" y="88"/>
                      </a:lnTo>
                      <a:lnTo>
                        <a:pt x="70" y="90"/>
                      </a:lnTo>
                      <a:lnTo>
                        <a:pt x="69" y="94"/>
                      </a:lnTo>
                      <a:lnTo>
                        <a:pt x="67" y="97"/>
                      </a:lnTo>
                      <a:lnTo>
                        <a:pt x="70" y="100"/>
                      </a:lnTo>
                      <a:lnTo>
                        <a:pt x="73" y="102"/>
                      </a:lnTo>
                      <a:lnTo>
                        <a:pt x="74" y="102"/>
                      </a:lnTo>
                      <a:lnTo>
                        <a:pt x="76" y="101"/>
                      </a:lnTo>
                      <a:lnTo>
                        <a:pt x="78" y="100"/>
                      </a:lnTo>
                      <a:lnTo>
                        <a:pt x="80" y="96"/>
                      </a:lnTo>
                      <a:lnTo>
                        <a:pt x="83" y="95"/>
                      </a:lnTo>
                      <a:lnTo>
                        <a:pt x="81" y="99"/>
                      </a:lnTo>
                      <a:lnTo>
                        <a:pt x="74" y="107"/>
                      </a:lnTo>
                      <a:lnTo>
                        <a:pt x="67" y="115"/>
                      </a:lnTo>
                      <a:lnTo>
                        <a:pt x="65" y="126"/>
                      </a:lnTo>
                      <a:lnTo>
                        <a:pt x="64" y="137"/>
                      </a:lnTo>
                      <a:lnTo>
                        <a:pt x="65" y="146"/>
                      </a:lnTo>
                      <a:lnTo>
                        <a:pt x="67" y="158"/>
                      </a:lnTo>
                      <a:lnTo>
                        <a:pt x="71" y="167"/>
                      </a:lnTo>
                      <a:lnTo>
                        <a:pt x="74" y="171"/>
                      </a:lnTo>
                      <a:lnTo>
                        <a:pt x="76" y="171"/>
                      </a:lnTo>
                      <a:lnTo>
                        <a:pt x="83" y="170"/>
                      </a:lnTo>
                      <a:lnTo>
                        <a:pt x="86" y="166"/>
                      </a:lnTo>
                      <a:lnTo>
                        <a:pt x="90" y="161"/>
                      </a:lnTo>
                      <a:lnTo>
                        <a:pt x="92" y="157"/>
                      </a:lnTo>
                      <a:lnTo>
                        <a:pt x="93" y="152"/>
                      </a:lnTo>
                      <a:lnTo>
                        <a:pt x="93" y="147"/>
                      </a:lnTo>
                      <a:lnTo>
                        <a:pt x="92" y="142"/>
                      </a:lnTo>
                      <a:lnTo>
                        <a:pt x="90" y="139"/>
                      </a:lnTo>
                      <a:lnTo>
                        <a:pt x="86" y="135"/>
                      </a:lnTo>
                      <a:lnTo>
                        <a:pt x="85" y="133"/>
                      </a:lnTo>
                      <a:lnTo>
                        <a:pt x="86" y="131"/>
                      </a:lnTo>
                      <a:lnTo>
                        <a:pt x="88" y="126"/>
                      </a:lnTo>
                      <a:lnTo>
                        <a:pt x="88" y="121"/>
                      </a:lnTo>
                      <a:lnTo>
                        <a:pt x="88" y="116"/>
                      </a:lnTo>
                      <a:lnTo>
                        <a:pt x="89" y="113"/>
                      </a:lnTo>
                      <a:lnTo>
                        <a:pt x="95" y="107"/>
                      </a:lnTo>
                      <a:lnTo>
                        <a:pt x="98" y="105"/>
                      </a:lnTo>
                      <a:lnTo>
                        <a:pt x="99" y="101"/>
                      </a:lnTo>
                      <a:lnTo>
                        <a:pt x="102" y="99"/>
                      </a:lnTo>
                      <a:lnTo>
                        <a:pt x="104" y="97"/>
                      </a:lnTo>
                      <a:lnTo>
                        <a:pt x="109" y="96"/>
                      </a:lnTo>
                      <a:lnTo>
                        <a:pt x="113" y="91"/>
                      </a:lnTo>
                      <a:lnTo>
                        <a:pt x="116" y="88"/>
                      </a:lnTo>
                      <a:lnTo>
                        <a:pt x="118" y="84"/>
                      </a:lnTo>
                      <a:lnTo>
                        <a:pt x="119" y="83"/>
                      </a:lnTo>
                      <a:lnTo>
                        <a:pt x="121" y="82"/>
                      </a:lnTo>
                      <a:lnTo>
                        <a:pt x="123" y="82"/>
                      </a:lnTo>
                      <a:lnTo>
                        <a:pt x="126" y="83"/>
                      </a:lnTo>
                      <a:lnTo>
                        <a:pt x="131" y="87"/>
                      </a:lnTo>
                      <a:lnTo>
                        <a:pt x="136" y="89"/>
                      </a:lnTo>
                      <a:lnTo>
                        <a:pt x="140" y="94"/>
                      </a:lnTo>
                      <a:lnTo>
                        <a:pt x="141" y="97"/>
                      </a:lnTo>
                      <a:lnTo>
                        <a:pt x="142" y="101"/>
                      </a:lnTo>
                      <a:lnTo>
                        <a:pt x="144" y="109"/>
                      </a:lnTo>
                      <a:lnTo>
                        <a:pt x="145" y="113"/>
                      </a:lnTo>
                      <a:lnTo>
                        <a:pt x="147" y="115"/>
                      </a:lnTo>
                      <a:lnTo>
                        <a:pt x="155" y="119"/>
                      </a:lnTo>
                      <a:lnTo>
                        <a:pt x="156" y="120"/>
                      </a:lnTo>
                      <a:lnTo>
                        <a:pt x="156" y="121"/>
                      </a:lnTo>
                      <a:lnTo>
                        <a:pt x="159" y="129"/>
                      </a:lnTo>
                      <a:lnTo>
                        <a:pt x="160" y="133"/>
                      </a:lnTo>
                      <a:lnTo>
                        <a:pt x="164" y="135"/>
                      </a:lnTo>
                      <a:lnTo>
                        <a:pt x="166" y="135"/>
                      </a:lnTo>
                      <a:lnTo>
                        <a:pt x="169" y="135"/>
                      </a:lnTo>
                      <a:lnTo>
                        <a:pt x="172" y="134"/>
                      </a:lnTo>
                      <a:lnTo>
                        <a:pt x="173" y="132"/>
                      </a:lnTo>
                      <a:lnTo>
                        <a:pt x="174" y="122"/>
                      </a:lnTo>
                      <a:lnTo>
                        <a:pt x="175" y="119"/>
                      </a:lnTo>
                      <a:lnTo>
                        <a:pt x="178" y="114"/>
                      </a:lnTo>
                      <a:lnTo>
                        <a:pt x="179" y="112"/>
                      </a:lnTo>
                      <a:lnTo>
                        <a:pt x="180" y="107"/>
                      </a:lnTo>
                      <a:lnTo>
                        <a:pt x="180" y="103"/>
                      </a:lnTo>
                      <a:lnTo>
                        <a:pt x="178" y="99"/>
                      </a:lnTo>
                      <a:lnTo>
                        <a:pt x="180" y="97"/>
                      </a:lnTo>
                      <a:lnTo>
                        <a:pt x="183" y="100"/>
                      </a:lnTo>
                      <a:lnTo>
                        <a:pt x="188" y="106"/>
                      </a:lnTo>
                      <a:lnTo>
                        <a:pt x="193" y="109"/>
                      </a:lnTo>
                      <a:lnTo>
                        <a:pt x="198" y="112"/>
                      </a:lnTo>
                      <a:lnTo>
                        <a:pt x="201" y="112"/>
                      </a:lnTo>
                      <a:lnTo>
                        <a:pt x="203" y="110"/>
                      </a:lnTo>
                      <a:lnTo>
                        <a:pt x="206" y="109"/>
                      </a:lnTo>
                      <a:lnTo>
                        <a:pt x="207" y="106"/>
                      </a:lnTo>
                      <a:lnTo>
                        <a:pt x="207" y="103"/>
                      </a:lnTo>
                      <a:lnTo>
                        <a:pt x="206" y="101"/>
                      </a:lnTo>
                      <a:lnTo>
                        <a:pt x="202" y="95"/>
                      </a:lnTo>
                      <a:lnTo>
                        <a:pt x="198" y="90"/>
                      </a:lnTo>
                      <a:lnTo>
                        <a:pt x="197" y="88"/>
                      </a:lnTo>
                      <a:lnTo>
                        <a:pt x="197" y="84"/>
                      </a:lnTo>
                      <a:lnTo>
                        <a:pt x="197" y="82"/>
                      </a:lnTo>
                      <a:lnTo>
                        <a:pt x="199" y="80"/>
                      </a:lnTo>
                      <a:lnTo>
                        <a:pt x="202" y="78"/>
                      </a:lnTo>
                      <a:lnTo>
                        <a:pt x="205" y="77"/>
                      </a:lnTo>
                      <a:lnTo>
                        <a:pt x="205" y="76"/>
                      </a:lnTo>
                      <a:lnTo>
                        <a:pt x="206" y="74"/>
                      </a:lnTo>
                      <a:lnTo>
                        <a:pt x="205" y="71"/>
                      </a:lnTo>
                      <a:lnTo>
                        <a:pt x="202" y="71"/>
                      </a:lnTo>
                      <a:lnTo>
                        <a:pt x="199" y="70"/>
                      </a:lnTo>
                      <a:lnTo>
                        <a:pt x="192" y="71"/>
                      </a:lnTo>
                      <a:lnTo>
                        <a:pt x="183" y="71"/>
                      </a:lnTo>
                      <a:lnTo>
                        <a:pt x="175" y="71"/>
                      </a:lnTo>
                      <a:lnTo>
                        <a:pt x="168" y="70"/>
                      </a:lnTo>
                      <a:lnTo>
                        <a:pt x="161" y="69"/>
                      </a:lnTo>
                      <a:lnTo>
                        <a:pt x="154" y="69"/>
                      </a:lnTo>
                      <a:lnTo>
                        <a:pt x="147" y="68"/>
                      </a:lnTo>
                      <a:lnTo>
                        <a:pt x="145" y="67"/>
                      </a:lnTo>
                      <a:lnTo>
                        <a:pt x="142" y="64"/>
                      </a:lnTo>
                      <a:lnTo>
                        <a:pt x="139" y="62"/>
                      </a:lnTo>
                      <a:lnTo>
                        <a:pt x="135" y="59"/>
                      </a:lnTo>
                      <a:lnTo>
                        <a:pt x="130" y="52"/>
                      </a:lnTo>
                      <a:lnTo>
                        <a:pt x="126" y="44"/>
                      </a:lnTo>
                      <a:lnTo>
                        <a:pt x="122" y="37"/>
                      </a:lnTo>
                      <a:lnTo>
                        <a:pt x="119" y="35"/>
                      </a:lnTo>
                      <a:lnTo>
                        <a:pt x="116" y="32"/>
                      </a:lnTo>
                      <a:lnTo>
                        <a:pt x="111" y="31"/>
                      </a:lnTo>
                      <a:lnTo>
                        <a:pt x="108" y="29"/>
                      </a:lnTo>
                      <a:lnTo>
                        <a:pt x="100" y="24"/>
                      </a:lnTo>
                      <a:lnTo>
                        <a:pt x="97" y="22"/>
                      </a:lnTo>
                      <a:lnTo>
                        <a:pt x="93" y="18"/>
                      </a:lnTo>
                      <a:lnTo>
                        <a:pt x="90" y="16"/>
                      </a:lnTo>
                      <a:lnTo>
                        <a:pt x="90" y="12"/>
                      </a:lnTo>
                      <a:lnTo>
                        <a:pt x="89" y="10"/>
                      </a:lnTo>
                      <a:lnTo>
                        <a:pt x="86" y="7"/>
                      </a:lnTo>
                      <a:lnTo>
                        <a:pt x="84" y="5"/>
                      </a:lnTo>
                      <a:lnTo>
                        <a:pt x="81" y="5"/>
                      </a:lnTo>
                      <a:lnTo>
                        <a:pt x="78" y="4"/>
                      </a:lnTo>
                      <a:lnTo>
                        <a:pt x="75" y="1"/>
                      </a:lnTo>
                      <a:lnTo>
                        <a:pt x="73" y="0"/>
                      </a:lnTo>
                      <a:lnTo>
                        <a:pt x="70" y="1"/>
                      </a:lnTo>
                      <a:lnTo>
                        <a:pt x="67" y="3"/>
                      </a:lnTo>
                      <a:lnTo>
                        <a:pt x="66" y="5"/>
                      </a:lnTo>
                      <a:lnTo>
                        <a:pt x="64" y="10"/>
                      </a:lnTo>
                      <a:lnTo>
                        <a:pt x="60" y="14"/>
                      </a:lnTo>
                      <a:lnTo>
                        <a:pt x="57" y="17"/>
                      </a:lnTo>
                      <a:lnTo>
                        <a:pt x="55" y="17"/>
                      </a:lnTo>
                      <a:lnTo>
                        <a:pt x="50" y="19"/>
                      </a:lnTo>
                      <a:lnTo>
                        <a:pt x="46" y="22"/>
                      </a:lnTo>
                      <a:lnTo>
                        <a:pt x="39" y="29"/>
                      </a:lnTo>
                      <a:lnTo>
                        <a:pt x="36" y="31"/>
                      </a:lnTo>
                      <a:lnTo>
                        <a:pt x="31" y="33"/>
                      </a:lnTo>
                      <a:lnTo>
                        <a:pt x="20" y="38"/>
                      </a:lnTo>
                      <a:lnTo>
                        <a:pt x="10" y="42"/>
                      </a:lnTo>
                      <a:lnTo>
                        <a:pt x="5" y="44"/>
                      </a:lnTo>
                      <a:lnTo>
                        <a:pt x="0" y="48"/>
                      </a:lnTo>
                      <a:lnTo>
                        <a:pt x="0" y="50"/>
                      </a:lnTo>
                      <a:lnTo>
                        <a:pt x="0" y="51"/>
                      </a:lnTo>
                      <a:lnTo>
                        <a:pt x="3" y="55"/>
                      </a:lnTo>
                      <a:lnTo>
                        <a:pt x="6" y="56"/>
                      </a:lnTo>
                      <a:lnTo>
                        <a:pt x="9" y="55"/>
                      </a:lnTo>
                      <a:lnTo>
                        <a:pt x="12" y="54"/>
                      </a:lnTo>
                      <a:lnTo>
                        <a:pt x="14" y="54"/>
                      </a:lnTo>
                      <a:lnTo>
                        <a:pt x="17" y="57"/>
                      </a:lnTo>
                      <a:lnTo>
                        <a:pt x="19" y="58"/>
                      </a:lnTo>
                      <a:lnTo>
                        <a:pt x="20" y="59"/>
                      </a:lnTo>
                      <a:lnTo>
                        <a:pt x="32" y="58"/>
                      </a:lnTo>
                      <a:lnTo>
                        <a:pt x="43" y="55"/>
                      </a:lnTo>
                      <a:lnTo>
                        <a:pt x="50" y="54"/>
                      </a:lnTo>
                      <a:lnTo>
                        <a:pt x="59" y="54"/>
                      </a:lnTo>
                      <a:lnTo>
                        <a:pt x="66" y="56"/>
                      </a:lnTo>
                      <a:lnTo>
                        <a:pt x="74" y="58"/>
                      </a:lnTo>
                      <a:lnTo>
                        <a:pt x="80" y="59"/>
                      </a:lnTo>
                      <a:lnTo>
                        <a:pt x="86" y="59"/>
                      </a:lnTo>
                      <a:lnTo>
                        <a:pt x="93" y="59"/>
                      </a:lnTo>
                      <a:lnTo>
                        <a:pt x="99" y="61"/>
                      </a:lnTo>
                      <a:lnTo>
                        <a:pt x="104" y="62"/>
                      </a:lnTo>
                      <a:lnTo>
                        <a:pt x="109" y="61"/>
                      </a:lnTo>
                      <a:lnTo>
                        <a:pt x="114" y="61"/>
                      </a:lnTo>
                      <a:lnTo>
                        <a:pt x="119" y="61"/>
                      </a:lnTo>
                      <a:lnTo>
                        <a:pt x="121" y="6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4" name="Freeform 1300">
                  <a:extLst>
                    <a:ext uri="{FF2B5EF4-FFF2-40B4-BE49-F238E27FC236}">
                      <a16:creationId xmlns:a16="http://schemas.microsoft.com/office/drawing/2014/main" id="{A9D1E57C-F0FB-BA43-ADAE-021DF27F69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6107" y="3108892"/>
                  <a:ext cx="282655" cy="253058"/>
                </a:xfrm>
                <a:custGeom>
                  <a:avLst/>
                  <a:gdLst>
                    <a:gd name="T0" fmla="*/ 2147483647 w 207"/>
                    <a:gd name="T1" fmla="*/ 2147483647 h 171"/>
                    <a:gd name="T2" fmla="*/ 2147483647 w 207"/>
                    <a:gd name="T3" fmla="*/ 2147483647 h 171"/>
                    <a:gd name="T4" fmla="*/ 2147483647 w 207"/>
                    <a:gd name="T5" fmla="*/ 2147483647 h 171"/>
                    <a:gd name="T6" fmla="*/ 2147483647 w 207"/>
                    <a:gd name="T7" fmla="*/ 2147483647 h 171"/>
                    <a:gd name="T8" fmla="*/ 2147483647 w 207"/>
                    <a:gd name="T9" fmla="*/ 2147483647 h 171"/>
                    <a:gd name="T10" fmla="*/ 2147483647 w 207"/>
                    <a:gd name="T11" fmla="*/ 2147483647 h 171"/>
                    <a:gd name="T12" fmla="*/ 2147483647 w 207"/>
                    <a:gd name="T13" fmla="*/ 2147483647 h 171"/>
                    <a:gd name="T14" fmla="*/ 2147483647 w 207"/>
                    <a:gd name="T15" fmla="*/ 2147483647 h 171"/>
                    <a:gd name="T16" fmla="*/ 2147483647 w 207"/>
                    <a:gd name="T17" fmla="*/ 2147483647 h 171"/>
                    <a:gd name="T18" fmla="*/ 2147483647 w 207"/>
                    <a:gd name="T19" fmla="*/ 2147483647 h 171"/>
                    <a:gd name="T20" fmla="*/ 2147483647 w 207"/>
                    <a:gd name="T21" fmla="*/ 2147483647 h 171"/>
                    <a:gd name="T22" fmla="*/ 2147483647 w 207"/>
                    <a:gd name="T23" fmla="*/ 2147483647 h 171"/>
                    <a:gd name="T24" fmla="*/ 2147483647 w 207"/>
                    <a:gd name="T25" fmla="*/ 2147483647 h 171"/>
                    <a:gd name="T26" fmla="*/ 2147483647 w 207"/>
                    <a:gd name="T27" fmla="*/ 2147483647 h 171"/>
                    <a:gd name="T28" fmla="*/ 2147483647 w 207"/>
                    <a:gd name="T29" fmla="*/ 2147483647 h 171"/>
                    <a:gd name="T30" fmla="*/ 2147483647 w 207"/>
                    <a:gd name="T31" fmla="*/ 2147483647 h 171"/>
                    <a:gd name="T32" fmla="*/ 2147483647 w 207"/>
                    <a:gd name="T33" fmla="*/ 2147483647 h 171"/>
                    <a:gd name="T34" fmla="*/ 2147483647 w 207"/>
                    <a:gd name="T35" fmla="*/ 2147483647 h 171"/>
                    <a:gd name="T36" fmla="*/ 2147483647 w 207"/>
                    <a:gd name="T37" fmla="*/ 2147483647 h 171"/>
                    <a:gd name="T38" fmla="*/ 2147483647 w 207"/>
                    <a:gd name="T39" fmla="*/ 2147483647 h 171"/>
                    <a:gd name="T40" fmla="*/ 2147483647 w 207"/>
                    <a:gd name="T41" fmla="*/ 2147483647 h 171"/>
                    <a:gd name="T42" fmla="*/ 2147483647 w 207"/>
                    <a:gd name="T43" fmla="*/ 2147483647 h 171"/>
                    <a:gd name="T44" fmla="*/ 2147483647 w 207"/>
                    <a:gd name="T45" fmla="*/ 2147483647 h 171"/>
                    <a:gd name="T46" fmla="*/ 2147483647 w 207"/>
                    <a:gd name="T47" fmla="*/ 2147483647 h 171"/>
                    <a:gd name="T48" fmla="*/ 2147483647 w 207"/>
                    <a:gd name="T49" fmla="*/ 2147483647 h 171"/>
                    <a:gd name="T50" fmla="*/ 2147483647 w 207"/>
                    <a:gd name="T51" fmla="*/ 2147483647 h 171"/>
                    <a:gd name="T52" fmla="*/ 2147483647 w 207"/>
                    <a:gd name="T53" fmla="*/ 2147483647 h 171"/>
                    <a:gd name="T54" fmla="*/ 2147483647 w 207"/>
                    <a:gd name="T55" fmla="*/ 2147483647 h 171"/>
                    <a:gd name="T56" fmla="*/ 2147483647 w 207"/>
                    <a:gd name="T57" fmla="*/ 2147483647 h 171"/>
                    <a:gd name="T58" fmla="*/ 2147483647 w 207"/>
                    <a:gd name="T59" fmla="*/ 2147483647 h 171"/>
                    <a:gd name="T60" fmla="*/ 2147483647 w 207"/>
                    <a:gd name="T61" fmla="*/ 2147483647 h 171"/>
                    <a:gd name="T62" fmla="*/ 2147483647 w 207"/>
                    <a:gd name="T63" fmla="*/ 2147483647 h 171"/>
                    <a:gd name="T64" fmla="*/ 2147483647 w 207"/>
                    <a:gd name="T65" fmla="*/ 2147483647 h 171"/>
                    <a:gd name="T66" fmla="*/ 2147483647 w 207"/>
                    <a:gd name="T67" fmla="*/ 2147483647 h 171"/>
                    <a:gd name="T68" fmla="*/ 2147483647 w 207"/>
                    <a:gd name="T69" fmla="*/ 2147483647 h 171"/>
                    <a:gd name="T70" fmla="*/ 2147483647 w 207"/>
                    <a:gd name="T71" fmla="*/ 2147483647 h 171"/>
                    <a:gd name="T72" fmla="*/ 2147483647 w 207"/>
                    <a:gd name="T73" fmla="*/ 2147483647 h 171"/>
                    <a:gd name="T74" fmla="*/ 2147483647 w 207"/>
                    <a:gd name="T75" fmla="*/ 2147483647 h 171"/>
                    <a:gd name="T76" fmla="*/ 2147483647 w 207"/>
                    <a:gd name="T77" fmla="*/ 2147483647 h 171"/>
                    <a:gd name="T78" fmla="*/ 2147483647 w 207"/>
                    <a:gd name="T79" fmla="*/ 2147483647 h 171"/>
                    <a:gd name="T80" fmla="*/ 2147483647 w 207"/>
                    <a:gd name="T81" fmla="*/ 2147483647 h 171"/>
                    <a:gd name="T82" fmla="*/ 2147483647 w 207"/>
                    <a:gd name="T83" fmla="*/ 2147483647 h 171"/>
                    <a:gd name="T84" fmla="*/ 2147483647 w 207"/>
                    <a:gd name="T85" fmla="*/ 2147483647 h 171"/>
                    <a:gd name="T86" fmla="*/ 2147483647 w 207"/>
                    <a:gd name="T87" fmla="*/ 2147483647 h 171"/>
                    <a:gd name="T88" fmla="*/ 2147483647 w 207"/>
                    <a:gd name="T89" fmla="*/ 2147483647 h 171"/>
                    <a:gd name="T90" fmla="*/ 2147483647 w 207"/>
                    <a:gd name="T91" fmla="*/ 2147483647 h 171"/>
                    <a:gd name="T92" fmla="*/ 2147483647 w 207"/>
                    <a:gd name="T93" fmla="*/ 2147483647 h 171"/>
                    <a:gd name="T94" fmla="*/ 2147483647 w 207"/>
                    <a:gd name="T95" fmla="*/ 2147483647 h 171"/>
                    <a:gd name="T96" fmla="*/ 2147483647 w 207"/>
                    <a:gd name="T97" fmla="*/ 2147483647 h 171"/>
                    <a:gd name="T98" fmla="*/ 0 w 207"/>
                    <a:gd name="T99" fmla="*/ 2147483647 h 171"/>
                    <a:gd name="T100" fmla="*/ 2147483647 w 207"/>
                    <a:gd name="T101" fmla="*/ 2147483647 h 171"/>
                    <a:gd name="T102" fmla="*/ 2147483647 w 207"/>
                    <a:gd name="T103" fmla="*/ 2147483647 h 171"/>
                    <a:gd name="T104" fmla="*/ 2147483647 w 207"/>
                    <a:gd name="T105" fmla="*/ 2147483647 h 171"/>
                    <a:gd name="T106" fmla="*/ 2147483647 w 207"/>
                    <a:gd name="T107" fmla="*/ 2147483647 h 171"/>
                    <a:gd name="T108" fmla="*/ 2147483647 w 207"/>
                    <a:gd name="T109" fmla="*/ 2147483647 h 171"/>
                    <a:gd name="T110" fmla="*/ 2147483647 w 207"/>
                    <a:gd name="T111" fmla="*/ 2147483647 h 171"/>
                    <a:gd name="T112" fmla="*/ 2147483647 w 207"/>
                    <a:gd name="T113" fmla="*/ 2147483647 h 171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7"/>
                    <a:gd name="T172" fmla="*/ 0 h 171"/>
                    <a:gd name="T173" fmla="*/ 207 w 207"/>
                    <a:gd name="T174" fmla="*/ 171 h 171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7" h="171">
                      <a:moveTo>
                        <a:pt x="120" y="63"/>
                      </a:moveTo>
                      <a:lnTo>
                        <a:pt x="120" y="63"/>
                      </a:lnTo>
                      <a:lnTo>
                        <a:pt x="124" y="69"/>
                      </a:lnTo>
                      <a:lnTo>
                        <a:pt x="126" y="70"/>
                      </a:lnTo>
                      <a:lnTo>
                        <a:pt x="126" y="71"/>
                      </a:lnTo>
                      <a:lnTo>
                        <a:pt x="115" y="73"/>
                      </a:lnTo>
                      <a:lnTo>
                        <a:pt x="105" y="75"/>
                      </a:lnTo>
                      <a:lnTo>
                        <a:pt x="95" y="77"/>
                      </a:lnTo>
                      <a:lnTo>
                        <a:pt x="90" y="79"/>
                      </a:lnTo>
                      <a:lnTo>
                        <a:pt x="85" y="83"/>
                      </a:lnTo>
                      <a:lnTo>
                        <a:pt x="84" y="84"/>
                      </a:lnTo>
                      <a:lnTo>
                        <a:pt x="81" y="84"/>
                      </a:lnTo>
                      <a:lnTo>
                        <a:pt x="76" y="85"/>
                      </a:lnTo>
                      <a:lnTo>
                        <a:pt x="72" y="88"/>
                      </a:lnTo>
                      <a:lnTo>
                        <a:pt x="70" y="90"/>
                      </a:lnTo>
                      <a:lnTo>
                        <a:pt x="68" y="94"/>
                      </a:lnTo>
                      <a:lnTo>
                        <a:pt x="67" y="97"/>
                      </a:lnTo>
                      <a:lnTo>
                        <a:pt x="70" y="100"/>
                      </a:lnTo>
                      <a:lnTo>
                        <a:pt x="72" y="102"/>
                      </a:lnTo>
                      <a:lnTo>
                        <a:pt x="74" y="102"/>
                      </a:lnTo>
                      <a:lnTo>
                        <a:pt x="76" y="101"/>
                      </a:lnTo>
                      <a:lnTo>
                        <a:pt x="77" y="100"/>
                      </a:lnTo>
                      <a:lnTo>
                        <a:pt x="80" y="96"/>
                      </a:lnTo>
                      <a:lnTo>
                        <a:pt x="82" y="95"/>
                      </a:lnTo>
                      <a:lnTo>
                        <a:pt x="81" y="98"/>
                      </a:lnTo>
                      <a:lnTo>
                        <a:pt x="74" y="107"/>
                      </a:lnTo>
                      <a:lnTo>
                        <a:pt x="67" y="115"/>
                      </a:lnTo>
                      <a:lnTo>
                        <a:pt x="65" y="126"/>
                      </a:lnTo>
                      <a:lnTo>
                        <a:pt x="63" y="136"/>
                      </a:lnTo>
                      <a:lnTo>
                        <a:pt x="65" y="146"/>
                      </a:lnTo>
                      <a:lnTo>
                        <a:pt x="67" y="158"/>
                      </a:lnTo>
                      <a:lnTo>
                        <a:pt x="71" y="167"/>
                      </a:lnTo>
                      <a:lnTo>
                        <a:pt x="74" y="171"/>
                      </a:lnTo>
                      <a:lnTo>
                        <a:pt x="76" y="171"/>
                      </a:lnTo>
                      <a:lnTo>
                        <a:pt x="82" y="170"/>
                      </a:lnTo>
                      <a:lnTo>
                        <a:pt x="86" y="166"/>
                      </a:lnTo>
                      <a:lnTo>
                        <a:pt x="90" y="161"/>
                      </a:lnTo>
                      <a:lnTo>
                        <a:pt x="91" y="156"/>
                      </a:lnTo>
                      <a:lnTo>
                        <a:pt x="93" y="152"/>
                      </a:lnTo>
                      <a:lnTo>
                        <a:pt x="93" y="147"/>
                      </a:lnTo>
                      <a:lnTo>
                        <a:pt x="91" y="142"/>
                      </a:lnTo>
                      <a:lnTo>
                        <a:pt x="90" y="139"/>
                      </a:lnTo>
                      <a:lnTo>
                        <a:pt x="86" y="135"/>
                      </a:lnTo>
                      <a:lnTo>
                        <a:pt x="85" y="133"/>
                      </a:lnTo>
                      <a:lnTo>
                        <a:pt x="86" y="130"/>
                      </a:lnTo>
                      <a:lnTo>
                        <a:pt x="87" y="126"/>
                      </a:lnTo>
                      <a:lnTo>
                        <a:pt x="87" y="121"/>
                      </a:lnTo>
                      <a:lnTo>
                        <a:pt x="87" y="116"/>
                      </a:lnTo>
                      <a:lnTo>
                        <a:pt x="89" y="113"/>
                      </a:lnTo>
                      <a:lnTo>
                        <a:pt x="95" y="107"/>
                      </a:lnTo>
                      <a:lnTo>
                        <a:pt x="98" y="104"/>
                      </a:lnTo>
                      <a:lnTo>
                        <a:pt x="99" y="101"/>
                      </a:lnTo>
                      <a:lnTo>
                        <a:pt x="101" y="98"/>
                      </a:lnTo>
                      <a:lnTo>
                        <a:pt x="104" y="97"/>
                      </a:lnTo>
                      <a:lnTo>
                        <a:pt x="109" y="96"/>
                      </a:lnTo>
                      <a:lnTo>
                        <a:pt x="113" y="91"/>
                      </a:lnTo>
                      <a:lnTo>
                        <a:pt x="115" y="88"/>
                      </a:lnTo>
                      <a:lnTo>
                        <a:pt x="118" y="84"/>
                      </a:lnTo>
                      <a:lnTo>
                        <a:pt x="119" y="83"/>
                      </a:lnTo>
                      <a:lnTo>
                        <a:pt x="120" y="82"/>
                      </a:lnTo>
                      <a:lnTo>
                        <a:pt x="123" y="82"/>
                      </a:lnTo>
                      <a:lnTo>
                        <a:pt x="126" y="83"/>
                      </a:lnTo>
                      <a:lnTo>
                        <a:pt x="131" y="87"/>
                      </a:lnTo>
                      <a:lnTo>
                        <a:pt x="136" y="89"/>
                      </a:lnTo>
                      <a:lnTo>
                        <a:pt x="140" y="94"/>
                      </a:lnTo>
                      <a:lnTo>
                        <a:pt x="141" y="97"/>
                      </a:lnTo>
                      <a:lnTo>
                        <a:pt x="142" y="101"/>
                      </a:lnTo>
                      <a:lnTo>
                        <a:pt x="143" y="109"/>
                      </a:lnTo>
                      <a:lnTo>
                        <a:pt x="145" y="113"/>
                      </a:lnTo>
                      <a:lnTo>
                        <a:pt x="147" y="115"/>
                      </a:lnTo>
                      <a:lnTo>
                        <a:pt x="155" y="119"/>
                      </a:lnTo>
                      <a:lnTo>
                        <a:pt x="156" y="120"/>
                      </a:lnTo>
                      <a:lnTo>
                        <a:pt x="156" y="121"/>
                      </a:lnTo>
                      <a:lnTo>
                        <a:pt x="159" y="129"/>
                      </a:lnTo>
                      <a:lnTo>
                        <a:pt x="160" y="133"/>
                      </a:lnTo>
                      <a:lnTo>
                        <a:pt x="164" y="135"/>
                      </a:lnTo>
                      <a:lnTo>
                        <a:pt x="166" y="135"/>
                      </a:lnTo>
                      <a:lnTo>
                        <a:pt x="169" y="135"/>
                      </a:lnTo>
                      <a:lnTo>
                        <a:pt x="171" y="134"/>
                      </a:lnTo>
                      <a:lnTo>
                        <a:pt x="173" y="132"/>
                      </a:lnTo>
                      <a:lnTo>
                        <a:pt x="174" y="122"/>
                      </a:lnTo>
                      <a:lnTo>
                        <a:pt x="175" y="119"/>
                      </a:lnTo>
                      <a:lnTo>
                        <a:pt x="178" y="114"/>
                      </a:lnTo>
                      <a:lnTo>
                        <a:pt x="179" y="111"/>
                      </a:lnTo>
                      <a:lnTo>
                        <a:pt x="180" y="107"/>
                      </a:lnTo>
                      <a:lnTo>
                        <a:pt x="180" y="103"/>
                      </a:lnTo>
                      <a:lnTo>
                        <a:pt x="178" y="98"/>
                      </a:lnTo>
                      <a:lnTo>
                        <a:pt x="180" y="97"/>
                      </a:lnTo>
                      <a:lnTo>
                        <a:pt x="183" y="100"/>
                      </a:lnTo>
                      <a:lnTo>
                        <a:pt x="188" y="106"/>
                      </a:lnTo>
                      <a:lnTo>
                        <a:pt x="193" y="109"/>
                      </a:lnTo>
                      <a:lnTo>
                        <a:pt x="198" y="111"/>
                      </a:lnTo>
                      <a:lnTo>
                        <a:pt x="200" y="111"/>
                      </a:lnTo>
                      <a:lnTo>
                        <a:pt x="203" y="110"/>
                      </a:lnTo>
                      <a:lnTo>
                        <a:pt x="206" y="109"/>
                      </a:lnTo>
                      <a:lnTo>
                        <a:pt x="207" y="106"/>
                      </a:lnTo>
                      <a:lnTo>
                        <a:pt x="207" y="103"/>
                      </a:lnTo>
                      <a:lnTo>
                        <a:pt x="206" y="101"/>
                      </a:lnTo>
                      <a:lnTo>
                        <a:pt x="202" y="95"/>
                      </a:lnTo>
                      <a:lnTo>
                        <a:pt x="198" y="90"/>
                      </a:lnTo>
                      <a:lnTo>
                        <a:pt x="197" y="88"/>
                      </a:lnTo>
                      <a:lnTo>
                        <a:pt x="197" y="84"/>
                      </a:lnTo>
                      <a:lnTo>
                        <a:pt x="197" y="82"/>
                      </a:lnTo>
                      <a:lnTo>
                        <a:pt x="199" y="79"/>
                      </a:lnTo>
                      <a:lnTo>
                        <a:pt x="202" y="78"/>
                      </a:lnTo>
                      <a:lnTo>
                        <a:pt x="204" y="77"/>
                      </a:lnTo>
                      <a:lnTo>
                        <a:pt x="204" y="76"/>
                      </a:lnTo>
                      <a:lnTo>
                        <a:pt x="206" y="73"/>
                      </a:lnTo>
                      <a:lnTo>
                        <a:pt x="204" y="71"/>
                      </a:lnTo>
                      <a:lnTo>
                        <a:pt x="202" y="71"/>
                      </a:lnTo>
                      <a:lnTo>
                        <a:pt x="199" y="70"/>
                      </a:lnTo>
                      <a:lnTo>
                        <a:pt x="192" y="71"/>
                      </a:lnTo>
                      <a:lnTo>
                        <a:pt x="183" y="71"/>
                      </a:lnTo>
                      <a:lnTo>
                        <a:pt x="175" y="71"/>
                      </a:lnTo>
                      <a:lnTo>
                        <a:pt x="167" y="70"/>
                      </a:lnTo>
                      <a:lnTo>
                        <a:pt x="161" y="69"/>
                      </a:lnTo>
                      <a:lnTo>
                        <a:pt x="154" y="69"/>
                      </a:lnTo>
                      <a:lnTo>
                        <a:pt x="147" y="68"/>
                      </a:lnTo>
                      <a:lnTo>
                        <a:pt x="145" y="66"/>
                      </a:lnTo>
                      <a:lnTo>
                        <a:pt x="142" y="64"/>
                      </a:lnTo>
                      <a:lnTo>
                        <a:pt x="138" y="62"/>
                      </a:lnTo>
                      <a:lnTo>
                        <a:pt x="134" y="59"/>
                      </a:lnTo>
                      <a:lnTo>
                        <a:pt x="129" y="52"/>
                      </a:lnTo>
                      <a:lnTo>
                        <a:pt x="126" y="44"/>
                      </a:lnTo>
                      <a:lnTo>
                        <a:pt x="122" y="37"/>
                      </a:lnTo>
                      <a:lnTo>
                        <a:pt x="119" y="34"/>
                      </a:lnTo>
                      <a:lnTo>
                        <a:pt x="115" y="32"/>
                      </a:lnTo>
                      <a:lnTo>
                        <a:pt x="110" y="31"/>
                      </a:lnTo>
                      <a:lnTo>
                        <a:pt x="108" y="28"/>
                      </a:lnTo>
                      <a:lnTo>
                        <a:pt x="100" y="24"/>
                      </a:lnTo>
                      <a:lnTo>
                        <a:pt x="96" y="21"/>
                      </a:lnTo>
                      <a:lnTo>
                        <a:pt x="93" y="18"/>
                      </a:lnTo>
                      <a:lnTo>
                        <a:pt x="90" y="15"/>
                      </a:lnTo>
                      <a:lnTo>
                        <a:pt x="90" y="12"/>
                      </a:lnTo>
                      <a:lnTo>
                        <a:pt x="89" y="9"/>
                      </a:lnTo>
                      <a:lnTo>
                        <a:pt x="86" y="7"/>
                      </a:lnTo>
                      <a:lnTo>
                        <a:pt x="84" y="5"/>
                      </a:lnTo>
                      <a:lnTo>
                        <a:pt x="81" y="5"/>
                      </a:lnTo>
                      <a:lnTo>
                        <a:pt x="77" y="4"/>
                      </a:lnTo>
                      <a:lnTo>
                        <a:pt x="75" y="1"/>
                      </a:lnTo>
                      <a:lnTo>
                        <a:pt x="72" y="0"/>
                      </a:lnTo>
                      <a:lnTo>
                        <a:pt x="70" y="1"/>
                      </a:lnTo>
                      <a:lnTo>
                        <a:pt x="67" y="2"/>
                      </a:lnTo>
                      <a:lnTo>
                        <a:pt x="66" y="5"/>
                      </a:lnTo>
                      <a:lnTo>
                        <a:pt x="63" y="9"/>
                      </a:lnTo>
                      <a:lnTo>
                        <a:pt x="60" y="14"/>
                      </a:lnTo>
                      <a:lnTo>
                        <a:pt x="57" y="17"/>
                      </a:lnTo>
                      <a:lnTo>
                        <a:pt x="54" y="17"/>
                      </a:lnTo>
                      <a:lnTo>
                        <a:pt x="49" y="19"/>
                      </a:lnTo>
                      <a:lnTo>
                        <a:pt x="46" y="21"/>
                      </a:lnTo>
                      <a:lnTo>
                        <a:pt x="39" y="28"/>
                      </a:lnTo>
                      <a:lnTo>
                        <a:pt x="35" y="31"/>
                      </a:lnTo>
                      <a:lnTo>
                        <a:pt x="30" y="33"/>
                      </a:lnTo>
                      <a:lnTo>
                        <a:pt x="20" y="38"/>
                      </a:lnTo>
                      <a:lnTo>
                        <a:pt x="10" y="41"/>
                      </a:lnTo>
                      <a:lnTo>
                        <a:pt x="5" y="44"/>
                      </a:lnTo>
                      <a:lnTo>
                        <a:pt x="0" y="47"/>
                      </a:lnTo>
                      <a:lnTo>
                        <a:pt x="0" y="50"/>
                      </a:lnTo>
                      <a:lnTo>
                        <a:pt x="0" y="51"/>
                      </a:lnTo>
                      <a:lnTo>
                        <a:pt x="2" y="55"/>
                      </a:lnTo>
                      <a:lnTo>
                        <a:pt x="6" y="56"/>
                      </a:lnTo>
                      <a:lnTo>
                        <a:pt x="9" y="55"/>
                      </a:lnTo>
                      <a:lnTo>
                        <a:pt x="11" y="53"/>
                      </a:lnTo>
                      <a:lnTo>
                        <a:pt x="14" y="53"/>
                      </a:lnTo>
                      <a:lnTo>
                        <a:pt x="16" y="57"/>
                      </a:lnTo>
                      <a:lnTo>
                        <a:pt x="19" y="58"/>
                      </a:lnTo>
                      <a:lnTo>
                        <a:pt x="20" y="59"/>
                      </a:lnTo>
                      <a:lnTo>
                        <a:pt x="32" y="58"/>
                      </a:lnTo>
                      <a:lnTo>
                        <a:pt x="43" y="55"/>
                      </a:lnTo>
                      <a:lnTo>
                        <a:pt x="49" y="53"/>
                      </a:lnTo>
                      <a:lnTo>
                        <a:pt x="58" y="53"/>
                      </a:lnTo>
                      <a:lnTo>
                        <a:pt x="66" y="56"/>
                      </a:lnTo>
                      <a:lnTo>
                        <a:pt x="74" y="58"/>
                      </a:lnTo>
                      <a:lnTo>
                        <a:pt x="80" y="59"/>
                      </a:lnTo>
                      <a:lnTo>
                        <a:pt x="86" y="59"/>
                      </a:lnTo>
                      <a:lnTo>
                        <a:pt x="93" y="59"/>
                      </a:lnTo>
                      <a:lnTo>
                        <a:pt x="99" y="60"/>
                      </a:lnTo>
                      <a:lnTo>
                        <a:pt x="104" y="62"/>
                      </a:lnTo>
                      <a:lnTo>
                        <a:pt x="109" y="60"/>
                      </a:lnTo>
                      <a:lnTo>
                        <a:pt x="114" y="60"/>
                      </a:lnTo>
                      <a:lnTo>
                        <a:pt x="119" y="60"/>
                      </a:lnTo>
                      <a:lnTo>
                        <a:pt x="120" y="6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FF47B51-6564-5642-B533-3EFBA19A9375}"/>
                  </a:ext>
                </a:extLst>
              </p:cNvPr>
              <p:cNvGrpSpPr/>
              <p:nvPr/>
            </p:nvGrpSpPr>
            <p:grpSpPr>
              <a:xfrm>
                <a:off x="563222" y="2438512"/>
                <a:ext cx="4901336" cy="3809188"/>
                <a:chOff x="4042533" y="2438512"/>
                <a:chExt cx="4901336" cy="3809188"/>
              </a:xfrm>
              <a:grpFill/>
            </p:grpSpPr>
            <p:sp>
              <p:nvSpPr>
                <p:cNvPr id="16" name="Freeform 326">
                  <a:extLst>
                    <a:ext uri="{FF2B5EF4-FFF2-40B4-BE49-F238E27FC236}">
                      <a16:creationId xmlns:a16="http://schemas.microsoft.com/office/drawing/2014/main" id="{82C6EFFD-75E0-BB43-B7E9-1555FC788E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6997" y="3863628"/>
                  <a:ext cx="54756" cy="115429"/>
                </a:xfrm>
                <a:custGeom>
                  <a:avLst/>
                  <a:gdLst>
                    <a:gd name="T0" fmla="*/ 2147483647 w 40"/>
                    <a:gd name="T1" fmla="*/ 2147483647 h 78"/>
                    <a:gd name="T2" fmla="*/ 2147483647 w 40"/>
                    <a:gd name="T3" fmla="*/ 2147483647 h 78"/>
                    <a:gd name="T4" fmla="*/ 2147483647 w 40"/>
                    <a:gd name="T5" fmla="*/ 2147483647 h 78"/>
                    <a:gd name="T6" fmla="*/ 2147483647 w 40"/>
                    <a:gd name="T7" fmla="*/ 2147483647 h 78"/>
                    <a:gd name="T8" fmla="*/ 2147483647 w 40"/>
                    <a:gd name="T9" fmla="*/ 2147483647 h 78"/>
                    <a:gd name="T10" fmla="*/ 2147483647 w 40"/>
                    <a:gd name="T11" fmla="*/ 2147483647 h 78"/>
                    <a:gd name="T12" fmla="*/ 2147483647 w 40"/>
                    <a:gd name="T13" fmla="*/ 0 h 78"/>
                    <a:gd name="T14" fmla="*/ 2147483647 w 40"/>
                    <a:gd name="T15" fmla="*/ 0 h 78"/>
                    <a:gd name="T16" fmla="*/ 2147483647 w 40"/>
                    <a:gd name="T17" fmla="*/ 0 h 78"/>
                    <a:gd name="T18" fmla="*/ 2147483647 w 40"/>
                    <a:gd name="T19" fmla="*/ 2147483647 h 78"/>
                    <a:gd name="T20" fmla="*/ 2147483647 w 40"/>
                    <a:gd name="T21" fmla="*/ 2147483647 h 78"/>
                    <a:gd name="T22" fmla="*/ 2147483647 w 40"/>
                    <a:gd name="T23" fmla="*/ 2147483647 h 78"/>
                    <a:gd name="T24" fmla="*/ 2147483647 w 40"/>
                    <a:gd name="T25" fmla="*/ 2147483647 h 78"/>
                    <a:gd name="T26" fmla="*/ 2147483647 w 40"/>
                    <a:gd name="T27" fmla="*/ 2147483647 h 78"/>
                    <a:gd name="T28" fmla="*/ 2147483647 w 40"/>
                    <a:gd name="T29" fmla="*/ 2147483647 h 78"/>
                    <a:gd name="T30" fmla="*/ 2147483647 w 40"/>
                    <a:gd name="T31" fmla="*/ 2147483647 h 78"/>
                    <a:gd name="T32" fmla="*/ 2147483647 w 40"/>
                    <a:gd name="T33" fmla="*/ 2147483647 h 78"/>
                    <a:gd name="T34" fmla="*/ 0 w 40"/>
                    <a:gd name="T35" fmla="*/ 2147483647 h 78"/>
                    <a:gd name="T36" fmla="*/ 2147483647 w 40"/>
                    <a:gd name="T37" fmla="*/ 2147483647 h 78"/>
                    <a:gd name="T38" fmla="*/ 2147483647 w 40"/>
                    <a:gd name="T39" fmla="*/ 2147483647 h 78"/>
                    <a:gd name="T40" fmla="*/ 2147483647 w 40"/>
                    <a:gd name="T41" fmla="*/ 2147483647 h 78"/>
                    <a:gd name="T42" fmla="*/ 2147483647 w 40"/>
                    <a:gd name="T43" fmla="*/ 2147483647 h 78"/>
                    <a:gd name="T44" fmla="*/ 2147483647 w 40"/>
                    <a:gd name="T45" fmla="*/ 2147483647 h 78"/>
                    <a:gd name="T46" fmla="*/ 2147483647 w 40"/>
                    <a:gd name="T47" fmla="*/ 2147483647 h 78"/>
                    <a:gd name="T48" fmla="*/ 2147483647 w 40"/>
                    <a:gd name="T49" fmla="*/ 2147483647 h 78"/>
                    <a:gd name="T50" fmla="*/ 2147483647 w 40"/>
                    <a:gd name="T51" fmla="*/ 2147483647 h 78"/>
                    <a:gd name="T52" fmla="*/ 2147483647 w 40"/>
                    <a:gd name="T53" fmla="*/ 2147483647 h 78"/>
                    <a:gd name="T54" fmla="*/ 2147483647 w 40"/>
                    <a:gd name="T55" fmla="*/ 2147483647 h 78"/>
                    <a:gd name="T56" fmla="*/ 2147483647 w 40"/>
                    <a:gd name="T57" fmla="*/ 2147483647 h 78"/>
                    <a:gd name="T58" fmla="*/ 2147483647 w 40"/>
                    <a:gd name="T59" fmla="*/ 2147483647 h 78"/>
                    <a:gd name="T60" fmla="*/ 2147483647 w 40"/>
                    <a:gd name="T61" fmla="*/ 2147483647 h 78"/>
                    <a:gd name="T62" fmla="*/ 2147483647 w 40"/>
                    <a:gd name="T63" fmla="*/ 2147483647 h 78"/>
                    <a:gd name="T64" fmla="*/ 2147483647 w 40"/>
                    <a:gd name="T65" fmla="*/ 2147483647 h 78"/>
                    <a:gd name="T66" fmla="*/ 2147483647 w 40"/>
                    <a:gd name="T67" fmla="*/ 2147483647 h 78"/>
                    <a:gd name="T68" fmla="*/ 2147483647 w 40"/>
                    <a:gd name="T69" fmla="*/ 2147483647 h 78"/>
                    <a:gd name="T70" fmla="*/ 2147483647 w 40"/>
                    <a:gd name="T71" fmla="*/ 2147483647 h 78"/>
                    <a:gd name="T72" fmla="*/ 2147483647 w 40"/>
                    <a:gd name="T73" fmla="*/ 2147483647 h 78"/>
                    <a:gd name="T74" fmla="*/ 2147483647 w 40"/>
                    <a:gd name="T75" fmla="*/ 2147483647 h 78"/>
                    <a:gd name="T76" fmla="*/ 2147483647 w 40"/>
                    <a:gd name="T77" fmla="*/ 2147483647 h 78"/>
                    <a:gd name="T78" fmla="*/ 2147483647 w 40"/>
                    <a:gd name="T79" fmla="*/ 2147483647 h 78"/>
                    <a:gd name="T80" fmla="*/ 2147483647 w 40"/>
                    <a:gd name="T81" fmla="*/ 2147483647 h 78"/>
                    <a:gd name="T82" fmla="*/ 2147483647 w 40"/>
                    <a:gd name="T83" fmla="*/ 2147483647 h 78"/>
                    <a:gd name="T84" fmla="*/ 2147483647 w 40"/>
                    <a:gd name="T85" fmla="*/ 2147483647 h 78"/>
                    <a:gd name="T86" fmla="*/ 2147483647 w 40"/>
                    <a:gd name="T87" fmla="*/ 2147483647 h 78"/>
                    <a:gd name="T88" fmla="*/ 2147483647 w 40"/>
                    <a:gd name="T89" fmla="*/ 2147483647 h 78"/>
                    <a:gd name="T90" fmla="*/ 2147483647 w 40"/>
                    <a:gd name="T91" fmla="*/ 2147483647 h 78"/>
                    <a:gd name="T92" fmla="*/ 2147483647 w 40"/>
                    <a:gd name="T93" fmla="*/ 2147483647 h 78"/>
                    <a:gd name="T94" fmla="*/ 2147483647 w 40"/>
                    <a:gd name="T95" fmla="*/ 2147483647 h 78"/>
                    <a:gd name="T96" fmla="*/ 2147483647 w 40"/>
                    <a:gd name="T97" fmla="*/ 2147483647 h 78"/>
                    <a:gd name="T98" fmla="*/ 2147483647 w 40"/>
                    <a:gd name="T99" fmla="*/ 2147483647 h 78"/>
                    <a:gd name="T100" fmla="*/ 2147483647 w 40"/>
                    <a:gd name="T101" fmla="*/ 2147483647 h 78"/>
                    <a:gd name="T102" fmla="*/ 2147483647 w 40"/>
                    <a:gd name="T103" fmla="*/ 2147483647 h 78"/>
                    <a:gd name="T104" fmla="*/ 2147483647 w 40"/>
                    <a:gd name="T105" fmla="*/ 2147483647 h 78"/>
                    <a:gd name="T106" fmla="*/ 2147483647 w 40"/>
                    <a:gd name="T107" fmla="*/ 2147483647 h 78"/>
                    <a:gd name="T108" fmla="*/ 2147483647 w 40"/>
                    <a:gd name="T109" fmla="*/ 2147483647 h 78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40"/>
                    <a:gd name="T166" fmla="*/ 0 h 78"/>
                    <a:gd name="T167" fmla="*/ 40 w 40"/>
                    <a:gd name="T168" fmla="*/ 78 h 78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40" h="78">
                      <a:moveTo>
                        <a:pt x="37" y="12"/>
                      </a:moveTo>
                      <a:lnTo>
                        <a:pt x="37" y="12"/>
                      </a:lnTo>
                      <a:lnTo>
                        <a:pt x="40" y="6"/>
                      </a:lnTo>
                      <a:lnTo>
                        <a:pt x="40" y="3"/>
                      </a:lnTo>
                      <a:lnTo>
                        <a:pt x="38" y="1"/>
                      </a:lnTo>
                      <a:lnTo>
                        <a:pt x="36" y="0"/>
                      </a:lnTo>
                      <a:lnTo>
                        <a:pt x="33" y="0"/>
                      </a:lnTo>
                      <a:lnTo>
                        <a:pt x="27" y="0"/>
                      </a:lnTo>
                      <a:lnTo>
                        <a:pt x="22" y="2"/>
                      </a:lnTo>
                      <a:lnTo>
                        <a:pt x="18" y="6"/>
                      </a:lnTo>
                      <a:lnTo>
                        <a:pt x="14" y="13"/>
                      </a:lnTo>
                      <a:lnTo>
                        <a:pt x="10" y="20"/>
                      </a:lnTo>
                      <a:lnTo>
                        <a:pt x="5" y="34"/>
                      </a:lnTo>
                      <a:lnTo>
                        <a:pt x="1" y="40"/>
                      </a:lnTo>
                      <a:lnTo>
                        <a:pt x="0" y="44"/>
                      </a:lnTo>
                      <a:lnTo>
                        <a:pt x="1" y="46"/>
                      </a:lnTo>
                      <a:lnTo>
                        <a:pt x="4" y="52"/>
                      </a:lnTo>
                      <a:lnTo>
                        <a:pt x="5" y="56"/>
                      </a:lnTo>
                      <a:lnTo>
                        <a:pt x="5" y="59"/>
                      </a:lnTo>
                      <a:lnTo>
                        <a:pt x="7" y="60"/>
                      </a:lnTo>
                      <a:lnTo>
                        <a:pt x="8" y="61"/>
                      </a:lnTo>
                      <a:lnTo>
                        <a:pt x="9" y="63"/>
                      </a:lnTo>
                      <a:lnTo>
                        <a:pt x="10" y="65"/>
                      </a:lnTo>
                      <a:lnTo>
                        <a:pt x="12" y="66"/>
                      </a:lnTo>
                      <a:lnTo>
                        <a:pt x="10" y="69"/>
                      </a:lnTo>
                      <a:lnTo>
                        <a:pt x="9" y="72"/>
                      </a:lnTo>
                      <a:lnTo>
                        <a:pt x="10" y="76"/>
                      </a:lnTo>
                      <a:lnTo>
                        <a:pt x="12" y="77"/>
                      </a:lnTo>
                      <a:lnTo>
                        <a:pt x="13" y="78"/>
                      </a:lnTo>
                      <a:lnTo>
                        <a:pt x="14" y="77"/>
                      </a:lnTo>
                      <a:lnTo>
                        <a:pt x="17" y="74"/>
                      </a:lnTo>
                      <a:lnTo>
                        <a:pt x="17" y="71"/>
                      </a:lnTo>
                      <a:lnTo>
                        <a:pt x="17" y="69"/>
                      </a:lnTo>
                      <a:lnTo>
                        <a:pt x="18" y="65"/>
                      </a:lnTo>
                      <a:lnTo>
                        <a:pt x="23" y="58"/>
                      </a:lnTo>
                      <a:lnTo>
                        <a:pt x="27" y="51"/>
                      </a:lnTo>
                      <a:lnTo>
                        <a:pt x="32" y="34"/>
                      </a:lnTo>
                      <a:lnTo>
                        <a:pt x="33" y="29"/>
                      </a:lnTo>
                      <a:lnTo>
                        <a:pt x="35" y="25"/>
                      </a:lnTo>
                      <a:lnTo>
                        <a:pt x="33" y="14"/>
                      </a:lnTo>
                      <a:lnTo>
                        <a:pt x="35" y="13"/>
                      </a:lnTo>
                      <a:lnTo>
                        <a:pt x="37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" name="Freeform 821">
                  <a:extLst>
                    <a:ext uri="{FF2B5EF4-FFF2-40B4-BE49-F238E27FC236}">
                      <a16:creationId xmlns:a16="http://schemas.microsoft.com/office/drawing/2014/main" id="{AFFA0536-52DD-224D-A7C9-F8150033D5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33766" y="4716033"/>
                  <a:ext cx="14799" cy="22198"/>
                </a:xfrm>
                <a:custGeom>
                  <a:avLst/>
                  <a:gdLst>
                    <a:gd name="T0" fmla="*/ 2147483647 w 11"/>
                    <a:gd name="T1" fmla="*/ 2147483647 h 15"/>
                    <a:gd name="T2" fmla="*/ 2147483647 w 11"/>
                    <a:gd name="T3" fmla="*/ 2147483647 h 15"/>
                    <a:gd name="T4" fmla="*/ 2147483647 w 11"/>
                    <a:gd name="T5" fmla="*/ 2147483647 h 15"/>
                    <a:gd name="T6" fmla="*/ 2147483647 w 11"/>
                    <a:gd name="T7" fmla="*/ 2147483647 h 15"/>
                    <a:gd name="T8" fmla="*/ 2147483647 w 11"/>
                    <a:gd name="T9" fmla="*/ 2147483647 h 15"/>
                    <a:gd name="T10" fmla="*/ 0 w 11"/>
                    <a:gd name="T11" fmla="*/ 2147483647 h 15"/>
                    <a:gd name="T12" fmla="*/ 0 w 11"/>
                    <a:gd name="T13" fmla="*/ 2147483647 h 15"/>
                    <a:gd name="T14" fmla="*/ 0 w 11"/>
                    <a:gd name="T15" fmla="*/ 2147483647 h 15"/>
                    <a:gd name="T16" fmla="*/ 2147483647 w 11"/>
                    <a:gd name="T17" fmla="*/ 2147483647 h 15"/>
                    <a:gd name="T18" fmla="*/ 2147483647 w 11"/>
                    <a:gd name="T19" fmla="*/ 2147483647 h 15"/>
                    <a:gd name="T20" fmla="*/ 2147483647 w 11"/>
                    <a:gd name="T21" fmla="*/ 0 h 15"/>
                    <a:gd name="T22" fmla="*/ 2147483647 w 11"/>
                    <a:gd name="T23" fmla="*/ 2147483647 h 15"/>
                    <a:gd name="T24" fmla="*/ 2147483647 w 11"/>
                    <a:gd name="T25" fmla="*/ 2147483647 h 15"/>
                    <a:gd name="T26" fmla="*/ 2147483647 w 11"/>
                    <a:gd name="T27" fmla="*/ 2147483647 h 15"/>
                    <a:gd name="T28" fmla="*/ 2147483647 w 11"/>
                    <a:gd name="T29" fmla="*/ 2147483647 h 15"/>
                    <a:gd name="T30" fmla="*/ 2147483647 w 11"/>
                    <a:gd name="T31" fmla="*/ 2147483647 h 15"/>
                    <a:gd name="T32" fmla="*/ 2147483647 w 11"/>
                    <a:gd name="T33" fmla="*/ 2147483647 h 15"/>
                    <a:gd name="T34" fmla="*/ 2147483647 w 11"/>
                    <a:gd name="T35" fmla="*/ 2147483647 h 1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1"/>
                    <a:gd name="T55" fmla="*/ 0 h 15"/>
                    <a:gd name="T56" fmla="*/ 11 w 11"/>
                    <a:gd name="T57" fmla="*/ 15 h 1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1" h="15">
                      <a:moveTo>
                        <a:pt x="7" y="13"/>
                      </a:moveTo>
                      <a:lnTo>
                        <a:pt x="7" y="13"/>
                      </a:lnTo>
                      <a:lnTo>
                        <a:pt x="5" y="14"/>
                      </a:lnTo>
                      <a:lnTo>
                        <a:pt x="2" y="15"/>
                      </a:lnTo>
                      <a:lnTo>
                        <a:pt x="1" y="14"/>
                      </a:lnTo>
                      <a:lnTo>
                        <a:pt x="0" y="13"/>
                      </a:lnTo>
                      <a:lnTo>
                        <a:pt x="0" y="8"/>
                      </a:lnTo>
                      <a:lnTo>
                        <a:pt x="1" y="4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2"/>
                      </a:lnTo>
                      <a:lnTo>
                        <a:pt x="11" y="6"/>
                      </a:lnTo>
                      <a:lnTo>
                        <a:pt x="10" y="9"/>
                      </a:lnTo>
                      <a:lnTo>
                        <a:pt x="7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" name="Freeform 831">
                  <a:extLst>
                    <a:ext uri="{FF2B5EF4-FFF2-40B4-BE49-F238E27FC236}">
                      <a16:creationId xmlns:a16="http://schemas.microsoft.com/office/drawing/2014/main" id="{4509C19C-87DA-4B4F-B8F1-12998014EB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0131" y="4818146"/>
                  <a:ext cx="31078" cy="10360"/>
                </a:xfrm>
                <a:custGeom>
                  <a:avLst/>
                  <a:gdLst>
                    <a:gd name="T0" fmla="*/ 2147483647 w 23"/>
                    <a:gd name="T1" fmla="*/ 0 h 7"/>
                    <a:gd name="T2" fmla="*/ 2147483647 w 23"/>
                    <a:gd name="T3" fmla="*/ 0 h 7"/>
                    <a:gd name="T4" fmla="*/ 2147483647 w 23"/>
                    <a:gd name="T5" fmla="*/ 0 h 7"/>
                    <a:gd name="T6" fmla="*/ 2147483647 w 23"/>
                    <a:gd name="T7" fmla="*/ 2147483647 h 7"/>
                    <a:gd name="T8" fmla="*/ 2147483647 w 23"/>
                    <a:gd name="T9" fmla="*/ 2147483647 h 7"/>
                    <a:gd name="T10" fmla="*/ 2147483647 w 23"/>
                    <a:gd name="T11" fmla="*/ 2147483647 h 7"/>
                    <a:gd name="T12" fmla="*/ 2147483647 w 23"/>
                    <a:gd name="T13" fmla="*/ 2147483647 h 7"/>
                    <a:gd name="T14" fmla="*/ 2147483647 w 23"/>
                    <a:gd name="T15" fmla="*/ 2147483647 h 7"/>
                    <a:gd name="T16" fmla="*/ 2147483647 w 23"/>
                    <a:gd name="T17" fmla="*/ 2147483647 h 7"/>
                    <a:gd name="T18" fmla="*/ 2147483647 w 23"/>
                    <a:gd name="T19" fmla="*/ 2147483647 h 7"/>
                    <a:gd name="T20" fmla="*/ 2147483647 w 23"/>
                    <a:gd name="T21" fmla="*/ 2147483647 h 7"/>
                    <a:gd name="T22" fmla="*/ 0 w 23"/>
                    <a:gd name="T23" fmla="*/ 2147483647 h 7"/>
                    <a:gd name="T24" fmla="*/ 2147483647 w 23"/>
                    <a:gd name="T25" fmla="*/ 2147483647 h 7"/>
                    <a:gd name="T26" fmla="*/ 2147483647 w 23"/>
                    <a:gd name="T27" fmla="*/ 0 h 7"/>
                    <a:gd name="T28" fmla="*/ 2147483647 w 23"/>
                    <a:gd name="T29" fmla="*/ 0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3"/>
                    <a:gd name="T46" fmla="*/ 0 h 7"/>
                    <a:gd name="T47" fmla="*/ 23 w 23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3" h="7">
                      <a:moveTo>
                        <a:pt x="9" y="0"/>
                      </a:moveTo>
                      <a:lnTo>
                        <a:pt x="14" y="0"/>
                      </a:lnTo>
                      <a:lnTo>
                        <a:pt x="19" y="0"/>
                      </a:lnTo>
                      <a:lnTo>
                        <a:pt x="21" y="1"/>
                      </a:lnTo>
                      <a:lnTo>
                        <a:pt x="23" y="2"/>
                      </a:lnTo>
                      <a:lnTo>
                        <a:pt x="21" y="3"/>
                      </a:lnTo>
                      <a:lnTo>
                        <a:pt x="20" y="6"/>
                      </a:lnTo>
                      <a:lnTo>
                        <a:pt x="16" y="7"/>
                      </a:lnTo>
                      <a:lnTo>
                        <a:pt x="11" y="7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832">
                  <a:extLst>
                    <a:ext uri="{FF2B5EF4-FFF2-40B4-BE49-F238E27FC236}">
                      <a16:creationId xmlns:a16="http://schemas.microsoft.com/office/drawing/2014/main" id="{6E8E0410-FA91-6545-B5FE-6F7F1BB3CD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1168" y="4856625"/>
                  <a:ext cx="16279" cy="20718"/>
                </a:xfrm>
                <a:custGeom>
                  <a:avLst/>
                  <a:gdLst>
                    <a:gd name="T0" fmla="*/ 2147483647 w 11"/>
                    <a:gd name="T1" fmla="*/ 2147483647 h 14"/>
                    <a:gd name="T2" fmla="*/ 2147483647 w 11"/>
                    <a:gd name="T3" fmla="*/ 2147483647 h 14"/>
                    <a:gd name="T4" fmla="*/ 2147483647 w 11"/>
                    <a:gd name="T5" fmla="*/ 2147483647 h 14"/>
                    <a:gd name="T6" fmla="*/ 2147483647 w 11"/>
                    <a:gd name="T7" fmla="*/ 2147483647 h 14"/>
                    <a:gd name="T8" fmla="*/ 0 w 11"/>
                    <a:gd name="T9" fmla="*/ 2147483647 h 14"/>
                    <a:gd name="T10" fmla="*/ 0 w 11"/>
                    <a:gd name="T11" fmla="*/ 2147483647 h 14"/>
                    <a:gd name="T12" fmla="*/ 2147483647 w 11"/>
                    <a:gd name="T13" fmla="*/ 2147483647 h 14"/>
                    <a:gd name="T14" fmla="*/ 2147483647 w 11"/>
                    <a:gd name="T15" fmla="*/ 2147483647 h 14"/>
                    <a:gd name="T16" fmla="*/ 2147483647 w 11"/>
                    <a:gd name="T17" fmla="*/ 0 h 14"/>
                    <a:gd name="T18" fmla="*/ 2147483647 w 11"/>
                    <a:gd name="T19" fmla="*/ 0 h 14"/>
                    <a:gd name="T20" fmla="*/ 2147483647 w 11"/>
                    <a:gd name="T21" fmla="*/ 0 h 14"/>
                    <a:gd name="T22" fmla="*/ 2147483647 w 11"/>
                    <a:gd name="T23" fmla="*/ 2147483647 h 14"/>
                    <a:gd name="T24" fmla="*/ 2147483647 w 11"/>
                    <a:gd name="T25" fmla="*/ 2147483647 h 14"/>
                    <a:gd name="T26" fmla="*/ 2147483647 w 11"/>
                    <a:gd name="T27" fmla="*/ 2147483647 h 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"/>
                    <a:gd name="T43" fmla="*/ 0 h 14"/>
                    <a:gd name="T44" fmla="*/ 11 w 11"/>
                    <a:gd name="T45" fmla="*/ 14 h 1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" h="14">
                      <a:moveTo>
                        <a:pt x="10" y="9"/>
                      </a:moveTo>
                      <a:lnTo>
                        <a:pt x="8" y="13"/>
                      </a:lnTo>
                      <a:lnTo>
                        <a:pt x="5" y="14"/>
                      </a:lnTo>
                      <a:lnTo>
                        <a:pt x="3" y="14"/>
                      </a:lnTo>
                      <a:lnTo>
                        <a:pt x="0" y="13"/>
                      </a:lnTo>
                      <a:lnTo>
                        <a:pt x="0" y="8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1" y="1"/>
                      </a:lnTo>
                      <a:lnTo>
                        <a:pt x="11" y="3"/>
                      </a:lnTo>
                      <a:lnTo>
                        <a:pt x="10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834">
                  <a:extLst>
                    <a:ext uri="{FF2B5EF4-FFF2-40B4-BE49-F238E27FC236}">
                      <a16:creationId xmlns:a16="http://schemas.microsoft.com/office/drawing/2014/main" id="{66A6792B-3799-6344-951E-D04682438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41166" y="4855145"/>
                  <a:ext cx="14799" cy="20718"/>
                </a:xfrm>
                <a:custGeom>
                  <a:avLst/>
                  <a:gdLst>
                    <a:gd name="T0" fmla="*/ 2147483647 w 11"/>
                    <a:gd name="T1" fmla="*/ 2147483647 h 14"/>
                    <a:gd name="T2" fmla="*/ 2147483647 w 11"/>
                    <a:gd name="T3" fmla="*/ 2147483647 h 14"/>
                    <a:gd name="T4" fmla="*/ 2147483647 w 11"/>
                    <a:gd name="T5" fmla="*/ 2147483647 h 14"/>
                    <a:gd name="T6" fmla="*/ 2147483647 w 11"/>
                    <a:gd name="T7" fmla="*/ 2147483647 h 14"/>
                    <a:gd name="T8" fmla="*/ 2147483647 w 11"/>
                    <a:gd name="T9" fmla="*/ 2147483647 h 14"/>
                    <a:gd name="T10" fmla="*/ 0 w 11"/>
                    <a:gd name="T11" fmla="*/ 2147483647 h 14"/>
                    <a:gd name="T12" fmla="*/ 0 w 11"/>
                    <a:gd name="T13" fmla="*/ 2147483647 h 14"/>
                    <a:gd name="T14" fmla="*/ 0 w 11"/>
                    <a:gd name="T15" fmla="*/ 2147483647 h 14"/>
                    <a:gd name="T16" fmla="*/ 2147483647 w 11"/>
                    <a:gd name="T17" fmla="*/ 2147483647 h 14"/>
                    <a:gd name="T18" fmla="*/ 2147483647 w 11"/>
                    <a:gd name="T19" fmla="*/ 2147483647 h 14"/>
                    <a:gd name="T20" fmla="*/ 2147483647 w 11"/>
                    <a:gd name="T21" fmla="*/ 0 h 14"/>
                    <a:gd name="T22" fmla="*/ 2147483647 w 11"/>
                    <a:gd name="T23" fmla="*/ 0 h 14"/>
                    <a:gd name="T24" fmla="*/ 2147483647 w 11"/>
                    <a:gd name="T25" fmla="*/ 0 h 14"/>
                    <a:gd name="T26" fmla="*/ 2147483647 w 11"/>
                    <a:gd name="T27" fmla="*/ 0 h 14"/>
                    <a:gd name="T28" fmla="*/ 2147483647 w 11"/>
                    <a:gd name="T29" fmla="*/ 2147483647 h 14"/>
                    <a:gd name="T30" fmla="*/ 2147483647 w 11"/>
                    <a:gd name="T31" fmla="*/ 2147483647 h 14"/>
                    <a:gd name="T32" fmla="*/ 2147483647 w 11"/>
                    <a:gd name="T33" fmla="*/ 2147483647 h 14"/>
                    <a:gd name="T34" fmla="*/ 2147483647 w 11"/>
                    <a:gd name="T35" fmla="*/ 2147483647 h 1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1"/>
                    <a:gd name="T55" fmla="*/ 0 h 14"/>
                    <a:gd name="T56" fmla="*/ 11 w 11"/>
                    <a:gd name="T57" fmla="*/ 14 h 1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1" h="14">
                      <a:moveTo>
                        <a:pt x="10" y="9"/>
                      </a:moveTo>
                      <a:lnTo>
                        <a:pt x="10" y="9"/>
                      </a:lnTo>
                      <a:lnTo>
                        <a:pt x="7" y="13"/>
                      </a:lnTo>
                      <a:lnTo>
                        <a:pt x="5" y="14"/>
                      </a:lnTo>
                      <a:lnTo>
                        <a:pt x="2" y="14"/>
                      </a:lnTo>
                      <a:lnTo>
                        <a:pt x="0" y="13"/>
                      </a:lnTo>
                      <a:lnTo>
                        <a:pt x="0" y="8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10" y="0"/>
                      </a:lnTo>
                      <a:lnTo>
                        <a:pt x="11" y="1"/>
                      </a:lnTo>
                      <a:lnTo>
                        <a:pt x="11" y="3"/>
                      </a:lnTo>
                      <a:lnTo>
                        <a:pt x="10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839">
                  <a:extLst>
                    <a:ext uri="{FF2B5EF4-FFF2-40B4-BE49-F238E27FC236}">
                      <a16:creationId xmlns:a16="http://schemas.microsoft.com/office/drawing/2014/main" id="{0E30E582-EDB3-2B4F-B37F-1B881AEBFC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02689" y="4855142"/>
                  <a:ext cx="31078" cy="19238"/>
                </a:xfrm>
                <a:custGeom>
                  <a:avLst/>
                  <a:gdLst>
                    <a:gd name="T0" fmla="*/ 2147483647 w 23"/>
                    <a:gd name="T1" fmla="*/ 2147483647 h 13"/>
                    <a:gd name="T2" fmla="*/ 2147483647 w 23"/>
                    <a:gd name="T3" fmla="*/ 2147483647 h 13"/>
                    <a:gd name="T4" fmla="*/ 2147483647 w 23"/>
                    <a:gd name="T5" fmla="*/ 2147483647 h 13"/>
                    <a:gd name="T6" fmla="*/ 2147483647 w 23"/>
                    <a:gd name="T7" fmla="*/ 2147483647 h 13"/>
                    <a:gd name="T8" fmla="*/ 2147483647 w 23"/>
                    <a:gd name="T9" fmla="*/ 2147483647 h 13"/>
                    <a:gd name="T10" fmla="*/ 2147483647 w 23"/>
                    <a:gd name="T11" fmla="*/ 0 h 13"/>
                    <a:gd name="T12" fmla="*/ 2147483647 w 23"/>
                    <a:gd name="T13" fmla="*/ 0 h 13"/>
                    <a:gd name="T14" fmla="*/ 2147483647 w 23"/>
                    <a:gd name="T15" fmla="*/ 0 h 13"/>
                    <a:gd name="T16" fmla="*/ 2147483647 w 23"/>
                    <a:gd name="T17" fmla="*/ 2147483647 h 13"/>
                    <a:gd name="T18" fmla="*/ 0 w 23"/>
                    <a:gd name="T19" fmla="*/ 2147483647 h 13"/>
                    <a:gd name="T20" fmla="*/ 0 w 23"/>
                    <a:gd name="T21" fmla="*/ 2147483647 h 13"/>
                    <a:gd name="T22" fmla="*/ 2147483647 w 23"/>
                    <a:gd name="T23" fmla="*/ 2147483647 h 13"/>
                    <a:gd name="T24" fmla="*/ 2147483647 w 23"/>
                    <a:gd name="T25" fmla="*/ 2147483647 h 13"/>
                    <a:gd name="T26" fmla="*/ 2147483647 w 23"/>
                    <a:gd name="T27" fmla="*/ 2147483647 h 13"/>
                    <a:gd name="T28" fmla="*/ 2147483647 w 23"/>
                    <a:gd name="T29" fmla="*/ 2147483647 h 13"/>
                    <a:gd name="T30" fmla="*/ 2147483647 w 23"/>
                    <a:gd name="T31" fmla="*/ 2147483647 h 13"/>
                    <a:gd name="T32" fmla="*/ 2147483647 w 23"/>
                    <a:gd name="T33" fmla="*/ 2147483647 h 13"/>
                    <a:gd name="T34" fmla="*/ 2147483647 w 23"/>
                    <a:gd name="T35" fmla="*/ 2147483647 h 1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3"/>
                    <a:gd name="T55" fmla="*/ 0 h 13"/>
                    <a:gd name="T56" fmla="*/ 23 w 23"/>
                    <a:gd name="T57" fmla="*/ 13 h 1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3" h="13">
                      <a:moveTo>
                        <a:pt x="15" y="11"/>
                      </a:moveTo>
                      <a:lnTo>
                        <a:pt x="19" y="10"/>
                      </a:lnTo>
                      <a:lnTo>
                        <a:pt x="21" y="8"/>
                      </a:lnTo>
                      <a:lnTo>
                        <a:pt x="23" y="4"/>
                      </a:lnTo>
                      <a:lnTo>
                        <a:pt x="21" y="1"/>
                      </a:lnTo>
                      <a:lnTo>
                        <a:pt x="20" y="0"/>
                      </a:ln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7"/>
                      </a:ln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7" y="8"/>
                      </a:lnTo>
                      <a:lnTo>
                        <a:pt x="11" y="13"/>
                      </a:lnTo>
                      <a:lnTo>
                        <a:pt x="12" y="13"/>
                      </a:lnTo>
                      <a:lnTo>
                        <a:pt x="15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841">
                  <a:extLst>
                    <a:ext uri="{FF2B5EF4-FFF2-40B4-BE49-F238E27FC236}">
                      <a16:creationId xmlns:a16="http://schemas.microsoft.com/office/drawing/2014/main" id="{559D4961-3FA0-CE4A-84B1-E44D4CA261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01208" y="4852185"/>
                  <a:ext cx="29597" cy="19238"/>
                </a:xfrm>
                <a:custGeom>
                  <a:avLst/>
                  <a:gdLst>
                    <a:gd name="T0" fmla="*/ 2147483647 w 22"/>
                    <a:gd name="T1" fmla="*/ 2147483647 h 13"/>
                    <a:gd name="T2" fmla="*/ 2147483647 w 22"/>
                    <a:gd name="T3" fmla="*/ 2147483647 h 13"/>
                    <a:gd name="T4" fmla="*/ 2147483647 w 22"/>
                    <a:gd name="T5" fmla="*/ 2147483647 h 13"/>
                    <a:gd name="T6" fmla="*/ 2147483647 w 22"/>
                    <a:gd name="T7" fmla="*/ 2147483647 h 13"/>
                    <a:gd name="T8" fmla="*/ 2147483647 w 22"/>
                    <a:gd name="T9" fmla="*/ 2147483647 h 13"/>
                    <a:gd name="T10" fmla="*/ 2147483647 w 22"/>
                    <a:gd name="T11" fmla="*/ 2147483647 h 13"/>
                    <a:gd name="T12" fmla="*/ 2147483647 w 22"/>
                    <a:gd name="T13" fmla="*/ 2147483647 h 13"/>
                    <a:gd name="T14" fmla="*/ 2147483647 w 22"/>
                    <a:gd name="T15" fmla="*/ 0 h 13"/>
                    <a:gd name="T16" fmla="*/ 2147483647 w 22"/>
                    <a:gd name="T17" fmla="*/ 0 h 13"/>
                    <a:gd name="T18" fmla="*/ 2147483647 w 22"/>
                    <a:gd name="T19" fmla="*/ 0 h 13"/>
                    <a:gd name="T20" fmla="*/ 2147483647 w 22"/>
                    <a:gd name="T21" fmla="*/ 0 h 13"/>
                    <a:gd name="T22" fmla="*/ 2147483647 w 22"/>
                    <a:gd name="T23" fmla="*/ 2147483647 h 13"/>
                    <a:gd name="T24" fmla="*/ 2147483647 w 22"/>
                    <a:gd name="T25" fmla="*/ 2147483647 h 13"/>
                    <a:gd name="T26" fmla="*/ 0 w 22"/>
                    <a:gd name="T27" fmla="*/ 2147483647 h 13"/>
                    <a:gd name="T28" fmla="*/ 0 w 22"/>
                    <a:gd name="T29" fmla="*/ 2147483647 h 13"/>
                    <a:gd name="T30" fmla="*/ 2147483647 w 22"/>
                    <a:gd name="T31" fmla="*/ 2147483647 h 13"/>
                    <a:gd name="T32" fmla="*/ 2147483647 w 22"/>
                    <a:gd name="T33" fmla="*/ 2147483647 h 13"/>
                    <a:gd name="T34" fmla="*/ 2147483647 w 22"/>
                    <a:gd name="T35" fmla="*/ 2147483647 h 13"/>
                    <a:gd name="T36" fmla="*/ 2147483647 w 22"/>
                    <a:gd name="T37" fmla="*/ 2147483647 h 13"/>
                    <a:gd name="T38" fmla="*/ 2147483647 w 22"/>
                    <a:gd name="T39" fmla="*/ 2147483647 h 13"/>
                    <a:gd name="T40" fmla="*/ 2147483647 w 22"/>
                    <a:gd name="T41" fmla="*/ 2147483647 h 13"/>
                    <a:gd name="T42" fmla="*/ 2147483647 w 22"/>
                    <a:gd name="T43" fmla="*/ 2147483647 h 13"/>
                    <a:gd name="T44" fmla="*/ 2147483647 w 22"/>
                    <a:gd name="T45" fmla="*/ 2147483647 h 13"/>
                    <a:gd name="T46" fmla="*/ 2147483647 w 22"/>
                    <a:gd name="T47" fmla="*/ 2147483647 h 13"/>
                    <a:gd name="T48" fmla="*/ 2147483647 w 22"/>
                    <a:gd name="T49" fmla="*/ 2147483647 h 13"/>
                    <a:gd name="T50" fmla="*/ 2147483647 w 22"/>
                    <a:gd name="T51" fmla="*/ 2147483647 h 13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"/>
                    <a:gd name="T79" fmla="*/ 0 h 13"/>
                    <a:gd name="T80" fmla="*/ 22 w 22"/>
                    <a:gd name="T81" fmla="*/ 13 h 13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" h="13">
                      <a:moveTo>
                        <a:pt x="15" y="12"/>
                      </a:moveTo>
                      <a:lnTo>
                        <a:pt x="15" y="12"/>
                      </a:lnTo>
                      <a:lnTo>
                        <a:pt x="19" y="11"/>
                      </a:lnTo>
                      <a:lnTo>
                        <a:pt x="21" y="9"/>
                      </a:lnTo>
                      <a:lnTo>
                        <a:pt x="22" y="5"/>
                      </a:lnTo>
                      <a:lnTo>
                        <a:pt x="21" y="2"/>
                      </a:lnTo>
                      <a:lnTo>
                        <a:pt x="20" y="0"/>
                      </a:lnTo>
                      <a:lnTo>
                        <a:pt x="17" y="0"/>
                      </a:lnTo>
                      <a:lnTo>
                        <a:pt x="12" y="0"/>
                      </a:lnTo>
                      <a:lnTo>
                        <a:pt x="1" y="4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2" y="8"/>
                      </a:lnTo>
                      <a:lnTo>
                        <a:pt x="5" y="8"/>
                      </a:lnTo>
                      <a:lnTo>
                        <a:pt x="7" y="9"/>
                      </a:lnTo>
                      <a:lnTo>
                        <a:pt x="11" y="13"/>
                      </a:lnTo>
                      <a:lnTo>
                        <a:pt x="12" y="13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1095">
                  <a:extLst>
                    <a:ext uri="{FF2B5EF4-FFF2-40B4-BE49-F238E27FC236}">
                      <a16:creationId xmlns:a16="http://schemas.microsoft.com/office/drawing/2014/main" id="{924EAB98-A8D3-874B-9C02-681298DAD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82819" y="4402301"/>
                  <a:ext cx="241219" cy="183504"/>
                </a:xfrm>
                <a:custGeom>
                  <a:avLst/>
                  <a:gdLst>
                    <a:gd name="T0" fmla="*/ 2147483647 w 176"/>
                    <a:gd name="T1" fmla="*/ 2147483647 h 124"/>
                    <a:gd name="T2" fmla="*/ 2147483647 w 176"/>
                    <a:gd name="T3" fmla="*/ 2147483647 h 124"/>
                    <a:gd name="T4" fmla="*/ 2147483647 w 176"/>
                    <a:gd name="T5" fmla="*/ 2147483647 h 124"/>
                    <a:gd name="T6" fmla="*/ 2147483647 w 176"/>
                    <a:gd name="T7" fmla="*/ 2147483647 h 124"/>
                    <a:gd name="T8" fmla="*/ 2147483647 w 176"/>
                    <a:gd name="T9" fmla="*/ 2147483647 h 124"/>
                    <a:gd name="T10" fmla="*/ 2147483647 w 176"/>
                    <a:gd name="T11" fmla="*/ 2147483647 h 124"/>
                    <a:gd name="T12" fmla="*/ 2147483647 w 176"/>
                    <a:gd name="T13" fmla="*/ 2147483647 h 124"/>
                    <a:gd name="T14" fmla="*/ 2147483647 w 176"/>
                    <a:gd name="T15" fmla="*/ 2147483647 h 124"/>
                    <a:gd name="T16" fmla="*/ 2147483647 w 176"/>
                    <a:gd name="T17" fmla="*/ 2147483647 h 124"/>
                    <a:gd name="T18" fmla="*/ 2147483647 w 176"/>
                    <a:gd name="T19" fmla="*/ 2147483647 h 124"/>
                    <a:gd name="T20" fmla="*/ 2147483647 w 176"/>
                    <a:gd name="T21" fmla="*/ 2147483647 h 124"/>
                    <a:gd name="T22" fmla="*/ 2147483647 w 176"/>
                    <a:gd name="T23" fmla="*/ 2147483647 h 124"/>
                    <a:gd name="T24" fmla="*/ 2147483647 w 176"/>
                    <a:gd name="T25" fmla="*/ 2147483647 h 124"/>
                    <a:gd name="T26" fmla="*/ 2147483647 w 176"/>
                    <a:gd name="T27" fmla="*/ 2147483647 h 124"/>
                    <a:gd name="T28" fmla="*/ 2147483647 w 176"/>
                    <a:gd name="T29" fmla="*/ 2147483647 h 124"/>
                    <a:gd name="T30" fmla="*/ 2147483647 w 176"/>
                    <a:gd name="T31" fmla="*/ 2147483647 h 124"/>
                    <a:gd name="T32" fmla="*/ 2147483647 w 176"/>
                    <a:gd name="T33" fmla="*/ 2147483647 h 124"/>
                    <a:gd name="T34" fmla="*/ 2147483647 w 176"/>
                    <a:gd name="T35" fmla="*/ 0 h 124"/>
                    <a:gd name="T36" fmla="*/ 2147483647 w 176"/>
                    <a:gd name="T37" fmla="*/ 2147483647 h 124"/>
                    <a:gd name="T38" fmla="*/ 2147483647 w 176"/>
                    <a:gd name="T39" fmla="*/ 2147483647 h 124"/>
                    <a:gd name="T40" fmla="*/ 2147483647 w 176"/>
                    <a:gd name="T41" fmla="*/ 2147483647 h 124"/>
                    <a:gd name="T42" fmla="*/ 2147483647 w 176"/>
                    <a:gd name="T43" fmla="*/ 2147483647 h 124"/>
                    <a:gd name="T44" fmla="*/ 2147483647 w 176"/>
                    <a:gd name="T45" fmla="*/ 2147483647 h 124"/>
                    <a:gd name="T46" fmla="*/ 2147483647 w 176"/>
                    <a:gd name="T47" fmla="*/ 2147483647 h 124"/>
                    <a:gd name="T48" fmla="*/ 2147483647 w 176"/>
                    <a:gd name="T49" fmla="*/ 2147483647 h 124"/>
                    <a:gd name="T50" fmla="*/ 2147483647 w 176"/>
                    <a:gd name="T51" fmla="*/ 2147483647 h 124"/>
                    <a:gd name="T52" fmla="*/ 2147483647 w 176"/>
                    <a:gd name="T53" fmla="*/ 2147483647 h 124"/>
                    <a:gd name="T54" fmla="*/ 2147483647 w 176"/>
                    <a:gd name="T55" fmla="*/ 2147483647 h 124"/>
                    <a:gd name="T56" fmla="*/ 2147483647 w 176"/>
                    <a:gd name="T57" fmla="*/ 2147483647 h 124"/>
                    <a:gd name="T58" fmla="*/ 2147483647 w 176"/>
                    <a:gd name="T59" fmla="*/ 2147483647 h 124"/>
                    <a:gd name="T60" fmla="*/ 2147483647 w 176"/>
                    <a:gd name="T61" fmla="*/ 2147483647 h 124"/>
                    <a:gd name="T62" fmla="*/ 2147483647 w 176"/>
                    <a:gd name="T63" fmla="*/ 2147483647 h 124"/>
                    <a:gd name="T64" fmla="*/ 2147483647 w 176"/>
                    <a:gd name="T65" fmla="*/ 2147483647 h 124"/>
                    <a:gd name="T66" fmla="*/ 2147483647 w 176"/>
                    <a:gd name="T67" fmla="*/ 2147483647 h 124"/>
                    <a:gd name="T68" fmla="*/ 2147483647 w 176"/>
                    <a:gd name="T69" fmla="*/ 2147483647 h 124"/>
                    <a:gd name="T70" fmla="*/ 2147483647 w 176"/>
                    <a:gd name="T71" fmla="*/ 2147483647 h 124"/>
                    <a:gd name="T72" fmla="*/ 2147483647 w 176"/>
                    <a:gd name="T73" fmla="*/ 2147483647 h 124"/>
                    <a:gd name="T74" fmla="*/ 2147483647 w 176"/>
                    <a:gd name="T75" fmla="*/ 2147483647 h 124"/>
                    <a:gd name="T76" fmla="*/ 2147483647 w 176"/>
                    <a:gd name="T77" fmla="*/ 2147483647 h 124"/>
                    <a:gd name="T78" fmla="*/ 2147483647 w 176"/>
                    <a:gd name="T79" fmla="*/ 2147483647 h 124"/>
                    <a:gd name="T80" fmla="*/ 2147483647 w 176"/>
                    <a:gd name="T81" fmla="*/ 2147483647 h 124"/>
                    <a:gd name="T82" fmla="*/ 2147483647 w 176"/>
                    <a:gd name="T83" fmla="*/ 2147483647 h 124"/>
                    <a:gd name="T84" fmla="*/ 2147483647 w 176"/>
                    <a:gd name="T85" fmla="*/ 2147483647 h 124"/>
                    <a:gd name="T86" fmla="*/ 2147483647 w 176"/>
                    <a:gd name="T87" fmla="*/ 2147483647 h 124"/>
                    <a:gd name="T88" fmla="*/ 2147483647 w 176"/>
                    <a:gd name="T89" fmla="*/ 2147483647 h 124"/>
                    <a:gd name="T90" fmla="*/ 0 w 176"/>
                    <a:gd name="T91" fmla="*/ 2147483647 h 124"/>
                    <a:gd name="T92" fmla="*/ 2147483647 w 176"/>
                    <a:gd name="T93" fmla="*/ 2147483647 h 124"/>
                    <a:gd name="T94" fmla="*/ 2147483647 w 176"/>
                    <a:gd name="T95" fmla="*/ 2147483647 h 124"/>
                    <a:gd name="T96" fmla="*/ 2147483647 w 176"/>
                    <a:gd name="T97" fmla="*/ 2147483647 h 124"/>
                    <a:gd name="T98" fmla="*/ 2147483647 w 176"/>
                    <a:gd name="T99" fmla="*/ 2147483647 h 124"/>
                    <a:gd name="T100" fmla="*/ 2147483647 w 176"/>
                    <a:gd name="T101" fmla="*/ 2147483647 h 12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76"/>
                    <a:gd name="T154" fmla="*/ 0 h 124"/>
                    <a:gd name="T155" fmla="*/ 176 w 176"/>
                    <a:gd name="T156" fmla="*/ 124 h 12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76" h="124">
                      <a:moveTo>
                        <a:pt x="74" y="60"/>
                      </a:moveTo>
                      <a:lnTo>
                        <a:pt x="74" y="60"/>
                      </a:lnTo>
                      <a:lnTo>
                        <a:pt x="77" y="61"/>
                      </a:lnTo>
                      <a:lnTo>
                        <a:pt x="77" y="63"/>
                      </a:lnTo>
                      <a:lnTo>
                        <a:pt x="78" y="66"/>
                      </a:lnTo>
                      <a:lnTo>
                        <a:pt x="79" y="69"/>
                      </a:lnTo>
                      <a:lnTo>
                        <a:pt x="82" y="69"/>
                      </a:lnTo>
                      <a:lnTo>
                        <a:pt x="83" y="67"/>
                      </a:lnTo>
                      <a:lnTo>
                        <a:pt x="84" y="66"/>
                      </a:lnTo>
                      <a:lnTo>
                        <a:pt x="87" y="64"/>
                      </a:lnTo>
                      <a:lnTo>
                        <a:pt x="88" y="64"/>
                      </a:lnTo>
                      <a:lnTo>
                        <a:pt x="91" y="66"/>
                      </a:lnTo>
                      <a:lnTo>
                        <a:pt x="92" y="67"/>
                      </a:lnTo>
                      <a:lnTo>
                        <a:pt x="93" y="65"/>
                      </a:lnTo>
                      <a:lnTo>
                        <a:pt x="93" y="61"/>
                      </a:lnTo>
                      <a:lnTo>
                        <a:pt x="89" y="55"/>
                      </a:lnTo>
                      <a:lnTo>
                        <a:pt x="91" y="53"/>
                      </a:lnTo>
                      <a:lnTo>
                        <a:pt x="91" y="51"/>
                      </a:lnTo>
                      <a:lnTo>
                        <a:pt x="93" y="50"/>
                      </a:lnTo>
                      <a:lnTo>
                        <a:pt x="94" y="50"/>
                      </a:lnTo>
                      <a:lnTo>
                        <a:pt x="97" y="51"/>
                      </a:lnTo>
                      <a:lnTo>
                        <a:pt x="98" y="52"/>
                      </a:lnTo>
                      <a:lnTo>
                        <a:pt x="98" y="47"/>
                      </a:lnTo>
                      <a:lnTo>
                        <a:pt x="101" y="44"/>
                      </a:lnTo>
                      <a:lnTo>
                        <a:pt x="103" y="41"/>
                      </a:lnTo>
                      <a:lnTo>
                        <a:pt x="106" y="38"/>
                      </a:lnTo>
                      <a:lnTo>
                        <a:pt x="106" y="37"/>
                      </a:lnTo>
                      <a:lnTo>
                        <a:pt x="105" y="34"/>
                      </a:lnTo>
                      <a:lnTo>
                        <a:pt x="103" y="33"/>
                      </a:lnTo>
                      <a:lnTo>
                        <a:pt x="103" y="31"/>
                      </a:lnTo>
                      <a:lnTo>
                        <a:pt x="106" y="29"/>
                      </a:lnTo>
                      <a:lnTo>
                        <a:pt x="110" y="28"/>
                      </a:lnTo>
                      <a:lnTo>
                        <a:pt x="112" y="27"/>
                      </a:lnTo>
                      <a:lnTo>
                        <a:pt x="112" y="25"/>
                      </a:lnTo>
                      <a:lnTo>
                        <a:pt x="113" y="20"/>
                      </a:lnTo>
                      <a:lnTo>
                        <a:pt x="115" y="16"/>
                      </a:lnTo>
                      <a:lnTo>
                        <a:pt x="120" y="10"/>
                      </a:lnTo>
                      <a:lnTo>
                        <a:pt x="121" y="7"/>
                      </a:lnTo>
                      <a:lnTo>
                        <a:pt x="122" y="3"/>
                      </a:lnTo>
                      <a:lnTo>
                        <a:pt x="124" y="0"/>
                      </a:lnTo>
                      <a:lnTo>
                        <a:pt x="125" y="0"/>
                      </a:lnTo>
                      <a:lnTo>
                        <a:pt x="127" y="0"/>
                      </a:lnTo>
                      <a:lnTo>
                        <a:pt x="127" y="2"/>
                      </a:lnTo>
                      <a:lnTo>
                        <a:pt x="127" y="4"/>
                      </a:lnTo>
                      <a:lnTo>
                        <a:pt x="127" y="7"/>
                      </a:lnTo>
                      <a:lnTo>
                        <a:pt x="129" y="7"/>
                      </a:lnTo>
                      <a:lnTo>
                        <a:pt x="131" y="6"/>
                      </a:lnTo>
                      <a:lnTo>
                        <a:pt x="134" y="3"/>
                      </a:lnTo>
                      <a:lnTo>
                        <a:pt x="136" y="2"/>
                      </a:lnTo>
                      <a:lnTo>
                        <a:pt x="138" y="1"/>
                      </a:lnTo>
                      <a:lnTo>
                        <a:pt x="139" y="2"/>
                      </a:lnTo>
                      <a:lnTo>
                        <a:pt x="141" y="3"/>
                      </a:lnTo>
                      <a:lnTo>
                        <a:pt x="141" y="6"/>
                      </a:lnTo>
                      <a:lnTo>
                        <a:pt x="141" y="10"/>
                      </a:lnTo>
                      <a:lnTo>
                        <a:pt x="143" y="14"/>
                      </a:lnTo>
                      <a:lnTo>
                        <a:pt x="145" y="15"/>
                      </a:lnTo>
                      <a:lnTo>
                        <a:pt x="148" y="16"/>
                      </a:lnTo>
                      <a:lnTo>
                        <a:pt x="150" y="18"/>
                      </a:lnTo>
                      <a:lnTo>
                        <a:pt x="152" y="22"/>
                      </a:lnTo>
                      <a:lnTo>
                        <a:pt x="154" y="25"/>
                      </a:lnTo>
                      <a:lnTo>
                        <a:pt x="160" y="29"/>
                      </a:lnTo>
                      <a:lnTo>
                        <a:pt x="168" y="33"/>
                      </a:lnTo>
                      <a:lnTo>
                        <a:pt x="176" y="37"/>
                      </a:lnTo>
                      <a:lnTo>
                        <a:pt x="176" y="39"/>
                      </a:lnTo>
                      <a:lnTo>
                        <a:pt x="174" y="40"/>
                      </a:lnTo>
                      <a:lnTo>
                        <a:pt x="168" y="41"/>
                      </a:lnTo>
                      <a:lnTo>
                        <a:pt x="163" y="44"/>
                      </a:lnTo>
                      <a:lnTo>
                        <a:pt x="159" y="45"/>
                      </a:lnTo>
                      <a:lnTo>
                        <a:pt x="158" y="45"/>
                      </a:lnTo>
                      <a:lnTo>
                        <a:pt x="157" y="46"/>
                      </a:lnTo>
                      <a:lnTo>
                        <a:pt x="158" y="50"/>
                      </a:lnTo>
                      <a:lnTo>
                        <a:pt x="160" y="52"/>
                      </a:lnTo>
                      <a:lnTo>
                        <a:pt x="162" y="55"/>
                      </a:lnTo>
                      <a:lnTo>
                        <a:pt x="160" y="57"/>
                      </a:lnTo>
                      <a:lnTo>
                        <a:pt x="155" y="58"/>
                      </a:lnTo>
                      <a:lnTo>
                        <a:pt x="149" y="57"/>
                      </a:lnTo>
                      <a:lnTo>
                        <a:pt x="136" y="54"/>
                      </a:lnTo>
                      <a:lnTo>
                        <a:pt x="135" y="55"/>
                      </a:lnTo>
                      <a:lnTo>
                        <a:pt x="135" y="57"/>
                      </a:lnTo>
                      <a:lnTo>
                        <a:pt x="127" y="54"/>
                      </a:lnTo>
                      <a:lnTo>
                        <a:pt x="120" y="54"/>
                      </a:lnTo>
                      <a:lnTo>
                        <a:pt x="117" y="54"/>
                      </a:lnTo>
                      <a:lnTo>
                        <a:pt x="113" y="55"/>
                      </a:lnTo>
                      <a:lnTo>
                        <a:pt x="111" y="57"/>
                      </a:lnTo>
                      <a:lnTo>
                        <a:pt x="108" y="60"/>
                      </a:lnTo>
                      <a:lnTo>
                        <a:pt x="105" y="66"/>
                      </a:lnTo>
                      <a:lnTo>
                        <a:pt x="102" y="74"/>
                      </a:lnTo>
                      <a:lnTo>
                        <a:pt x="97" y="80"/>
                      </a:lnTo>
                      <a:lnTo>
                        <a:pt x="94" y="84"/>
                      </a:lnTo>
                      <a:lnTo>
                        <a:pt x="92" y="86"/>
                      </a:lnTo>
                      <a:lnTo>
                        <a:pt x="84" y="96"/>
                      </a:lnTo>
                      <a:lnTo>
                        <a:pt x="78" y="103"/>
                      </a:lnTo>
                      <a:lnTo>
                        <a:pt x="75" y="104"/>
                      </a:lnTo>
                      <a:lnTo>
                        <a:pt x="73" y="105"/>
                      </a:lnTo>
                      <a:lnTo>
                        <a:pt x="58" y="105"/>
                      </a:lnTo>
                      <a:lnTo>
                        <a:pt x="54" y="106"/>
                      </a:lnTo>
                      <a:lnTo>
                        <a:pt x="51" y="106"/>
                      </a:lnTo>
                      <a:lnTo>
                        <a:pt x="45" y="111"/>
                      </a:lnTo>
                      <a:lnTo>
                        <a:pt x="33" y="118"/>
                      </a:lnTo>
                      <a:lnTo>
                        <a:pt x="25" y="123"/>
                      </a:lnTo>
                      <a:lnTo>
                        <a:pt x="21" y="124"/>
                      </a:lnTo>
                      <a:lnTo>
                        <a:pt x="17" y="124"/>
                      </a:lnTo>
                      <a:lnTo>
                        <a:pt x="14" y="123"/>
                      </a:lnTo>
                      <a:lnTo>
                        <a:pt x="11" y="122"/>
                      </a:lnTo>
                      <a:lnTo>
                        <a:pt x="7" y="117"/>
                      </a:lnTo>
                      <a:lnTo>
                        <a:pt x="0" y="106"/>
                      </a:lnTo>
                      <a:lnTo>
                        <a:pt x="6" y="108"/>
                      </a:lnTo>
                      <a:lnTo>
                        <a:pt x="11" y="109"/>
                      </a:lnTo>
                      <a:lnTo>
                        <a:pt x="16" y="110"/>
                      </a:lnTo>
                      <a:lnTo>
                        <a:pt x="18" y="110"/>
                      </a:lnTo>
                      <a:lnTo>
                        <a:pt x="19" y="109"/>
                      </a:lnTo>
                      <a:lnTo>
                        <a:pt x="31" y="101"/>
                      </a:lnTo>
                      <a:lnTo>
                        <a:pt x="40" y="91"/>
                      </a:lnTo>
                      <a:lnTo>
                        <a:pt x="50" y="83"/>
                      </a:lnTo>
                      <a:lnTo>
                        <a:pt x="61" y="76"/>
                      </a:lnTo>
                      <a:lnTo>
                        <a:pt x="65" y="73"/>
                      </a:lnTo>
                      <a:lnTo>
                        <a:pt x="69" y="69"/>
                      </a:lnTo>
                      <a:lnTo>
                        <a:pt x="73" y="65"/>
                      </a:lnTo>
                      <a:lnTo>
                        <a:pt x="74" y="6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290">
                  <a:extLst>
                    <a:ext uri="{FF2B5EF4-FFF2-40B4-BE49-F238E27FC236}">
                      <a16:creationId xmlns:a16="http://schemas.microsoft.com/office/drawing/2014/main" id="{58C5D5AE-8362-FE46-9C2A-52F0A2C9F6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5830" y="2910590"/>
                  <a:ext cx="177585" cy="256017"/>
                </a:xfrm>
                <a:custGeom>
                  <a:avLst/>
                  <a:gdLst>
                    <a:gd name="T0" fmla="*/ 2147483647 w 130"/>
                    <a:gd name="T1" fmla="*/ 2147483647 h 173"/>
                    <a:gd name="T2" fmla="*/ 2147483647 w 130"/>
                    <a:gd name="T3" fmla="*/ 2147483647 h 173"/>
                    <a:gd name="T4" fmla="*/ 2147483647 w 130"/>
                    <a:gd name="T5" fmla="*/ 2147483647 h 173"/>
                    <a:gd name="T6" fmla="*/ 2147483647 w 130"/>
                    <a:gd name="T7" fmla="*/ 2147483647 h 173"/>
                    <a:gd name="T8" fmla="*/ 2147483647 w 130"/>
                    <a:gd name="T9" fmla="*/ 2147483647 h 173"/>
                    <a:gd name="T10" fmla="*/ 2147483647 w 130"/>
                    <a:gd name="T11" fmla="*/ 2147483647 h 173"/>
                    <a:gd name="T12" fmla="*/ 2147483647 w 130"/>
                    <a:gd name="T13" fmla="*/ 2147483647 h 173"/>
                    <a:gd name="T14" fmla="*/ 2147483647 w 130"/>
                    <a:gd name="T15" fmla="*/ 2147483647 h 173"/>
                    <a:gd name="T16" fmla="*/ 2147483647 w 130"/>
                    <a:gd name="T17" fmla="*/ 2147483647 h 173"/>
                    <a:gd name="T18" fmla="*/ 2147483647 w 130"/>
                    <a:gd name="T19" fmla="*/ 2147483647 h 173"/>
                    <a:gd name="T20" fmla="*/ 2147483647 w 130"/>
                    <a:gd name="T21" fmla="*/ 2147483647 h 173"/>
                    <a:gd name="T22" fmla="*/ 2147483647 w 130"/>
                    <a:gd name="T23" fmla="*/ 2147483647 h 173"/>
                    <a:gd name="T24" fmla="*/ 2147483647 w 130"/>
                    <a:gd name="T25" fmla="*/ 2147483647 h 173"/>
                    <a:gd name="T26" fmla="*/ 2147483647 w 130"/>
                    <a:gd name="T27" fmla="*/ 2147483647 h 173"/>
                    <a:gd name="T28" fmla="*/ 2147483647 w 130"/>
                    <a:gd name="T29" fmla="*/ 2147483647 h 173"/>
                    <a:gd name="T30" fmla="*/ 2147483647 w 130"/>
                    <a:gd name="T31" fmla="*/ 2147483647 h 173"/>
                    <a:gd name="T32" fmla="*/ 0 w 130"/>
                    <a:gd name="T33" fmla="*/ 2147483647 h 173"/>
                    <a:gd name="T34" fmla="*/ 2147483647 w 130"/>
                    <a:gd name="T35" fmla="*/ 2147483647 h 173"/>
                    <a:gd name="T36" fmla="*/ 2147483647 w 130"/>
                    <a:gd name="T37" fmla="*/ 2147483647 h 173"/>
                    <a:gd name="T38" fmla="*/ 2147483647 w 130"/>
                    <a:gd name="T39" fmla="*/ 2147483647 h 173"/>
                    <a:gd name="T40" fmla="*/ 2147483647 w 130"/>
                    <a:gd name="T41" fmla="*/ 2147483647 h 173"/>
                    <a:gd name="T42" fmla="*/ 2147483647 w 130"/>
                    <a:gd name="T43" fmla="*/ 2147483647 h 173"/>
                    <a:gd name="T44" fmla="*/ 2147483647 w 130"/>
                    <a:gd name="T45" fmla="*/ 2147483647 h 173"/>
                    <a:gd name="T46" fmla="*/ 2147483647 w 130"/>
                    <a:gd name="T47" fmla="*/ 2147483647 h 173"/>
                    <a:gd name="T48" fmla="*/ 2147483647 w 130"/>
                    <a:gd name="T49" fmla="*/ 2147483647 h 173"/>
                    <a:gd name="T50" fmla="*/ 2147483647 w 130"/>
                    <a:gd name="T51" fmla="*/ 2147483647 h 173"/>
                    <a:gd name="T52" fmla="*/ 2147483647 w 130"/>
                    <a:gd name="T53" fmla="*/ 2147483647 h 173"/>
                    <a:gd name="T54" fmla="*/ 2147483647 w 130"/>
                    <a:gd name="T55" fmla="*/ 2147483647 h 173"/>
                    <a:gd name="T56" fmla="*/ 2147483647 w 130"/>
                    <a:gd name="T57" fmla="*/ 2147483647 h 173"/>
                    <a:gd name="T58" fmla="*/ 2147483647 w 130"/>
                    <a:gd name="T59" fmla="*/ 2147483647 h 173"/>
                    <a:gd name="T60" fmla="*/ 2147483647 w 130"/>
                    <a:gd name="T61" fmla="*/ 2147483647 h 173"/>
                    <a:gd name="T62" fmla="*/ 2147483647 w 130"/>
                    <a:gd name="T63" fmla="*/ 2147483647 h 173"/>
                    <a:gd name="T64" fmla="*/ 2147483647 w 130"/>
                    <a:gd name="T65" fmla="*/ 2147483647 h 173"/>
                    <a:gd name="T66" fmla="*/ 2147483647 w 130"/>
                    <a:gd name="T67" fmla="*/ 2147483647 h 173"/>
                    <a:gd name="T68" fmla="*/ 2147483647 w 130"/>
                    <a:gd name="T69" fmla="*/ 2147483647 h 173"/>
                    <a:gd name="T70" fmla="*/ 2147483647 w 130"/>
                    <a:gd name="T71" fmla="*/ 2147483647 h 173"/>
                    <a:gd name="T72" fmla="*/ 2147483647 w 130"/>
                    <a:gd name="T73" fmla="*/ 2147483647 h 173"/>
                    <a:gd name="T74" fmla="*/ 2147483647 w 130"/>
                    <a:gd name="T75" fmla="*/ 2147483647 h 173"/>
                    <a:gd name="T76" fmla="*/ 2147483647 w 130"/>
                    <a:gd name="T77" fmla="*/ 2147483647 h 173"/>
                    <a:gd name="T78" fmla="*/ 2147483647 w 130"/>
                    <a:gd name="T79" fmla="*/ 2147483647 h 173"/>
                    <a:gd name="T80" fmla="*/ 2147483647 w 130"/>
                    <a:gd name="T81" fmla="*/ 2147483647 h 173"/>
                    <a:gd name="T82" fmla="*/ 2147483647 w 130"/>
                    <a:gd name="T83" fmla="*/ 2147483647 h 173"/>
                    <a:gd name="T84" fmla="*/ 2147483647 w 130"/>
                    <a:gd name="T85" fmla="*/ 2147483647 h 173"/>
                    <a:gd name="T86" fmla="*/ 2147483647 w 130"/>
                    <a:gd name="T87" fmla="*/ 2147483647 h 173"/>
                    <a:gd name="T88" fmla="*/ 2147483647 w 130"/>
                    <a:gd name="T89" fmla="*/ 2147483647 h 173"/>
                    <a:gd name="T90" fmla="*/ 2147483647 w 130"/>
                    <a:gd name="T91" fmla="*/ 2147483647 h 173"/>
                    <a:gd name="T92" fmla="*/ 2147483647 w 130"/>
                    <a:gd name="T93" fmla="*/ 0 h 173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30"/>
                    <a:gd name="T142" fmla="*/ 0 h 173"/>
                    <a:gd name="T143" fmla="*/ 130 w 130"/>
                    <a:gd name="T144" fmla="*/ 173 h 173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30" h="173">
                      <a:moveTo>
                        <a:pt x="66" y="0"/>
                      </a:moveTo>
                      <a:lnTo>
                        <a:pt x="63" y="1"/>
                      </a:lnTo>
                      <a:lnTo>
                        <a:pt x="58" y="1"/>
                      </a:lnTo>
                      <a:lnTo>
                        <a:pt x="53" y="2"/>
                      </a:lnTo>
                      <a:lnTo>
                        <a:pt x="54" y="4"/>
                      </a:lnTo>
                      <a:lnTo>
                        <a:pt x="53" y="6"/>
                      </a:lnTo>
                      <a:lnTo>
                        <a:pt x="49" y="8"/>
                      </a:lnTo>
                      <a:lnTo>
                        <a:pt x="49" y="11"/>
                      </a:lnTo>
                      <a:lnTo>
                        <a:pt x="49" y="13"/>
                      </a:lnTo>
                      <a:lnTo>
                        <a:pt x="48" y="15"/>
                      </a:lnTo>
                      <a:lnTo>
                        <a:pt x="47" y="18"/>
                      </a:lnTo>
                      <a:lnTo>
                        <a:pt x="45" y="20"/>
                      </a:lnTo>
                      <a:lnTo>
                        <a:pt x="39" y="24"/>
                      </a:lnTo>
                      <a:lnTo>
                        <a:pt x="33" y="24"/>
                      </a:lnTo>
                      <a:lnTo>
                        <a:pt x="29" y="23"/>
                      </a:lnTo>
                      <a:lnTo>
                        <a:pt x="28" y="23"/>
                      </a:lnTo>
                      <a:lnTo>
                        <a:pt x="26" y="24"/>
                      </a:lnTo>
                      <a:lnTo>
                        <a:pt x="24" y="28"/>
                      </a:lnTo>
                      <a:lnTo>
                        <a:pt x="23" y="32"/>
                      </a:lnTo>
                      <a:lnTo>
                        <a:pt x="21" y="32"/>
                      </a:lnTo>
                      <a:lnTo>
                        <a:pt x="19" y="37"/>
                      </a:lnTo>
                      <a:lnTo>
                        <a:pt x="16" y="45"/>
                      </a:lnTo>
                      <a:lnTo>
                        <a:pt x="15" y="55"/>
                      </a:lnTo>
                      <a:lnTo>
                        <a:pt x="14" y="59"/>
                      </a:lnTo>
                      <a:lnTo>
                        <a:pt x="11" y="63"/>
                      </a:lnTo>
                      <a:lnTo>
                        <a:pt x="7" y="68"/>
                      </a:lnTo>
                      <a:lnTo>
                        <a:pt x="3" y="70"/>
                      </a:lnTo>
                      <a:lnTo>
                        <a:pt x="2" y="71"/>
                      </a:lnTo>
                      <a:lnTo>
                        <a:pt x="2" y="74"/>
                      </a:lnTo>
                      <a:lnTo>
                        <a:pt x="2" y="76"/>
                      </a:lnTo>
                      <a:lnTo>
                        <a:pt x="2" y="81"/>
                      </a:lnTo>
                      <a:lnTo>
                        <a:pt x="2" y="84"/>
                      </a:lnTo>
                      <a:lnTo>
                        <a:pt x="1" y="92"/>
                      </a:lnTo>
                      <a:lnTo>
                        <a:pt x="0" y="102"/>
                      </a:lnTo>
                      <a:lnTo>
                        <a:pt x="0" y="110"/>
                      </a:lnTo>
                      <a:lnTo>
                        <a:pt x="2" y="114"/>
                      </a:lnTo>
                      <a:lnTo>
                        <a:pt x="3" y="119"/>
                      </a:lnTo>
                      <a:lnTo>
                        <a:pt x="5" y="129"/>
                      </a:lnTo>
                      <a:lnTo>
                        <a:pt x="14" y="132"/>
                      </a:lnTo>
                      <a:lnTo>
                        <a:pt x="23" y="135"/>
                      </a:lnTo>
                      <a:lnTo>
                        <a:pt x="28" y="136"/>
                      </a:lnTo>
                      <a:lnTo>
                        <a:pt x="31" y="138"/>
                      </a:lnTo>
                      <a:lnTo>
                        <a:pt x="42" y="136"/>
                      </a:lnTo>
                      <a:lnTo>
                        <a:pt x="39" y="143"/>
                      </a:lnTo>
                      <a:lnTo>
                        <a:pt x="36" y="149"/>
                      </a:lnTo>
                      <a:lnTo>
                        <a:pt x="34" y="155"/>
                      </a:lnTo>
                      <a:lnTo>
                        <a:pt x="34" y="162"/>
                      </a:lnTo>
                      <a:lnTo>
                        <a:pt x="42" y="164"/>
                      </a:lnTo>
                      <a:lnTo>
                        <a:pt x="49" y="166"/>
                      </a:lnTo>
                      <a:lnTo>
                        <a:pt x="56" y="168"/>
                      </a:lnTo>
                      <a:lnTo>
                        <a:pt x="61" y="173"/>
                      </a:lnTo>
                      <a:lnTo>
                        <a:pt x="71" y="173"/>
                      </a:lnTo>
                      <a:lnTo>
                        <a:pt x="80" y="172"/>
                      </a:lnTo>
                      <a:lnTo>
                        <a:pt x="90" y="168"/>
                      </a:lnTo>
                      <a:lnTo>
                        <a:pt x="99" y="164"/>
                      </a:lnTo>
                      <a:lnTo>
                        <a:pt x="100" y="164"/>
                      </a:lnTo>
                      <a:lnTo>
                        <a:pt x="101" y="164"/>
                      </a:lnTo>
                      <a:lnTo>
                        <a:pt x="105" y="165"/>
                      </a:lnTo>
                      <a:lnTo>
                        <a:pt x="113" y="170"/>
                      </a:lnTo>
                      <a:lnTo>
                        <a:pt x="114" y="170"/>
                      </a:lnTo>
                      <a:lnTo>
                        <a:pt x="115" y="170"/>
                      </a:lnTo>
                      <a:lnTo>
                        <a:pt x="116" y="168"/>
                      </a:lnTo>
                      <a:lnTo>
                        <a:pt x="116" y="162"/>
                      </a:lnTo>
                      <a:lnTo>
                        <a:pt x="114" y="158"/>
                      </a:lnTo>
                      <a:lnTo>
                        <a:pt x="116" y="157"/>
                      </a:lnTo>
                      <a:lnTo>
                        <a:pt x="118" y="155"/>
                      </a:lnTo>
                      <a:lnTo>
                        <a:pt x="124" y="148"/>
                      </a:lnTo>
                      <a:lnTo>
                        <a:pt x="130" y="145"/>
                      </a:lnTo>
                      <a:lnTo>
                        <a:pt x="120" y="133"/>
                      </a:lnTo>
                      <a:lnTo>
                        <a:pt x="109" y="122"/>
                      </a:lnTo>
                      <a:lnTo>
                        <a:pt x="108" y="120"/>
                      </a:lnTo>
                      <a:lnTo>
                        <a:pt x="106" y="116"/>
                      </a:lnTo>
                      <a:lnTo>
                        <a:pt x="101" y="109"/>
                      </a:lnTo>
                      <a:lnTo>
                        <a:pt x="100" y="106"/>
                      </a:lnTo>
                      <a:lnTo>
                        <a:pt x="99" y="101"/>
                      </a:lnTo>
                      <a:lnTo>
                        <a:pt x="95" y="97"/>
                      </a:lnTo>
                      <a:lnTo>
                        <a:pt x="91" y="95"/>
                      </a:lnTo>
                      <a:lnTo>
                        <a:pt x="87" y="95"/>
                      </a:lnTo>
                      <a:lnTo>
                        <a:pt x="82" y="95"/>
                      </a:lnTo>
                      <a:lnTo>
                        <a:pt x="80" y="95"/>
                      </a:lnTo>
                      <a:lnTo>
                        <a:pt x="78" y="94"/>
                      </a:lnTo>
                      <a:lnTo>
                        <a:pt x="77" y="91"/>
                      </a:lnTo>
                      <a:lnTo>
                        <a:pt x="76" y="87"/>
                      </a:lnTo>
                      <a:lnTo>
                        <a:pt x="77" y="84"/>
                      </a:lnTo>
                      <a:lnTo>
                        <a:pt x="81" y="64"/>
                      </a:lnTo>
                      <a:lnTo>
                        <a:pt x="85" y="45"/>
                      </a:lnTo>
                      <a:lnTo>
                        <a:pt x="85" y="34"/>
                      </a:lnTo>
                      <a:lnTo>
                        <a:pt x="85" y="25"/>
                      </a:lnTo>
                      <a:lnTo>
                        <a:pt x="82" y="15"/>
                      </a:lnTo>
                      <a:lnTo>
                        <a:pt x="78" y="6"/>
                      </a:lnTo>
                      <a:lnTo>
                        <a:pt x="73" y="6"/>
                      </a:lnTo>
                      <a:lnTo>
                        <a:pt x="72" y="5"/>
                      </a:lnTo>
                      <a:lnTo>
                        <a:pt x="70" y="2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260">
                  <a:extLst>
                    <a:ext uri="{FF2B5EF4-FFF2-40B4-BE49-F238E27FC236}">
                      <a16:creationId xmlns:a16="http://schemas.microsoft.com/office/drawing/2014/main" id="{D978B570-1835-7F47-AB90-C9B1C068E2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81297" y="6235861"/>
                  <a:ext cx="11839" cy="11839"/>
                </a:xfrm>
                <a:custGeom>
                  <a:avLst/>
                  <a:gdLst>
                    <a:gd name="T0" fmla="*/ 2147483647 w 9"/>
                    <a:gd name="T1" fmla="*/ 2147483647 h 8"/>
                    <a:gd name="T2" fmla="*/ 2147483647 w 9"/>
                    <a:gd name="T3" fmla="*/ 2147483647 h 8"/>
                    <a:gd name="T4" fmla="*/ 2147483647 w 9"/>
                    <a:gd name="T5" fmla="*/ 2147483647 h 8"/>
                    <a:gd name="T6" fmla="*/ 2147483647 w 9"/>
                    <a:gd name="T7" fmla="*/ 2147483647 h 8"/>
                    <a:gd name="T8" fmla="*/ 2147483647 w 9"/>
                    <a:gd name="T9" fmla="*/ 2147483647 h 8"/>
                    <a:gd name="T10" fmla="*/ 2147483647 w 9"/>
                    <a:gd name="T11" fmla="*/ 2147483647 h 8"/>
                    <a:gd name="T12" fmla="*/ 2147483647 w 9"/>
                    <a:gd name="T13" fmla="*/ 2147483647 h 8"/>
                    <a:gd name="T14" fmla="*/ 0 w 9"/>
                    <a:gd name="T15" fmla="*/ 2147483647 h 8"/>
                    <a:gd name="T16" fmla="*/ 0 w 9"/>
                    <a:gd name="T17" fmla="*/ 2147483647 h 8"/>
                    <a:gd name="T18" fmla="*/ 2147483647 w 9"/>
                    <a:gd name="T19" fmla="*/ 2147483647 h 8"/>
                    <a:gd name="T20" fmla="*/ 2147483647 w 9"/>
                    <a:gd name="T21" fmla="*/ 0 h 8"/>
                    <a:gd name="T22" fmla="*/ 2147483647 w 9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9"/>
                    <a:gd name="T37" fmla="*/ 0 h 8"/>
                    <a:gd name="T38" fmla="*/ 9 w 9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9" h="8">
                      <a:moveTo>
                        <a:pt x="7" y="1"/>
                      </a:moveTo>
                      <a:lnTo>
                        <a:pt x="9" y="2"/>
                      </a:lnTo>
                      <a:lnTo>
                        <a:pt x="9" y="3"/>
                      </a:lnTo>
                      <a:lnTo>
                        <a:pt x="9" y="6"/>
                      </a:lnTo>
                      <a:lnTo>
                        <a:pt x="6" y="7"/>
                      </a:lnTo>
                      <a:lnTo>
                        <a:pt x="5" y="8"/>
                      </a:lnTo>
                      <a:lnTo>
                        <a:pt x="2" y="8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261">
                  <a:extLst>
                    <a:ext uri="{FF2B5EF4-FFF2-40B4-BE49-F238E27FC236}">
                      <a16:creationId xmlns:a16="http://schemas.microsoft.com/office/drawing/2014/main" id="{7105F3BD-1A7C-5A40-98D8-0FE7BDB0B9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6186" y="6169270"/>
                  <a:ext cx="16279" cy="22198"/>
                </a:xfrm>
                <a:custGeom>
                  <a:avLst/>
                  <a:gdLst>
                    <a:gd name="T0" fmla="*/ 2147483647 w 12"/>
                    <a:gd name="T1" fmla="*/ 2147483647 h 15"/>
                    <a:gd name="T2" fmla="*/ 2147483647 w 12"/>
                    <a:gd name="T3" fmla="*/ 2147483647 h 15"/>
                    <a:gd name="T4" fmla="*/ 2147483647 w 12"/>
                    <a:gd name="T5" fmla="*/ 2147483647 h 15"/>
                    <a:gd name="T6" fmla="*/ 2147483647 w 12"/>
                    <a:gd name="T7" fmla="*/ 2147483647 h 15"/>
                    <a:gd name="T8" fmla="*/ 2147483647 w 12"/>
                    <a:gd name="T9" fmla="*/ 2147483647 h 15"/>
                    <a:gd name="T10" fmla="*/ 2147483647 w 12"/>
                    <a:gd name="T11" fmla="*/ 2147483647 h 15"/>
                    <a:gd name="T12" fmla="*/ 2147483647 w 12"/>
                    <a:gd name="T13" fmla="*/ 2147483647 h 15"/>
                    <a:gd name="T14" fmla="*/ 2147483647 w 12"/>
                    <a:gd name="T15" fmla="*/ 2147483647 h 15"/>
                    <a:gd name="T16" fmla="*/ 0 w 12"/>
                    <a:gd name="T17" fmla="*/ 2147483647 h 15"/>
                    <a:gd name="T18" fmla="*/ 0 w 12"/>
                    <a:gd name="T19" fmla="*/ 2147483647 h 15"/>
                    <a:gd name="T20" fmla="*/ 2147483647 w 12"/>
                    <a:gd name="T21" fmla="*/ 2147483647 h 15"/>
                    <a:gd name="T22" fmla="*/ 2147483647 w 12"/>
                    <a:gd name="T23" fmla="*/ 2147483647 h 15"/>
                    <a:gd name="T24" fmla="*/ 2147483647 w 12"/>
                    <a:gd name="T25" fmla="*/ 0 h 15"/>
                    <a:gd name="T26" fmla="*/ 2147483647 w 12"/>
                    <a:gd name="T27" fmla="*/ 0 h 15"/>
                    <a:gd name="T28" fmla="*/ 2147483647 w 12"/>
                    <a:gd name="T29" fmla="*/ 2147483647 h 15"/>
                    <a:gd name="T30" fmla="*/ 2147483647 w 12"/>
                    <a:gd name="T31" fmla="*/ 2147483647 h 1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2"/>
                    <a:gd name="T49" fmla="*/ 0 h 15"/>
                    <a:gd name="T50" fmla="*/ 12 w 12"/>
                    <a:gd name="T51" fmla="*/ 15 h 1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2" h="15">
                      <a:moveTo>
                        <a:pt x="10" y="6"/>
                      </a:moveTo>
                      <a:lnTo>
                        <a:pt x="11" y="8"/>
                      </a:lnTo>
                      <a:lnTo>
                        <a:pt x="12" y="9"/>
                      </a:lnTo>
                      <a:lnTo>
                        <a:pt x="12" y="11"/>
                      </a:lnTo>
                      <a:lnTo>
                        <a:pt x="11" y="14"/>
                      </a:lnTo>
                      <a:lnTo>
                        <a:pt x="9" y="15"/>
                      </a:lnTo>
                      <a:lnTo>
                        <a:pt x="5" y="15"/>
                      </a:lnTo>
                      <a:lnTo>
                        <a:pt x="2" y="14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1" y="4"/>
                      </a:lnTo>
                      <a:lnTo>
                        <a:pt x="3" y="1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262">
                  <a:extLst>
                    <a:ext uri="{FF2B5EF4-FFF2-40B4-BE49-F238E27FC236}">
                      <a16:creationId xmlns:a16="http://schemas.microsoft.com/office/drawing/2014/main" id="{CDED426B-0BE6-C74F-BB41-29A32D1E15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8338" y="6232904"/>
                  <a:ext cx="11839" cy="13319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2147483647 h 9"/>
                    <a:gd name="T8" fmla="*/ 2147483647 w 9"/>
                    <a:gd name="T9" fmla="*/ 2147483647 h 9"/>
                    <a:gd name="T10" fmla="*/ 2147483647 w 9"/>
                    <a:gd name="T11" fmla="*/ 2147483647 h 9"/>
                    <a:gd name="T12" fmla="*/ 2147483647 w 9"/>
                    <a:gd name="T13" fmla="*/ 2147483647 h 9"/>
                    <a:gd name="T14" fmla="*/ 2147483647 w 9"/>
                    <a:gd name="T15" fmla="*/ 2147483647 h 9"/>
                    <a:gd name="T16" fmla="*/ 2147483647 w 9"/>
                    <a:gd name="T17" fmla="*/ 2147483647 h 9"/>
                    <a:gd name="T18" fmla="*/ 0 w 9"/>
                    <a:gd name="T19" fmla="*/ 2147483647 h 9"/>
                    <a:gd name="T20" fmla="*/ 0 w 9"/>
                    <a:gd name="T21" fmla="*/ 2147483647 h 9"/>
                    <a:gd name="T22" fmla="*/ 0 w 9"/>
                    <a:gd name="T23" fmla="*/ 2147483647 h 9"/>
                    <a:gd name="T24" fmla="*/ 2147483647 w 9"/>
                    <a:gd name="T25" fmla="*/ 2147483647 h 9"/>
                    <a:gd name="T26" fmla="*/ 2147483647 w 9"/>
                    <a:gd name="T27" fmla="*/ 0 h 9"/>
                    <a:gd name="T28" fmla="*/ 2147483647 w 9"/>
                    <a:gd name="T29" fmla="*/ 2147483647 h 9"/>
                    <a:gd name="T30" fmla="*/ 2147483647 w 9"/>
                    <a:gd name="T31" fmla="*/ 2147483647 h 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"/>
                    <a:gd name="T49" fmla="*/ 0 h 9"/>
                    <a:gd name="T50" fmla="*/ 9 w 9"/>
                    <a:gd name="T51" fmla="*/ 9 h 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" h="9"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9" y="3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7" y="8"/>
                      </a:lnTo>
                      <a:lnTo>
                        <a:pt x="5" y="9"/>
                      </a:lnTo>
                      <a:lnTo>
                        <a:pt x="3" y="9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8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263">
                  <a:extLst>
                    <a:ext uri="{FF2B5EF4-FFF2-40B4-BE49-F238E27FC236}">
                      <a16:creationId xmlns:a16="http://schemas.microsoft.com/office/drawing/2014/main" id="{E873A885-2BB9-1644-ACD2-76FEA42466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3223" y="6166308"/>
                  <a:ext cx="17758" cy="23678"/>
                </a:xfrm>
                <a:custGeom>
                  <a:avLst/>
                  <a:gdLst>
                    <a:gd name="T0" fmla="*/ 2147483647 w 13"/>
                    <a:gd name="T1" fmla="*/ 2147483647 h 16"/>
                    <a:gd name="T2" fmla="*/ 2147483647 w 13"/>
                    <a:gd name="T3" fmla="*/ 2147483647 h 16"/>
                    <a:gd name="T4" fmla="*/ 2147483647 w 13"/>
                    <a:gd name="T5" fmla="*/ 2147483647 h 16"/>
                    <a:gd name="T6" fmla="*/ 2147483647 w 13"/>
                    <a:gd name="T7" fmla="*/ 2147483647 h 16"/>
                    <a:gd name="T8" fmla="*/ 2147483647 w 13"/>
                    <a:gd name="T9" fmla="*/ 2147483647 h 16"/>
                    <a:gd name="T10" fmla="*/ 2147483647 w 13"/>
                    <a:gd name="T11" fmla="*/ 2147483647 h 16"/>
                    <a:gd name="T12" fmla="*/ 2147483647 w 13"/>
                    <a:gd name="T13" fmla="*/ 2147483647 h 16"/>
                    <a:gd name="T14" fmla="*/ 2147483647 w 13"/>
                    <a:gd name="T15" fmla="*/ 2147483647 h 16"/>
                    <a:gd name="T16" fmla="*/ 2147483647 w 13"/>
                    <a:gd name="T17" fmla="*/ 2147483647 h 16"/>
                    <a:gd name="T18" fmla="*/ 2147483647 w 13"/>
                    <a:gd name="T19" fmla="*/ 2147483647 h 16"/>
                    <a:gd name="T20" fmla="*/ 2147483647 w 13"/>
                    <a:gd name="T21" fmla="*/ 2147483647 h 16"/>
                    <a:gd name="T22" fmla="*/ 0 w 13"/>
                    <a:gd name="T23" fmla="*/ 2147483647 h 16"/>
                    <a:gd name="T24" fmla="*/ 0 w 13"/>
                    <a:gd name="T25" fmla="*/ 2147483647 h 16"/>
                    <a:gd name="T26" fmla="*/ 0 w 13"/>
                    <a:gd name="T27" fmla="*/ 2147483647 h 16"/>
                    <a:gd name="T28" fmla="*/ 2147483647 w 13"/>
                    <a:gd name="T29" fmla="*/ 2147483647 h 16"/>
                    <a:gd name="T30" fmla="*/ 2147483647 w 13"/>
                    <a:gd name="T31" fmla="*/ 2147483647 h 16"/>
                    <a:gd name="T32" fmla="*/ 2147483647 w 13"/>
                    <a:gd name="T33" fmla="*/ 0 h 16"/>
                    <a:gd name="T34" fmla="*/ 2147483647 w 13"/>
                    <a:gd name="T35" fmla="*/ 0 h 16"/>
                    <a:gd name="T36" fmla="*/ 2147483647 w 13"/>
                    <a:gd name="T37" fmla="*/ 0 h 16"/>
                    <a:gd name="T38" fmla="*/ 2147483647 w 13"/>
                    <a:gd name="T39" fmla="*/ 2147483647 h 16"/>
                    <a:gd name="T40" fmla="*/ 2147483647 w 13"/>
                    <a:gd name="T41" fmla="*/ 2147483647 h 16"/>
                    <a:gd name="T42" fmla="*/ 2147483647 w 13"/>
                    <a:gd name="T43" fmla="*/ 2147483647 h 1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"/>
                    <a:gd name="T67" fmla="*/ 0 h 16"/>
                    <a:gd name="T68" fmla="*/ 13 w 13"/>
                    <a:gd name="T69" fmla="*/ 16 h 1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" h="16">
                      <a:moveTo>
                        <a:pt x="11" y="6"/>
                      </a:moveTo>
                      <a:lnTo>
                        <a:pt x="11" y="6"/>
                      </a:lnTo>
                      <a:lnTo>
                        <a:pt x="12" y="9"/>
                      </a:lnTo>
                      <a:lnTo>
                        <a:pt x="13" y="10"/>
                      </a:lnTo>
                      <a:lnTo>
                        <a:pt x="13" y="12"/>
                      </a:lnTo>
                      <a:lnTo>
                        <a:pt x="12" y="15"/>
                      </a:lnTo>
                      <a:lnTo>
                        <a:pt x="9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2" y="5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11" y="2"/>
                      </a:lnTo>
                      <a:lnTo>
                        <a:pt x="11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264">
                  <a:extLst>
                    <a:ext uri="{FF2B5EF4-FFF2-40B4-BE49-F238E27FC236}">
                      <a16:creationId xmlns:a16="http://schemas.microsoft.com/office/drawing/2014/main" id="{D91B0FE8-87C2-7645-A458-A50014664F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54661" y="6037562"/>
                  <a:ext cx="22199" cy="20718"/>
                </a:xfrm>
                <a:custGeom>
                  <a:avLst/>
                  <a:gdLst>
                    <a:gd name="T0" fmla="*/ 2147483647 w 16"/>
                    <a:gd name="T1" fmla="*/ 2147483647 h 14"/>
                    <a:gd name="T2" fmla="*/ 2147483647 w 16"/>
                    <a:gd name="T3" fmla="*/ 2147483647 h 14"/>
                    <a:gd name="T4" fmla="*/ 2147483647 w 16"/>
                    <a:gd name="T5" fmla="*/ 2147483647 h 14"/>
                    <a:gd name="T6" fmla="*/ 2147483647 w 16"/>
                    <a:gd name="T7" fmla="*/ 0 h 14"/>
                    <a:gd name="T8" fmla="*/ 2147483647 w 16"/>
                    <a:gd name="T9" fmla="*/ 2147483647 h 14"/>
                    <a:gd name="T10" fmla="*/ 2147483647 w 16"/>
                    <a:gd name="T11" fmla="*/ 2147483647 h 14"/>
                    <a:gd name="T12" fmla="*/ 2147483647 w 16"/>
                    <a:gd name="T13" fmla="*/ 2147483647 h 14"/>
                    <a:gd name="T14" fmla="*/ 0 w 16"/>
                    <a:gd name="T15" fmla="*/ 2147483647 h 14"/>
                    <a:gd name="T16" fmla="*/ 2147483647 w 16"/>
                    <a:gd name="T17" fmla="*/ 2147483647 h 14"/>
                    <a:gd name="T18" fmla="*/ 2147483647 w 16"/>
                    <a:gd name="T19" fmla="*/ 2147483647 h 14"/>
                    <a:gd name="T20" fmla="*/ 2147483647 w 16"/>
                    <a:gd name="T21" fmla="*/ 2147483647 h 14"/>
                    <a:gd name="T22" fmla="*/ 2147483647 w 16"/>
                    <a:gd name="T23" fmla="*/ 2147483647 h 14"/>
                    <a:gd name="T24" fmla="*/ 2147483647 w 16"/>
                    <a:gd name="T25" fmla="*/ 2147483647 h 14"/>
                    <a:gd name="T26" fmla="*/ 2147483647 w 16"/>
                    <a:gd name="T27" fmla="*/ 2147483647 h 14"/>
                    <a:gd name="T28" fmla="*/ 2147483647 w 16"/>
                    <a:gd name="T29" fmla="*/ 2147483647 h 14"/>
                    <a:gd name="T30" fmla="*/ 2147483647 w 16"/>
                    <a:gd name="T31" fmla="*/ 2147483647 h 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"/>
                    <a:gd name="T49" fmla="*/ 0 h 14"/>
                    <a:gd name="T50" fmla="*/ 16 w 16"/>
                    <a:gd name="T51" fmla="*/ 14 h 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" h="14">
                      <a:moveTo>
                        <a:pt x="16" y="7"/>
                      </a:moveTo>
                      <a:lnTo>
                        <a:pt x="11" y="2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5" y="6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2" y="14"/>
                      </a:lnTo>
                      <a:lnTo>
                        <a:pt x="3" y="14"/>
                      </a:lnTo>
                      <a:lnTo>
                        <a:pt x="9" y="12"/>
                      </a:lnTo>
                      <a:lnTo>
                        <a:pt x="14" y="10"/>
                      </a:lnTo>
                      <a:lnTo>
                        <a:pt x="16" y="9"/>
                      </a:lnTo>
                      <a:lnTo>
                        <a:pt x="16" y="8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265">
                  <a:extLst>
                    <a:ext uri="{FF2B5EF4-FFF2-40B4-BE49-F238E27FC236}">
                      <a16:creationId xmlns:a16="http://schemas.microsoft.com/office/drawing/2014/main" id="{F9660505-048D-094B-A1DA-CEFEB693B6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0984" y="5830376"/>
                  <a:ext cx="187944" cy="208662"/>
                </a:xfrm>
                <a:custGeom>
                  <a:avLst/>
                  <a:gdLst>
                    <a:gd name="T0" fmla="*/ 2147483647 w 137"/>
                    <a:gd name="T1" fmla="*/ 2147483647 h 141"/>
                    <a:gd name="T2" fmla="*/ 2147483647 w 137"/>
                    <a:gd name="T3" fmla="*/ 2147483647 h 141"/>
                    <a:gd name="T4" fmla="*/ 2147483647 w 137"/>
                    <a:gd name="T5" fmla="*/ 2147483647 h 141"/>
                    <a:gd name="T6" fmla="*/ 2147483647 w 137"/>
                    <a:gd name="T7" fmla="*/ 2147483647 h 141"/>
                    <a:gd name="T8" fmla="*/ 2147483647 w 137"/>
                    <a:gd name="T9" fmla="*/ 2147483647 h 141"/>
                    <a:gd name="T10" fmla="*/ 2147483647 w 137"/>
                    <a:gd name="T11" fmla="*/ 2147483647 h 141"/>
                    <a:gd name="T12" fmla="*/ 2147483647 w 137"/>
                    <a:gd name="T13" fmla="*/ 2147483647 h 141"/>
                    <a:gd name="T14" fmla="*/ 2147483647 w 137"/>
                    <a:gd name="T15" fmla="*/ 2147483647 h 141"/>
                    <a:gd name="T16" fmla="*/ 2147483647 w 137"/>
                    <a:gd name="T17" fmla="*/ 2147483647 h 141"/>
                    <a:gd name="T18" fmla="*/ 2147483647 w 137"/>
                    <a:gd name="T19" fmla="*/ 2147483647 h 141"/>
                    <a:gd name="T20" fmla="*/ 2147483647 w 137"/>
                    <a:gd name="T21" fmla="*/ 2147483647 h 141"/>
                    <a:gd name="T22" fmla="*/ 2147483647 w 137"/>
                    <a:gd name="T23" fmla="*/ 2147483647 h 141"/>
                    <a:gd name="T24" fmla="*/ 2147483647 w 137"/>
                    <a:gd name="T25" fmla="*/ 2147483647 h 141"/>
                    <a:gd name="T26" fmla="*/ 2147483647 w 137"/>
                    <a:gd name="T27" fmla="*/ 2147483647 h 141"/>
                    <a:gd name="T28" fmla="*/ 2147483647 w 137"/>
                    <a:gd name="T29" fmla="*/ 2147483647 h 141"/>
                    <a:gd name="T30" fmla="*/ 2147483647 w 137"/>
                    <a:gd name="T31" fmla="*/ 2147483647 h 141"/>
                    <a:gd name="T32" fmla="*/ 2147483647 w 137"/>
                    <a:gd name="T33" fmla="*/ 2147483647 h 141"/>
                    <a:gd name="T34" fmla="*/ 2147483647 w 137"/>
                    <a:gd name="T35" fmla="*/ 2147483647 h 141"/>
                    <a:gd name="T36" fmla="*/ 2147483647 w 137"/>
                    <a:gd name="T37" fmla="*/ 2147483647 h 141"/>
                    <a:gd name="T38" fmla="*/ 0 w 137"/>
                    <a:gd name="T39" fmla="*/ 2147483647 h 141"/>
                    <a:gd name="T40" fmla="*/ 2147483647 w 137"/>
                    <a:gd name="T41" fmla="*/ 2147483647 h 141"/>
                    <a:gd name="T42" fmla="*/ 2147483647 w 137"/>
                    <a:gd name="T43" fmla="*/ 2147483647 h 141"/>
                    <a:gd name="T44" fmla="*/ 2147483647 w 137"/>
                    <a:gd name="T45" fmla="*/ 2147483647 h 141"/>
                    <a:gd name="T46" fmla="*/ 2147483647 w 137"/>
                    <a:gd name="T47" fmla="*/ 2147483647 h 141"/>
                    <a:gd name="T48" fmla="*/ 2147483647 w 137"/>
                    <a:gd name="T49" fmla="*/ 2147483647 h 141"/>
                    <a:gd name="T50" fmla="*/ 2147483647 w 137"/>
                    <a:gd name="T51" fmla="*/ 2147483647 h 141"/>
                    <a:gd name="T52" fmla="*/ 2147483647 w 137"/>
                    <a:gd name="T53" fmla="*/ 2147483647 h 141"/>
                    <a:gd name="T54" fmla="*/ 2147483647 w 137"/>
                    <a:gd name="T55" fmla="*/ 2147483647 h 141"/>
                    <a:gd name="T56" fmla="*/ 2147483647 w 137"/>
                    <a:gd name="T57" fmla="*/ 2147483647 h 141"/>
                    <a:gd name="T58" fmla="*/ 2147483647 w 137"/>
                    <a:gd name="T59" fmla="*/ 2147483647 h 141"/>
                    <a:gd name="T60" fmla="*/ 2147483647 w 137"/>
                    <a:gd name="T61" fmla="*/ 2147483647 h 141"/>
                    <a:gd name="T62" fmla="*/ 2147483647 w 137"/>
                    <a:gd name="T63" fmla="*/ 2147483647 h 141"/>
                    <a:gd name="T64" fmla="*/ 2147483647 w 137"/>
                    <a:gd name="T65" fmla="*/ 2147483647 h 141"/>
                    <a:gd name="T66" fmla="*/ 2147483647 w 137"/>
                    <a:gd name="T67" fmla="*/ 2147483647 h 141"/>
                    <a:gd name="T68" fmla="*/ 2147483647 w 137"/>
                    <a:gd name="T69" fmla="*/ 2147483647 h 141"/>
                    <a:gd name="T70" fmla="*/ 2147483647 w 137"/>
                    <a:gd name="T71" fmla="*/ 2147483647 h 141"/>
                    <a:gd name="T72" fmla="*/ 2147483647 w 137"/>
                    <a:gd name="T73" fmla="*/ 2147483647 h 141"/>
                    <a:gd name="T74" fmla="*/ 2147483647 w 137"/>
                    <a:gd name="T75" fmla="*/ 2147483647 h 141"/>
                    <a:gd name="T76" fmla="*/ 2147483647 w 137"/>
                    <a:gd name="T77" fmla="*/ 2147483647 h 141"/>
                    <a:gd name="T78" fmla="*/ 2147483647 w 137"/>
                    <a:gd name="T79" fmla="*/ 2147483647 h 141"/>
                    <a:gd name="T80" fmla="*/ 2147483647 w 137"/>
                    <a:gd name="T81" fmla="*/ 2147483647 h 141"/>
                    <a:gd name="T82" fmla="*/ 2147483647 w 137"/>
                    <a:gd name="T83" fmla="*/ 2147483647 h 141"/>
                    <a:gd name="T84" fmla="*/ 2147483647 w 137"/>
                    <a:gd name="T85" fmla="*/ 2147483647 h 141"/>
                    <a:gd name="T86" fmla="*/ 2147483647 w 137"/>
                    <a:gd name="T87" fmla="*/ 2147483647 h 141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37"/>
                    <a:gd name="T133" fmla="*/ 0 h 141"/>
                    <a:gd name="T134" fmla="*/ 137 w 137"/>
                    <a:gd name="T135" fmla="*/ 141 h 141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37" h="141">
                      <a:moveTo>
                        <a:pt x="136" y="26"/>
                      </a:moveTo>
                      <a:lnTo>
                        <a:pt x="131" y="31"/>
                      </a:lnTo>
                      <a:lnTo>
                        <a:pt x="128" y="35"/>
                      </a:lnTo>
                      <a:lnTo>
                        <a:pt x="125" y="46"/>
                      </a:lnTo>
                      <a:lnTo>
                        <a:pt x="122" y="51"/>
                      </a:lnTo>
                      <a:lnTo>
                        <a:pt x="118" y="56"/>
                      </a:lnTo>
                      <a:lnTo>
                        <a:pt x="116" y="59"/>
                      </a:lnTo>
                      <a:lnTo>
                        <a:pt x="113" y="64"/>
                      </a:lnTo>
                      <a:lnTo>
                        <a:pt x="113" y="66"/>
                      </a:lnTo>
                      <a:lnTo>
                        <a:pt x="113" y="69"/>
                      </a:lnTo>
                      <a:lnTo>
                        <a:pt x="114" y="71"/>
                      </a:lnTo>
                      <a:lnTo>
                        <a:pt x="116" y="74"/>
                      </a:lnTo>
                      <a:lnTo>
                        <a:pt x="114" y="76"/>
                      </a:lnTo>
                      <a:lnTo>
                        <a:pt x="113" y="77"/>
                      </a:lnTo>
                      <a:lnTo>
                        <a:pt x="107" y="76"/>
                      </a:lnTo>
                      <a:lnTo>
                        <a:pt x="104" y="77"/>
                      </a:lnTo>
                      <a:lnTo>
                        <a:pt x="100" y="78"/>
                      </a:lnTo>
                      <a:lnTo>
                        <a:pt x="97" y="82"/>
                      </a:lnTo>
                      <a:lnTo>
                        <a:pt x="92" y="85"/>
                      </a:lnTo>
                      <a:lnTo>
                        <a:pt x="88" y="90"/>
                      </a:lnTo>
                      <a:lnTo>
                        <a:pt x="85" y="91"/>
                      </a:lnTo>
                      <a:lnTo>
                        <a:pt x="85" y="92"/>
                      </a:lnTo>
                      <a:lnTo>
                        <a:pt x="84" y="99"/>
                      </a:lnTo>
                      <a:lnTo>
                        <a:pt x="81" y="107"/>
                      </a:lnTo>
                      <a:lnTo>
                        <a:pt x="78" y="112"/>
                      </a:lnTo>
                      <a:lnTo>
                        <a:pt x="74" y="118"/>
                      </a:lnTo>
                      <a:lnTo>
                        <a:pt x="65" y="128"/>
                      </a:lnTo>
                      <a:lnTo>
                        <a:pt x="56" y="137"/>
                      </a:lnTo>
                      <a:lnTo>
                        <a:pt x="52" y="140"/>
                      </a:lnTo>
                      <a:lnTo>
                        <a:pt x="48" y="141"/>
                      </a:lnTo>
                      <a:lnTo>
                        <a:pt x="43" y="141"/>
                      </a:lnTo>
                      <a:lnTo>
                        <a:pt x="39" y="141"/>
                      </a:lnTo>
                      <a:lnTo>
                        <a:pt x="29" y="135"/>
                      </a:lnTo>
                      <a:lnTo>
                        <a:pt x="18" y="129"/>
                      </a:lnTo>
                      <a:lnTo>
                        <a:pt x="14" y="129"/>
                      </a:lnTo>
                      <a:lnTo>
                        <a:pt x="10" y="129"/>
                      </a:lnTo>
                      <a:lnTo>
                        <a:pt x="6" y="128"/>
                      </a:lnTo>
                      <a:lnTo>
                        <a:pt x="3" y="125"/>
                      </a:lnTo>
                      <a:lnTo>
                        <a:pt x="1" y="123"/>
                      </a:lnTo>
                      <a:lnTo>
                        <a:pt x="0" y="122"/>
                      </a:lnTo>
                      <a:lnTo>
                        <a:pt x="1" y="117"/>
                      </a:lnTo>
                      <a:lnTo>
                        <a:pt x="4" y="112"/>
                      </a:lnTo>
                      <a:lnTo>
                        <a:pt x="8" y="109"/>
                      </a:lnTo>
                      <a:lnTo>
                        <a:pt x="19" y="97"/>
                      </a:lnTo>
                      <a:lnTo>
                        <a:pt x="26" y="91"/>
                      </a:lnTo>
                      <a:lnTo>
                        <a:pt x="31" y="84"/>
                      </a:lnTo>
                      <a:lnTo>
                        <a:pt x="33" y="80"/>
                      </a:lnTo>
                      <a:lnTo>
                        <a:pt x="37" y="78"/>
                      </a:lnTo>
                      <a:lnTo>
                        <a:pt x="45" y="76"/>
                      </a:lnTo>
                      <a:lnTo>
                        <a:pt x="53" y="74"/>
                      </a:lnTo>
                      <a:lnTo>
                        <a:pt x="57" y="73"/>
                      </a:lnTo>
                      <a:lnTo>
                        <a:pt x="62" y="70"/>
                      </a:lnTo>
                      <a:lnTo>
                        <a:pt x="67" y="66"/>
                      </a:lnTo>
                      <a:lnTo>
                        <a:pt x="72" y="60"/>
                      </a:lnTo>
                      <a:lnTo>
                        <a:pt x="78" y="54"/>
                      </a:lnTo>
                      <a:lnTo>
                        <a:pt x="80" y="47"/>
                      </a:lnTo>
                      <a:lnTo>
                        <a:pt x="83" y="41"/>
                      </a:lnTo>
                      <a:lnTo>
                        <a:pt x="86" y="37"/>
                      </a:lnTo>
                      <a:lnTo>
                        <a:pt x="97" y="27"/>
                      </a:lnTo>
                      <a:lnTo>
                        <a:pt x="98" y="25"/>
                      </a:lnTo>
                      <a:lnTo>
                        <a:pt x="98" y="22"/>
                      </a:lnTo>
                      <a:lnTo>
                        <a:pt x="99" y="15"/>
                      </a:lnTo>
                      <a:lnTo>
                        <a:pt x="100" y="12"/>
                      </a:lnTo>
                      <a:lnTo>
                        <a:pt x="103" y="9"/>
                      </a:lnTo>
                      <a:lnTo>
                        <a:pt x="111" y="3"/>
                      </a:lnTo>
                      <a:lnTo>
                        <a:pt x="114" y="1"/>
                      </a:lnTo>
                      <a:lnTo>
                        <a:pt x="117" y="0"/>
                      </a:lnTo>
                      <a:lnTo>
                        <a:pt x="118" y="1"/>
                      </a:lnTo>
                      <a:lnTo>
                        <a:pt x="118" y="3"/>
                      </a:lnTo>
                      <a:lnTo>
                        <a:pt x="116" y="5"/>
                      </a:lnTo>
                      <a:lnTo>
                        <a:pt x="114" y="6"/>
                      </a:lnTo>
                      <a:lnTo>
                        <a:pt x="112" y="7"/>
                      </a:lnTo>
                      <a:lnTo>
                        <a:pt x="112" y="8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6" y="19"/>
                      </a:lnTo>
                      <a:lnTo>
                        <a:pt x="119" y="18"/>
                      </a:lnTo>
                      <a:lnTo>
                        <a:pt x="122" y="16"/>
                      </a:lnTo>
                      <a:lnTo>
                        <a:pt x="125" y="14"/>
                      </a:lnTo>
                      <a:lnTo>
                        <a:pt x="128" y="13"/>
                      </a:lnTo>
                      <a:lnTo>
                        <a:pt x="131" y="13"/>
                      </a:lnTo>
                      <a:lnTo>
                        <a:pt x="135" y="14"/>
                      </a:lnTo>
                      <a:lnTo>
                        <a:pt x="137" y="16"/>
                      </a:lnTo>
                      <a:lnTo>
                        <a:pt x="137" y="18"/>
                      </a:lnTo>
                      <a:lnTo>
                        <a:pt x="137" y="19"/>
                      </a:lnTo>
                      <a:lnTo>
                        <a:pt x="137" y="22"/>
                      </a:lnTo>
                      <a:lnTo>
                        <a:pt x="137" y="25"/>
                      </a:lnTo>
                      <a:lnTo>
                        <a:pt x="13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266">
                  <a:extLst>
                    <a:ext uri="{FF2B5EF4-FFF2-40B4-BE49-F238E27FC236}">
                      <a16:creationId xmlns:a16="http://schemas.microsoft.com/office/drawing/2014/main" id="{29F6D3D7-56E3-FE4A-BCDE-BCBEB7C97A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51701" y="6036083"/>
                  <a:ext cx="23678" cy="20718"/>
                </a:xfrm>
                <a:custGeom>
                  <a:avLst/>
                  <a:gdLst>
                    <a:gd name="T0" fmla="*/ 2147483647 w 17"/>
                    <a:gd name="T1" fmla="*/ 2147483647 h 14"/>
                    <a:gd name="T2" fmla="*/ 2147483647 w 17"/>
                    <a:gd name="T3" fmla="*/ 2147483647 h 14"/>
                    <a:gd name="T4" fmla="*/ 2147483647 w 17"/>
                    <a:gd name="T5" fmla="*/ 2147483647 h 14"/>
                    <a:gd name="T6" fmla="*/ 2147483647 w 17"/>
                    <a:gd name="T7" fmla="*/ 2147483647 h 14"/>
                    <a:gd name="T8" fmla="*/ 2147483647 w 17"/>
                    <a:gd name="T9" fmla="*/ 0 h 14"/>
                    <a:gd name="T10" fmla="*/ 2147483647 w 17"/>
                    <a:gd name="T11" fmla="*/ 2147483647 h 14"/>
                    <a:gd name="T12" fmla="*/ 2147483647 w 17"/>
                    <a:gd name="T13" fmla="*/ 2147483647 h 14"/>
                    <a:gd name="T14" fmla="*/ 2147483647 w 17"/>
                    <a:gd name="T15" fmla="*/ 2147483647 h 14"/>
                    <a:gd name="T16" fmla="*/ 2147483647 w 17"/>
                    <a:gd name="T17" fmla="*/ 2147483647 h 14"/>
                    <a:gd name="T18" fmla="*/ 2147483647 w 17"/>
                    <a:gd name="T19" fmla="*/ 2147483647 h 14"/>
                    <a:gd name="T20" fmla="*/ 0 w 17"/>
                    <a:gd name="T21" fmla="*/ 2147483647 h 14"/>
                    <a:gd name="T22" fmla="*/ 2147483647 w 17"/>
                    <a:gd name="T23" fmla="*/ 2147483647 h 14"/>
                    <a:gd name="T24" fmla="*/ 2147483647 w 17"/>
                    <a:gd name="T25" fmla="*/ 2147483647 h 14"/>
                    <a:gd name="T26" fmla="*/ 2147483647 w 17"/>
                    <a:gd name="T27" fmla="*/ 2147483647 h 14"/>
                    <a:gd name="T28" fmla="*/ 2147483647 w 17"/>
                    <a:gd name="T29" fmla="*/ 2147483647 h 14"/>
                    <a:gd name="T30" fmla="*/ 2147483647 w 17"/>
                    <a:gd name="T31" fmla="*/ 2147483647 h 14"/>
                    <a:gd name="T32" fmla="*/ 2147483647 w 17"/>
                    <a:gd name="T33" fmla="*/ 2147483647 h 14"/>
                    <a:gd name="T34" fmla="*/ 2147483647 w 17"/>
                    <a:gd name="T35" fmla="*/ 2147483647 h 14"/>
                    <a:gd name="T36" fmla="*/ 2147483647 w 17"/>
                    <a:gd name="T37" fmla="*/ 2147483647 h 14"/>
                    <a:gd name="T38" fmla="*/ 2147483647 w 17"/>
                    <a:gd name="T39" fmla="*/ 2147483647 h 14"/>
                    <a:gd name="T40" fmla="*/ 2147483647 w 17"/>
                    <a:gd name="T41" fmla="*/ 2147483647 h 14"/>
                    <a:gd name="T42" fmla="*/ 2147483647 w 17"/>
                    <a:gd name="T43" fmla="*/ 2147483647 h 14"/>
                    <a:gd name="T44" fmla="*/ 2147483647 w 17"/>
                    <a:gd name="T45" fmla="*/ 2147483647 h 14"/>
                    <a:gd name="T46" fmla="*/ 2147483647 w 17"/>
                    <a:gd name="T47" fmla="*/ 2147483647 h 14"/>
                    <a:gd name="T48" fmla="*/ 2147483647 w 17"/>
                    <a:gd name="T49" fmla="*/ 2147483647 h 14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"/>
                    <a:gd name="T76" fmla="*/ 0 h 14"/>
                    <a:gd name="T77" fmla="*/ 17 w 17"/>
                    <a:gd name="T78" fmla="*/ 14 h 14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" h="14">
                      <a:moveTo>
                        <a:pt x="17" y="7"/>
                      </a:moveTo>
                      <a:lnTo>
                        <a:pt x="17" y="7"/>
                      </a:lnTo>
                      <a:lnTo>
                        <a:pt x="12" y="2"/>
                      </a:lnTo>
                      <a:lnTo>
                        <a:pt x="11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5" y="5"/>
                      </a:lnTo>
                      <a:lnTo>
                        <a:pt x="2" y="10"/>
                      </a:lnTo>
                      <a:lnTo>
                        <a:pt x="0" y="13"/>
                      </a:lnTo>
                      <a:lnTo>
                        <a:pt x="2" y="14"/>
                      </a:lnTo>
                      <a:lnTo>
                        <a:pt x="3" y="14"/>
                      </a:lnTo>
                      <a:lnTo>
                        <a:pt x="4" y="14"/>
                      </a:lnTo>
                      <a:lnTo>
                        <a:pt x="9" y="11"/>
                      </a:lnTo>
                      <a:lnTo>
                        <a:pt x="14" y="10"/>
                      </a:lnTo>
                      <a:lnTo>
                        <a:pt x="17" y="9"/>
                      </a:lnTo>
                      <a:lnTo>
                        <a:pt x="17" y="8"/>
                      </a:lnTo>
                      <a:lnTo>
                        <a:pt x="17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267">
                  <a:extLst>
                    <a:ext uri="{FF2B5EF4-FFF2-40B4-BE49-F238E27FC236}">
                      <a16:creationId xmlns:a16="http://schemas.microsoft.com/office/drawing/2014/main" id="{BA627FCB-2B49-1C4E-A065-C8D384E872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30985" y="5828901"/>
                  <a:ext cx="186464" cy="208661"/>
                </a:xfrm>
                <a:custGeom>
                  <a:avLst/>
                  <a:gdLst>
                    <a:gd name="T0" fmla="*/ 2147483647 w 137"/>
                    <a:gd name="T1" fmla="*/ 2147483647 h 141"/>
                    <a:gd name="T2" fmla="*/ 2147483647 w 137"/>
                    <a:gd name="T3" fmla="*/ 2147483647 h 141"/>
                    <a:gd name="T4" fmla="*/ 2147483647 w 137"/>
                    <a:gd name="T5" fmla="*/ 2147483647 h 141"/>
                    <a:gd name="T6" fmla="*/ 2147483647 w 137"/>
                    <a:gd name="T7" fmla="*/ 2147483647 h 141"/>
                    <a:gd name="T8" fmla="*/ 2147483647 w 137"/>
                    <a:gd name="T9" fmla="*/ 2147483647 h 141"/>
                    <a:gd name="T10" fmla="*/ 2147483647 w 137"/>
                    <a:gd name="T11" fmla="*/ 2147483647 h 141"/>
                    <a:gd name="T12" fmla="*/ 2147483647 w 137"/>
                    <a:gd name="T13" fmla="*/ 2147483647 h 141"/>
                    <a:gd name="T14" fmla="*/ 2147483647 w 137"/>
                    <a:gd name="T15" fmla="*/ 2147483647 h 141"/>
                    <a:gd name="T16" fmla="*/ 2147483647 w 137"/>
                    <a:gd name="T17" fmla="*/ 2147483647 h 141"/>
                    <a:gd name="T18" fmla="*/ 2147483647 w 137"/>
                    <a:gd name="T19" fmla="*/ 2147483647 h 141"/>
                    <a:gd name="T20" fmla="*/ 2147483647 w 137"/>
                    <a:gd name="T21" fmla="*/ 2147483647 h 141"/>
                    <a:gd name="T22" fmla="*/ 2147483647 w 137"/>
                    <a:gd name="T23" fmla="*/ 2147483647 h 141"/>
                    <a:gd name="T24" fmla="*/ 2147483647 w 137"/>
                    <a:gd name="T25" fmla="*/ 2147483647 h 141"/>
                    <a:gd name="T26" fmla="*/ 2147483647 w 137"/>
                    <a:gd name="T27" fmla="*/ 2147483647 h 141"/>
                    <a:gd name="T28" fmla="*/ 2147483647 w 137"/>
                    <a:gd name="T29" fmla="*/ 2147483647 h 141"/>
                    <a:gd name="T30" fmla="*/ 2147483647 w 137"/>
                    <a:gd name="T31" fmla="*/ 2147483647 h 141"/>
                    <a:gd name="T32" fmla="*/ 2147483647 w 137"/>
                    <a:gd name="T33" fmla="*/ 2147483647 h 141"/>
                    <a:gd name="T34" fmla="*/ 2147483647 w 137"/>
                    <a:gd name="T35" fmla="*/ 2147483647 h 141"/>
                    <a:gd name="T36" fmla="*/ 2147483647 w 137"/>
                    <a:gd name="T37" fmla="*/ 2147483647 h 141"/>
                    <a:gd name="T38" fmla="*/ 2147483647 w 137"/>
                    <a:gd name="T39" fmla="*/ 2147483647 h 141"/>
                    <a:gd name="T40" fmla="*/ 2147483647 w 137"/>
                    <a:gd name="T41" fmla="*/ 2147483647 h 141"/>
                    <a:gd name="T42" fmla="*/ 2147483647 w 137"/>
                    <a:gd name="T43" fmla="*/ 2147483647 h 141"/>
                    <a:gd name="T44" fmla="*/ 2147483647 w 137"/>
                    <a:gd name="T45" fmla="*/ 2147483647 h 141"/>
                    <a:gd name="T46" fmla="*/ 2147483647 w 137"/>
                    <a:gd name="T47" fmla="*/ 2147483647 h 141"/>
                    <a:gd name="T48" fmla="*/ 2147483647 w 137"/>
                    <a:gd name="T49" fmla="*/ 2147483647 h 141"/>
                    <a:gd name="T50" fmla="*/ 0 w 137"/>
                    <a:gd name="T51" fmla="*/ 2147483647 h 141"/>
                    <a:gd name="T52" fmla="*/ 2147483647 w 137"/>
                    <a:gd name="T53" fmla="*/ 2147483647 h 141"/>
                    <a:gd name="T54" fmla="*/ 2147483647 w 137"/>
                    <a:gd name="T55" fmla="*/ 2147483647 h 141"/>
                    <a:gd name="T56" fmla="*/ 2147483647 w 137"/>
                    <a:gd name="T57" fmla="*/ 2147483647 h 141"/>
                    <a:gd name="T58" fmla="*/ 2147483647 w 137"/>
                    <a:gd name="T59" fmla="*/ 2147483647 h 141"/>
                    <a:gd name="T60" fmla="*/ 2147483647 w 137"/>
                    <a:gd name="T61" fmla="*/ 2147483647 h 141"/>
                    <a:gd name="T62" fmla="*/ 2147483647 w 137"/>
                    <a:gd name="T63" fmla="*/ 2147483647 h 141"/>
                    <a:gd name="T64" fmla="*/ 2147483647 w 137"/>
                    <a:gd name="T65" fmla="*/ 2147483647 h 141"/>
                    <a:gd name="T66" fmla="*/ 2147483647 w 137"/>
                    <a:gd name="T67" fmla="*/ 2147483647 h 141"/>
                    <a:gd name="T68" fmla="*/ 2147483647 w 137"/>
                    <a:gd name="T69" fmla="*/ 2147483647 h 141"/>
                    <a:gd name="T70" fmla="*/ 2147483647 w 137"/>
                    <a:gd name="T71" fmla="*/ 2147483647 h 141"/>
                    <a:gd name="T72" fmla="*/ 2147483647 w 137"/>
                    <a:gd name="T73" fmla="*/ 2147483647 h 141"/>
                    <a:gd name="T74" fmla="*/ 2147483647 w 137"/>
                    <a:gd name="T75" fmla="*/ 2147483647 h 141"/>
                    <a:gd name="T76" fmla="*/ 2147483647 w 137"/>
                    <a:gd name="T77" fmla="*/ 2147483647 h 141"/>
                    <a:gd name="T78" fmla="*/ 2147483647 w 137"/>
                    <a:gd name="T79" fmla="*/ 2147483647 h 141"/>
                    <a:gd name="T80" fmla="*/ 2147483647 w 137"/>
                    <a:gd name="T81" fmla="*/ 2147483647 h 141"/>
                    <a:gd name="T82" fmla="*/ 2147483647 w 137"/>
                    <a:gd name="T83" fmla="*/ 2147483647 h 141"/>
                    <a:gd name="T84" fmla="*/ 2147483647 w 137"/>
                    <a:gd name="T85" fmla="*/ 2147483647 h 141"/>
                    <a:gd name="T86" fmla="*/ 2147483647 w 137"/>
                    <a:gd name="T87" fmla="*/ 2147483647 h 141"/>
                    <a:gd name="T88" fmla="*/ 2147483647 w 137"/>
                    <a:gd name="T89" fmla="*/ 2147483647 h 141"/>
                    <a:gd name="T90" fmla="*/ 2147483647 w 137"/>
                    <a:gd name="T91" fmla="*/ 2147483647 h 141"/>
                    <a:gd name="T92" fmla="*/ 2147483647 w 137"/>
                    <a:gd name="T93" fmla="*/ 2147483647 h 141"/>
                    <a:gd name="T94" fmla="*/ 2147483647 w 137"/>
                    <a:gd name="T95" fmla="*/ 2147483647 h 141"/>
                    <a:gd name="T96" fmla="*/ 2147483647 w 137"/>
                    <a:gd name="T97" fmla="*/ 2147483647 h 141"/>
                    <a:gd name="T98" fmla="*/ 2147483647 w 137"/>
                    <a:gd name="T99" fmla="*/ 2147483647 h 141"/>
                    <a:gd name="T100" fmla="*/ 2147483647 w 137"/>
                    <a:gd name="T101" fmla="*/ 2147483647 h 141"/>
                    <a:gd name="T102" fmla="*/ 2147483647 w 137"/>
                    <a:gd name="T103" fmla="*/ 2147483647 h 141"/>
                    <a:gd name="T104" fmla="*/ 2147483647 w 137"/>
                    <a:gd name="T105" fmla="*/ 2147483647 h 141"/>
                    <a:gd name="T106" fmla="*/ 2147483647 w 137"/>
                    <a:gd name="T107" fmla="*/ 2147483647 h 141"/>
                    <a:gd name="T108" fmla="*/ 2147483647 w 137"/>
                    <a:gd name="T109" fmla="*/ 2147483647 h 141"/>
                    <a:gd name="T110" fmla="*/ 2147483647 w 137"/>
                    <a:gd name="T111" fmla="*/ 2147483647 h 141"/>
                    <a:gd name="T112" fmla="*/ 2147483647 w 137"/>
                    <a:gd name="T113" fmla="*/ 2147483647 h 141"/>
                    <a:gd name="T114" fmla="*/ 2147483647 w 137"/>
                    <a:gd name="T115" fmla="*/ 2147483647 h 14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37"/>
                    <a:gd name="T175" fmla="*/ 0 h 141"/>
                    <a:gd name="T176" fmla="*/ 137 w 137"/>
                    <a:gd name="T177" fmla="*/ 141 h 14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37" h="141">
                      <a:moveTo>
                        <a:pt x="136" y="26"/>
                      </a:moveTo>
                      <a:lnTo>
                        <a:pt x="136" y="26"/>
                      </a:lnTo>
                      <a:lnTo>
                        <a:pt x="131" y="30"/>
                      </a:lnTo>
                      <a:lnTo>
                        <a:pt x="128" y="35"/>
                      </a:lnTo>
                      <a:lnTo>
                        <a:pt x="124" y="46"/>
                      </a:lnTo>
                      <a:lnTo>
                        <a:pt x="122" y="51"/>
                      </a:lnTo>
                      <a:lnTo>
                        <a:pt x="118" y="55"/>
                      </a:lnTo>
                      <a:lnTo>
                        <a:pt x="115" y="59"/>
                      </a:lnTo>
                      <a:lnTo>
                        <a:pt x="113" y="64"/>
                      </a:lnTo>
                      <a:lnTo>
                        <a:pt x="113" y="66"/>
                      </a:lnTo>
                      <a:lnTo>
                        <a:pt x="113" y="68"/>
                      </a:lnTo>
                      <a:lnTo>
                        <a:pt x="114" y="71"/>
                      </a:lnTo>
                      <a:lnTo>
                        <a:pt x="115" y="74"/>
                      </a:lnTo>
                      <a:lnTo>
                        <a:pt x="114" y="75"/>
                      </a:lnTo>
                      <a:lnTo>
                        <a:pt x="113" y="77"/>
                      </a:lnTo>
                      <a:lnTo>
                        <a:pt x="107" y="75"/>
                      </a:lnTo>
                      <a:lnTo>
                        <a:pt x="104" y="77"/>
                      </a:lnTo>
                      <a:lnTo>
                        <a:pt x="100" y="78"/>
                      </a:lnTo>
                      <a:lnTo>
                        <a:pt x="96" y="81"/>
                      </a:lnTo>
                      <a:lnTo>
                        <a:pt x="91" y="85"/>
                      </a:lnTo>
                      <a:lnTo>
                        <a:pt x="87" y="90"/>
                      </a:lnTo>
                      <a:lnTo>
                        <a:pt x="85" y="91"/>
                      </a:lnTo>
                      <a:lnTo>
                        <a:pt x="85" y="92"/>
                      </a:lnTo>
                      <a:lnTo>
                        <a:pt x="84" y="99"/>
                      </a:lnTo>
                      <a:lnTo>
                        <a:pt x="81" y="106"/>
                      </a:lnTo>
                      <a:lnTo>
                        <a:pt x="77" y="112"/>
                      </a:lnTo>
                      <a:lnTo>
                        <a:pt x="73" y="118"/>
                      </a:lnTo>
                      <a:lnTo>
                        <a:pt x="65" y="128"/>
                      </a:lnTo>
                      <a:lnTo>
                        <a:pt x="56" y="137"/>
                      </a:lnTo>
                      <a:lnTo>
                        <a:pt x="52" y="140"/>
                      </a:lnTo>
                      <a:lnTo>
                        <a:pt x="48" y="141"/>
                      </a:lnTo>
                      <a:lnTo>
                        <a:pt x="43" y="141"/>
                      </a:lnTo>
                      <a:lnTo>
                        <a:pt x="39" y="141"/>
                      </a:lnTo>
                      <a:lnTo>
                        <a:pt x="29" y="135"/>
                      </a:lnTo>
                      <a:lnTo>
                        <a:pt x="18" y="129"/>
                      </a:lnTo>
                      <a:lnTo>
                        <a:pt x="14" y="129"/>
                      </a:lnTo>
                      <a:lnTo>
                        <a:pt x="10" y="129"/>
                      </a:lnTo>
                      <a:lnTo>
                        <a:pt x="6" y="128"/>
                      </a:lnTo>
                      <a:lnTo>
                        <a:pt x="2" y="125"/>
                      </a:lnTo>
                      <a:lnTo>
                        <a:pt x="1" y="123"/>
                      </a:lnTo>
                      <a:lnTo>
                        <a:pt x="0" y="122"/>
                      </a:lnTo>
                      <a:lnTo>
                        <a:pt x="1" y="117"/>
                      </a:lnTo>
                      <a:lnTo>
                        <a:pt x="4" y="112"/>
                      </a:lnTo>
                      <a:lnTo>
                        <a:pt x="7" y="109"/>
                      </a:lnTo>
                      <a:lnTo>
                        <a:pt x="19" y="97"/>
                      </a:lnTo>
                      <a:lnTo>
                        <a:pt x="25" y="91"/>
                      </a:lnTo>
                      <a:lnTo>
                        <a:pt x="30" y="84"/>
                      </a:lnTo>
                      <a:lnTo>
                        <a:pt x="33" y="80"/>
                      </a:lnTo>
                      <a:lnTo>
                        <a:pt x="37" y="78"/>
                      </a:lnTo>
                      <a:lnTo>
                        <a:pt x="44" y="75"/>
                      </a:lnTo>
                      <a:lnTo>
                        <a:pt x="53" y="74"/>
                      </a:lnTo>
                      <a:lnTo>
                        <a:pt x="57" y="73"/>
                      </a:lnTo>
                      <a:lnTo>
                        <a:pt x="62" y="70"/>
                      </a:lnTo>
                      <a:lnTo>
                        <a:pt x="67" y="66"/>
                      </a:lnTo>
                      <a:lnTo>
                        <a:pt x="72" y="60"/>
                      </a:lnTo>
                      <a:lnTo>
                        <a:pt x="77" y="54"/>
                      </a:lnTo>
                      <a:lnTo>
                        <a:pt x="80" y="47"/>
                      </a:lnTo>
                      <a:lnTo>
                        <a:pt x="82" y="41"/>
                      </a:lnTo>
                      <a:lnTo>
                        <a:pt x="86" y="36"/>
                      </a:lnTo>
                      <a:lnTo>
                        <a:pt x="96" y="27"/>
                      </a:lnTo>
                      <a:lnTo>
                        <a:pt x="98" y="25"/>
                      </a:lnTo>
                      <a:lnTo>
                        <a:pt x="98" y="22"/>
                      </a:lnTo>
                      <a:lnTo>
                        <a:pt x="99" y="15"/>
                      </a:lnTo>
                      <a:lnTo>
                        <a:pt x="100" y="11"/>
                      </a:lnTo>
                      <a:lnTo>
                        <a:pt x="103" y="9"/>
                      </a:lnTo>
                      <a:lnTo>
                        <a:pt x="110" y="3"/>
                      </a:lnTo>
                      <a:lnTo>
                        <a:pt x="114" y="1"/>
                      </a:lnTo>
                      <a:lnTo>
                        <a:pt x="117" y="0"/>
                      </a:lnTo>
                      <a:lnTo>
                        <a:pt x="118" y="1"/>
                      </a:lnTo>
                      <a:lnTo>
                        <a:pt x="118" y="3"/>
                      </a:lnTo>
                      <a:lnTo>
                        <a:pt x="115" y="4"/>
                      </a:lnTo>
                      <a:lnTo>
                        <a:pt x="114" y="6"/>
                      </a:lnTo>
                      <a:lnTo>
                        <a:pt x="112" y="7"/>
                      </a:lnTo>
                      <a:lnTo>
                        <a:pt x="112" y="8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5" y="19"/>
                      </a:lnTo>
                      <a:lnTo>
                        <a:pt x="119" y="17"/>
                      </a:lnTo>
                      <a:lnTo>
                        <a:pt x="122" y="16"/>
                      </a:lnTo>
                      <a:lnTo>
                        <a:pt x="124" y="14"/>
                      </a:lnTo>
                      <a:lnTo>
                        <a:pt x="128" y="13"/>
                      </a:lnTo>
                      <a:lnTo>
                        <a:pt x="131" y="13"/>
                      </a:lnTo>
                      <a:lnTo>
                        <a:pt x="134" y="14"/>
                      </a:lnTo>
                      <a:lnTo>
                        <a:pt x="137" y="16"/>
                      </a:lnTo>
                      <a:lnTo>
                        <a:pt x="137" y="17"/>
                      </a:lnTo>
                      <a:lnTo>
                        <a:pt x="137" y="19"/>
                      </a:lnTo>
                      <a:lnTo>
                        <a:pt x="137" y="22"/>
                      </a:lnTo>
                      <a:lnTo>
                        <a:pt x="137" y="25"/>
                      </a:lnTo>
                      <a:lnTo>
                        <a:pt x="136" y="2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" name="Freeform 268">
                  <a:extLst>
                    <a:ext uri="{FF2B5EF4-FFF2-40B4-BE49-F238E27FC236}">
                      <a16:creationId xmlns:a16="http://schemas.microsoft.com/office/drawing/2014/main" id="{E3E47957-848F-5346-9F23-8DDEDF6907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80453" y="5632076"/>
                  <a:ext cx="145027" cy="226421"/>
                </a:xfrm>
                <a:custGeom>
                  <a:avLst/>
                  <a:gdLst>
                    <a:gd name="T0" fmla="*/ 2147483647 w 106"/>
                    <a:gd name="T1" fmla="*/ 2147483647 h 153"/>
                    <a:gd name="T2" fmla="*/ 2147483647 w 106"/>
                    <a:gd name="T3" fmla="*/ 2147483647 h 153"/>
                    <a:gd name="T4" fmla="*/ 2147483647 w 106"/>
                    <a:gd name="T5" fmla="*/ 2147483647 h 153"/>
                    <a:gd name="T6" fmla="*/ 2147483647 w 106"/>
                    <a:gd name="T7" fmla="*/ 2147483647 h 153"/>
                    <a:gd name="T8" fmla="*/ 2147483647 w 106"/>
                    <a:gd name="T9" fmla="*/ 2147483647 h 153"/>
                    <a:gd name="T10" fmla="*/ 2147483647 w 106"/>
                    <a:gd name="T11" fmla="*/ 2147483647 h 153"/>
                    <a:gd name="T12" fmla="*/ 2147483647 w 106"/>
                    <a:gd name="T13" fmla="*/ 2147483647 h 153"/>
                    <a:gd name="T14" fmla="*/ 2147483647 w 106"/>
                    <a:gd name="T15" fmla="*/ 2147483647 h 153"/>
                    <a:gd name="T16" fmla="*/ 2147483647 w 106"/>
                    <a:gd name="T17" fmla="*/ 2147483647 h 153"/>
                    <a:gd name="T18" fmla="*/ 2147483647 w 106"/>
                    <a:gd name="T19" fmla="*/ 2147483647 h 153"/>
                    <a:gd name="T20" fmla="*/ 2147483647 w 106"/>
                    <a:gd name="T21" fmla="*/ 2147483647 h 153"/>
                    <a:gd name="T22" fmla="*/ 2147483647 w 106"/>
                    <a:gd name="T23" fmla="*/ 2147483647 h 153"/>
                    <a:gd name="T24" fmla="*/ 2147483647 w 106"/>
                    <a:gd name="T25" fmla="*/ 2147483647 h 153"/>
                    <a:gd name="T26" fmla="*/ 2147483647 w 106"/>
                    <a:gd name="T27" fmla="*/ 2147483647 h 153"/>
                    <a:gd name="T28" fmla="*/ 2147483647 w 106"/>
                    <a:gd name="T29" fmla="*/ 2147483647 h 153"/>
                    <a:gd name="T30" fmla="*/ 2147483647 w 106"/>
                    <a:gd name="T31" fmla="*/ 2147483647 h 153"/>
                    <a:gd name="T32" fmla="*/ 2147483647 w 106"/>
                    <a:gd name="T33" fmla="*/ 2147483647 h 153"/>
                    <a:gd name="T34" fmla="*/ 2147483647 w 106"/>
                    <a:gd name="T35" fmla="*/ 2147483647 h 153"/>
                    <a:gd name="T36" fmla="*/ 2147483647 w 106"/>
                    <a:gd name="T37" fmla="*/ 2147483647 h 153"/>
                    <a:gd name="T38" fmla="*/ 2147483647 w 106"/>
                    <a:gd name="T39" fmla="*/ 2147483647 h 153"/>
                    <a:gd name="T40" fmla="*/ 2147483647 w 106"/>
                    <a:gd name="T41" fmla="*/ 2147483647 h 153"/>
                    <a:gd name="T42" fmla="*/ 2147483647 w 106"/>
                    <a:gd name="T43" fmla="*/ 0 h 153"/>
                    <a:gd name="T44" fmla="*/ 0 w 106"/>
                    <a:gd name="T45" fmla="*/ 2147483647 h 153"/>
                    <a:gd name="T46" fmla="*/ 2147483647 w 106"/>
                    <a:gd name="T47" fmla="*/ 2147483647 h 153"/>
                    <a:gd name="T48" fmla="*/ 2147483647 w 106"/>
                    <a:gd name="T49" fmla="*/ 2147483647 h 153"/>
                    <a:gd name="T50" fmla="*/ 2147483647 w 106"/>
                    <a:gd name="T51" fmla="*/ 2147483647 h 153"/>
                    <a:gd name="T52" fmla="*/ 2147483647 w 106"/>
                    <a:gd name="T53" fmla="*/ 2147483647 h 153"/>
                    <a:gd name="T54" fmla="*/ 2147483647 w 106"/>
                    <a:gd name="T55" fmla="*/ 2147483647 h 153"/>
                    <a:gd name="T56" fmla="*/ 2147483647 w 106"/>
                    <a:gd name="T57" fmla="*/ 2147483647 h 153"/>
                    <a:gd name="T58" fmla="*/ 2147483647 w 106"/>
                    <a:gd name="T59" fmla="*/ 2147483647 h 153"/>
                    <a:gd name="T60" fmla="*/ 2147483647 w 106"/>
                    <a:gd name="T61" fmla="*/ 2147483647 h 153"/>
                    <a:gd name="T62" fmla="*/ 2147483647 w 106"/>
                    <a:gd name="T63" fmla="*/ 2147483647 h 153"/>
                    <a:gd name="T64" fmla="*/ 2147483647 w 106"/>
                    <a:gd name="T65" fmla="*/ 2147483647 h 153"/>
                    <a:gd name="T66" fmla="*/ 2147483647 w 106"/>
                    <a:gd name="T67" fmla="*/ 2147483647 h 153"/>
                    <a:gd name="T68" fmla="*/ 2147483647 w 106"/>
                    <a:gd name="T69" fmla="*/ 2147483647 h 153"/>
                    <a:gd name="T70" fmla="*/ 2147483647 w 106"/>
                    <a:gd name="T71" fmla="*/ 2147483647 h 153"/>
                    <a:gd name="T72" fmla="*/ 2147483647 w 106"/>
                    <a:gd name="T73" fmla="*/ 2147483647 h 153"/>
                    <a:gd name="T74" fmla="*/ 2147483647 w 106"/>
                    <a:gd name="T75" fmla="*/ 2147483647 h 153"/>
                    <a:gd name="T76" fmla="*/ 2147483647 w 106"/>
                    <a:gd name="T77" fmla="*/ 2147483647 h 153"/>
                    <a:gd name="T78" fmla="*/ 2147483647 w 106"/>
                    <a:gd name="T79" fmla="*/ 2147483647 h 153"/>
                    <a:gd name="T80" fmla="*/ 2147483647 w 106"/>
                    <a:gd name="T81" fmla="*/ 2147483647 h 153"/>
                    <a:gd name="T82" fmla="*/ 2147483647 w 106"/>
                    <a:gd name="T83" fmla="*/ 2147483647 h 153"/>
                    <a:gd name="T84" fmla="*/ 2147483647 w 106"/>
                    <a:gd name="T85" fmla="*/ 2147483647 h 153"/>
                    <a:gd name="T86" fmla="*/ 2147483647 w 106"/>
                    <a:gd name="T87" fmla="*/ 2147483647 h 153"/>
                    <a:gd name="T88" fmla="*/ 2147483647 w 106"/>
                    <a:gd name="T89" fmla="*/ 2147483647 h 153"/>
                    <a:gd name="T90" fmla="*/ 2147483647 w 106"/>
                    <a:gd name="T91" fmla="*/ 2147483647 h 153"/>
                    <a:gd name="T92" fmla="*/ 2147483647 w 106"/>
                    <a:gd name="T93" fmla="*/ 2147483647 h 153"/>
                    <a:gd name="T94" fmla="*/ 2147483647 w 106"/>
                    <a:gd name="T95" fmla="*/ 2147483647 h 153"/>
                    <a:gd name="T96" fmla="*/ 2147483647 w 106"/>
                    <a:gd name="T97" fmla="*/ 2147483647 h 153"/>
                    <a:gd name="T98" fmla="*/ 2147483647 w 106"/>
                    <a:gd name="T99" fmla="*/ 2147483647 h 153"/>
                    <a:gd name="T100" fmla="*/ 2147483647 w 106"/>
                    <a:gd name="T101" fmla="*/ 2147483647 h 153"/>
                    <a:gd name="T102" fmla="*/ 2147483647 w 106"/>
                    <a:gd name="T103" fmla="*/ 2147483647 h 153"/>
                    <a:gd name="T104" fmla="*/ 2147483647 w 106"/>
                    <a:gd name="T105" fmla="*/ 2147483647 h 153"/>
                    <a:gd name="T106" fmla="*/ 2147483647 w 106"/>
                    <a:gd name="T107" fmla="*/ 2147483647 h 153"/>
                    <a:gd name="T108" fmla="*/ 2147483647 w 106"/>
                    <a:gd name="T109" fmla="*/ 2147483647 h 153"/>
                    <a:gd name="T110" fmla="*/ 2147483647 w 106"/>
                    <a:gd name="T111" fmla="*/ 2147483647 h 153"/>
                    <a:gd name="T112" fmla="*/ 2147483647 w 106"/>
                    <a:gd name="T113" fmla="*/ 2147483647 h 153"/>
                    <a:gd name="T114" fmla="*/ 2147483647 w 106"/>
                    <a:gd name="T115" fmla="*/ 2147483647 h 153"/>
                    <a:gd name="T116" fmla="*/ 2147483647 w 106"/>
                    <a:gd name="T117" fmla="*/ 2147483647 h 153"/>
                    <a:gd name="T118" fmla="*/ 2147483647 w 106"/>
                    <a:gd name="T119" fmla="*/ 2147483647 h 153"/>
                    <a:gd name="T120" fmla="*/ 2147483647 w 106"/>
                    <a:gd name="T121" fmla="*/ 2147483647 h 15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06"/>
                    <a:gd name="T184" fmla="*/ 0 h 153"/>
                    <a:gd name="T185" fmla="*/ 106 w 106"/>
                    <a:gd name="T186" fmla="*/ 153 h 15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06" h="153">
                      <a:moveTo>
                        <a:pt x="104" y="76"/>
                      </a:moveTo>
                      <a:lnTo>
                        <a:pt x="106" y="75"/>
                      </a:lnTo>
                      <a:lnTo>
                        <a:pt x="106" y="73"/>
                      </a:lnTo>
                      <a:lnTo>
                        <a:pt x="104" y="72"/>
                      </a:lnTo>
                      <a:lnTo>
                        <a:pt x="103" y="71"/>
                      </a:lnTo>
                      <a:lnTo>
                        <a:pt x="97" y="71"/>
                      </a:lnTo>
                      <a:lnTo>
                        <a:pt x="93" y="72"/>
                      </a:lnTo>
                      <a:lnTo>
                        <a:pt x="90" y="73"/>
                      </a:lnTo>
                      <a:lnTo>
                        <a:pt x="88" y="78"/>
                      </a:lnTo>
                      <a:lnTo>
                        <a:pt x="87" y="79"/>
                      </a:lnTo>
                      <a:lnTo>
                        <a:pt x="84" y="80"/>
                      </a:lnTo>
                      <a:lnTo>
                        <a:pt x="78" y="80"/>
                      </a:lnTo>
                      <a:lnTo>
                        <a:pt x="70" y="79"/>
                      </a:lnTo>
                      <a:lnTo>
                        <a:pt x="65" y="77"/>
                      </a:lnTo>
                      <a:lnTo>
                        <a:pt x="63" y="75"/>
                      </a:lnTo>
                      <a:lnTo>
                        <a:pt x="61" y="72"/>
                      </a:lnTo>
                      <a:lnTo>
                        <a:pt x="56" y="61"/>
                      </a:lnTo>
                      <a:lnTo>
                        <a:pt x="50" y="51"/>
                      </a:lnTo>
                      <a:lnTo>
                        <a:pt x="50" y="46"/>
                      </a:lnTo>
                      <a:lnTo>
                        <a:pt x="50" y="44"/>
                      </a:lnTo>
                      <a:lnTo>
                        <a:pt x="49" y="43"/>
                      </a:lnTo>
                      <a:lnTo>
                        <a:pt x="47" y="44"/>
                      </a:lnTo>
                      <a:lnTo>
                        <a:pt x="47" y="45"/>
                      </a:lnTo>
                      <a:lnTo>
                        <a:pt x="46" y="47"/>
                      </a:lnTo>
                      <a:lnTo>
                        <a:pt x="46" y="50"/>
                      </a:lnTo>
                      <a:lnTo>
                        <a:pt x="45" y="50"/>
                      </a:lnTo>
                      <a:lnTo>
                        <a:pt x="43" y="50"/>
                      </a:lnTo>
                      <a:lnTo>
                        <a:pt x="42" y="47"/>
                      </a:lnTo>
                      <a:lnTo>
                        <a:pt x="41" y="43"/>
                      </a:lnTo>
                      <a:lnTo>
                        <a:pt x="40" y="38"/>
                      </a:lnTo>
                      <a:lnTo>
                        <a:pt x="33" y="28"/>
                      </a:lnTo>
                      <a:lnTo>
                        <a:pt x="32" y="26"/>
                      </a:lnTo>
                      <a:lnTo>
                        <a:pt x="32" y="25"/>
                      </a:lnTo>
                      <a:lnTo>
                        <a:pt x="32" y="22"/>
                      </a:lnTo>
                      <a:lnTo>
                        <a:pt x="31" y="21"/>
                      </a:lnTo>
                      <a:lnTo>
                        <a:pt x="28" y="20"/>
                      </a:lnTo>
                      <a:lnTo>
                        <a:pt x="24" y="19"/>
                      </a:lnTo>
                      <a:lnTo>
                        <a:pt x="22" y="18"/>
                      </a:lnTo>
                      <a:lnTo>
                        <a:pt x="19" y="15"/>
                      </a:lnTo>
                      <a:lnTo>
                        <a:pt x="17" y="9"/>
                      </a:lnTo>
                      <a:lnTo>
                        <a:pt x="12" y="3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8" y="8"/>
                      </a:lnTo>
                      <a:lnTo>
                        <a:pt x="9" y="9"/>
                      </a:lnTo>
                      <a:lnTo>
                        <a:pt x="8" y="12"/>
                      </a:lnTo>
                      <a:lnTo>
                        <a:pt x="8" y="19"/>
                      </a:lnTo>
                      <a:lnTo>
                        <a:pt x="9" y="24"/>
                      </a:lnTo>
                      <a:lnTo>
                        <a:pt x="14" y="28"/>
                      </a:lnTo>
                      <a:lnTo>
                        <a:pt x="18" y="32"/>
                      </a:lnTo>
                      <a:lnTo>
                        <a:pt x="21" y="34"/>
                      </a:lnTo>
                      <a:lnTo>
                        <a:pt x="22" y="33"/>
                      </a:lnTo>
                      <a:lnTo>
                        <a:pt x="23" y="33"/>
                      </a:lnTo>
                      <a:lnTo>
                        <a:pt x="24" y="31"/>
                      </a:lnTo>
                      <a:lnTo>
                        <a:pt x="24" y="29"/>
                      </a:lnTo>
                      <a:lnTo>
                        <a:pt x="26" y="31"/>
                      </a:lnTo>
                      <a:lnTo>
                        <a:pt x="30" y="35"/>
                      </a:lnTo>
                      <a:lnTo>
                        <a:pt x="31" y="38"/>
                      </a:lnTo>
                      <a:lnTo>
                        <a:pt x="32" y="41"/>
                      </a:lnTo>
                      <a:lnTo>
                        <a:pt x="32" y="48"/>
                      </a:lnTo>
                      <a:lnTo>
                        <a:pt x="32" y="56"/>
                      </a:lnTo>
                      <a:lnTo>
                        <a:pt x="32" y="58"/>
                      </a:lnTo>
                      <a:lnTo>
                        <a:pt x="33" y="61"/>
                      </a:lnTo>
                      <a:lnTo>
                        <a:pt x="36" y="66"/>
                      </a:lnTo>
                      <a:lnTo>
                        <a:pt x="37" y="71"/>
                      </a:lnTo>
                      <a:lnTo>
                        <a:pt x="37" y="82"/>
                      </a:lnTo>
                      <a:lnTo>
                        <a:pt x="37" y="85"/>
                      </a:lnTo>
                      <a:lnTo>
                        <a:pt x="37" y="89"/>
                      </a:lnTo>
                      <a:lnTo>
                        <a:pt x="37" y="92"/>
                      </a:lnTo>
                      <a:lnTo>
                        <a:pt x="36" y="95"/>
                      </a:lnTo>
                      <a:lnTo>
                        <a:pt x="33" y="97"/>
                      </a:lnTo>
                      <a:lnTo>
                        <a:pt x="28" y="101"/>
                      </a:lnTo>
                      <a:lnTo>
                        <a:pt x="23" y="103"/>
                      </a:lnTo>
                      <a:lnTo>
                        <a:pt x="22" y="104"/>
                      </a:lnTo>
                      <a:lnTo>
                        <a:pt x="22" y="107"/>
                      </a:lnTo>
                      <a:lnTo>
                        <a:pt x="22" y="109"/>
                      </a:lnTo>
                      <a:lnTo>
                        <a:pt x="23" y="112"/>
                      </a:lnTo>
                      <a:lnTo>
                        <a:pt x="24" y="114"/>
                      </a:lnTo>
                      <a:lnTo>
                        <a:pt x="26" y="114"/>
                      </a:lnTo>
                      <a:lnTo>
                        <a:pt x="28" y="115"/>
                      </a:lnTo>
                      <a:lnTo>
                        <a:pt x="28" y="116"/>
                      </a:lnTo>
                      <a:lnTo>
                        <a:pt x="31" y="118"/>
                      </a:lnTo>
                      <a:lnTo>
                        <a:pt x="37" y="123"/>
                      </a:lnTo>
                      <a:lnTo>
                        <a:pt x="42" y="129"/>
                      </a:lnTo>
                      <a:lnTo>
                        <a:pt x="43" y="131"/>
                      </a:lnTo>
                      <a:lnTo>
                        <a:pt x="43" y="135"/>
                      </a:lnTo>
                      <a:lnTo>
                        <a:pt x="43" y="139"/>
                      </a:lnTo>
                      <a:lnTo>
                        <a:pt x="40" y="143"/>
                      </a:lnTo>
                      <a:lnTo>
                        <a:pt x="40" y="144"/>
                      </a:lnTo>
                      <a:lnTo>
                        <a:pt x="40" y="147"/>
                      </a:lnTo>
                      <a:lnTo>
                        <a:pt x="42" y="150"/>
                      </a:lnTo>
                      <a:lnTo>
                        <a:pt x="47" y="153"/>
                      </a:lnTo>
                      <a:lnTo>
                        <a:pt x="51" y="153"/>
                      </a:lnTo>
                      <a:lnTo>
                        <a:pt x="57" y="150"/>
                      </a:lnTo>
                      <a:lnTo>
                        <a:pt x="63" y="147"/>
                      </a:lnTo>
                      <a:lnTo>
                        <a:pt x="66" y="142"/>
                      </a:lnTo>
                      <a:lnTo>
                        <a:pt x="70" y="137"/>
                      </a:lnTo>
                      <a:lnTo>
                        <a:pt x="77" y="128"/>
                      </a:lnTo>
                      <a:lnTo>
                        <a:pt x="79" y="116"/>
                      </a:lnTo>
                      <a:lnTo>
                        <a:pt x="79" y="110"/>
                      </a:lnTo>
                      <a:lnTo>
                        <a:pt x="79" y="107"/>
                      </a:lnTo>
                      <a:lnTo>
                        <a:pt x="82" y="104"/>
                      </a:lnTo>
                      <a:lnTo>
                        <a:pt x="84" y="104"/>
                      </a:lnTo>
                      <a:lnTo>
                        <a:pt x="87" y="105"/>
                      </a:lnTo>
                      <a:lnTo>
                        <a:pt x="88" y="107"/>
                      </a:lnTo>
                      <a:lnTo>
                        <a:pt x="90" y="107"/>
                      </a:lnTo>
                      <a:lnTo>
                        <a:pt x="92" y="104"/>
                      </a:lnTo>
                      <a:lnTo>
                        <a:pt x="92" y="102"/>
                      </a:lnTo>
                      <a:lnTo>
                        <a:pt x="92" y="99"/>
                      </a:lnTo>
                      <a:lnTo>
                        <a:pt x="93" y="97"/>
                      </a:lnTo>
                      <a:lnTo>
                        <a:pt x="99" y="91"/>
                      </a:lnTo>
                      <a:lnTo>
                        <a:pt x="102" y="88"/>
                      </a:lnTo>
                      <a:lnTo>
                        <a:pt x="103" y="84"/>
                      </a:lnTo>
                      <a:lnTo>
                        <a:pt x="102" y="83"/>
                      </a:lnTo>
                      <a:lnTo>
                        <a:pt x="101" y="82"/>
                      </a:lnTo>
                      <a:lnTo>
                        <a:pt x="99" y="80"/>
                      </a:lnTo>
                      <a:lnTo>
                        <a:pt x="99" y="79"/>
                      </a:lnTo>
                      <a:lnTo>
                        <a:pt x="101" y="77"/>
                      </a:lnTo>
                      <a:lnTo>
                        <a:pt x="104" y="7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" name="Freeform 269">
                  <a:extLst>
                    <a:ext uri="{FF2B5EF4-FFF2-40B4-BE49-F238E27FC236}">
                      <a16:creationId xmlns:a16="http://schemas.microsoft.com/office/drawing/2014/main" id="{CB541C10-98E3-5947-852D-AAB299F74B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27590" y="5932488"/>
                  <a:ext cx="16279" cy="28117"/>
                </a:xfrm>
                <a:custGeom>
                  <a:avLst/>
                  <a:gdLst>
                    <a:gd name="T0" fmla="*/ 2147483647 w 12"/>
                    <a:gd name="T1" fmla="*/ 2147483647 h 19"/>
                    <a:gd name="T2" fmla="*/ 2147483647 w 12"/>
                    <a:gd name="T3" fmla="*/ 2147483647 h 19"/>
                    <a:gd name="T4" fmla="*/ 2147483647 w 12"/>
                    <a:gd name="T5" fmla="*/ 2147483647 h 19"/>
                    <a:gd name="T6" fmla="*/ 2147483647 w 12"/>
                    <a:gd name="T7" fmla="*/ 2147483647 h 19"/>
                    <a:gd name="T8" fmla="*/ 2147483647 w 12"/>
                    <a:gd name="T9" fmla="*/ 2147483647 h 19"/>
                    <a:gd name="T10" fmla="*/ 2147483647 w 12"/>
                    <a:gd name="T11" fmla="*/ 2147483647 h 19"/>
                    <a:gd name="T12" fmla="*/ 2147483647 w 12"/>
                    <a:gd name="T13" fmla="*/ 2147483647 h 19"/>
                    <a:gd name="T14" fmla="*/ 2147483647 w 12"/>
                    <a:gd name="T15" fmla="*/ 2147483647 h 19"/>
                    <a:gd name="T16" fmla="*/ 2147483647 w 12"/>
                    <a:gd name="T17" fmla="*/ 2147483647 h 19"/>
                    <a:gd name="T18" fmla="*/ 0 w 12"/>
                    <a:gd name="T19" fmla="*/ 2147483647 h 19"/>
                    <a:gd name="T20" fmla="*/ 2147483647 w 12"/>
                    <a:gd name="T21" fmla="*/ 2147483647 h 19"/>
                    <a:gd name="T22" fmla="*/ 2147483647 w 12"/>
                    <a:gd name="T23" fmla="*/ 2147483647 h 19"/>
                    <a:gd name="T24" fmla="*/ 2147483647 w 12"/>
                    <a:gd name="T25" fmla="*/ 0 h 19"/>
                    <a:gd name="T26" fmla="*/ 2147483647 w 12"/>
                    <a:gd name="T27" fmla="*/ 2147483647 h 19"/>
                    <a:gd name="T28" fmla="*/ 2147483647 w 12"/>
                    <a:gd name="T29" fmla="*/ 2147483647 h 19"/>
                    <a:gd name="T30" fmla="*/ 2147483647 w 12"/>
                    <a:gd name="T31" fmla="*/ 2147483647 h 19"/>
                    <a:gd name="T32" fmla="*/ 2147483647 w 12"/>
                    <a:gd name="T33" fmla="*/ 2147483647 h 1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"/>
                    <a:gd name="T52" fmla="*/ 0 h 19"/>
                    <a:gd name="T53" fmla="*/ 12 w 12"/>
                    <a:gd name="T54" fmla="*/ 19 h 1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" h="19">
                      <a:moveTo>
                        <a:pt x="11" y="7"/>
                      </a:moveTo>
                      <a:lnTo>
                        <a:pt x="11" y="9"/>
                      </a:lnTo>
                      <a:lnTo>
                        <a:pt x="11" y="10"/>
                      </a:lnTo>
                      <a:lnTo>
                        <a:pt x="12" y="15"/>
                      </a:lnTo>
                      <a:lnTo>
                        <a:pt x="12" y="17"/>
                      </a:lnTo>
                      <a:lnTo>
                        <a:pt x="12" y="19"/>
                      </a:lnTo>
                      <a:lnTo>
                        <a:pt x="10" y="19"/>
                      </a:lnTo>
                      <a:lnTo>
                        <a:pt x="6" y="17"/>
                      </a:lnTo>
                      <a:lnTo>
                        <a:pt x="2" y="13"/>
                      </a:lnTo>
                      <a:lnTo>
                        <a:pt x="0" y="8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2" y="3"/>
                      </a:lnTo>
                      <a:lnTo>
                        <a:pt x="12" y="4"/>
                      </a:ln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" name="Freeform 270">
                  <a:extLst>
                    <a:ext uri="{FF2B5EF4-FFF2-40B4-BE49-F238E27FC236}">
                      <a16:creationId xmlns:a16="http://schemas.microsoft.com/office/drawing/2014/main" id="{655C4A5E-AC0A-964A-8E1B-9D78E89C0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78969" y="5630597"/>
                  <a:ext cx="143548" cy="226420"/>
                </a:xfrm>
                <a:custGeom>
                  <a:avLst/>
                  <a:gdLst>
                    <a:gd name="T0" fmla="*/ 2147483647 w 105"/>
                    <a:gd name="T1" fmla="*/ 2147483647 h 153"/>
                    <a:gd name="T2" fmla="*/ 2147483647 w 105"/>
                    <a:gd name="T3" fmla="*/ 2147483647 h 153"/>
                    <a:gd name="T4" fmla="*/ 2147483647 w 105"/>
                    <a:gd name="T5" fmla="*/ 2147483647 h 153"/>
                    <a:gd name="T6" fmla="*/ 2147483647 w 105"/>
                    <a:gd name="T7" fmla="*/ 2147483647 h 153"/>
                    <a:gd name="T8" fmla="*/ 2147483647 w 105"/>
                    <a:gd name="T9" fmla="*/ 2147483647 h 153"/>
                    <a:gd name="T10" fmla="*/ 2147483647 w 105"/>
                    <a:gd name="T11" fmla="*/ 2147483647 h 153"/>
                    <a:gd name="T12" fmla="*/ 2147483647 w 105"/>
                    <a:gd name="T13" fmla="*/ 2147483647 h 153"/>
                    <a:gd name="T14" fmla="*/ 2147483647 w 105"/>
                    <a:gd name="T15" fmla="*/ 2147483647 h 153"/>
                    <a:gd name="T16" fmla="*/ 2147483647 w 105"/>
                    <a:gd name="T17" fmla="*/ 2147483647 h 153"/>
                    <a:gd name="T18" fmla="*/ 2147483647 w 105"/>
                    <a:gd name="T19" fmla="*/ 2147483647 h 153"/>
                    <a:gd name="T20" fmla="*/ 2147483647 w 105"/>
                    <a:gd name="T21" fmla="*/ 2147483647 h 153"/>
                    <a:gd name="T22" fmla="*/ 2147483647 w 105"/>
                    <a:gd name="T23" fmla="*/ 2147483647 h 153"/>
                    <a:gd name="T24" fmla="*/ 2147483647 w 105"/>
                    <a:gd name="T25" fmla="*/ 2147483647 h 153"/>
                    <a:gd name="T26" fmla="*/ 2147483647 w 105"/>
                    <a:gd name="T27" fmla="*/ 2147483647 h 153"/>
                    <a:gd name="T28" fmla="*/ 2147483647 w 105"/>
                    <a:gd name="T29" fmla="*/ 2147483647 h 153"/>
                    <a:gd name="T30" fmla="*/ 2147483647 w 105"/>
                    <a:gd name="T31" fmla="*/ 2147483647 h 153"/>
                    <a:gd name="T32" fmla="*/ 2147483647 w 105"/>
                    <a:gd name="T33" fmla="*/ 2147483647 h 153"/>
                    <a:gd name="T34" fmla="*/ 2147483647 w 105"/>
                    <a:gd name="T35" fmla="*/ 2147483647 h 153"/>
                    <a:gd name="T36" fmla="*/ 0 w 105"/>
                    <a:gd name="T37" fmla="*/ 0 h 153"/>
                    <a:gd name="T38" fmla="*/ 2147483647 w 105"/>
                    <a:gd name="T39" fmla="*/ 2147483647 h 153"/>
                    <a:gd name="T40" fmla="*/ 2147483647 w 105"/>
                    <a:gd name="T41" fmla="*/ 2147483647 h 153"/>
                    <a:gd name="T42" fmla="*/ 2147483647 w 105"/>
                    <a:gd name="T43" fmla="*/ 2147483647 h 153"/>
                    <a:gd name="T44" fmla="*/ 2147483647 w 105"/>
                    <a:gd name="T45" fmla="*/ 2147483647 h 153"/>
                    <a:gd name="T46" fmla="*/ 2147483647 w 105"/>
                    <a:gd name="T47" fmla="*/ 2147483647 h 153"/>
                    <a:gd name="T48" fmla="*/ 2147483647 w 105"/>
                    <a:gd name="T49" fmla="*/ 2147483647 h 153"/>
                    <a:gd name="T50" fmla="*/ 2147483647 w 105"/>
                    <a:gd name="T51" fmla="*/ 2147483647 h 153"/>
                    <a:gd name="T52" fmla="*/ 2147483647 w 105"/>
                    <a:gd name="T53" fmla="*/ 2147483647 h 153"/>
                    <a:gd name="T54" fmla="*/ 2147483647 w 105"/>
                    <a:gd name="T55" fmla="*/ 2147483647 h 153"/>
                    <a:gd name="T56" fmla="*/ 2147483647 w 105"/>
                    <a:gd name="T57" fmla="*/ 2147483647 h 153"/>
                    <a:gd name="T58" fmla="*/ 2147483647 w 105"/>
                    <a:gd name="T59" fmla="*/ 2147483647 h 153"/>
                    <a:gd name="T60" fmla="*/ 2147483647 w 105"/>
                    <a:gd name="T61" fmla="*/ 2147483647 h 153"/>
                    <a:gd name="T62" fmla="*/ 2147483647 w 105"/>
                    <a:gd name="T63" fmla="*/ 2147483647 h 153"/>
                    <a:gd name="T64" fmla="*/ 2147483647 w 105"/>
                    <a:gd name="T65" fmla="*/ 2147483647 h 153"/>
                    <a:gd name="T66" fmla="*/ 2147483647 w 105"/>
                    <a:gd name="T67" fmla="*/ 2147483647 h 153"/>
                    <a:gd name="T68" fmla="*/ 2147483647 w 105"/>
                    <a:gd name="T69" fmla="*/ 2147483647 h 153"/>
                    <a:gd name="T70" fmla="*/ 2147483647 w 105"/>
                    <a:gd name="T71" fmla="*/ 2147483647 h 153"/>
                    <a:gd name="T72" fmla="*/ 2147483647 w 105"/>
                    <a:gd name="T73" fmla="*/ 2147483647 h 153"/>
                    <a:gd name="T74" fmla="*/ 2147483647 w 105"/>
                    <a:gd name="T75" fmla="*/ 2147483647 h 153"/>
                    <a:gd name="T76" fmla="*/ 2147483647 w 105"/>
                    <a:gd name="T77" fmla="*/ 2147483647 h 153"/>
                    <a:gd name="T78" fmla="*/ 2147483647 w 105"/>
                    <a:gd name="T79" fmla="*/ 2147483647 h 153"/>
                    <a:gd name="T80" fmla="*/ 2147483647 w 105"/>
                    <a:gd name="T81" fmla="*/ 2147483647 h 153"/>
                    <a:gd name="T82" fmla="*/ 2147483647 w 105"/>
                    <a:gd name="T83" fmla="*/ 2147483647 h 153"/>
                    <a:gd name="T84" fmla="*/ 2147483647 w 105"/>
                    <a:gd name="T85" fmla="*/ 2147483647 h 153"/>
                    <a:gd name="T86" fmla="*/ 2147483647 w 105"/>
                    <a:gd name="T87" fmla="*/ 2147483647 h 153"/>
                    <a:gd name="T88" fmla="*/ 2147483647 w 105"/>
                    <a:gd name="T89" fmla="*/ 2147483647 h 153"/>
                    <a:gd name="T90" fmla="*/ 2147483647 w 105"/>
                    <a:gd name="T91" fmla="*/ 2147483647 h 153"/>
                    <a:gd name="T92" fmla="*/ 2147483647 w 105"/>
                    <a:gd name="T93" fmla="*/ 2147483647 h 153"/>
                    <a:gd name="T94" fmla="*/ 2147483647 w 105"/>
                    <a:gd name="T95" fmla="*/ 2147483647 h 153"/>
                    <a:gd name="T96" fmla="*/ 2147483647 w 105"/>
                    <a:gd name="T97" fmla="*/ 2147483647 h 153"/>
                    <a:gd name="T98" fmla="*/ 2147483647 w 105"/>
                    <a:gd name="T99" fmla="*/ 2147483647 h 153"/>
                    <a:gd name="T100" fmla="*/ 2147483647 w 105"/>
                    <a:gd name="T101" fmla="*/ 2147483647 h 153"/>
                    <a:gd name="T102" fmla="*/ 2147483647 w 105"/>
                    <a:gd name="T103" fmla="*/ 2147483647 h 15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05"/>
                    <a:gd name="T157" fmla="*/ 0 h 153"/>
                    <a:gd name="T158" fmla="*/ 105 w 105"/>
                    <a:gd name="T159" fmla="*/ 153 h 15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05" h="153">
                      <a:moveTo>
                        <a:pt x="104" y="76"/>
                      </a:moveTo>
                      <a:lnTo>
                        <a:pt x="104" y="76"/>
                      </a:lnTo>
                      <a:lnTo>
                        <a:pt x="105" y="74"/>
                      </a:lnTo>
                      <a:lnTo>
                        <a:pt x="105" y="73"/>
                      </a:lnTo>
                      <a:lnTo>
                        <a:pt x="104" y="72"/>
                      </a:lnTo>
                      <a:lnTo>
                        <a:pt x="103" y="71"/>
                      </a:lnTo>
                      <a:lnTo>
                        <a:pt x="97" y="71"/>
                      </a:lnTo>
                      <a:lnTo>
                        <a:pt x="93" y="72"/>
                      </a:lnTo>
                      <a:lnTo>
                        <a:pt x="90" y="73"/>
                      </a:lnTo>
                      <a:lnTo>
                        <a:pt x="88" y="78"/>
                      </a:lnTo>
                      <a:lnTo>
                        <a:pt x="86" y="79"/>
                      </a:lnTo>
                      <a:lnTo>
                        <a:pt x="84" y="80"/>
                      </a:lnTo>
                      <a:lnTo>
                        <a:pt x="78" y="80"/>
                      </a:lnTo>
                      <a:lnTo>
                        <a:pt x="70" y="79"/>
                      </a:lnTo>
                      <a:lnTo>
                        <a:pt x="65" y="77"/>
                      </a:lnTo>
                      <a:lnTo>
                        <a:pt x="62" y="74"/>
                      </a:lnTo>
                      <a:lnTo>
                        <a:pt x="61" y="72"/>
                      </a:lnTo>
                      <a:lnTo>
                        <a:pt x="56" y="61"/>
                      </a:lnTo>
                      <a:lnTo>
                        <a:pt x="50" y="51"/>
                      </a:lnTo>
                      <a:lnTo>
                        <a:pt x="50" y="46"/>
                      </a:lnTo>
                      <a:lnTo>
                        <a:pt x="50" y="44"/>
                      </a:lnTo>
                      <a:lnTo>
                        <a:pt x="48" y="42"/>
                      </a:lnTo>
                      <a:lnTo>
                        <a:pt x="47" y="44"/>
                      </a:lnTo>
                      <a:lnTo>
                        <a:pt x="47" y="45"/>
                      </a:lnTo>
                      <a:lnTo>
                        <a:pt x="46" y="47"/>
                      </a:lnTo>
                      <a:lnTo>
                        <a:pt x="46" y="49"/>
                      </a:lnTo>
                      <a:lnTo>
                        <a:pt x="44" y="49"/>
                      </a:lnTo>
                      <a:lnTo>
                        <a:pt x="43" y="49"/>
                      </a:lnTo>
                      <a:lnTo>
                        <a:pt x="42" y="47"/>
                      </a:lnTo>
                      <a:lnTo>
                        <a:pt x="41" y="42"/>
                      </a:lnTo>
                      <a:lnTo>
                        <a:pt x="39" y="38"/>
                      </a:lnTo>
                      <a:lnTo>
                        <a:pt x="33" y="28"/>
                      </a:lnTo>
                      <a:lnTo>
                        <a:pt x="32" y="26"/>
                      </a:lnTo>
                      <a:lnTo>
                        <a:pt x="32" y="25"/>
                      </a:lnTo>
                      <a:lnTo>
                        <a:pt x="32" y="22"/>
                      </a:lnTo>
                      <a:lnTo>
                        <a:pt x="31" y="21"/>
                      </a:lnTo>
                      <a:lnTo>
                        <a:pt x="28" y="20"/>
                      </a:lnTo>
                      <a:lnTo>
                        <a:pt x="24" y="19"/>
                      </a:lnTo>
                      <a:lnTo>
                        <a:pt x="22" y="17"/>
                      </a:lnTo>
                      <a:lnTo>
                        <a:pt x="19" y="15"/>
                      </a:lnTo>
                      <a:lnTo>
                        <a:pt x="17" y="9"/>
                      </a:lnTo>
                      <a:lnTo>
                        <a:pt x="11" y="3"/>
                      </a:lnTo>
                      <a:lnTo>
                        <a:pt x="10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8" y="8"/>
                      </a:lnTo>
                      <a:lnTo>
                        <a:pt x="9" y="9"/>
                      </a:lnTo>
                      <a:lnTo>
                        <a:pt x="8" y="12"/>
                      </a:lnTo>
                      <a:lnTo>
                        <a:pt x="8" y="19"/>
                      </a:lnTo>
                      <a:lnTo>
                        <a:pt x="9" y="23"/>
                      </a:lnTo>
                      <a:lnTo>
                        <a:pt x="14" y="28"/>
                      </a:lnTo>
                      <a:lnTo>
                        <a:pt x="18" y="32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3" y="33"/>
                      </a:lnTo>
                      <a:lnTo>
                        <a:pt x="24" y="30"/>
                      </a:lnTo>
                      <a:lnTo>
                        <a:pt x="24" y="29"/>
                      </a:lnTo>
                      <a:lnTo>
                        <a:pt x="25" y="30"/>
                      </a:lnTo>
                      <a:lnTo>
                        <a:pt x="29" y="35"/>
                      </a:lnTo>
                      <a:lnTo>
                        <a:pt x="31" y="38"/>
                      </a:lnTo>
                      <a:lnTo>
                        <a:pt x="32" y="41"/>
                      </a:lnTo>
                      <a:lnTo>
                        <a:pt x="32" y="48"/>
                      </a:lnTo>
                      <a:lnTo>
                        <a:pt x="32" y="55"/>
                      </a:lnTo>
                      <a:lnTo>
                        <a:pt x="32" y="58"/>
                      </a:lnTo>
                      <a:lnTo>
                        <a:pt x="33" y="61"/>
                      </a:lnTo>
                      <a:lnTo>
                        <a:pt x="36" y="66"/>
                      </a:lnTo>
                      <a:lnTo>
                        <a:pt x="37" y="71"/>
                      </a:lnTo>
                      <a:lnTo>
                        <a:pt x="37" y="81"/>
                      </a:lnTo>
                      <a:lnTo>
                        <a:pt x="37" y="85"/>
                      </a:lnTo>
                      <a:lnTo>
                        <a:pt x="37" y="89"/>
                      </a:lnTo>
                      <a:lnTo>
                        <a:pt x="37" y="92"/>
                      </a:lnTo>
                      <a:lnTo>
                        <a:pt x="36" y="94"/>
                      </a:lnTo>
                      <a:lnTo>
                        <a:pt x="33" y="97"/>
                      </a:lnTo>
                      <a:lnTo>
                        <a:pt x="28" y="100"/>
                      </a:lnTo>
                      <a:lnTo>
                        <a:pt x="23" y="103"/>
                      </a:lnTo>
                      <a:lnTo>
                        <a:pt x="22" y="104"/>
                      </a:lnTo>
                      <a:lnTo>
                        <a:pt x="22" y="106"/>
                      </a:lnTo>
                      <a:lnTo>
                        <a:pt x="22" y="109"/>
                      </a:lnTo>
                      <a:lnTo>
                        <a:pt x="23" y="112"/>
                      </a:lnTo>
                      <a:lnTo>
                        <a:pt x="24" y="113"/>
                      </a:lnTo>
                      <a:lnTo>
                        <a:pt x="25" y="113"/>
                      </a:lnTo>
                      <a:lnTo>
                        <a:pt x="28" y="115"/>
                      </a:lnTo>
                      <a:lnTo>
                        <a:pt x="28" y="116"/>
                      </a:lnTo>
                      <a:lnTo>
                        <a:pt x="31" y="118"/>
                      </a:lnTo>
                      <a:lnTo>
                        <a:pt x="37" y="123"/>
                      </a:lnTo>
                      <a:lnTo>
                        <a:pt x="42" y="129"/>
                      </a:lnTo>
                      <a:lnTo>
                        <a:pt x="43" y="131"/>
                      </a:lnTo>
                      <a:lnTo>
                        <a:pt x="43" y="135"/>
                      </a:lnTo>
                      <a:lnTo>
                        <a:pt x="43" y="138"/>
                      </a:lnTo>
                      <a:lnTo>
                        <a:pt x="39" y="143"/>
                      </a:lnTo>
                      <a:lnTo>
                        <a:pt x="39" y="144"/>
                      </a:lnTo>
                      <a:lnTo>
                        <a:pt x="39" y="147"/>
                      </a:lnTo>
                      <a:lnTo>
                        <a:pt x="42" y="150"/>
                      </a:lnTo>
                      <a:lnTo>
                        <a:pt x="47" y="153"/>
                      </a:lnTo>
                      <a:lnTo>
                        <a:pt x="51" y="153"/>
                      </a:lnTo>
                      <a:lnTo>
                        <a:pt x="57" y="150"/>
                      </a:lnTo>
                      <a:lnTo>
                        <a:pt x="62" y="147"/>
                      </a:lnTo>
                      <a:lnTo>
                        <a:pt x="66" y="142"/>
                      </a:lnTo>
                      <a:lnTo>
                        <a:pt x="70" y="137"/>
                      </a:lnTo>
                      <a:lnTo>
                        <a:pt x="76" y="128"/>
                      </a:lnTo>
                      <a:lnTo>
                        <a:pt x="79" y="116"/>
                      </a:lnTo>
                      <a:lnTo>
                        <a:pt x="79" y="110"/>
                      </a:lnTo>
                      <a:lnTo>
                        <a:pt x="79" y="106"/>
                      </a:lnTo>
                      <a:lnTo>
                        <a:pt x="81" y="104"/>
                      </a:lnTo>
                      <a:lnTo>
                        <a:pt x="84" y="104"/>
                      </a:lnTo>
                      <a:lnTo>
                        <a:pt x="86" y="105"/>
                      </a:lnTo>
                      <a:lnTo>
                        <a:pt x="88" y="106"/>
                      </a:lnTo>
                      <a:lnTo>
                        <a:pt x="90" y="106"/>
                      </a:lnTo>
                      <a:lnTo>
                        <a:pt x="91" y="104"/>
                      </a:lnTo>
                      <a:lnTo>
                        <a:pt x="91" y="102"/>
                      </a:lnTo>
                      <a:lnTo>
                        <a:pt x="91" y="99"/>
                      </a:lnTo>
                      <a:lnTo>
                        <a:pt x="93" y="97"/>
                      </a:lnTo>
                      <a:lnTo>
                        <a:pt x="99" y="91"/>
                      </a:lnTo>
                      <a:lnTo>
                        <a:pt x="102" y="87"/>
                      </a:lnTo>
                      <a:lnTo>
                        <a:pt x="103" y="84"/>
                      </a:lnTo>
                      <a:lnTo>
                        <a:pt x="102" y="83"/>
                      </a:lnTo>
                      <a:lnTo>
                        <a:pt x="100" y="81"/>
                      </a:lnTo>
                      <a:lnTo>
                        <a:pt x="99" y="80"/>
                      </a:lnTo>
                      <a:lnTo>
                        <a:pt x="99" y="79"/>
                      </a:lnTo>
                      <a:lnTo>
                        <a:pt x="100" y="77"/>
                      </a:lnTo>
                      <a:lnTo>
                        <a:pt x="104" y="7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" name="Freeform 271">
                  <a:extLst>
                    <a:ext uri="{FF2B5EF4-FFF2-40B4-BE49-F238E27FC236}">
                      <a16:creationId xmlns:a16="http://schemas.microsoft.com/office/drawing/2014/main" id="{DD428BC6-F967-DD48-8BB6-FA3F071335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24628" y="5929528"/>
                  <a:ext cx="17758" cy="28117"/>
                </a:xfrm>
                <a:custGeom>
                  <a:avLst/>
                  <a:gdLst>
                    <a:gd name="T0" fmla="*/ 2147483647 w 13"/>
                    <a:gd name="T1" fmla="*/ 2147483647 h 19"/>
                    <a:gd name="T2" fmla="*/ 2147483647 w 13"/>
                    <a:gd name="T3" fmla="*/ 2147483647 h 19"/>
                    <a:gd name="T4" fmla="*/ 2147483647 w 13"/>
                    <a:gd name="T5" fmla="*/ 2147483647 h 19"/>
                    <a:gd name="T6" fmla="*/ 2147483647 w 13"/>
                    <a:gd name="T7" fmla="*/ 2147483647 h 19"/>
                    <a:gd name="T8" fmla="*/ 2147483647 w 13"/>
                    <a:gd name="T9" fmla="*/ 2147483647 h 19"/>
                    <a:gd name="T10" fmla="*/ 2147483647 w 13"/>
                    <a:gd name="T11" fmla="*/ 2147483647 h 19"/>
                    <a:gd name="T12" fmla="*/ 2147483647 w 13"/>
                    <a:gd name="T13" fmla="*/ 2147483647 h 19"/>
                    <a:gd name="T14" fmla="*/ 2147483647 w 13"/>
                    <a:gd name="T15" fmla="*/ 2147483647 h 19"/>
                    <a:gd name="T16" fmla="*/ 2147483647 w 13"/>
                    <a:gd name="T17" fmla="*/ 2147483647 h 19"/>
                    <a:gd name="T18" fmla="*/ 2147483647 w 13"/>
                    <a:gd name="T19" fmla="*/ 2147483647 h 19"/>
                    <a:gd name="T20" fmla="*/ 2147483647 w 13"/>
                    <a:gd name="T21" fmla="*/ 2147483647 h 19"/>
                    <a:gd name="T22" fmla="*/ 0 w 13"/>
                    <a:gd name="T23" fmla="*/ 2147483647 h 19"/>
                    <a:gd name="T24" fmla="*/ 2147483647 w 13"/>
                    <a:gd name="T25" fmla="*/ 2147483647 h 19"/>
                    <a:gd name="T26" fmla="*/ 2147483647 w 13"/>
                    <a:gd name="T27" fmla="*/ 2147483647 h 19"/>
                    <a:gd name="T28" fmla="*/ 2147483647 w 13"/>
                    <a:gd name="T29" fmla="*/ 2147483647 h 19"/>
                    <a:gd name="T30" fmla="*/ 2147483647 w 13"/>
                    <a:gd name="T31" fmla="*/ 0 h 19"/>
                    <a:gd name="T32" fmla="*/ 2147483647 w 13"/>
                    <a:gd name="T33" fmla="*/ 2147483647 h 19"/>
                    <a:gd name="T34" fmla="*/ 2147483647 w 13"/>
                    <a:gd name="T35" fmla="*/ 2147483647 h 19"/>
                    <a:gd name="T36" fmla="*/ 2147483647 w 13"/>
                    <a:gd name="T37" fmla="*/ 2147483647 h 19"/>
                    <a:gd name="T38" fmla="*/ 2147483647 w 13"/>
                    <a:gd name="T39" fmla="*/ 2147483647 h 19"/>
                    <a:gd name="T40" fmla="*/ 2147483647 w 13"/>
                    <a:gd name="T41" fmla="*/ 2147483647 h 19"/>
                    <a:gd name="T42" fmla="*/ 2147483647 w 13"/>
                    <a:gd name="T43" fmla="*/ 2147483647 h 1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"/>
                    <a:gd name="T67" fmla="*/ 0 h 19"/>
                    <a:gd name="T68" fmla="*/ 13 w 13"/>
                    <a:gd name="T69" fmla="*/ 19 h 1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" h="19">
                      <a:moveTo>
                        <a:pt x="12" y="7"/>
                      </a:moveTo>
                      <a:lnTo>
                        <a:pt x="12" y="7"/>
                      </a:lnTo>
                      <a:lnTo>
                        <a:pt x="12" y="10"/>
                      </a:lnTo>
                      <a:lnTo>
                        <a:pt x="12" y="11"/>
                      </a:lnTo>
                      <a:lnTo>
                        <a:pt x="13" y="16"/>
                      </a:lnTo>
                      <a:lnTo>
                        <a:pt x="13" y="18"/>
                      </a:lnTo>
                      <a:lnTo>
                        <a:pt x="13" y="19"/>
                      </a:lnTo>
                      <a:lnTo>
                        <a:pt x="11" y="19"/>
                      </a:lnTo>
                      <a:lnTo>
                        <a:pt x="7" y="18"/>
                      </a:lnTo>
                      <a:lnTo>
                        <a:pt x="3" y="13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3" y="4"/>
                      </a:lnTo>
                      <a:lnTo>
                        <a:pt x="13" y="5"/>
                      </a:lnTo>
                      <a:lnTo>
                        <a:pt x="12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" name="Freeform 281">
                  <a:extLst>
                    <a:ext uri="{FF2B5EF4-FFF2-40B4-BE49-F238E27FC236}">
                      <a16:creationId xmlns:a16="http://schemas.microsoft.com/office/drawing/2014/main" id="{37C0FB0B-5030-2A47-9CA7-2E0BA5AA74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95093" y="4227676"/>
                  <a:ext cx="11839" cy="34037"/>
                </a:xfrm>
                <a:custGeom>
                  <a:avLst/>
                  <a:gdLst>
                    <a:gd name="T0" fmla="*/ 2147483647 w 8"/>
                    <a:gd name="T1" fmla="*/ 2147483647 h 23"/>
                    <a:gd name="T2" fmla="*/ 2147483647 w 8"/>
                    <a:gd name="T3" fmla="*/ 2147483647 h 23"/>
                    <a:gd name="T4" fmla="*/ 2147483647 w 8"/>
                    <a:gd name="T5" fmla="*/ 2147483647 h 23"/>
                    <a:gd name="T6" fmla="*/ 2147483647 w 8"/>
                    <a:gd name="T7" fmla="*/ 2147483647 h 23"/>
                    <a:gd name="T8" fmla="*/ 2147483647 w 8"/>
                    <a:gd name="T9" fmla="*/ 2147483647 h 23"/>
                    <a:gd name="T10" fmla="*/ 2147483647 w 8"/>
                    <a:gd name="T11" fmla="*/ 2147483647 h 23"/>
                    <a:gd name="T12" fmla="*/ 2147483647 w 8"/>
                    <a:gd name="T13" fmla="*/ 2147483647 h 23"/>
                    <a:gd name="T14" fmla="*/ 0 w 8"/>
                    <a:gd name="T15" fmla="*/ 2147483647 h 23"/>
                    <a:gd name="T16" fmla="*/ 2147483647 w 8"/>
                    <a:gd name="T17" fmla="*/ 2147483647 h 23"/>
                    <a:gd name="T18" fmla="*/ 2147483647 w 8"/>
                    <a:gd name="T19" fmla="*/ 2147483647 h 23"/>
                    <a:gd name="T20" fmla="*/ 2147483647 w 8"/>
                    <a:gd name="T21" fmla="*/ 0 h 23"/>
                    <a:gd name="T22" fmla="*/ 2147483647 w 8"/>
                    <a:gd name="T23" fmla="*/ 0 h 23"/>
                    <a:gd name="T24" fmla="*/ 2147483647 w 8"/>
                    <a:gd name="T25" fmla="*/ 2147483647 h 23"/>
                    <a:gd name="T26" fmla="*/ 2147483647 w 8"/>
                    <a:gd name="T27" fmla="*/ 2147483647 h 23"/>
                    <a:gd name="T28" fmla="*/ 2147483647 w 8"/>
                    <a:gd name="T29" fmla="*/ 2147483647 h 23"/>
                    <a:gd name="T30" fmla="*/ 2147483647 w 8"/>
                    <a:gd name="T31" fmla="*/ 2147483647 h 23"/>
                    <a:gd name="T32" fmla="*/ 2147483647 w 8"/>
                    <a:gd name="T33" fmla="*/ 2147483647 h 2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23"/>
                    <a:gd name="T53" fmla="*/ 8 w 8"/>
                    <a:gd name="T54" fmla="*/ 23 h 2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23">
                      <a:moveTo>
                        <a:pt x="6" y="16"/>
                      </a:moveTo>
                      <a:lnTo>
                        <a:pt x="8" y="19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2"/>
                      </a:lnTo>
                      <a:lnTo>
                        <a:pt x="1" y="16"/>
                      </a:lnTo>
                      <a:lnTo>
                        <a:pt x="0" y="9"/>
                      </a:lnTo>
                      <a:lnTo>
                        <a:pt x="1" y="3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8" y="5"/>
                      </a:lnTo>
                      <a:lnTo>
                        <a:pt x="6" y="11"/>
                      </a:lnTo>
                      <a:lnTo>
                        <a:pt x="5" y="13"/>
                      </a:ln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" name="Freeform 283">
                  <a:extLst>
                    <a:ext uri="{FF2B5EF4-FFF2-40B4-BE49-F238E27FC236}">
                      <a16:creationId xmlns:a16="http://schemas.microsoft.com/office/drawing/2014/main" id="{DF5A1CA2-1A71-2E48-8939-4A373F4C22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93616" y="4226197"/>
                  <a:ext cx="10360" cy="34038"/>
                </a:xfrm>
                <a:custGeom>
                  <a:avLst/>
                  <a:gdLst>
                    <a:gd name="T0" fmla="*/ 2147483647 w 7"/>
                    <a:gd name="T1" fmla="*/ 2147483647 h 23"/>
                    <a:gd name="T2" fmla="*/ 2147483647 w 7"/>
                    <a:gd name="T3" fmla="*/ 2147483647 h 23"/>
                    <a:gd name="T4" fmla="*/ 2147483647 w 7"/>
                    <a:gd name="T5" fmla="*/ 2147483647 h 23"/>
                    <a:gd name="T6" fmla="*/ 2147483647 w 7"/>
                    <a:gd name="T7" fmla="*/ 2147483647 h 23"/>
                    <a:gd name="T8" fmla="*/ 2147483647 w 7"/>
                    <a:gd name="T9" fmla="*/ 2147483647 h 23"/>
                    <a:gd name="T10" fmla="*/ 2147483647 w 7"/>
                    <a:gd name="T11" fmla="*/ 2147483647 h 23"/>
                    <a:gd name="T12" fmla="*/ 2147483647 w 7"/>
                    <a:gd name="T13" fmla="*/ 2147483647 h 23"/>
                    <a:gd name="T14" fmla="*/ 2147483647 w 7"/>
                    <a:gd name="T15" fmla="*/ 2147483647 h 23"/>
                    <a:gd name="T16" fmla="*/ 2147483647 w 7"/>
                    <a:gd name="T17" fmla="*/ 2147483647 h 23"/>
                    <a:gd name="T18" fmla="*/ 2147483647 w 7"/>
                    <a:gd name="T19" fmla="*/ 2147483647 h 23"/>
                    <a:gd name="T20" fmla="*/ 2147483647 w 7"/>
                    <a:gd name="T21" fmla="*/ 2147483647 h 23"/>
                    <a:gd name="T22" fmla="*/ 0 w 7"/>
                    <a:gd name="T23" fmla="*/ 2147483647 h 23"/>
                    <a:gd name="T24" fmla="*/ 2147483647 w 7"/>
                    <a:gd name="T25" fmla="*/ 2147483647 h 23"/>
                    <a:gd name="T26" fmla="*/ 2147483647 w 7"/>
                    <a:gd name="T27" fmla="*/ 2147483647 h 23"/>
                    <a:gd name="T28" fmla="*/ 2147483647 w 7"/>
                    <a:gd name="T29" fmla="*/ 0 h 23"/>
                    <a:gd name="T30" fmla="*/ 2147483647 w 7"/>
                    <a:gd name="T31" fmla="*/ 0 h 23"/>
                    <a:gd name="T32" fmla="*/ 2147483647 w 7"/>
                    <a:gd name="T33" fmla="*/ 0 h 23"/>
                    <a:gd name="T34" fmla="*/ 2147483647 w 7"/>
                    <a:gd name="T35" fmla="*/ 2147483647 h 23"/>
                    <a:gd name="T36" fmla="*/ 2147483647 w 7"/>
                    <a:gd name="T37" fmla="*/ 2147483647 h 23"/>
                    <a:gd name="T38" fmla="*/ 2147483647 w 7"/>
                    <a:gd name="T39" fmla="*/ 2147483647 h 23"/>
                    <a:gd name="T40" fmla="*/ 2147483647 w 7"/>
                    <a:gd name="T41" fmla="*/ 2147483647 h 23"/>
                    <a:gd name="T42" fmla="*/ 2147483647 w 7"/>
                    <a:gd name="T43" fmla="*/ 2147483647 h 23"/>
                    <a:gd name="T44" fmla="*/ 2147483647 w 7"/>
                    <a:gd name="T45" fmla="*/ 2147483647 h 2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7"/>
                    <a:gd name="T70" fmla="*/ 0 h 23"/>
                    <a:gd name="T71" fmla="*/ 7 w 7"/>
                    <a:gd name="T72" fmla="*/ 23 h 2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7" h="23">
                      <a:moveTo>
                        <a:pt x="6" y="16"/>
                      </a:moveTo>
                      <a:lnTo>
                        <a:pt x="6" y="16"/>
                      </a:lnTo>
                      <a:lnTo>
                        <a:pt x="7" y="19"/>
                      </a:lnTo>
                      <a:lnTo>
                        <a:pt x="7" y="22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1" y="16"/>
                      </a:lnTo>
                      <a:lnTo>
                        <a:pt x="0" y="8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7" y="5"/>
                      </a:lnTo>
                      <a:lnTo>
                        <a:pt x="6" y="11"/>
                      </a:lnTo>
                      <a:lnTo>
                        <a:pt x="5" y="13"/>
                      </a:ln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" name="Freeform 284">
                  <a:extLst>
                    <a:ext uri="{FF2B5EF4-FFF2-40B4-BE49-F238E27FC236}">
                      <a16:creationId xmlns:a16="http://schemas.microsoft.com/office/drawing/2014/main" id="{8C64AB09-4F29-0E46-9124-E5F124F0A6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93612" y="4272074"/>
                  <a:ext cx="7400" cy="19238"/>
                </a:xfrm>
                <a:custGeom>
                  <a:avLst/>
                  <a:gdLst>
                    <a:gd name="T0" fmla="*/ 2147483647 w 5"/>
                    <a:gd name="T1" fmla="*/ 2147483647 h 13"/>
                    <a:gd name="T2" fmla="*/ 2147483647 w 5"/>
                    <a:gd name="T3" fmla="*/ 2147483647 h 13"/>
                    <a:gd name="T4" fmla="*/ 2147483647 w 5"/>
                    <a:gd name="T5" fmla="*/ 2147483647 h 13"/>
                    <a:gd name="T6" fmla="*/ 2147483647 w 5"/>
                    <a:gd name="T7" fmla="*/ 2147483647 h 13"/>
                    <a:gd name="T8" fmla="*/ 0 w 5"/>
                    <a:gd name="T9" fmla="*/ 2147483647 h 13"/>
                    <a:gd name="T10" fmla="*/ 0 w 5"/>
                    <a:gd name="T11" fmla="*/ 2147483647 h 13"/>
                    <a:gd name="T12" fmla="*/ 2147483647 w 5"/>
                    <a:gd name="T13" fmla="*/ 2147483647 h 13"/>
                    <a:gd name="T14" fmla="*/ 2147483647 w 5"/>
                    <a:gd name="T15" fmla="*/ 2147483647 h 13"/>
                    <a:gd name="T16" fmla="*/ 2147483647 w 5"/>
                    <a:gd name="T17" fmla="*/ 0 h 13"/>
                    <a:gd name="T18" fmla="*/ 2147483647 w 5"/>
                    <a:gd name="T19" fmla="*/ 2147483647 h 13"/>
                    <a:gd name="T20" fmla="*/ 2147483647 w 5"/>
                    <a:gd name="T21" fmla="*/ 2147483647 h 13"/>
                    <a:gd name="T22" fmla="*/ 2147483647 w 5"/>
                    <a:gd name="T23" fmla="*/ 2147483647 h 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"/>
                    <a:gd name="T37" fmla="*/ 0 h 13"/>
                    <a:gd name="T38" fmla="*/ 5 w 5"/>
                    <a:gd name="T39" fmla="*/ 13 h 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" h="13">
                      <a:moveTo>
                        <a:pt x="5" y="7"/>
                      </a:moveTo>
                      <a:lnTo>
                        <a:pt x="5" y="11"/>
                      </a:lnTo>
                      <a:lnTo>
                        <a:pt x="2" y="13"/>
                      </a:lnTo>
                      <a:lnTo>
                        <a:pt x="1" y="13"/>
                      </a:lnTo>
                      <a:lnTo>
                        <a:pt x="0" y="12"/>
                      </a:lnTo>
                      <a:lnTo>
                        <a:pt x="0" y="5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5" y="2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" name="Freeform 285">
                  <a:extLst>
                    <a:ext uri="{FF2B5EF4-FFF2-40B4-BE49-F238E27FC236}">
                      <a16:creationId xmlns:a16="http://schemas.microsoft.com/office/drawing/2014/main" id="{87C4FA9A-CF7D-0741-9523-D4788C0ADD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90653" y="4301669"/>
                  <a:ext cx="8879" cy="17758"/>
                </a:xfrm>
                <a:custGeom>
                  <a:avLst/>
                  <a:gdLst>
                    <a:gd name="T0" fmla="*/ 2147483647 w 7"/>
                    <a:gd name="T1" fmla="*/ 2147483647 h 12"/>
                    <a:gd name="T2" fmla="*/ 2147483647 w 7"/>
                    <a:gd name="T3" fmla="*/ 2147483647 h 12"/>
                    <a:gd name="T4" fmla="*/ 2147483647 w 7"/>
                    <a:gd name="T5" fmla="*/ 2147483647 h 12"/>
                    <a:gd name="T6" fmla="*/ 0 w 7"/>
                    <a:gd name="T7" fmla="*/ 2147483647 h 12"/>
                    <a:gd name="T8" fmla="*/ 0 w 7"/>
                    <a:gd name="T9" fmla="*/ 2147483647 h 12"/>
                    <a:gd name="T10" fmla="*/ 2147483647 w 7"/>
                    <a:gd name="T11" fmla="*/ 2147483647 h 12"/>
                    <a:gd name="T12" fmla="*/ 2147483647 w 7"/>
                    <a:gd name="T13" fmla="*/ 0 h 12"/>
                    <a:gd name="T14" fmla="*/ 2147483647 w 7"/>
                    <a:gd name="T15" fmla="*/ 0 h 12"/>
                    <a:gd name="T16" fmla="*/ 2147483647 w 7"/>
                    <a:gd name="T17" fmla="*/ 2147483647 h 12"/>
                    <a:gd name="T18" fmla="*/ 2147483647 w 7"/>
                    <a:gd name="T19" fmla="*/ 2147483647 h 1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7"/>
                    <a:gd name="T31" fmla="*/ 0 h 12"/>
                    <a:gd name="T32" fmla="*/ 7 w 7"/>
                    <a:gd name="T33" fmla="*/ 12 h 1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7" h="12">
                      <a:moveTo>
                        <a:pt x="7" y="6"/>
                      </a:moveTo>
                      <a:lnTo>
                        <a:pt x="5" y="10"/>
                      </a:lnTo>
                      <a:lnTo>
                        <a:pt x="3" y="12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3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7" y="3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" name="Freeform 286">
                  <a:extLst>
                    <a:ext uri="{FF2B5EF4-FFF2-40B4-BE49-F238E27FC236}">
                      <a16:creationId xmlns:a16="http://schemas.microsoft.com/office/drawing/2014/main" id="{04561664-E1CF-1145-B3B4-969726493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90653" y="4270594"/>
                  <a:ext cx="8879" cy="19239"/>
                </a:xfrm>
                <a:custGeom>
                  <a:avLst/>
                  <a:gdLst>
                    <a:gd name="T0" fmla="*/ 2147483647 w 6"/>
                    <a:gd name="T1" fmla="*/ 2147483647 h 13"/>
                    <a:gd name="T2" fmla="*/ 2147483647 w 6"/>
                    <a:gd name="T3" fmla="*/ 2147483647 h 13"/>
                    <a:gd name="T4" fmla="*/ 2147483647 w 6"/>
                    <a:gd name="T5" fmla="*/ 2147483647 h 13"/>
                    <a:gd name="T6" fmla="*/ 2147483647 w 6"/>
                    <a:gd name="T7" fmla="*/ 2147483647 h 13"/>
                    <a:gd name="T8" fmla="*/ 2147483647 w 6"/>
                    <a:gd name="T9" fmla="*/ 2147483647 h 13"/>
                    <a:gd name="T10" fmla="*/ 2147483647 w 6"/>
                    <a:gd name="T11" fmla="*/ 2147483647 h 13"/>
                    <a:gd name="T12" fmla="*/ 0 w 6"/>
                    <a:gd name="T13" fmla="*/ 2147483647 h 13"/>
                    <a:gd name="T14" fmla="*/ 0 w 6"/>
                    <a:gd name="T15" fmla="*/ 2147483647 h 13"/>
                    <a:gd name="T16" fmla="*/ 0 w 6"/>
                    <a:gd name="T17" fmla="*/ 2147483647 h 13"/>
                    <a:gd name="T18" fmla="*/ 2147483647 w 6"/>
                    <a:gd name="T19" fmla="*/ 2147483647 h 13"/>
                    <a:gd name="T20" fmla="*/ 2147483647 w 6"/>
                    <a:gd name="T21" fmla="*/ 2147483647 h 13"/>
                    <a:gd name="T22" fmla="*/ 2147483647 w 6"/>
                    <a:gd name="T23" fmla="*/ 0 h 13"/>
                    <a:gd name="T24" fmla="*/ 2147483647 w 6"/>
                    <a:gd name="T25" fmla="*/ 0 h 13"/>
                    <a:gd name="T26" fmla="*/ 2147483647 w 6"/>
                    <a:gd name="T27" fmla="*/ 2147483647 h 13"/>
                    <a:gd name="T28" fmla="*/ 2147483647 w 6"/>
                    <a:gd name="T29" fmla="*/ 2147483647 h 13"/>
                    <a:gd name="T30" fmla="*/ 2147483647 w 6"/>
                    <a:gd name="T31" fmla="*/ 2147483647 h 13"/>
                    <a:gd name="T32" fmla="*/ 2147483647 w 6"/>
                    <a:gd name="T33" fmla="*/ 2147483647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"/>
                    <a:gd name="T52" fmla="*/ 0 h 13"/>
                    <a:gd name="T53" fmla="*/ 6 w 6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" h="13"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6" y="11"/>
                      </a:lnTo>
                      <a:lnTo>
                        <a:pt x="3" y="13"/>
                      </a:lnTo>
                      <a:lnTo>
                        <a:pt x="2" y="13"/>
                      </a:lnTo>
                      <a:lnTo>
                        <a:pt x="0" y="12"/>
                      </a:ln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" name="Freeform 287">
                  <a:extLst>
                    <a:ext uri="{FF2B5EF4-FFF2-40B4-BE49-F238E27FC236}">
                      <a16:creationId xmlns:a16="http://schemas.microsoft.com/office/drawing/2014/main" id="{D2C08A59-8E35-D843-9279-11793FCADD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89176" y="4300192"/>
                  <a:ext cx="7399" cy="17758"/>
                </a:xfrm>
                <a:custGeom>
                  <a:avLst/>
                  <a:gdLst>
                    <a:gd name="T0" fmla="*/ 2147483647 w 6"/>
                    <a:gd name="T1" fmla="*/ 2147483647 h 12"/>
                    <a:gd name="T2" fmla="*/ 2147483647 w 6"/>
                    <a:gd name="T3" fmla="*/ 2147483647 h 12"/>
                    <a:gd name="T4" fmla="*/ 2147483647 w 6"/>
                    <a:gd name="T5" fmla="*/ 2147483647 h 12"/>
                    <a:gd name="T6" fmla="*/ 2147483647 w 6"/>
                    <a:gd name="T7" fmla="*/ 2147483647 h 12"/>
                    <a:gd name="T8" fmla="*/ 2147483647 w 6"/>
                    <a:gd name="T9" fmla="*/ 2147483647 h 12"/>
                    <a:gd name="T10" fmla="*/ 0 w 6"/>
                    <a:gd name="T11" fmla="*/ 2147483647 h 12"/>
                    <a:gd name="T12" fmla="*/ 0 w 6"/>
                    <a:gd name="T13" fmla="*/ 2147483647 h 12"/>
                    <a:gd name="T14" fmla="*/ 2147483647 w 6"/>
                    <a:gd name="T15" fmla="*/ 2147483647 h 12"/>
                    <a:gd name="T16" fmla="*/ 2147483647 w 6"/>
                    <a:gd name="T17" fmla="*/ 0 h 12"/>
                    <a:gd name="T18" fmla="*/ 2147483647 w 6"/>
                    <a:gd name="T19" fmla="*/ 0 h 12"/>
                    <a:gd name="T20" fmla="*/ 2147483647 w 6"/>
                    <a:gd name="T21" fmla="*/ 0 h 12"/>
                    <a:gd name="T22" fmla="*/ 2147483647 w 6"/>
                    <a:gd name="T23" fmla="*/ 0 h 12"/>
                    <a:gd name="T24" fmla="*/ 2147483647 w 6"/>
                    <a:gd name="T25" fmla="*/ 2147483647 h 12"/>
                    <a:gd name="T26" fmla="*/ 2147483647 w 6"/>
                    <a:gd name="T27" fmla="*/ 2147483647 h 12"/>
                    <a:gd name="T28" fmla="*/ 2147483647 w 6"/>
                    <a:gd name="T29" fmla="*/ 2147483647 h 1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12"/>
                    <a:gd name="T47" fmla="*/ 6 w 6"/>
                    <a:gd name="T48" fmla="*/ 12 h 1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12">
                      <a:moveTo>
                        <a:pt x="6" y="6"/>
                      </a:moveTo>
                      <a:lnTo>
                        <a:pt x="6" y="6"/>
                      </a:lnTo>
                      <a:lnTo>
                        <a:pt x="5" y="9"/>
                      </a:lnTo>
                      <a:lnTo>
                        <a:pt x="2" y="12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6" y="2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" name="Freeform 288">
                  <a:extLst>
                    <a:ext uri="{FF2B5EF4-FFF2-40B4-BE49-F238E27FC236}">
                      <a16:creationId xmlns:a16="http://schemas.microsoft.com/office/drawing/2014/main" id="{38F42A14-D048-4844-91A6-6779556293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5811" y="4374182"/>
                  <a:ext cx="5919" cy="11839"/>
                </a:xfrm>
                <a:custGeom>
                  <a:avLst/>
                  <a:gdLst>
                    <a:gd name="T0" fmla="*/ 2147483647 w 4"/>
                    <a:gd name="T1" fmla="*/ 2147483647 h 8"/>
                    <a:gd name="T2" fmla="*/ 2147483647 w 4"/>
                    <a:gd name="T3" fmla="*/ 2147483647 h 8"/>
                    <a:gd name="T4" fmla="*/ 2147483647 w 4"/>
                    <a:gd name="T5" fmla="*/ 2147483647 h 8"/>
                    <a:gd name="T6" fmla="*/ 2147483647 w 4"/>
                    <a:gd name="T7" fmla="*/ 2147483647 h 8"/>
                    <a:gd name="T8" fmla="*/ 0 w 4"/>
                    <a:gd name="T9" fmla="*/ 2147483647 h 8"/>
                    <a:gd name="T10" fmla="*/ 0 w 4"/>
                    <a:gd name="T11" fmla="*/ 2147483647 h 8"/>
                    <a:gd name="T12" fmla="*/ 0 w 4"/>
                    <a:gd name="T13" fmla="*/ 0 h 8"/>
                    <a:gd name="T14" fmla="*/ 2147483647 w 4"/>
                    <a:gd name="T15" fmla="*/ 0 h 8"/>
                    <a:gd name="T16" fmla="*/ 2147483647 w 4"/>
                    <a:gd name="T17" fmla="*/ 2147483647 h 8"/>
                    <a:gd name="T18" fmla="*/ 2147483647 w 4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"/>
                    <a:gd name="T31" fmla="*/ 0 h 8"/>
                    <a:gd name="T32" fmla="*/ 4 w 4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" h="8">
                      <a:moveTo>
                        <a:pt x="4" y="5"/>
                      </a:move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3" y="7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" name="Freeform 289">
                  <a:extLst>
                    <a:ext uri="{FF2B5EF4-FFF2-40B4-BE49-F238E27FC236}">
                      <a16:creationId xmlns:a16="http://schemas.microsoft.com/office/drawing/2014/main" id="{8FD9C5B2-92B2-BE45-8B45-FECFBE974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20250" y="4411183"/>
                  <a:ext cx="11839" cy="14799"/>
                </a:xfrm>
                <a:custGeom>
                  <a:avLst/>
                  <a:gdLst>
                    <a:gd name="T0" fmla="*/ 2147483647 w 9"/>
                    <a:gd name="T1" fmla="*/ 2147483647 h 10"/>
                    <a:gd name="T2" fmla="*/ 2147483647 w 9"/>
                    <a:gd name="T3" fmla="*/ 2147483647 h 10"/>
                    <a:gd name="T4" fmla="*/ 2147483647 w 9"/>
                    <a:gd name="T5" fmla="*/ 2147483647 h 10"/>
                    <a:gd name="T6" fmla="*/ 2147483647 w 9"/>
                    <a:gd name="T7" fmla="*/ 2147483647 h 10"/>
                    <a:gd name="T8" fmla="*/ 2147483647 w 9"/>
                    <a:gd name="T9" fmla="*/ 2147483647 h 10"/>
                    <a:gd name="T10" fmla="*/ 0 w 9"/>
                    <a:gd name="T11" fmla="*/ 2147483647 h 10"/>
                    <a:gd name="T12" fmla="*/ 0 w 9"/>
                    <a:gd name="T13" fmla="*/ 2147483647 h 10"/>
                    <a:gd name="T14" fmla="*/ 2147483647 w 9"/>
                    <a:gd name="T15" fmla="*/ 2147483647 h 10"/>
                    <a:gd name="T16" fmla="*/ 2147483647 w 9"/>
                    <a:gd name="T17" fmla="*/ 0 h 10"/>
                    <a:gd name="T18" fmla="*/ 2147483647 w 9"/>
                    <a:gd name="T19" fmla="*/ 0 h 10"/>
                    <a:gd name="T20" fmla="*/ 2147483647 w 9"/>
                    <a:gd name="T21" fmla="*/ 2147483647 h 10"/>
                    <a:gd name="T22" fmla="*/ 2147483647 w 9"/>
                    <a:gd name="T23" fmla="*/ 2147483647 h 10"/>
                    <a:gd name="T24" fmla="*/ 2147483647 w 9"/>
                    <a:gd name="T25" fmla="*/ 2147483647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10"/>
                    <a:gd name="T41" fmla="*/ 9 w 9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10">
                      <a:moveTo>
                        <a:pt x="9" y="7"/>
                      </a:moveTo>
                      <a:lnTo>
                        <a:pt x="9" y="9"/>
                      </a:lnTo>
                      <a:lnTo>
                        <a:pt x="7" y="10"/>
                      </a:lnTo>
                      <a:lnTo>
                        <a:pt x="5" y="9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7" y="3"/>
                      </a:lnTo>
                      <a:lnTo>
                        <a:pt x="9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" name="Freeform 290">
                  <a:extLst>
                    <a:ext uri="{FF2B5EF4-FFF2-40B4-BE49-F238E27FC236}">
                      <a16:creationId xmlns:a16="http://schemas.microsoft.com/office/drawing/2014/main" id="{D7E2F355-D085-5740-896A-9A8EDFA5E0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4331" y="4372704"/>
                  <a:ext cx="5919" cy="11839"/>
                </a:xfrm>
                <a:custGeom>
                  <a:avLst/>
                  <a:gdLst>
                    <a:gd name="T0" fmla="*/ 2147483647 w 4"/>
                    <a:gd name="T1" fmla="*/ 2147483647 h 8"/>
                    <a:gd name="T2" fmla="*/ 2147483647 w 4"/>
                    <a:gd name="T3" fmla="*/ 2147483647 h 8"/>
                    <a:gd name="T4" fmla="*/ 2147483647 w 4"/>
                    <a:gd name="T5" fmla="*/ 2147483647 h 8"/>
                    <a:gd name="T6" fmla="*/ 2147483647 w 4"/>
                    <a:gd name="T7" fmla="*/ 2147483647 h 8"/>
                    <a:gd name="T8" fmla="*/ 2147483647 w 4"/>
                    <a:gd name="T9" fmla="*/ 2147483647 h 8"/>
                    <a:gd name="T10" fmla="*/ 2147483647 w 4"/>
                    <a:gd name="T11" fmla="*/ 2147483647 h 8"/>
                    <a:gd name="T12" fmla="*/ 0 w 4"/>
                    <a:gd name="T13" fmla="*/ 2147483647 h 8"/>
                    <a:gd name="T14" fmla="*/ 0 w 4"/>
                    <a:gd name="T15" fmla="*/ 2147483647 h 8"/>
                    <a:gd name="T16" fmla="*/ 0 w 4"/>
                    <a:gd name="T17" fmla="*/ 0 h 8"/>
                    <a:gd name="T18" fmla="*/ 0 w 4"/>
                    <a:gd name="T19" fmla="*/ 0 h 8"/>
                    <a:gd name="T20" fmla="*/ 2147483647 w 4"/>
                    <a:gd name="T21" fmla="*/ 0 h 8"/>
                    <a:gd name="T22" fmla="*/ 2147483647 w 4"/>
                    <a:gd name="T23" fmla="*/ 2147483647 h 8"/>
                    <a:gd name="T24" fmla="*/ 2147483647 w 4"/>
                    <a:gd name="T25" fmla="*/ 2147483647 h 8"/>
                    <a:gd name="T26" fmla="*/ 2147483647 w 4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"/>
                    <a:gd name="T43" fmla="*/ 0 h 8"/>
                    <a:gd name="T44" fmla="*/ 4 w 4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" h="8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3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" name="Freeform 291">
                  <a:extLst>
                    <a:ext uri="{FF2B5EF4-FFF2-40B4-BE49-F238E27FC236}">
                      <a16:creationId xmlns:a16="http://schemas.microsoft.com/office/drawing/2014/main" id="{D3E3232B-61FC-E542-8B88-EF8B0A5B60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8770" y="4408220"/>
                  <a:ext cx="10359" cy="16278"/>
                </a:xfrm>
                <a:custGeom>
                  <a:avLst/>
                  <a:gdLst>
                    <a:gd name="T0" fmla="*/ 2147483647 w 8"/>
                    <a:gd name="T1" fmla="*/ 2147483647 h 11"/>
                    <a:gd name="T2" fmla="*/ 2147483647 w 8"/>
                    <a:gd name="T3" fmla="*/ 2147483647 h 11"/>
                    <a:gd name="T4" fmla="*/ 2147483647 w 8"/>
                    <a:gd name="T5" fmla="*/ 2147483647 h 11"/>
                    <a:gd name="T6" fmla="*/ 2147483647 w 8"/>
                    <a:gd name="T7" fmla="*/ 2147483647 h 11"/>
                    <a:gd name="T8" fmla="*/ 2147483647 w 8"/>
                    <a:gd name="T9" fmla="*/ 2147483647 h 11"/>
                    <a:gd name="T10" fmla="*/ 2147483647 w 8"/>
                    <a:gd name="T11" fmla="*/ 2147483647 h 11"/>
                    <a:gd name="T12" fmla="*/ 2147483647 w 8"/>
                    <a:gd name="T13" fmla="*/ 2147483647 h 11"/>
                    <a:gd name="T14" fmla="*/ 2147483647 w 8"/>
                    <a:gd name="T15" fmla="*/ 2147483647 h 11"/>
                    <a:gd name="T16" fmla="*/ 0 w 8"/>
                    <a:gd name="T17" fmla="*/ 2147483647 h 11"/>
                    <a:gd name="T18" fmla="*/ 0 w 8"/>
                    <a:gd name="T19" fmla="*/ 2147483647 h 11"/>
                    <a:gd name="T20" fmla="*/ 2147483647 w 8"/>
                    <a:gd name="T21" fmla="*/ 2147483647 h 11"/>
                    <a:gd name="T22" fmla="*/ 2147483647 w 8"/>
                    <a:gd name="T23" fmla="*/ 0 h 11"/>
                    <a:gd name="T24" fmla="*/ 2147483647 w 8"/>
                    <a:gd name="T25" fmla="*/ 0 h 11"/>
                    <a:gd name="T26" fmla="*/ 2147483647 w 8"/>
                    <a:gd name="T27" fmla="*/ 0 h 11"/>
                    <a:gd name="T28" fmla="*/ 2147483647 w 8"/>
                    <a:gd name="T29" fmla="*/ 2147483647 h 11"/>
                    <a:gd name="T30" fmla="*/ 2147483647 w 8"/>
                    <a:gd name="T31" fmla="*/ 2147483647 h 11"/>
                    <a:gd name="T32" fmla="*/ 2147483647 w 8"/>
                    <a:gd name="T33" fmla="*/ 2147483647 h 11"/>
                    <a:gd name="T34" fmla="*/ 2147483647 w 8"/>
                    <a:gd name="T35" fmla="*/ 2147483647 h 1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"/>
                    <a:gd name="T55" fmla="*/ 0 h 11"/>
                    <a:gd name="T56" fmla="*/ 8 w 8"/>
                    <a:gd name="T57" fmla="*/ 11 h 1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" h="11">
                      <a:moveTo>
                        <a:pt x="8" y="8"/>
                      </a:moveTo>
                      <a:lnTo>
                        <a:pt x="8" y="8"/>
                      </a:lnTo>
                      <a:lnTo>
                        <a:pt x="8" y="10"/>
                      </a:lnTo>
                      <a:lnTo>
                        <a:pt x="7" y="11"/>
                      </a:lnTo>
                      <a:lnTo>
                        <a:pt x="5" y="10"/>
                      </a:lnTo>
                      <a:lnTo>
                        <a:pt x="2" y="10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7" y="2"/>
                      </a:lnTo>
                      <a:lnTo>
                        <a:pt x="7" y="4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" name="Freeform 292">
                  <a:extLst>
                    <a:ext uri="{FF2B5EF4-FFF2-40B4-BE49-F238E27FC236}">
                      <a16:creationId xmlns:a16="http://schemas.microsoft.com/office/drawing/2014/main" id="{C1273A3F-DC5A-484A-B15F-56C0E8E89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2950" y="4582846"/>
                  <a:ext cx="13319" cy="10359"/>
                </a:xfrm>
                <a:custGeom>
                  <a:avLst/>
                  <a:gdLst>
                    <a:gd name="T0" fmla="*/ 2147483647 w 10"/>
                    <a:gd name="T1" fmla="*/ 2147483647 h 7"/>
                    <a:gd name="T2" fmla="*/ 2147483647 w 10"/>
                    <a:gd name="T3" fmla="*/ 2147483647 h 7"/>
                    <a:gd name="T4" fmla="*/ 2147483647 w 10"/>
                    <a:gd name="T5" fmla="*/ 2147483647 h 7"/>
                    <a:gd name="T6" fmla="*/ 0 w 10"/>
                    <a:gd name="T7" fmla="*/ 2147483647 h 7"/>
                    <a:gd name="T8" fmla="*/ 0 w 10"/>
                    <a:gd name="T9" fmla="*/ 2147483647 h 7"/>
                    <a:gd name="T10" fmla="*/ 2147483647 w 10"/>
                    <a:gd name="T11" fmla="*/ 2147483647 h 7"/>
                    <a:gd name="T12" fmla="*/ 2147483647 w 10"/>
                    <a:gd name="T13" fmla="*/ 0 h 7"/>
                    <a:gd name="T14" fmla="*/ 2147483647 w 10"/>
                    <a:gd name="T15" fmla="*/ 0 h 7"/>
                    <a:gd name="T16" fmla="*/ 2147483647 w 10"/>
                    <a:gd name="T17" fmla="*/ 2147483647 h 7"/>
                    <a:gd name="T18" fmla="*/ 2147483647 w 10"/>
                    <a:gd name="T19" fmla="*/ 2147483647 h 7"/>
                    <a:gd name="T20" fmla="*/ 2147483647 w 10"/>
                    <a:gd name="T21" fmla="*/ 2147483647 h 7"/>
                    <a:gd name="T22" fmla="*/ 2147483647 w 10"/>
                    <a:gd name="T23" fmla="*/ 2147483647 h 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"/>
                    <a:gd name="T37" fmla="*/ 0 h 7"/>
                    <a:gd name="T38" fmla="*/ 10 w 10"/>
                    <a:gd name="T39" fmla="*/ 7 h 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" h="7">
                      <a:moveTo>
                        <a:pt x="6" y="6"/>
                      </a:move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10" y="3"/>
                      </a:lnTo>
                      <a:lnTo>
                        <a:pt x="8" y="5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" name="Freeform 294">
                  <a:extLst>
                    <a:ext uri="{FF2B5EF4-FFF2-40B4-BE49-F238E27FC236}">
                      <a16:creationId xmlns:a16="http://schemas.microsoft.com/office/drawing/2014/main" id="{39F1C5CE-28BA-C442-9EC0-38C704F284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59990" y="4581365"/>
                  <a:ext cx="14799" cy="10360"/>
                </a:xfrm>
                <a:custGeom>
                  <a:avLst/>
                  <a:gdLst>
                    <a:gd name="T0" fmla="*/ 2147483647 w 10"/>
                    <a:gd name="T1" fmla="*/ 2147483647 h 7"/>
                    <a:gd name="T2" fmla="*/ 2147483647 w 10"/>
                    <a:gd name="T3" fmla="*/ 2147483647 h 7"/>
                    <a:gd name="T4" fmla="*/ 2147483647 w 10"/>
                    <a:gd name="T5" fmla="*/ 2147483647 h 7"/>
                    <a:gd name="T6" fmla="*/ 2147483647 w 10"/>
                    <a:gd name="T7" fmla="*/ 2147483647 h 7"/>
                    <a:gd name="T8" fmla="*/ 2147483647 w 10"/>
                    <a:gd name="T9" fmla="*/ 2147483647 h 7"/>
                    <a:gd name="T10" fmla="*/ 0 w 10"/>
                    <a:gd name="T11" fmla="*/ 2147483647 h 7"/>
                    <a:gd name="T12" fmla="*/ 0 w 10"/>
                    <a:gd name="T13" fmla="*/ 2147483647 h 7"/>
                    <a:gd name="T14" fmla="*/ 2147483647 w 10"/>
                    <a:gd name="T15" fmla="*/ 2147483647 h 7"/>
                    <a:gd name="T16" fmla="*/ 2147483647 w 10"/>
                    <a:gd name="T17" fmla="*/ 2147483647 h 7"/>
                    <a:gd name="T18" fmla="*/ 2147483647 w 10"/>
                    <a:gd name="T19" fmla="*/ 0 h 7"/>
                    <a:gd name="T20" fmla="*/ 2147483647 w 10"/>
                    <a:gd name="T21" fmla="*/ 0 h 7"/>
                    <a:gd name="T22" fmla="*/ 2147483647 w 10"/>
                    <a:gd name="T23" fmla="*/ 2147483647 h 7"/>
                    <a:gd name="T24" fmla="*/ 2147483647 w 10"/>
                    <a:gd name="T25" fmla="*/ 2147483647 h 7"/>
                    <a:gd name="T26" fmla="*/ 2147483647 w 10"/>
                    <a:gd name="T27" fmla="*/ 2147483647 h 7"/>
                    <a:gd name="T28" fmla="*/ 2147483647 w 10"/>
                    <a:gd name="T29" fmla="*/ 2147483647 h 7"/>
                    <a:gd name="T30" fmla="*/ 2147483647 w 10"/>
                    <a:gd name="T31" fmla="*/ 2147483647 h 7"/>
                    <a:gd name="T32" fmla="*/ 2147483647 w 10"/>
                    <a:gd name="T33" fmla="*/ 2147483647 h 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"/>
                    <a:gd name="T52" fmla="*/ 0 h 7"/>
                    <a:gd name="T53" fmla="*/ 10 w 10"/>
                    <a:gd name="T54" fmla="*/ 7 h 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" h="7">
                      <a:moveTo>
                        <a:pt x="7" y="6"/>
                      </a:moveTo>
                      <a:lnTo>
                        <a:pt x="7" y="6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9" y="2"/>
                      </a:lnTo>
                      <a:lnTo>
                        <a:pt x="10" y="3"/>
                      </a:lnTo>
                      <a:lnTo>
                        <a:pt x="9" y="4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" name="Freeform 325">
                  <a:extLst>
                    <a:ext uri="{FF2B5EF4-FFF2-40B4-BE49-F238E27FC236}">
                      <a16:creationId xmlns:a16="http://schemas.microsoft.com/office/drawing/2014/main" id="{235015F5-B463-254E-9B78-E5F30D05B6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2127" y="5014968"/>
                  <a:ext cx="13318" cy="11839"/>
                </a:xfrm>
                <a:custGeom>
                  <a:avLst/>
                  <a:gdLst>
                    <a:gd name="T0" fmla="*/ 2147483647 w 9"/>
                    <a:gd name="T1" fmla="*/ 2147483647 h 8"/>
                    <a:gd name="T2" fmla="*/ 2147483647 w 9"/>
                    <a:gd name="T3" fmla="*/ 2147483647 h 8"/>
                    <a:gd name="T4" fmla="*/ 2147483647 w 9"/>
                    <a:gd name="T5" fmla="*/ 2147483647 h 8"/>
                    <a:gd name="T6" fmla="*/ 2147483647 w 9"/>
                    <a:gd name="T7" fmla="*/ 2147483647 h 8"/>
                    <a:gd name="T8" fmla="*/ 2147483647 w 9"/>
                    <a:gd name="T9" fmla="*/ 2147483647 h 8"/>
                    <a:gd name="T10" fmla="*/ 2147483647 w 9"/>
                    <a:gd name="T11" fmla="*/ 2147483647 h 8"/>
                    <a:gd name="T12" fmla="*/ 0 w 9"/>
                    <a:gd name="T13" fmla="*/ 2147483647 h 8"/>
                    <a:gd name="T14" fmla="*/ 0 w 9"/>
                    <a:gd name="T15" fmla="*/ 2147483647 h 8"/>
                    <a:gd name="T16" fmla="*/ 2147483647 w 9"/>
                    <a:gd name="T17" fmla="*/ 2147483647 h 8"/>
                    <a:gd name="T18" fmla="*/ 2147483647 w 9"/>
                    <a:gd name="T19" fmla="*/ 0 h 8"/>
                    <a:gd name="T20" fmla="*/ 2147483647 w 9"/>
                    <a:gd name="T21" fmla="*/ 0 h 8"/>
                    <a:gd name="T22" fmla="*/ 2147483647 w 9"/>
                    <a:gd name="T23" fmla="*/ 2147483647 h 8"/>
                    <a:gd name="T24" fmla="*/ 2147483647 w 9"/>
                    <a:gd name="T25" fmla="*/ 2147483647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8"/>
                    <a:gd name="T41" fmla="*/ 9 w 9"/>
                    <a:gd name="T42" fmla="*/ 8 h 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8">
                      <a:moveTo>
                        <a:pt x="9" y="4"/>
                      </a:moveTo>
                      <a:lnTo>
                        <a:pt x="9" y="7"/>
                      </a:lnTo>
                      <a:lnTo>
                        <a:pt x="9" y="8"/>
                      </a:lnTo>
                      <a:lnTo>
                        <a:pt x="7" y="8"/>
                      </a:lnTo>
                      <a:lnTo>
                        <a:pt x="4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9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" name="Freeform 327">
                  <a:extLst>
                    <a:ext uri="{FF2B5EF4-FFF2-40B4-BE49-F238E27FC236}">
                      <a16:creationId xmlns:a16="http://schemas.microsoft.com/office/drawing/2014/main" id="{693BAA3C-C0F4-764F-B1ED-77D76FA83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0644" y="5012008"/>
                  <a:ext cx="11839" cy="13319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2147483647 h 9"/>
                    <a:gd name="T8" fmla="*/ 2147483647 w 9"/>
                    <a:gd name="T9" fmla="*/ 2147483647 h 9"/>
                    <a:gd name="T10" fmla="*/ 2147483647 w 9"/>
                    <a:gd name="T11" fmla="*/ 2147483647 h 9"/>
                    <a:gd name="T12" fmla="*/ 2147483647 w 9"/>
                    <a:gd name="T13" fmla="*/ 2147483647 h 9"/>
                    <a:gd name="T14" fmla="*/ 2147483647 w 9"/>
                    <a:gd name="T15" fmla="*/ 2147483647 h 9"/>
                    <a:gd name="T16" fmla="*/ 0 w 9"/>
                    <a:gd name="T17" fmla="*/ 2147483647 h 9"/>
                    <a:gd name="T18" fmla="*/ 0 w 9"/>
                    <a:gd name="T19" fmla="*/ 2147483647 h 9"/>
                    <a:gd name="T20" fmla="*/ 0 w 9"/>
                    <a:gd name="T21" fmla="*/ 2147483647 h 9"/>
                    <a:gd name="T22" fmla="*/ 2147483647 w 9"/>
                    <a:gd name="T23" fmla="*/ 2147483647 h 9"/>
                    <a:gd name="T24" fmla="*/ 2147483647 w 9"/>
                    <a:gd name="T25" fmla="*/ 0 h 9"/>
                    <a:gd name="T26" fmla="*/ 2147483647 w 9"/>
                    <a:gd name="T27" fmla="*/ 0 h 9"/>
                    <a:gd name="T28" fmla="*/ 2147483647 w 9"/>
                    <a:gd name="T29" fmla="*/ 0 h 9"/>
                    <a:gd name="T30" fmla="*/ 2147483647 w 9"/>
                    <a:gd name="T31" fmla="*/ 2147483647 h 9"/>
                    <a:gd name="T32" fmla="*/ 2147483647 w 9"/>
                    <a:gd name="T33" fmla="*/ 2147483647 h 9"/>
                    <a:gd name="T34" fmla="*/ 2147483647 w 9"/>
                    <a:gd name="T35" fmla="*/ 2147483647 h 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"/>
                    <a:gd name="T55" fmla="*/ 0 h 9"/>
                    <a:gd name="T56" fmla="*/ 9 w 9"/>
                    <a:gd name="T57" fmla="*/ 9 h 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" h="9">
                      <a:moveTo>
                        <a:pt x="9" y="5"/>
                      </a:move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9" y="9"/>
                      </a:lnTo>
                      <a:lnTo>
                        <a:pt x="8" y="9"/>
                      </a:lnTo>
                      <a:lnTo>
                        <a:pt x="4" y="9"/>
                      </a:lnTo>
                      <a:lnTo>
                        <a:pt x="2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3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" name="Freeform 328">
                  <a:extLst>
                    <a:ext uri="{FF2B5EF4-FFF2-40B4-BE49-F238E27FC236}">
                      <a16:creationId xmlns:a16="http://schemas.microsoft.com/office/drawing/2014/main" id="{FBB61F03-D82C-EC44-8CE2-1E34F27BCA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68220" y="4936534"/>
                  <a:ext cx="38477" cy="23678"/>
                </a:xfrm>
                <a:custGeom>
                  <a:avLst/>
                  <a:gdLst>
                    <a:gd name="T0" fmla="*/ 2147483647 w 28"/>
                    <a:gd name="T1" fmla="*/ 2147483647 h 16"/>
                    <a:gd name="T2" fmla="*/ 2147483647 w 28"/>
                    <a:gd name="T3" fmla="*/ 2147483647 h 16"/>
                    <a:gd name="T4" fmla="*/ 2147483647 w 28"/>
                    <a:gd name="T5" fmla="*/ 2147483647 h 16"/>
                    <a:gd name="T6" fmla="*/ 2147483647 w 28"/>
                    <a:gd name="T7" fmla="*/ 2147483647 h 16"/>
                    <a:gd name="T8" fmla="*/ 2147483647 w 28"/>
                    <a:gd name="T9" fmla="*/ 2147483647 h 16"/>
                    <a:gd name="T10" fmla="*/ 2147483647 w 28"/>
                    <a:gd name="T11" fmla="*/ 2147483647 h 16"/>
                    <a:gd name="T12" fmla="*/ 2147483647 w 28"/>
                    <a:gd name="T13" fmla="*/ 2147483647 h 16"/>
                    <a:gd name="T14" fmla="*/ 2147483647 w 28"/>
                    <a:gd name="T15" fmla="*/ 2147483647 h 16"/>
                    <a:gd name="T16" fmla="*/ 2147483647 w 28"/>
                    <a:gd name="T17" fmla="*/ 2147483647 h 16"/>
                    <a:gd name="T18" fmla="*/ 2147483647 w 28"/>
                    <a:gd name="T19" fmla="*/ 2147483647 h 16"/>
                    <a:gd name="T20" fmla="*/ 2147483647 w 28"/>
                    <a:gd name="T21" fmla="*/ 2147483647 h 16"/>
                    <a:gd name="T22" fmla="*/ 2147483647 w 28"/>
                    <a:gd name="T23" fmla="*/ 2147483647 h 16"/>
                    <a:gd name="T24" fmla="*/ 0 w 28"/>
                    <a:gd name="T25" fmla="*/ 2147483647 h 16"/>
                    <a:gd name="T26" fmla="*/ 0 w 28"/>
                    <a:gd name="T27" fmla="*/ 2147483647 h 16"/>
                    <a:gd name="T28" fmla="*/ 2147483647 w 28"/>
                    <a:gd name="T29" fmla="*/ 2147483647 h 16"/>
                    <a:gd name="T30" fmla="*/ 2147483647 w 28"/>
                    <a:gd name="T31" fmla="*/ 2147483647 h 16"/>
                    <a:gd name="T32" fmla="*/ 2147483647 w 28"/>
                    <a:gd name="T33" fmla="*/ 2147483647 h 16"/>
                    <a:gd name="T34" fmla="*/ 2147483647 w 28"/>
                    <a:gd name="T35" fmla="*/ 0 h 16"/>
                    <a:gd name="T36" fmla="*/ 2147483647 w 28"/>
                    <a:gd name="T37" fmla="*/ 0 h 16"/>
                    <a:gd name="T38" fmla="*/ 2147483647 w 28"/>
                    <a:gd name="T39" fmla="*/ 2147483647 h 1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8"/>
                    <a:gd name="T61" fmla="*/ 0 h 16"/>
                    <a:gd name="T62" fmla="*/ 28 w 28"/>
                    <a:gd name="T63" fmla="*/ 16 h 1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8" h="16">
                      <a:moveTo>
                        <a:pt x="24" y="4"/>
                      </a:moveTo>
                      <a:lnTo>
                        <a:pt x="26" y="5"/>
                      </a:lnTo>
                      <a:lnTo>
                        <a:pt x="28" y="6"/>
                      </a:lnTo>
                      <a:lnTo>
                        <a:pt x="28" y="9"/>
                      </a:lnTo>
                      <a:lnTo>
                        <a:pt x="26" y="10"/>
                      </a:lnTo>
                      <a:lnTo>
                        <a:pt x="23" y="11"/>
                      </a:lnTo>
                      <a:lnTo>
                        <a:pt x="20" y="11"/>
                      </a:lnTo>
                      <a:lnTo>
                        <a:pt x="18" y="11"/>
                      </a:lnTo>
                      <a:lnTo>
                        <a:pt x="14" y="11"/>
                      </a:lnTo>
                      <a:lnTo>
                        <a:pt x="7" y="15"/>
                      </a:lnTo>
                      <a:lnTo>
                        <a:pt x="5" y="16"/>
                      </a:lnTo>
                      <a:lnTo>
                        <a:pt x="2" y="15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1" y="6"/>
                      </a:lnTo>
                      <a:lnTo>
                        <a:pt x="2" y="3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12" y="0"/>
                      </a:lnTo>
                      <a:lnTo>
                        <a:pt x="2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2" name="Freeform 329">
                  <a:extLst>
                    <a:ext uri="{FF2B5EF4-FFF2-40B4-BE49-F238E27FC236}">
                      <a16:creationId xmlns:a16="http://schemas.microsoft.com/office/drawing/2014/main" id="{A4A48052-4E80-C24C-872C-DB79DF79B3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3028" y="5837777"/>
                  <a:ext cx="91752" cy="96191"/>
                </a:xfrm>
                <a:custGeom>
                  <a:avLst/>
                  <a:gdLst>
                    <a:gd name="T0" fmla="*/ 2147483647 w 68"/>
                    <a:gd name="T1" fmla="*/ 2147483647 h 65"/>
                    <a:gd name="T2" fmla="*/ 2147483647 w 68"/>
                    <a:gd name="T3" fmla="*/ 2147483647 h 65"/>
                    <a:gd name="T4" fmla="*/ 2147483647 w 68"/>
                    <a:gd name="T5" fmla="*/ 2147483647 h 65"/>
                    <a:gd name="T6" fmla="*/ 2147483647 w 68"/>
                    <a:gd name="T7" fmla="*/ 2147483647 h 65"/>
                    <a:gd name="T8" fmla="*/ 2147483647 w 68"/>
                    <a:gd name="T9" fmla="*/ 2147483647 h 65"/>
                    <a:gd name="T10" fmla="*/ 2147483647 w 68"/>
                    <a:gd name="T11" fmla="*/ 2147483647 h 65"/>
                    <a:gd name="T12" fmla="*/ 2147483647 w 68"/>
                    <a:gd name="T13" fmla="*/ 2147483647 h 65"/>
                    <a:gd name="T14" fmla="*/ 2147483647 w 68"/>
                    <a:gd name="T15" fmla="*/ 2147483647 h 65"/>
                    <a:gd name="T16" fmla="*/ 2147483647 w 68"/>
                    <a:gd name="T17" fmla="*/ 2147483647 h 65"/>
                    <a:gd name="T18" fmla="*/ 2147483647 w 68"/>
                    <a:gd name="T19" fmla="*/ 0 h 65"/>
                    <a:gd name="T20" fmla="*/ 2147483647 w 68"/>
                    <a:gd name="T21" fmla="*/ 0 h 65"/>
                    <a:gd name="T22" fmla="*/ 0 w 68"/>
                    <a:gd name="T23" fmla="*/ 2147483647 h 65"/>
                    <a:gd name="T24" fmla="*/ 0 w 68"/>
                    <a:gd name="T25" fmla="*/ 2147483647 h 65"/>
                    <a:gd name="T26" fmla="*/ 0 w 68"/>
                    <a:gd name="T27" fmla="*/ 2147483647 h 65"/>
                    <a:gd name="T28" fmla="*/ 2147483647 w 68"/>
                    <a:gd name="T29" fmla="*/ 2147483647 h 65"/>
                    <a:gd name="T30" fmla="*/ 2147483647 w 68"/>
                    <a:gd name="T31" fmla="*/ 2147483647 h 65"/>
                    <a:gd name="T32" fmla="*/ 2147483647 w 68"/>
                    <a:gd name="T33" fmla="*/ 2147483647 h 65"/>
                    <a:gd name="T34" fmla="*/ 2147483647 w 68"/>
                    <a:gd name="T35" fmla="*/ 2147483647 h 65"/>
                    <a:gd name="T36" fmla="*/ 2147483647 w 68"/>
                    <a:gd name="T37" fmla="*/ 2147483647 h 65"/>
                    <a:gd name="T38" fmla="*/ 2147483647 w 68"/>
                    <a:gd name="T39" fmla="*/ 2147483647 h 65"/>
                    <a:gd name="T40" fmla="*/ 2147483647 w 68"/>
                    <a:gd name="T41" fmla="*/ 2147483647 h 65"/>
                    <a:gd name="T42" fmla="*/ 2147483647 w 68"/>
                    <a:gd name="T43" fmla="*/ 2147483647 h 65"/>
                    <a:gd name="T44" fmla="*/ 2147483647 w 68"/>
                    <a:gd name="T45" fmla="*/ 2147483647 h 65"/>
                    <a:gd name="T46" fmla="*/ 2147483647 w 68"/>
                    <a:gd name="T47" fmla="*/ 2147483647 h 65"/>
                    <a:gd name="T48" fmla="*/ 2147483647 w 68"/>
                    <a:gd name="T49" fmla="*/ 2147483647 h 65"/>
                    <a:gd name="T50" fmla="*/ 2147483647 w 68"/>
                    <a:gd name="T51" fmla="*/ 2147483647 h 65"/>
                    <a:gd name="T52" fmla="*/ 2147483647 w 68"/>
                    <a:gd name="T53" fmla="*/ 2147483647 h 65"/>
                    <a:gd name="T54" fmla="*/ 2147483647 w 68"/>
                    <a:gd name="T55" fmla="*/ 2147483647 h 65"/>
                    <a:gd name="T56" fmla="*/ 2147483647 w 68"/>
                    <a:gd name="T57" fmla="*/ 2147483647 h 65"/>
                    <a:gd name="T58" fmla="*/ 2147483647 w 68"/>
                    <a:gd name="T59" fmla="*/ 2147483647 h 65"/>
                    <a:gd name="T60" fmla="*/ 2147483647 w 68"/>
                    <a:gd name="T61" fmla="*/ 2147483647 h 65"/>
                    <a:gd name="T62" fmla="*/ 2147483647 w 68"/>
                    <a:gd name="T63" fmla="*/ 2147483647 h 65"/>
                    <a:gd name="T64" fmla="*/ 2147483647 w 68"/>
                    <a:gd name="T65" fmla="*/ 2147483647 h 65"/>
                    <a:gd name="T66" fmla="*/ 2147483647 w 68"/>
                    <a:gd name="T67" fmla="*/ 2147483647 h 65"/>
                    <a:gd name="T68" fmla="*/ 2147483647 w 68"/>
                    <a:gd name="T69" fmla="*/ 2147483647 h 65"/>
                    <a:gd name="T70" fmla="*/ 2147483647 w 68"/>
                    <a:gd name="T71" fmla="*/ 2147483647 h 65"/>
                    <a:gd name="T72" fmla="*/ 2147483647 w 68"/>
                    <a:gd name="T73" fmla="*/ 2147483647 h 65"/>
                    <a:gd name="T74" fmla="*/ 2147483647 w 68"/>
                    <a:gd name="T75" fmla="*/ 2147483647 h 65"/>
                    <a:gd name="T76" fmla="*/ 2147483647 w 68"/>
                    <a:gd name="T77" fmla="*/ 2147483647 h 65"/>
                    <a:gd name="T78" fmla="*/ 2147483647 w 68"/>
                    <a:gd name="T79" fmla="*/ 2147483647 h 65"/>
                    <a:gd name="T80" fmla="*/ 2147483647 w 68"/>
                    <a:gd name="T81" fmla="*/ 2147483647 h 65"/>
                    <a:gd name="T82" fmla="*/ 2147483647 w 68"/>
                    <a:gd name="T83" fmla="*/ 2147483647 h 65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8"/>
                    <a:gd name="T127" fmla="*/ 0 h 65"/>
                    <a:gd name="T128" fmla="*/ 68 w 68"/>
                    <a:gd name="T129" fmla="*/ 65 h 65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8" h="65">
                      <a:moveTo>
                        <a:pt x="61" y="4"/>
                      </a:moveTo>
                      <a:lnTo>
                        <a:pt x="55" y="5"/>
                      </a:lnTo>
                      <a:lnTo>
                        <a:pt x="50" y="7"/>
                      </a:lnTo>
                      <a:lnTo>
                        <a:pt x="46" y="8"/>
                      </a:lnTo>
                      <a:lnTo>
                        <a:pt x="40" y="11"/>
                      </a:lnTo>
                      <a:lnTo>
                        <a:pt x="35" y="13"/>
                      </a:lnTo>
                      <a:lnTo>
                        <a:pt x="30" y="13"/>
                      </a:lnTo>
                      <a:lnTo>
                        <a:pt x="25" y="11"/>
                      </a:lnTo>
                      <a:lnTo>
                        <a:pt x="16" y="5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9"/>
                      </a:lnTo>
                      <a:lnTo>
                        <a:pt x="2" y="13"/>
                      </a:lnTo>
                      <a:lnTo>
                        <a:pt x="11" y="29"/>
                      </a:lnTo>
                      <a:lnTo>
                        <a:pt x="17" y="46"/>
                      </a:lnTo>
                      <a:lnTo>
                        <a:pt x="19" y="52"/>
                      </a:lnTo>
                      <a:lnTo>
                        <a:pt x="25" y="59"/>
                      </a:lnTo>
                      <a:lnTo>
                        <a:pt x="27" y="61"/>
                      </a:lnTo>
                      <a:lnTo>
                        <a:pt x="30" y="64"/>
                      </a:lnTo>
                      <a:lnTo>
                        <a:pt x="33" y="65"/>
                      </a:lnTo>
                      <a:lnTo>
                        <a:pt x="37" y="65"/>
                      </a:lnTo>
                      <a:lnTo>
                        <a:pt x="40" y="64"/>
                      </a:lnTo>
                      <a:lnTo>
                        <a:pt x="42" y="61"/>
                      </a:lnTo>
                      <a:lnTo>
                        <a:pt x="47" y="55"/>
                      </a:lnTo>
                      <a:lnTo>
                        <a:pt x="52" y="49"/>
                      </a:lnTo>
                      <a:lnTo>
                        <a:pt x="56" y="46"/>
                      </a:lnTo>
                      <a:lnTo>
                        <a:pt x="58" y="46"/>
                      </a:lnTo>
                      <a:lnTo>
                        <a:pt x="59" y="46"/>
                      </a:lnTo>
                      <a:lnTo>
                        <a:pt x="60" y="49"/>
                      </a:lnTo>
                      <a:lnTo>
                        <a:pt x="61" y="52"/>
                      </a:lnTo>
                      <a:lnTo>
                        <a:pt x="63" y="53"/>
                      </a:lnTo>
                      <a:lnTo>
                        <a:pt x="65" y="54"/>
                      </a:lnTo>
                      <a:lnTo>
                        <a:pt x="64" y="47"/>
                      </a:lnTo>
                      <a:lnTo>
                        <a:pt x="63" y="42"/>
                      </a:lnTo>
                      <a:lnTo>
                        <a:pt x="63" y="37"/>
                      </a:lnTo>
                      <a:lnTo>
                        <a:pt x="66" y="24"/>
                      </a:lnTo>
                      <a:lnTo>
                        <a:pt x="68" y="19"/>
                      </a:lnTo>
                      <a:lnTo>
                        <a:pt x="66" y="13"/>
                      </a:lnTo>
                      <a:lnTo>
                        <a:pt x="65" y="8"/>
                      </a:lnTo>
                      <a:lnTo>
                        <a:pt x="61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" name="Freeform 330">
                  <a:extLst>
                    <a:ext uri="{FF2B5EF4-FFF2-40B4-BE49-F238E27FC236}">
                      <a16:creationId xmlns:a16="http://schemas.microsoft.com/office/drawing/2014/main" id="{D73075F4-1CF3-6843-A296-25B2CD4EBD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65261" y="4935054"/>
                  <a:ext cx="38477" cy="23678"/>
                </a:xfrm>
                <a:custGeom>
                  <a:avLst/>
                  <a:gdLst>
                    <a:gd name="T0" fmla="*/ 2147483647 w 28"/>
                    <a:gd name="T1" fmla="*/ 2147483647 h 16"/>
                    <a:gd name="T2" fmla="*/ 2147483647 w 28"/>
                    <a:gd name="T3" fmla="*/ 2147483647 h 16"/>
                    <a:gd name="T4" fmla="*/ 2147483647 w 28"/>
                    <a:gd name="T5" fmla="*/ 2147483647 h 16"/>
                    <a:gd name="T6" fmla="*/ 2147483647 w 28"/>
                    <a:gd name="T7" fmla="*/ 2147483647 h 16"/>
                    <a:gd name="T8" fmla="*/ 2147483647 w 28"/>
                    <a:gd name="T9" fmla="*/ 2147483647 h 16"/>
                    <a:gd name="T10" fmla="*/ 2147483647 w 28"/>
                    <a:gd name="T11" fmla="*/ 2147483647 h 16"/>
                    <a:gd name="T12" fmla="*/ 2147483647 w 28"/>
                    <a:gd name="T13" fmla="*/ 2147483647 h 16"/>
                    <a:gd name="T14" fmla="*/ 2147483647 w 28"/>
                    <a:gd name="T15" fmla="*/ 2147483647 h 16"/>
                    <a:gd name="T16" fmla="*/ 2147483647 w 28"/>
                    <a:gd name="T17" fmla="*/ 2147483647 h 16"/>
                    <a:gd name="T18" fmla="*/ 2147483647 w 28"/>
                    <a:gd name="T19" fmla="*/ 2147483647 h 16"/>
                    <a:gd name="T20" fmla="*/ 2147483647 w 28"/>
                    <a:gd name="T21" fmla="*/ 2147483647 h 16"/>
                    <a:gd name="T22" fmla="*/ 2147483647 w 28"/>
                    <a:gd name="T23" fmla="*/ 2147483647 h 16"/>
                    <a:gd name="T24" fmla="*/ 2147483647 w 28"/>
                    <a:gd name="T25" fmla="*/ 2147483647 h 16"/>
                    <a:gd name="T26" fmla="*/ 2147483647 w 28"/>
                    <a:gd name="T27" fmla="*/ 2147483647 h 16"/>
                    <a:gd name="T28" fmla="*/ 2147483647 w 28"/>
                    <a:gd name="T29" fmla="*/ 2147483647 h 16"/>
                    <a:gd name="T30" fmla="*/ 2147483647 w 28"/>
                    <a:gd name="T31" fmla="*/ 2147483647 h 16"/>
                    <a:gd name="T32" fmla="*/ 0 w 28"/>
                    <a:gd name="T33" fmla="*/ 2147483647 h 16"/>
                    <a:gd name="T34" fmla="*/ 0 w 28"/>
                    <a:gd name="T35" fmla="*/ 2147483647 h 16"/>
                    <a:gd name="T36" fmla="*/ 2147483647 w 28"/>
                    <a:gd name="T37" fmla="*/ 2147483647 h 16"/>
                    <a:gd name="T38" fmla="*/ 2147483647 w 28"/>
                    <a:gd name="T39" fmla="*/ 2147483647 h 16"/>
                    <a:gd name="T40" fmla="*/ 2147483647 w 28"/>
                    <a:gd name="T41" fmla="*/ 2147483647 h 16"/>
                    <a:gd name="T42" fmla="*/ 2147483647 w 28"/>
                    <a:gd name="T43" fmla="*/ 2147483647 h 16"/>
                    <a:gd name="T44" fmla="*/ 2147483647 w 28"/>
                    <a:gd name="T45" fmla="*/ 0 h 16"/>
                    <a:gd name="T46" fmla="*/ 2147483647 w 28"/>
                    <a:gd name="T47" fmla="*/ 0 h 16"/>
                    <a:gd name="T48" fmla="*/ 2147483647 w 28"/>
                    <a:gd name="T49" fmla="*/ 2147483647 h 16"/>
                    <a:gd name="T50" fmla="*/ 2147483647 w 28"/>
                    <a:gd name="T51" fmla="*/ 2147483647 h 1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8"/>
                    <a:gd name="T79" fmla="*/ 0 h 16"/>
                    <a:gd name="T80" fmla="*/ 28 w 28"/>
                    <a:gd name="T81" fmla="*/ 16 h 1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8" h="16">
                      <a:moveTo>
                        <a:pt x="25" y="4"/>
                      </a:moveTo>
                      <a:lnTo>
                        <a:pt x="25" y="4"/>
                      </a:lnTo>
                      <a:lnTo>
                        <a:pt x="27" y="5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0"/>
                      </a:lnTo>
                      <a:lnTo>
                        <a:pt x="23" y="11"/>
                      </a:lnTo>
                      <a:lnTo>
                        <a:pt x="21" y="11"/>
                      </a:lnTo>
                      <a:lnTo>
                        <a:pt x="18" y="11"/>
                      </a:lnTo>
                      <a:lnTo>
                        <a:pt x="14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3" y="14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3" y="3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13" y="0"/>
                      </a:lnTo>
                      <a:lnTo>
                        <a:pt x="2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" name="Freeform 331">
                  <a:extLst>
                    <a:ext uri="{FF2B5EF4-FFF2-40B4-BE49-F238E27FC236}">
                      <a16:creationId xmlns:a16="http://schemas.microsoft.com/office/drawing/2014/main" id="{E5A697DC-85B5-FC4B-81D6-98A4EB9464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1548" y="5834820"/>
                  <a:ext cx="91752" cy="97672"/>
                </a:xfrm>
                <a:custGeom>
                  <a:avLst/>
                  <a:gdLst>
                    <a:gd name="T0" fmla="*/ 2147483647 w 67"/>
                    <a:gd name="T1" fmla="*/ 2147483647 h 66"/>
                    <a:gd name="T2" fmla="*/ 2147483647 w 67"/>
                    <a:gd name="T3" fmla="*/ 2147483647 h 66"/>
                    <a:gd name="T4" fmla="*/ 2147483647 w 67"/>
                    <a:gd name="T5" fmla="*/ 2147483647 h 66"/>
                    <a:gd name="T6" fmla="*/ 2147483647 w 67"/>
                    <a:gd name="T7" fmla="*/ 2147483647 h 66"/>
                    <a:gd name="T8" fmla="*/ 2147483647 w 67"/>
                    <a:gd name="T9" fmla="*/ 2147483647 h 66"/>
                    <a:gd name="T10" fmla="*/ 2147483647 w 67"/>
                    <a:gd name="T11" fmla="*/ 2147483647 h 66"/>
                    <a:gd name="T12" fmla="*/ 2147483647 w 67"/>
                    <a:gd name="T13" fmla="*/ 2147483647 h 66"/>
                    <a:gd name="T14" fmla="*/ 2147483647 w 67"/>
                    <a:gd name="T15" fmla="*/ 2147483647 h 66"/>
                    <a:gd name="T16" fmla="*/ 2147483647 w 67"/>
                    <a:gd name="T17" fmla="*/ 2147483647 h 66"/>
                    <a:gd name="T18" fmla="*/ 2147483647 w 67"/>
                    <a:gd name="T19" fmla="*/ 2147483647 h 66"/>
                    <a:gd name="T20" fmla="*/ 2147483647 w 67"/>
                    <a:gd name="T21" fmla="*/ 2147483647 h 66"/>
                    <a:gd name="T22" fmla="*/ 2147483647 w 67"/>
                    <a:gd name="T23" fmla="*/ 0 h 66"/>
                    <a:gd name="T24" fmla="*/ 2147483647 w 67"/>
                    <a:gd name="T25" fmla="*/ 0 h 66"/>
                    <a:gd name="T26" fmla="*/ 2147483647 w 67"/>
                    <a:gd name="T27" fmla="*/ 0 h 66"/>
                    <a:gd name="T28" fmla="*/ 0 w 67"/>
                    <a:gd name="T29" fmla="*/ 2147483647 h 66"/>
                    <a:gd name="T30" fmla="*/ 0 w 67"/>
                    <a:gd name="T31" fmla="*/ 2147483647 h 66"/>
                    <a:gd name="T32" fmla="*/ 0 w 67"/>
                    <a:gd name="T33" fmla="*/ 2147483647 h 66"/>
                    <a:gd name="T34" fmla="*/ 2147483647 w 67"/>
                    <a:gd name="T35" fmla="*/ 2147483647 h 66"/>
                    <a:gd name="T36" fmla="*/ 2147483647 w 67"/>
                    <a:gd name="T37" fmla="*/ 2147483647 h 66"/>
                    <a:gd name="T38" fmla="*/ 2147483647 w 67"/>
                    <a:gd name="T39" fmla="*/ 2147483647 h 66"/>
                    <a:gd name="T40" fmla="*/ 2147483647 w 67"/>
                    <a:gd name="T41" fmla="*/ 2147483647 h 66"/>
                    <a:gd name="T42" fmla="*/ 2147483647 w 67"/>
                    <a:gd name="T43" fmla="*/ 2147483647 h 66"/>
                    <a:gd name="T44" fmla="*/ 2147483647 w 67"/>
                    <a:gd name="T45" fmla="*/ 2147483647 h 66"/>
                    <a:gd name="T46" fmla="*/ 2147483647 w 67"/>
                    <a:gd name="T47" fmla="*/ 2147483647 h 66"/>
                    <a:gd name="T48" fmla="*/ 2147483647 w 67"/>
                    <a:gd name="T49" fmla="*/ 2147483647 h 66"/>
                    <a:gd name="T50" fmla="*/ 2147483647 w 67"/>
                    <a:gd name="T51" fmla="*/ 2147483647 h 66"/>
                    <a:gd name="T52" fmla="*/ 2147483647 w 67"/>
                    <a:gd name="T53" fmla="*/ 2147483647 h 66"/>
                    <a:gd name="T54" fmla="*/ 2147483647 w 67"/>
                    <a:gd name="T55" fmla="*/ 2147483647 h 66"/>
                    <a:gd name="T56" fmla="*/ 2147483647 w 67"/>
                    <a:gd name="T57" fmla="*/ 2147483647 h 66"/>
                    <a:gd name="T58" fmla="*/ 2147483647 w 67"/>
                    <a:gd name="T59" fmla="*/ 2147483647 h 66"/>
                    <a:gd name="T60" fmla="*/ 2147483647 w 67"/>
                    <a:gd name="T61" fmla="*/ 2147483647 h 66"/>
                    <a:gd name="T62" fmla="*/ 2147483647 w 67"/>
                    <a:gd name="T63" fmla="*/ 2147483647 h 66"/>
                    <a:gd name="T64" fmla="*/ 2147483647 w 67"/>
                    <a:gd name="T65" fmla="*/ 2147483647 h 66"/>
                    <a:gd name="T66" fmla="*/ 2147483647 w 67"/>
                    <a:gd name="T67" fmla="*/ 2147483647 h 66"/>
                    <a:gd name="T68" fmla="*/ 2147483647 w 67"/>
                    <a:gd name="T69" fmla="*/ 2147483647 h 66"/>
                    <a:gd name="T70" fmla="*/ 2147483647 w 67"/>
                    <a:gd name="T71" fmla="*/ 2147483647 h 66"/>
                    <a:gd name="T72" fmla="*/ 2147483647 w 67"/>
                    <a:gd name="T73" fmla="*/ 2147483647 h 66"/>
                    <a:gd name="T74" fmla="*/ 2147483647 w 67"/>
                    <a:gd name="T75" fmla="*/ 2147483647 h 66"/>
                    <a:gd name="T76" fmla="*/ 2147483647 w 67"/>
                    <a:gd name="T77" fmla="*/ 2147483647 h 66"/>
                    <a:gd name="T78" fmla="*/ 2147483647 w 67"/>
                    <a:gd name="T79" fmla="*/ 2147483647 h 66"/>
                    <a:gd name="T80" fmla="*/ 2147483647 w 67"/>
                    <a:gd name="T81" fmla="*/ 2147483647 h 66"/>
                    <a:gd name="T82" fmla="*/ 2147483647 w 67"/>
                    <a:gd name="T83" fmla="*/ 2147483647 h 66"/>
                    <a:gd name="T84" fmla="*/ 2147483647 w 67"/>
                    <a:gd name="T85" fmla="*/ 2147483647 h 66"/>
                    <a:gd name="T86" fmla="*/ 2147483647 w 67"/>
                    <a:gd name="T87" fmla="*/ 2147483647 h 66"/>
                    <a:gd name="T88" fmla="*/ 2147483647 w 67"/>
                    <a:gd name="T89" fmla="*/ 2147483647 h 66"/>
                    <a:gd name="T90" fmla="*/ 2147483647 w 67"/>
                    <a:gd name="T91" fmla="*/ 2147483647 h 66"/>
                    <a:gd name="T92" fmla="*/ 2147483647 w 67"/>
                    <a:gd name="T93" fmla="*/ 2147483647 h 66"/>
                    <a:gd name="T94" fmla="*/ 2147483647 w 67"/>
                    <a:gd name="T95" fmla="*/ 2147483647 h 66"/>
                    <a:gd name="T96" fmla="*/ 2147483647 w 67"/>
                    <a:gd name="T97" fmla="*/ 2147483647 h 66"/>
                    <a:gd name="T98" fmla="*/ 2147483647 w 67"/>
                    <a:gd name="T99" fmla="*/ 2147483647 h 66"/>
                    <a:gd name="T100" fmla="*/ 2147483647 w 67"/>
                    <a:gd name="T101" fmla="*/ 2147483647 h 66"/>
                    <a:gd name="T102" fmla="*/ 2147483647 w 67"/>
                    <a:gd name="T103" fmla="*/ 2147483647 h 6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7"/>
                    <a:gd name="T157" fmla="*/ 0 h 66"/>
                    <a:gd name="T158" fmla="*/ 67 w 67"/>
                    <a:gd name="T159" fmla="*/ 66 h 6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7" h="66">
                      <a:moveTo>
                        <a:pt x="61" y="5"/>
                      </a:moveTo>
                      <a:lnTo>
                        <a:pt x="61" y="5"/>
                      </a:lnTo>
                      <a:lnTo>
                        <a:pt x="55" y="6"/>
                      </a:lnTo>
                      <a:lnTo>
                        <a:pt x="50" y="7"/>
                      </a:lnTo>
                      <a:lnTo>
                        <a:pt x="46" y="9"/>
                      </a:lnTo>
                      <a:lnTo>
                        <a:pt x="40" y="12"/>
                      </a:lnTo>
                      <a:lnTo>
                        <a:pt x="34" y="13"/>
                      </a:lnTo>
                      <a:lnTo>
                        <a:pt x="29" y="13"/>
                      </a:lnTo>
                      <a:lnTo>
                        <a:pt x="24" y="12"/>
                      </a:lnTo>
                      <a:lnTo>
                        <a:pt x="15" y="6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0" y="30"/>
                      </a:lnTo>
                      <a:lnTo>
                        <a:pt x="17" y="47"/>
                      </a:lnTo>
                      <a:lnTo>
                        <a:pt x="19" y="53"/>
                      </a:lnTo>
                      <a:lnTo>
                        <a:pt x="24" y="60"/>
                      </a:lnTo>
                      <a:lnTo>
                        <a:pt x="27" y="62"/>
                      </a:lnTo>
                      <a:lnTo>
                        <a:pt x="29" y="64"/>
                      </a:lnTo>
                      <a:lnTo>
                        <a:pt x="33" y="66"/>
                      </a:lnTo>
                      <a:lnTo>
                        <a:pt x="37" y="66"/>
                      </a:lnTo>
                      <a:lnTo>
                        <a:pt x="40" y="64"/>
                      </a:lnTo>
                      <a:lnTo>
                        <a:pt x="42" y="62"/>
                      </a:lnTo>
                      <a:lnTo>
                        <a:pt x="47" y="56"/>
                      </a:lnTo>
                      <a:lnTo>
                        <a:pt x="52" y="50"/>
                      </a:lnTo>
                      <a:lnTo>
                        <a:pt x="56" y="47"/>
                      </a:lnTo>
                      <a:lnTo>
                        <a:pt x="57" y="47"/>
                      </a:lnTo>
                      <a:lnTo>
                        <a:pt x="59" y="47"/>
                      </a:lnTo>
                      <a:lnTo>
                        <a:pt x="60" y="50"/>
                      </a:lnTo>
                      <a:lnTo>
                        <a:pt x="61" y="53"/>
                      </a:lnTo>
                      <a:lnTo>
                        <a:pt x="62" y="54"/>
                      </a:lnTo>
                      <a:lnTo>
                        <a:pt x="65" y="55"/>
                      </a:lnTo>
                      <a:lnTo>
                        <a:pt x="64" y="48"/>
                      </a:lnTo>
                      <a:lnTo>
                        <a:pt x="62" y="43"/>
                      </a:lnTo>
                      <a:lnTo>
                        <a:pt x="62" y="38"/>
                      </a:lnTo>
                      <a:lnTo>
                        <a:pt x="66" y="25"/>
                      </a:lnTo>
                      <a:lnTo>
                        <a:pt x="67" y="19"/>
                      </a:lnTo>
                      <a:lnTo>
                        <a:pt x="66" y="13"/>
                      </a:lnTo>
                      <a:lnTo>
                        <a:pt x="65" y="9"/>
                      </a:lnTo>
                      <a:lnTo>
                        <a:pt x="61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" name="Freeform 332">
                  <a:extLst>
                    <a:ext uri="{FF2B5EF4-FFF2-40B4-BE49-F238E27FC236}">
                      <a16:creationId xmlns:a16="http://schemas.microsoft.com/office/drawing/2014/main" id="{72043751-BD41-C840-965D-69786ED7A2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6662" y="5919173"/>
                  <a:ext cx="11839" cy="16279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0 h 11"/>
                    <a:gd name="T6" fmla="*/ 2147483647 w 9"/>
                    <a:gd name="T7" fmla="*/ 0 h 11"/>
                    <a:gd name="T8" fmla="*/ 2147483647 w 9"/>
                    <a:gd name="T9" fmla="*/ 2147483647 h 11"/>
                    <a:gd name="T10" fmla="*/ 2147483647 w 9"/>
                    <a:gd name="T11" fmla="*/ 2147483647 h 11"/>
                    <a:gd name="T12" fmla="*/ 0 w 9"/>
                    <a:gd name="T13" fmla="*/ 2147483647 h 11"/>
                    <a:gd name="T14" fmla="*/ 2147483647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9"/>
                    <a:gd name="T37" fmla="*/ 0 h 11"/>
                    <a:gd name="T38" fmla="*/ 9 w 9"/>
                    <a:gd name="T39" fmla="*/ 11 h 1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9" h="11">
                      <a:moveTo>
                        <a:pt x="9" y="5"/>
                      </a:move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4" y="1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2" y="10"/>
                      </a:lnTo>
                      <a:lnTo>
                        <a:pt x="4" y="11"/>
                      </a:lnTo>
                      <a:lnTo>
                        <a:pt x="7" y="10"/>
                      </a:lnTo>
                      <a:lnTo>
                        <a:pt x="8" y="7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" name="Freeform 333">
                  <a:extLst>
                    <a:ext uri="{FF2B5EF4-FFF2-40B4-BE49-F238E27FC236}">
                      <a16:creationId xmlns:a16="http://schemas.microsoft.com/office/drawing/2014/main" id="{305E2B9D-34D7-AF47-8C6D-33EFE19095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2311" y="5805222"/>
                  <a:ext cx="16279" cy="25157"/>
                </a:xfrm>
                <a:custGeom>
                  <a:avLst/>
                  <a:gdLst>
                    <a:gd name="T0" fmla="*/ 2147483647 w 12"/>
                    <a:gd name="T1" fmla="*/ 2147483647 h 17"/>
                    <a:gd name="T2" fmla="*/ 2147483647 w 12"/>
                    <a:gd name="T3" fmla="*/ 2147483647 h 17"/>
                    <a:gd name="T4" fmla="*/ 2147483647 w 12"/>
                    <a:gd name="T5" fmla="*/ 2147483647 h 17"/>
                    <a:gd name="T6" fmla="*/ 2147483647 w 12"/>
                    <a:gd name="T7" fmla="*/ 2147483647 h 17"/>
                    <a:gd name="T8" fmla="*/ 2147483647 w 12"/>
                    <a:gd name="T9" fmla="*/ 2147483647 h 17"/>
                    <a:gd name="T10" fmla="*/ 2147483647 w 12"/>
                    <a:gd name="T11" fmla="*/ 2147483647 h 17"/>
                    <a:gd name="T12" fmla="*/ 2147483647 w 12"/>
                    <a:gd name="T13" fmla="*/ 2147483647 h 17"/>
                    <a:gd name="T14" fmla="*/ 0 w 12"/>
                    <a:gd name="T15" fmla="*/ 2147483647 h 17"/>
                    <a:gd name="T16" fmla="*/ 0 w 12"/>
                    <a:gd name="T17" fmla="*/ 2147483647 h 17"/>
                    <a:gd name="T18" fmla="*/ 0 w 12"/>
                    <a:gd name="T19" fmla="*/ 2147483647 h 17"/>
                    <a:gd name="T20" fmla="*/ 2147483647 w 12"/>
                    <a:gd name="T21" fmla="*/ 0 h 17"/>
                    <a:gd name="T22" fmla="*/ 2147483647 w 12"/>
                    <a:gd name="T23" fmla="*/ 0 h 17"/>
                    <a:gd name="T24" fmla="*/ 2147483647 w 12"/>
                    <a:gd name="T25" fmla="*/ 2147483647 h 17"/>
                    <a:gd name="T26" fmla="*/ 2147483647 w 12"/>
                    <a:gd name="T27" fmla="*/ 2147483647 h 17"/>
                    <a:gd name="T28" fmla="*/ 2147483647 w 12"/>
                    <a:gd name="T29" fmla="*/ 2147483647 h 1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"/>
                    <a:gd name="T46" fmla="*/ 0 h 17"/>
                    <a:gd name="T47" fmla="*/ 12 w 12"/>
                    <a:gd name="T48" fmla="*/ 17 h 1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" h="17">
                      <a:moveTo>
                        <a:pt x="10" y="6"/>
                      </a:moveTo>
                      <a:lnTo>
                        <a:pt x="12" y="11"/>
                      </a:lnTo>
                      <a:lnTo>
                        <a:pt x="12" y="13"/>
                      </a:lnTo>
                      <a:lnTo>
                        <a:pt x="10" y="16"/>
                      </a:lnTo>
                      <a:lnTo>
                        <a:pt x="8" y="17"/>
                      </a:lnTo>
                      <a:lnTo>
                        <a:pt x="4" y="17"/>
                      </a:lnTo>
                      <a:lnTo>
                        <a:pt x="1" y="1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9" y="4"/>
                      </a:ln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" name="Freeform 334">
                  <a:extLst>
                    <a:ext uri="{FF2B5EF4-FFF2-40B4-BE49-F238E27FC236}">
                      <a16:creationId xmlns:a16="http://schemas.microsoft.com/office/drawing/2014/main" id="{F905D93D-C903-954C-AE3D-580EC4D81F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5182" y="5917689"/>
                  <a:ext cx="11839" cy="16278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0 h 11"/>
                    <a:gd name="T8" fmla="*/ 2147483647 w 9"/>
                    <a:gd name="T9" fmla="*/ 0 h 11"/>
                    <a:gd name="T10" fmla="*/ 2147483647 w 9"/>
                    <a:gd name="T11" fmla="*/ 0 h 11"/>
                    <a:gd name="T12" fmla="*/ 2147483647 w 9"/>
                    <a:gd name="T13" fmla="*/ 2147483647 h 11"/>
                    <a:gd name="T14" fmla="*/ 2147483647 w 9"/>
                    <a:gd name="T15" fmla="*/ 2147483647 h 11"/>
                    <a:gd name="T16" fmla="*/ 0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2147483647 w 9"/>
                    <a:gd name="T29" fmla="*/ 2147483647 h 11"/>
                    <a:gd name="T30" fmla="*/ 2147483647 w 9"/>
                    <a:gd name="T31" fmla="*/ 2147483647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"/>
                    <a:gd name="T49" fmla="*/ 0 h 11"/>
                    <a:gd name="T50" fmla="*/ 9 w 9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" h="11">
                      <a:moveTo>
                        <a:pt x="9" y="5"/>
                      </a:moveTo>
                      <a:lnTo>
                        <a:pt x="9" y="5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1" y="10"/>
                      </a:lnTo>
                      <a:lnTo>
                        <a:pt x="4" y="11"/>
                      </a:lnTo>
                      <a:lnTo>
                        <a:pt x="6" y="10"/>
                      </a:lnTo>
                      <a:lnTo>
                        <a:pt x="8" y="7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" name="Freeform 335">
                  <a:extLst>
                    <a:ext uri="{FF2B5EF4-FFF2-40B4-BE49-F238E27FC236}">
                      <a16:creationId xmlns:a16="http://schemas.microsoft.com/office/drawing/2014/main" id="{F5299D14-A471-8542-B541-07C26A6793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0832" y="5803738"/>
                  <a:ext cx="14799" cy="25158"/>
                </a:xfrm>
                <a:custGeom>
                  <a:avLst/>
                  <a:gdLst>
                    <a:gd name="T0" fmla="*/ 2147483647 w 11"/>
                    <a:gd name="T1" fmla="*/ 2147483647 h 17"/>
                    <a:gd name="T2" fmla="*/ 2147483647 w 11"/>
                    <a:gd name="T3" fmla="*/ 2147483647 h 17"/>
                    <a:gd name="T4" fmla="*/ 2147483647 w 11"/>
                    <a:gd name="T5" fmla="*/ 2147483647 h 17"/>
                    <a:gd name="T6" fmla="*/ 2147483647 w 11"/>
                    <a:gd name="T7" fmla="*/ 2147483647 h 17"/>
                    <a:gd name="T8" fmla="*/ 2147483647 w 11"/>
                    <a:gd name="T9" fmla="*/ 2147483647 h 17"/>
                    <a:gd name="T10" fmla="*/ 2147483647 w 11"/>
                    <a:gd name="T11" fmla="*/ 2147483647 h 17"/>
                    <a:gd name="T12" fmla="*/ 2147483647 w 11"/>
                    <a:gd name="T13" fmla="*/ 2147483647 h 17"/>
                    <a:gd name="T14" fmla="*/ 2147483647 w 11"/>
                    <a:gd name="T15" fmla="*/ 2147483647 h 17"/>
                    <a:gd name="T16" fmla="*/ 2147483647 w 11"/>
                    <a:gd name="T17" fmla="*/ 2147483647 h 17"/>
                    <a:gd name="T18" fmla="*/ 0 w 11"/>
                    <a:gd name="T19" fmla="*/ 2147483647 h 17"/>
                    <a:gd name="T20" fmla="*/ 0 w 11"/>
                    <a:gd name="T21" fmla="*/ 2147483647 h 17"/>
                    <a:gd name="T22" fmla="*/ 0 w 11"/>
                    <a:gd name="T23" fmla="*/ 2147483647 h 17"/>
                    <a:gd name="T24" fmla="*/ 0 w 11"/>
                    <a:gd name="T25" fmla="*/ 2147483647 h 17"/>
                    <a:gd name="T26" fmla="*/ 2147483647 w 11"/>
                    <a:gd name="T27" fmla="*/ 0 h 17"/>
                    <a:gd name="T28" fmla="*/ 2147483647 w 11"/>
                    <a:gd name="T29" fmla="*/ 0 h 17"/>
                    <a:gd name="T30" fmla="*/ 2147483647 w 11"/>
                    <a:gd name="T31" fmla="*/ 0 h 17"/>
                    <a:gd name="T32" fmla="*/ 2147483647 w 11"/>
                    <a:gd name="T33" fmla="*/ 2147483647 h 17"/>
                    <a:gd name="T34" fmla="*/ 2147483647 w 11"/>
                    <a:gd name="T35" fmla="*/ 2147483647 h 17"/>
                    <a:gd name="T36" fmla="*/ 2147483647 w 11"/>
                    <a:gd name="T37" fmla="*/ 2147483647 h 17"/>
                    <a:gd name="T38" fmla="*/ 2147483647 w 11"/>
                    <a:gd name="T39" fmla="*/ 2147483647 h 1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1"/>
                    <a:gd name="T61" fmla="*/ 0 h 17"/>
                    <a:gd name="T62" fmla="*/ 11 w 11"/>
                    <a:gd name="T63" fmla="*/ 17 h 1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1" h="17">
                      <a:moveTo>
                        <a:pt x="10" y="6"/>
                      </a:moveTo>
                      <a:lnTo>
                        <a:pt x="10" y="6"/>
                      </a:lnTo>
                      <a:lnTo>
                        <a:pt x="11" y="11"/>
                      </a:lnTo>
                      <a:lnTo>
                        <a:pt x="11" y="13"/>
                      </a:lnTo>
                      <a:lnTo>
                        <a:pt x="10" y="15"/>
                      </a:lnTo>
                      <a:lnTo>
                        <a:pt x="8" y="17"/>
                      </a:lnTo>
                      <a:lnTo>
                        <a:pt x="4" y="17"/>
                      </a:lnTo>
                      <a:lnTo>
                        <a:pt x="1" y="1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9" y="4"/>
                      </a:ln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Freeform 336">
                  <a:extLst>
                    <a:ext uri="{FF2B5EF4-FFF2-40B4-BE49-F238E27FC236}">
                      <a16:creationId xmlns:a16="http://schemas.microsoft.com/office/drawing/2014/main" id="{75DE5C56-9949-BE4D-80A7-AF588A50A1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4423" y="5812621"/>
                  <a:ext cx="25157" cy="26638"/>
                </a:xfrm>
                <a:custGeom>
                  <a:avLst/>
                  <a:gdLst>
                    <a:gd name="T0" fmla="*/ 2147483647 w 18"/>
                    <a:gd name="T1" fmla="*/ 2147483647 h 18"/>
                    <a:gd name="T2" fmla="*/ 2147483647 w 18"/>
                    <a:gd name="T3" fmla="*/ 2147483647 h 18"/>
                    <a:gd name="T4" fmla="*/ 2147483647 w 18"/>
                    <a:gd name="T5" fmla="*/ 2147483647 h 18"/>
                    <a:gd name="T6" fmla="*/ 2147483647 w 18"/>
                    <a:gd name="T7" fmla="*/ 2147483647 h 18"/>
                    <a:gd name="T8" fmla="*/ 2147483647 w 18"/>
                    <a:gd name="T9" fmla="*/ 2147483647 h 18"/>
                    <a:gd name="T10" fmla="*/ 2147483647 w 18"/>
                    <a:gd name="T11" fmla="*/ 2147483647 h 18"/>
                    <a:gd name="T12" fmla="*/ 2147483647 w 18"/>
                    <a:gd name="T13" fmla="*/ 2147483647 h 18"/>
                    <a:gd name="T14" fmla="*/ 2147483647 w 18"/>
                    <a:gd name="T15" fmla="*/ 2147483647 h 18"/>
                    <a:gd name="T16" fmla="*/ 2147483647 w 18"/>
                    <a:gd name="T17" fmla="*/ 2147483647 h 18"/>
                    <a:gd name="T18" fmla="*/ 0 w 18"/>
                    <a:gd name="T19" fmla="*/ 2147483647 h 18"/>
                    <a:gd name="T20" fmla="*/ 0 w 18"/>
                    <a:gd name="T21" fmla="*/ 2147483647 h 18"/>
                    <a:gd name="T22" fmla="*/ 2147483647 w 18"/>
                    <a:gd name="T23" fmla="*/ 2147483647 h 18"/>
                    <a:gd name="T24" fmla="*/ 2147483647 w 18"/>
                    <a:gd name="T25" fmla="*/ 0 h 18"/>
                    <a:gd name="T26" fmla="*/ 2147483647 w 18"/>
                    <a:gd name="T27" fmla="*/ 0 h 18"/>
                    <a:gd name="T28" fmla="*/ 2147483647 w 18"/>
                    <a:gd name="T29" fmla="*/ 2147483647 h 18"/>
                    <a:gd name="T30" fmla="*/ 2147483647 w 18"/>
                    <a:gd name="T31" fmla="*/ 2147483647 h 18"/>
                    <a:gd name="T32" fmla="*/ 2147483647 w 18"/>
                    <a:gd name="T33" fmla="*/ 2147483647 h 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"/>
                    <a:gd name="T52" fmla="*/ 0 h 18"/>
                    <a:gd name="T53" fmla="*/ 18 w 18"/>
                    <a:gd name="T54" fmla="*/ 18 h 1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" h="18">
                      <a:moveTo>
                        <a:pt x="13" y="9"/>
                      </a:moveTo>
                      <a:lnTo>
                        <a:pt x="17" y="13"/>
                      </a:lnTo>
                      <a:lnTo>
                        <a:pt x="18" y="14"/>
                      </a:lnTo>
                      <a:lnTo>
                        <a:pt x="17" y="17"/>
                      </a:lnTo>
                      <a:lnTo>
                        <a:pt x="13" y="18"/>
                      </a:lnTo>
                      <a:lnTo>
                        <a:pt x="9" y="17"/>
                      </a:lnTo>
                      <a:lnTo>
                        <a:pt x="6" y="15"/>
                      </a:lnTo>
                      <a:lnTo>
                        <a:pt x="3" y="13"/>
                      </a:lnTo>
                      <a:lnTo>
                        <a:pt x="1" y="11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10" y="7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Freeform 337">
                  <a:extLst>
                    <a:ext uri="{FF2B5EF4-FFF2-40B4-BE49-F238E27FC236}">
                      <a16:creationId xmlns:a16="http://schemas.microsoft.com/office/drawing/2014/main" id="{50559607-0545-834B-B641-0F2B2323E3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5084" y="5674990"/>
                  <a:ext cx="39956" cy="16278"/>
                </a:xfrm>
                <a:custGeom>
                  <a:avLst/>
                  <a:gdLst>
                    <a:gd name="T0" fmla="*/ 2147483647 w 29"/>
                    <a:gd name="T1" fmla="*/ 0 h 11"/>
                    <a:gd name="T2" fmla="*/ 2147483647 w 29"/>
                    <a:gd name="T3" fmla="*/ 0 h 11"/>
                    <a:gd name="T4" fmla="*/ 2147483647 w 29"/>
                    <a:gd name="T5" fmla="*/ 2147483647 h 11"/>
                    <a:gd name="T6" fmla="*/ 2147483647 w 29"/>
                    <a:gd name="T7" fmla="*/ 2147483647 h 11"/>
                    <a:gd name="T8" fmla="*/ 2147483647 w 29"/>
                    <a:gd name="T9" fmla="*/ 2147483647 h 11"/>
                    <a:gd name="T10" fmla="*/ 2147483647 w 29"/>
                    <a:gd name="T11" fmla="*/ 2147483647 h 11"/>
                    <a:gd name="T12" fmla="*/ 2147483647 w 29"/>
                    <a:gd name="T13" fmla="*/ 2147483647 h 11"/>
                    <a:gd name="T14" fmla="*/ 2147483647 w 29"/>
                    <a:gd name="T15" fmla="*/ 2147483647 h 11"/>
                    <a:gd name="T16" fmla="*/ 2147483647 w 29"/>
                    <a:gd name="T17" fmla="*/ 2147483647 h 11"/>
                    <a:gd name="T18" fmla="*/ 2147483647 w 29"/>
                    <a:gd name="T19" fmla="*/ 2147483647 h 11"/>
                    <a:gd name="T20" fmla="*/ 2147483647 w 29"/>
                    <a:gd name="T21" fmla="*/ 2147483647 h 11"/>
                    <a:gd name="T22" fmla="*/ 2147483647 w 29"/>
                    <a:gd name="T23" fmla="*/ 2147483647 h 11"/>
                    <a:gd name="T24" fmla="*/ 0 w 29"/>
                    <a:gd name="T25" fmla="*/ 2147483647 h 11"/>
                    <a:gd name="T26" fmla="*/ 2147483647 w 29"/>
                    <a:gd name="T27" fmla="*/ 2147483647 h 11"/>
                    <a:gd name="T28" fmla="*/ 2147483647 w 29"/>
                    <a:gd name="T29" fmla="*/ 2147483647 h 11"/>
                    <a:gd name="T30" fmla="*/ 2147483647 w 29"/>
                    <a:gd name="T31" fmla="*/ 0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9"/>
                    <a:gd name="T49" fmla="*/ 0 h 11"/>
                    <a:gd name="T50" fmla="*/ 29 w 29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9" h="11">
                      <a:moveTo>
                        <a:pt x="16" y="0"/>
                      </a:moveTo>
                      <a:lnTo>
                        <a:pt x="26" y="0"/>
                      </a:lnTo>
                      <a:lnTo>
                        <a:pt x="28" y="2"/>
                      </a:lnTo>
                      <a:lnTo>
                        <a:pt x="29" y="3"/>
                      </a:lnTo>
                      <a:lnTo>
                        <a:pt x="29" y="4"/>
                      </a:lnTo>
                      <a:lnTo>
                        <a:pt x="28" y="6"/>
                      </a:lnTo>
                      <a:lnTo>
                        <a:pt x="27" y="9"/>
                      </a:lnTo>
                      <a:lnTo>
                        <a:pt x="23" y="10"/>
                      </a:lnTo>
                      <a:lnTo>
                        <a:pt x="16" y="11"/>
                      </a:lnTo>
                      <a:lnTo>
                        <a:pt x="8" y="9"/>
                      </a:lnTo>
                      <a:lnTo>
                        <a:pt x="4" y="8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2" y="3"/>
                      </a:lnTo>
                      <a:lnTo>
                        <a:pt x="5" y="2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" name="Freeform 338">
                  <a:extLst>
                    <a:ext uri="{FF2B5EF4-FFF2-40B4-BE49-F238E27FC236}">
                      <a16:creationId xmlns:a16="http://schemas.microsoft.com/office/drawing/2014/main" id="{992ACFE5-FC9A-BB4B-AD35-6A1C89D442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2940" y="5811139"/>
                  <a:ext cx="25158" cy="26638"/>
                </a:xfrm>
                <a:custGeom>
                  <a:avLst/>
                  <a:gdLst>
                    <a:gd name="T0" fmla="*/ 2147483647 w 18"/>
                    <a:gd name="T1" fmla="*/ 2147483647 h 18"/>
                    <a:gd name="T2" fmla="*/ 2147483647 w 18"/>
                    <a:gd name="T3" fmla="*/ 2147483647 h 18"/>
                    <a:gd name="T4" fmla="*/ 2147483647 w 18"/>
                    <a:gd name="T5" fmla="*/ 2147483647 h 18"/>
                    <a:gd name="T6" fmla="*/ 2147483647 w 18"/>
                    <a:gd name="T7" fmla="*/ 2147483647 h 18"/>
                    <a:gd name="T8" fmla="*/ 2147483647 w 18"/>
                    <a:gd name="T9" fmla="*/ 2147483647 h 18"/>
                    <a:gd name="T10" fmla="*/ 2147483647 w 18"/>
                    <a:gd name="T11" fmla="*/ 2147483647 h 18"/>
                    <a:gd name="T12" fmla="*/ 2147483647 w 18"/>
                    <a:gd name="T13" fmla="*/ 2147483647 h 18"/>
                    <a:gd name="T14" fmla="*/ 2147483647 w 18"/>
                    <a:gd name="T15" fmla="*/ 2147483647 h 18"/>
                    <a:gd name="T16" fmla="*/ 2147483647 w 18"/>
                    <a:gd name="T17" fmla="*/ 2147483647 h 18"/>
                    <a:gd name="T18" fmla="*/ 2147483647 w 18"/>
                    <a:gd name="T19" fmla="*/ 2147483647 h 18"/>
                    <a:gd name="T20" fmla="*/ 2147483647 w 18"/>
                    <a:gd name="T21" fmla="*/ 2147483647 h 18"/>
                    <a:gd name="T22" fmla="*/ 0 w 18"/>
                    <a:gd name="T23" fmla="*/ 2147483647 h 18"/>
                    <a:gd name="T24" fmla="*/ 0 w 18"/>
                    <a:gd name="T25" fmla="*/ 2147483647 h 18"/>
                    <a:gd name="T26" fmla="*/ 2147483647 w 18"/>
                    <a:gd name="T27" fmla="*/ 2147483647 h 18"/>
                    <a:gd name="T28" fmla="*/ 2147483647 w 18"/>
                    <a:gd name="T29" fmla="*/ 2147483647 h 18"/>
                    <a:gd name="T30" fmla="*/ 2147483647 w 18"/>
                    <a:gd name="T31" fmla="*/ 0 h 18"/>
                    <a:gd name="T32" fmla="*/ 2147483647 w 18"/>
                    <a:gd name="T33" fmla="*/ 0 h 18"/>
                    <a:gd name="T34" fmla="*/ 2147483647 w 18"/>
                    <a:gd name="T35" fmla="*/ 2147483647 h 18"/>
                    <a:gd name="T36" fmla="*/ 2147483647 w 18"/>
                    <a:gd name="T37" fmla="*/ 2147483647 h 18"/>
                    <a:gd name="T38" fmla="*/ 2147483647 w 18"/>
                    <a:gd name="T39" fmla="*/ 2147483647 h 18"/>
                    <a:gd name="T40" fmla="*/ 2147483647 w 18"/>
                    <a:gd name="T41" fmla="*/ 2147483647 h 1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"/>
                    <a:gd name="T64" fmla="*/ 0 h 18"/>
                    <a:gd name="T65" fmla="*/ 18 w 18"/>
                    <a:gd name="T66" fmla="*/ 18 h 1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" h="18">
                      <a:moveTo>
                        <a:pt x="13" y="9"/>
                      </a:moveTo>
                      <a:lnTo>
                        <a:pt x="13" y="9"/>
                      </a:lnTo>
                      <a:lnTo>
                        <a:pt x="16" y="13"/>
                      </a:lnTo>
                      <a:lnTo>
                        <a:pt x="18" y="14"/>
                      </a:lnTo>
                      <a:lnTo>
                        <a:pt x="16" y="16"/>
                      </a:lnTo>
                      <a:lnTo>
                        <a:pt x="13" y="18"/>
                      </a:lnTo>
                      <a:lnTo>
                        <a:pt x="9" y="16"/>
                      </a:lnTo>
                      <a:lnTo>
                        <a:pt x="6" y="15"/>
                      </a:lnTo>
                      <a:lnTo>
                        <a:pt x="2" y="13"/>
                      </a:lnTo>
                      <a:lnTo>
                        <a:pt x="1" y="10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10" y="7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2" name="Freeform 339">
                  <a:extLst>
                    <a:ext uri="{FF2B5EF4-FFF2-40B4-BE49-F238E27FC236}">
                      <a16:creationId xmlns:a16="http://schemas.microsoft.com/office/drawing/2014/main" id="{43B72765-F8CF-3F4F-8A34-330686792E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23606" y="5673513"/>
                  <a:ext cx="39957" cy="16279"/>
                </a:xfrm>
                <a:custGeom>
                  <a:avLst/>
                  <a:gdLst>
                    <a:gd name="T0" fmla="*/ 2147483647 w 29"/>
                    <a:gd name="T1" fmla="*/ 0 h 11"/>
                    <a:gd name="T2" fmla="*/ 2147483647 w 29"/>
                    <a:gd name="T3" fmla="*/ 0 h 11"/>
                    <a:gd name="T4" fmla="*/ 2147483647 w 29"/>
                    <a:gd name="T5" fmla="*/ 0 h 11"/>
                    <a:gd name="T6" fmla="*/ 2147483647 w 29"/>
                    <a:gd name="T7" fmla="*/ 2147483647 h 11"/>
                    <a:gd name="T8" fmla="*/ 2147483647 w 29"/>
                    <a:gd name="T9" fmla="*/ 2147483647 h 11"/>
                    <a:gd name="T10" fmla="*/ 2147483647 w 29"/>
                    <a:gd name="T11" fmla="*/ 2147483647 h 11"/>
                    <a:gd name="T12" fmla="*/ 2147483647 w 29"/>
                    <a:gd name="T13" fmla="*/ 2147483647 h 11"/>
                    <a:gd name="T14" fmla="*/ 2147483647 w 29"/>
                    <a:gd name="T15" fmla="*/ 2147483647 h 11"/>
                    <a:gd name="T16" fmla="*/ 2147483647 w 29"/>
                    <a:gd name="T17" fmla="*/ 2147483647 h 11"/>
                    <a:gd name="T18" fmla="*/ 2147483647 w 29"/>
                    <a:gd name="T19" fmla="*/ 2147483647 h 11"/>
                    <a:gd name="T20" fmla="*/ 2147483647 w 29"/>
                    <a:gd name="T21" fmla="*/ 2147483647 h 11"/>
                    <a:gd name="T22" fmla="*/ 2147483647 w 29"/>
                    <a:gd name="T23" fmla="*/ 2147483647 h 11"/>
                    <a:gd name="T24" fmla="*/ 2147483647 w 29"/>
                    <a:gd name="T25" fmla="*/ 2147483647 h 11"/>
                    <a:gd name="T26" fmla="*/ 2147483647 w 29"/>
                    <a:gd name="T27" fmla="*/ 2147483647 h 11"/>
                    <a:gd name="T28" fmla="*/ 2147483647 w 29"/>
                    <a:gd name="T29" fmla="*/ 2147483647 h 11"/>
                    <a:gd name="T30" fmla="*/ 0 w 29"/>
                    <a:gd name="T31" fmla="*/ 2147483647 h 11"/>
                    <a:gd name="T32" fmla="*/ 2147483647 w 29"/>
                    <a:gd name="T33" fmla="*/ 2147483647 h 11"/>
                    <a:gd name="T34" fmla="*/ 2147483647 w 29"/>
                    <a:gd name="T35" fmla="*/ 2147483647 h 11"/>
                    <a:gd name="T36" fmla="*/ 2147483647 w 29"/>
                    <a:gd name="T37" fmla="*/ 0 h 11"/>
                    <a:gd name="T38" fmla="*/ 2147483647 w 29"/>
                    <a:gd name="T39" fmla="*/ 0 h 1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9"/>
                    <a:gd name="T61" fmla="*/ 0 h 11"/>
                    <a:gd name="T62" fmla="*/ 29 w 29"/>
                    <a:gd name="T63" fmla="*/ 11 h 1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9" h="11">
                      <a:moveTo>
                        <a:pt x="15" y="0"/>
                      </a:moveTo>
                      <a:lnTo>
                        <a:pt x="15" y="0"/>
                      </a:lnTo>
                      <a:lnTo>
                        <a:pt x="25" y="0"/>
                      </a:lnTo>
                      <a:lnTo>
                        <a:pt x="28" y="1"/>
                      </a:lnTo>
                      <a:lnTo>
                        <a:pt x="29" y="3"/>
                      </a:lnTo>
                      <a:lnTo>
                        <a:pt x="29" y="4"/>
                      </a:lnTo>
                      <a:lnTo>
                        <a:pt x="28" y="6"/>
                      </a:lnTo>
                      <a:lnTo>
                        <a:pt x="27" y="9"/>
                      </a:lnTo>
                      <a:lnTo>
                        <a:pt x="23" y="10"/>
                      </a:lnTo>
                      <a:lnTo>
                        <a:pt x="15" y="11"/>
                      </a:lnTo>
                      <a:lnTo>
                        <a:pt x="8" y="9"/>
                      </a:lnTo>
                      <a:lnTo>
                        <a:pt x="4" y="7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5" y="1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" name="Freeform 342">
                  <a:extLst>
                    <a:ext uri="{FF2B5EF4-FFF2-40B4-BE49-F238E27FC236}">
                      <a16:creationId xmlns:a16="http://schemas.microsoft.com/office/drawing/2014/main" id="{107D0771-F175-D246-8EC7-6464FFF1D6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5692" y="4926175"/>
                  <a:ext cx="963396" cy="864245"/>
                </a:xfrm>
                <a:custGeom>
                  <a:avLst/>
                  <a:gdLst>
                    <a:gd name="T0" fmla="*/ 2147483647 w 705"/>
                    <a:gd name="T1" fmla="*/ 2147483647 h 584"/>
                    <a:gd name="T2" fmla="*/ 2147483647 w 705"/>
                    <a:gd name="T3" fmla="*/ 2147483647 h 584"/>
                    <a:gd name="T4" fmla="*/ 2147483647 w 705"/>
                    <a:gd name="T5" fmla="*/ 2147483647 h 584"/>
                    <a:gd name="T6" fmla="*/ 2147483647 w 705"/>
                    <a:gd name="T7" fmla="*/ 2147483647 h 584"/>
                    <a:gd name="T8" fmla="*/ 2147483647 w 705"/>
                    <a:gd name="T9" fmla="*/ 2147483647 h 584"/>
                    <a:gd name="T10" fmla="*/ 2147483647 w 705"/>
                    <a:gd name="T11" fmla="*/ 2147483647 h 584"/>
                    <a:gd name="T12" fmla="*/ 2147483647 w 705"/>
                    <a:gd name="T13" fmla="*/ 2147483647 h 584"/>
                    <a:gd name="T14" fmla="*/ 2147483647 w 705"/>
                    <a:gd name="T15" fmla="*/ 2147483647 h 584"/>
                    <a:gd name="T16" fmla="*/ 2147483647 w 705"/>
                    <a:gd name="T17" fmla="*/ 2147483647 h 584"/>
                    <a:gd name="T18" fmla="*/ 2147483647 w 705"/>
                    <a:gd name="T19" fmla="*/ 2147483647 h 584"/>
                    <a:gd name="T20" fmla="*/ 2147483647 w 705"/>
                    <a:gd name="T21" fmla="*/ 2147483647 h 584"/>
                    <a:gd name="T22" fmla="*/ 2147483647 w 705"/>
                    <a:gd name="T23" fmla="*/ 2147483647 h 584"/>
                    <a:gd name="T24" fmla="*/ 2147483647 w 705"/>
                    <a:gd name="T25" fmla="*/ 2147483647 h 584"/>
                    <a:gd name="T26" fmla="*/ 2147483647 w 705"/>
                    <a:gd name="T27" fmla="*/ 2147483647 h 584"/>
                    <a:gd name="T28" fmla="*/ 2147483647 w 705"/>
                    <a:gd name="T29" fmla="*/ 2147483647 h 584"/>
                    <a:gd name="T30" fmla="*/ 2147483647 w 705"/>
                    <a:gd name="T31" fmla="*/ 2147483647 h 584"/>
                    <a:gd name="T32" fmla="*/ 2147483647 w 705"/>
                    <a:gd name="T33" fmla="*/ 2147483647 h 584"/>
                    <a:gd name="T34" fmla="*/ 2147483647 w 705"/>
                    <a:gd name="T35" fmla="*/ 2147483647 h 584"/>
                    <a:gd name="T36" fmla="*/ 2147483647 w 705"/>
                    <a:gd name="T37" fmla="*/ 2147483647 h 584"/>
                    <a:gd name="T38" fmla="*/ 2147483647 w 705"/>
                    <a:gd name="T39" fmla="*/ 2147483647 h 584"/>
                    <a:gd name="T40" fmla="*/ 2147483647 w 705"/>
                    <a:gd name="T41" fmla="*/ 2147483647 h 584"/>
                    <a:gd name="T42" fmla="*/ 2147483647 w 705"/>
                    <a:gd name="T43" fmla="*/ 2147483647 h 584"/>
                    <a:gd name="T44" fmla="*/ 2147483647 w 705"/>
                    <a:gd name="T45" fmla="*/ 2147483647 h 584"/>
                    <a:gd name="T46" fmla="*/ 2147483647 w 705"/>
                    <a:gd name="T47" fmla="*/ 2147483647 h 584"/>
                    <a:gd name="T48" fmla="*/ 2147483647 w 705"/>
                    <a:gd name="T49" fmla="*/ 2147483647 h 584"/>
                    <a:gd name="T50" fmla="*/ 2147483647 w 705"/>
                    <a:gd name="T51" fmla="*/ 2147483647 h 584"/>
                    <a:gd name="T52" fmla="*/ 2147483647 w 705"/>
                    <a:gd name="T53" fmla="*/ 2147483647 h 584"/>
                    <a:gd name="T54" fmla="*/ 2147483647 w 705"/>
                    <a:gd name="T55" fmla="*/ 2147483647 h 584"/>
                    <a:gd name="T56" fmla="*/ 2147483647 w 705"/>
                    <a:gd name="T57" fmla="*/ 2147483647 h 584"/>
                    <a:gd name="T58" fmla="*/ 2147483647 w 705"/>
                    <a:gd name="T59" fmla="*/ 2147483647 h 584"/>
                    <a:gd name="T60" fmla="*/ 2147483647 w 705"/>
                    <a:gd name="T61" fmla="*/ 2147483647 h 584"/>
                    <a:gd name="T62" fmla="*/ 2147483647 w 705"/>
                    <a:gd name="T63" fmla="*/ 2147483647 h 584"/>
                    <a:gd name="T64" fmla="*/ 2147483647 w 705"/>
                    <a:gd name="T65" fmla="*/ 2147483647 h 584"/>
                    <a:gd name="T66" fmla="*/ 2147483647 w 705"/>
                    <a:gd name="T67" fmla="*/ 2147483647 h 584"/>
                    <a:gd name="T68" fmla="*/ 2147483647 w 705"/>
                    <a:gd name="T69" fmla="*/ 2147483647 h 584"/>
                    <a:gd name="T70" fmla="*/ 2147483647 w 705"/>
                    <a:gd name="T71" fmla="*/ 2147483647 h 584"/>
                    <a:gd name="T72" fmla="*/ 2147483647 w 705"/>
                    <a:gd name="T73" fmla="*/ 2147483647 h 584"/>
                    <a:gd name="T74" fmla="*/ 2147483647 w 705"/>
                    <a:gd name="T75" fmla="*/ 2147483647 h 584"/>
                    <a:gd name="T76" fmla="*/ 2147483647 w 705"/>
                    <a:gd name="T77" fmla="*/ 2147483647 h 584"/>
                    <a:gd name="T78" fmla="*/ 2147483647 w 705"/>
                    <a:gd name="T79" fmla="*/ 2147483647 h 584"/>
                    <a:gd name="T80" fmla="*/ 2147483647 w 705"/>
                    <a:gd name="T81" fmla="*/ 2147483647 h 584"/>
                    <a:gd name="T82" fmla="*/ 2147483647 w 705"/>
                    <a:gd name="T83" fmla="*/ 2147483647 h 584"/>
                    <a:gd name="T84" fmla="*/ 2147483647 w 705"/>
                    <a:gd name="T85" fmla="*/ 2147483647 h 584"/>
                    <a:gd name="T86" fmla="*/ 2147483647 w 705"/>
                    <a:gd name="T87" fmla="*/ 2147483647 h 584"/>
                    <a:gd name="T88" fmla="*/ 2147483647 w 705"/>
                    <a:gd name="T89" fmla="*/ 2147483647 h 584"/>
                    <a:gd name="T90" fmla="*/ 2147483647 w 705"/>
                    <a:gd name="T91" fmla="*/ 2147483647 h 584"/>
                    <a:gd name="T92" fmla="*/ 2147483647 w 705"/>
                    <a:gd name="T93" fmla="*/ 2147483647 h 584"/>
                    <a:gd name="T94" fmla="*/ 2147483647 w 705"/>
                    <a:gd name="T95" fmla="*/ 2147483647 h 584"/>
                    <a:gd name="T96" fmla="*/ 2147483647 w 705"/>
                    <a:gd name="T97" fmla="*/ 2147483647 h 584"/>
                    <a:gd name="T98" fmla="*/ 2147483647 w 705"/>
                    <a:gd name="T99" fmla="*/ 2147483647 h 584"/>
                    <a:gd name="T100" fmla="*/ 2147483647 w 705"/>
                    <a:gd name="T101" fmla="*/ 2147483647 h 584"/>
                    <a:gd name="T102" fmla="*/ 2147483647 w 705"/>
                    <a:gd name="T103" fmla="*/ 2147483647 h 584"/>
                    <a:gd name="T104" fmla="*/ 2147483647 w 705"/>
                    <a:gd name="T105" fmla="*/ 2147483647 h 584"/>
                    <a:gd name="T106" fmla="*/ 2147483647 w 705"/>
                    <a:gd name="T107" fmla="*/ 2147483647 h 584"/>
                    <a:gd name="T108" fmla="*/ 2147483647 w 705"/>
                    <a:gd name="T109" fmla="*/ 2147483647 h 584"/>
                    <a:gd name="T110" fmla="*/ 2147483647 w 705"/>
                    <a:gd name="T111" fmla="*/ 2147483647 h 584"/>
                    <a:gd name="T112" fmla="*/ 2147483647 w 705"/>
                    <a:gd name="T113" fmla="*/ 2147483647 h 584"/>
                    <a:gd name="T114" fmla="*/ 2147483647 w 705"/>
                    <a:gd name="T115" fmla="*/ 2147483647 h 584"/>
                    <a:gd name="T116" fmla="*/ 2147483647 w 705"/>
                    <a:gd name="T117" fmla="*/ 2147483647 h 584"/>
                    <a:gd name="T118" fmla="*/ 2147483647 w 705"/>
                    <a:gd name="T119" fmla="*/ 2147483647 h 584"/>
                    <a:gd name="T120" fmla="*/ 2147483647 w 705"/>
                    <a:gd name="T121" fmla="*/ 2147483647 h 58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705"/>
                    <a:gd name="T184" fmla="*/ 0 h 584"/>
                    <a:gd name="T185" fmla="*/ 705 w 705"/>
                    <a:gd name="T186" fmla="*/ 584 h 58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705" h="584">
                      <a:moveTo>
                        <a:pt x="216" y="440"/>
                      </a:moveTo>
                      <a:lnTo>
                        <a:pt x="216" y="440"/>
                      </a:lnTo>
                      <a:lnTo>
                        <a:pt x="212" y="444"/>
                      </a:lnTo>
                      <a:lnTo>
                        <a:pt x="208" y="447"/>
                      </a:lnTo>
                      <a:lnTo>
                        <a:pt x="203" y="448"/>
                      </a:lnTo>
                      <a:lnTo>
                        <a:pt x="197" y="448"/>
                      </a:lnTo>
                      <a:lnTo>
                        <a:pt x="193" y="450"/>
                      </a:lnTo>
                      <a:lnTo>
                        <a:pt x="191" y="451"/>
                      </a:lnTo>
                      <a:lnTo>
                        <a:pt x="188" y="452"/>
                      </a:lnTo>
                      <a:lnTo>
                        <a:pt x="187" y="454"/>
                      </a:lnTo>
                      <a:lnTo>
                        <a:pt x="186" y="460"/>
                      </a:lnTo>
                      <a:lnTo>
                        <a:pt x="183" y="466"/>
                      </a:lnTo>
                      <a:lnTo>
                        <a:pt x="180" y="469"/>
                      </a:lnTo>
                      <a:lnTo>
                        <a:pt x="175" y="470"/>
                      </a:lnTo>
                      <a:lnTo>
                        <a:pt x="165" y="472"/>
                      </a:lnTo>
                      <a:lnTo>
                        <a:pt x="163" y="472"/>
                      </a:lnTo>
                      <a:lnTo>
                        <a:pt x="160" y="471"/>
                      </a:lnTo>
                      <a:lnTo>
                        <a:pt x="156" y="469"/>
                      </a:lnTo>
                      <a:lnTo>
                        <a:pt x="151" y="469"/>
                      </a:lnTo>
                      <a:lnTo>
                        <a:pt x="147" y="471"/>
                      </a:lnTo>
                      <a:lnTo>
                        <a:pt x="142" y="472"/>
                      </a:lnTo>
                      <a:lnTo>
                        <a:pt x="139" y="472"/>
                      </a:lnTo>
                      <a:lnTo>
                        <a:pt x="132" y="471"/>
                      </a:lnTo>
                      <a:lnTo>
                        <a:pt x="125" y="471"/>
                      </a:lnTo>
                      <a:lnTo>
                        <a:pt x="117" y="473"/>
                      </a:lnTo>
                      <a:lnTo>
                        <a:pt x="111" y="476"/>
                      </a:lnTo>
                      <a:lnTo>
                        <a:pt x="109" y="478"/>
                      </a:lnTo>
                      <a:lnTo>
                        <a:pt x="108" y="482"/>
                      </a:lnTo>
                      <a:lnTo>
                        <a:pt x="108" y="484"/>
                      </a:lnTo>
                      <a:lnTo>
                        <a:pt x="106" y="485"/>
                      </a:lnTo>
                      <a:lnTo>
                        <a:pt x="103" y="486"/>
                      </a:lnTo>
                      <a:lnTo>
                        <a:pt x="100" y="486"/>
                      </a:lnTo>
                      <a:lnTo>
                        <a:pt x="98" y="490"/>
                      </a:lnTo>
                      <a:lnTo>
                        <a:pt x="94" y="492"/>
                      </a:lnTo>
                      <a:lnTo>
                        <a:pt x="90" y="493"/>
                      </a:lnTo>
                      <a:lnTo>
                        <a:pt x="86" y="493"/>
                      </a:lnTo>
                      <a:lnTo>
                        <a:pt x="78" y="492"/>
                      </a:lnTo>
                      <a:lnTo>
                        <a:pt x="70" y="490"/>
                      </a:lnTo>
                      <a:lnTo>
                        <a:pt x="66" y="490"/>
                      </a:lnTo>
                      <a:lnTo>
                        <a:pt x="64" y="491"/>
                      </a:lnTo>
                      <a:lnTo>
                        <a:pt x="60" y="491"/>
                      </a:lnTo>
                      <a:lnTo>
                        <a:pt x="56" y="491"/>
                      </a:lnTo>
                      <a:lnTo>
                        <a:pt x="51" y="490"/>
                      </a:lnTo>
                      <a:lnTo>
                        <a:pt x="47" y="488"/>
                      </a:lnTo>
                      <a:lnTo>
                        <a:pt x="41" y="480"/>
                      </a:lnTo>
                      <a:lnTo>
                        <a:pt x="39" y="480"/>
                      </a:lnTo>
                      <a:lnTo>
                        <a:pt x="37" y="479"/>
                      </a:lnTo>
                      <a:lnTo>
                        <a:pt x="36" y="479"/>
                      </a:lnTo>
                      <a:lnTo>
                        <a:pt x="34" y="479"/>
                      </a:lnTo>
                      <a:lnTo>
                        <a:pt x="34" y="477"/>
                      </a:lnTo>
                      <a:lnTo>
                        <a:pt x="34" y="476"/>
                      </a:lnTo>
                      <a:lnTo>
                        <a:pt x="37" y="473"/>
                      </a:lnTo>
                      <a:lnTo>
                        <a:pt x="37" y="470"/>
                      </a:lnTo>
                      <a:lnTo>
                        <a:pt x="37" y="467"/>
                      </a:lnTo>
                      <a:lnTo>
                        <a:pt x="37" y="464"/>
                      </a:lnTo>
                      <a:lnTo>
                        <a:pt x="37" y="461"/>
                      </a:lnTo>
                      <a:lnTo>
                        <a:pt x="39" y="460"/>
                      </a:lnTo>
                      <a:lnTo>
                        <a:pt x="41" y="461"/>
                      </a:lnTo>
                      <a:lnTo>
                        <a:pt x="43" y="461"/>
                      </a:lnTo>
                      <a:lnTo>
                        <a:pt x="46" y="461"/>
                      </a:lnTo>
                      <a:lnTo>
                        <a:pt x="47" y="461"/>
                      </a:lnTo>
                      <a:lnTo>
                        <a:pt x="48" y="459"/>
                      </a:lnTo>
                      <a:lnTo>
                        <a:pt x="47" y="452"/>
                      </a:lnTo>
                      <a:lnTo>
                        <a:pt x="48" y="445"/>
                      </a:lnTo>
                      <a:lnTo>
                        <a:pt x="47" y="438"/>
                      </a:lnTo>
                      <a:lnTo>
                        <a:pt x="46" y="433"/>
                      </a:lnTo>
                      <a:lnTo>
                        <a:pt x="45" y="429"/>
                      </a:lnTo>
                      <a:lnTo>
                        <a:pt x="43" y="427"/>
                      </a:lnTo>
                      <a:lnTo>
                        <a:pt x="45" y="425"/>
                      </a:lnTo>
                      <a:lnTo>
                        <a:pt x="46" y="421"/>
                      </a:lnTo>
                      <a:lnTo>
                        <a:pt x="46" y="419"/>
                      </a:lnTo>
                      <a:lnTo>
                        <a:pt x="43" y="414"/>
                      </a:lnTo>
                      <a:lnTo>
                        <a:pt x="39" y="410"/>
                      </a:lnTo>
                      <a:lnTo>
                        <a:pt x="37" y="406"/>
                      </a:lnTo>
                      <a:lnTo>
                        <a:pt x="36" y="400"/>
                      </a:lnTo>
                      <a:lnTo>
                        <a:pt x="34" y="390"/>
                      </a:lnTo>
                      <a:lnTo>
                        <a:pt x="36" y="381"/>
                      </a:lnTo>
                      <a:lnTo>
                        <a:pt x="36" y="377"/>
                      </a:lnTo>
                      <a:lnTo>
                        <a:pt x="33" y="374"/>
                      </a:lnTo>
                      <a:lnTo>
                        <a:pt x="31" y="370"/>
                      </a:lnTo>
                      <a:lnTo>
                        <a:pt x="29" y="367"/>
                      </a:lnTo>
                      <a:lnTo>
                        <a:pt x="29" y="364"/>
                      </a:lnTo>
                      <a:lnTo>
                        <a:pt x="29" y="362"/>
                      </a:lnTo>
                      <a:lnTo>
                        <a:pt x="29" y="359"/>
                      </a:lnTo>
                      <a:lnTo>
                        <a:pt x="29" y="357"/>
                      </a:lnTo>
                      <a:lnTo>
                        <a:pt x="27" y="355"/>
                      </a:lnTo>
                      <a:lnTo>
                        <a:pt x="24" y="352"/>
                      </a:lnTo>
                      <a:lnTo>
                        <a:pt x="24" y="350"/>
                      </a:lnTo>
                      <a:lnTo>
                        <a:pt x="22" y="345"/>
                      </a:lnTo>
                      <a:lnTo>
                        <a:pt x="19" y="342"/>
                      </a:lnTo>
                      <a:lnTo>
                        <a:pt x="17" y="332"/>
                      </a:lnTo>
                      <a:lnTo>
                        <a:pt x="13" y="324"/>
                      </a:lnTo>
                      <a:lnTo>
                        <a:pt x="6" y="317"/>
                      </a:lnTo>
                      <a:lnTo>
                        <a:pt x="1" y="310"/>
                      </a:lnTo>
                      <a:lnTo>
                        <a:pt x="0" y="308"/>
                      </a:lnTo>
                      <a:lnTo>
                        <a:pt x="0" y="307"/>
                      </a:lnTo>
                      <a:lnTo>
                        <a:pt x="1" y="307"/>
                      </a:lnTo>
                      <a:lnTo>
                        <a:pt x="4" y="308"/>
                      </a:lnTo>
                      <a:lnTo>
                        <a:pt x="5" y="310"/>
                      </a:lnTo>
                      <a:lnTo>
                        <a:pt x="9" y="314"/>
                      </a:lnTo>
                      <a:lnTo>
                        <a:pt x="12" y="316"/>
                      </a:lnTo>
                      <a:lnTo>
                        <a:pt x="13" y="314"/>
                      </a:lnTo>
                      <a:lnTo>
                        <a:pt x="14" y="312"/>
                      </a:lnTo>
                      <a:lnTo>
                        <a:pt x="13" y="310"/>
                      </a:lnTo>
                      <a:lnTo>
                        <a:pt x="10" y="305"/>
                      </a:lnTo>
                      <a:lnTo>
                        <a:pt x="10" y="304"/>
                      </a:lnTo>
                      <a:lnTo>
                        <a:pt x="14" y="306"/>
                      </a:lnTo>
                      <a:lnTo>
                        <a:pt x="17" y="310"/>
                      </a:lnTo>
                      <a:lnTo>
                        <a:pt x="19" y="312"/>
                      </a:lnTo>
                      <a:lnTo>
                        <a:pt x="20" y="311"/>
                      </a:lnTo>
                      <a:lnTo>
                        <a:pt x="23" y="310"/>
                      </a:lnTo>
                      <a:lnTo>
                        <a:pt x="23" y="307"/>
                      </a:lnTo>
                      <a:lnTo>
                        <a:pt x="23" y="301"/>
                      </a:lnTo>
                      <a:lnTo>
                        <a:pt x="19" y="291"/>
                      </a:lnTo>
                      <a:lnTo>
                        <a:pt x="17" y="290"/>
                      </a:lnTo>
                      <a:lnTo>
                        <a:pt x="12" y="279"/>
                      </a:lnTo>
                      <a:lnTo>
                        <a:pt x="12" y="278"/>
                      </a:lnTo>
                      <a:lnTo>
                        <a:pt x="12" y="276"/>
                      </a:lnTo>
                      <a:lnTo>
                        <a:pt x="13" y="275"/>
                      </a:lnTo>
                      <a:lnTo>
                        <a:pt x="13" y="274"/>
                      </a:lnTo>
                      <a:lnTo>
                        <a:pt x="10" y="272"/>
                      </a:lnTo>
                      <a:lnTo>
                        <a:pt x="10" y="268"/>
                      </a:lnTo>
                      <a:lnTo>
                        <a:pt x="10" y="265"/>
                      </a:lnTo>
                      <a:lnTo>
                        <a:pt x="13" y="258"/>
                      </a:lnTo>
                      <a:lnTo>
                        <a:pt x="15" y="252"/>
                      </a:lnTo>
                      <a:lnTo>
                        <a:pt x="17" y="248"/>
                      </a:lnTo>
                      <a:lnTo>
                        <a:pt x="13" y="241"/>
                      </a:lnTo>
                      <a:lnTo>
                        <a:pt x="12" y="234"/>
                      </a:lnTo>
                      <a:lnTo>
                        <a:pt x="13" y="227"/>
                      </a:lnTo>
                      <a:lnTo>
                        <a:pt x="15" y="223"/>
                      </a:lnTo>
                      <a:lnTo>
                        <a:pt x="18" y="220"/>
                      </a:lnTo>
                      <a:lnTo>
                        <a:pt x="19" y="220"/>
                      </a:lnTo>
                      <a:lnTo>
                        <a:pt x="20" y="221"/>
                      </a:lnTo>
                      <a:lnTo>
                        <a:pt x="22" y="223"/>
                      </a:lnTo>
                      <a:lnTo>
                        <a:pt x="23" y="224"/>
                      </a:lnTo>
                      <a:lnTo>
                        <a:pt x="24" y="225"/>
                      </a:lnTo>
                      <a:lnTo>
                        <a:pt x="27" y="225"/>
                      </a:lnTo>
                      <a:lnTo>
                        <a:pt x="29" y="224"/>
                      </a:lnTo>
                      <a:lnTo>
                        <a:pt x="31" y="222"/>
                      </a:lnTo>
                      <a:lnTo>
                        <a:pt x="33" y="217"/>
                      </a:lnTo>
                      <a:lnTo>
                        <a:pt x="39" y="211"/>
                      </a:lnTo>
                      <a:lnTo>
                        <a:pt x="47" y="207"/>
                      </a:lnTo>
                      <a:lnTo>
                        <a:pt x="61" y="197"/>
                      </a:lnTo>
                      <a:lnTo>
                        <a:pt x="64" y="195"/>
                      </a:lnTo>
                      <a:lnTo>
                        <a:pt x="67" y="193"/>
                      </a:lnTo>
                      <a:lnTo>
                        <a:pt x="75" y="195"/>
                      </a:lnTo>
                      <a:lnTo>
                        <a:pt x="79" y="195"/>
                      </a:lnTo>
                      <a:lnTo>
                        <a:pt x="83" y="192"/>
                      </a:lnTo>
                      <a:lnTo>
                        <a:pt x="92" y="188"/>
                      </a:lnTo>
                      <a:lnTo>
                        <a:pt x="100" y="184"/>
                      </a:lnTo>
                      <a:lnTo>
                        <a:pt x="111" y="183"/>
                      </a:lnTo>
                      <a:lnTo>
                        <a:pt x="121" y="183"/>
                      </a:lnTo>
                      <a:lnTo>
                        <a:pt x="123" y="182"/>
                      </a:lnTo>
                      <a:lnTo>
                        <a:pt x="126" y="180"/>
                      </a:lnTo>
                      <a:lnTo>
                        <a:pt x="131" y="176"/>
                      </a:lnTo>
                      <a:lnTo>
                        <a:pt x="136" y="175"/>
                      </a:lnTo>
                      <a:lnTo>
                        <a:pt x="141" y="173"/>
                      </a:lnTo>
                      <a:lnTo>
                        <a:pt x="142" y="172"/>
                      </a:lnTo>
                      <a:lnTo>
                        <a:pt x="144" y="171"/>
                      </a:lnTo>
                      <a:lnTo>
                        <a:pt x="145" y="164"/>
                      </a:lnTo>
                      <a:lnTo>
                        <a:pt x="147" y="158"/>
                      </a:lnTo>
                      <a:lnTo>
                        <a:pt x="149" y="156"/>
                      </a:lnTo>
                      <a:lnTo>
                        <a:pt x="151" y="153"/>
                      </a:lnTo>
                      <a:lnTo>
                        <a:pt x="155" y="152"/>
                      </a:lnTo>
                      <a:lnTo>
                        <a:pt x="159" y="152"/>
                      </a:lnTo>
                      <a:lnTo>
                        <a:pt x="160" y="151"/>
                      </a:lnTo>
                      <a:lnTo>
                        <a:pt x="161" y="150"/>
                      </a:lnTo>
                      <a:lnTo>
                        <a:pt x="163" y="147"/>
                      </a:lnTo>
                      <a:lnTo>
                        <a:pt x="163" y="138"/>
                      </a:lnTo>
                      <a:lnTo>
                        <a:pt x="164" y="126"/>
                      </a:lnTo>
                      <a:lnTo>
                        <a:pt x="165" y="118"/>
                      </a:lnTo>
                      <a:lnTo>
                        <a:pt x="166" y="114"/>
                      </a:lnTo>
                      <a:lnTo>
                        <a:pt x="169" y="113"/>
                      </a:lnTo>
                      <a:lnTo>
                        <a:pt x="172" y="114"/>
                      </a:lnTo>
                      <a:lnTo>
                        <a:pt x="174" y="115"/>
                      </a:lnTo>
                      <a:lnTo>
                        <a:pt x="175" y="116"/>
                      </a:lnTo>
                      <a:lnTo>
                        <a:pt x="177" y="119"/>
                      </a:lnTo>
                      <a:lnTo>
                        <a:pt x="178" y="125"/>
                      </a:lnTo>
                      <a:lnTo>
                        <a:pt x="179" y="129"/>
                      </a:lnTo>
                      <a:lnTo>
                        <a:pt x="182" y="132"/>
                      </a:lnTo>
                      <a:lnTo>
                        <a:pt x="183" y="132"/>
                      </a:lnTo>
                      <a:lnTo>
                        <a:pt x="184" y="131"/>
                      </a:lnTo>
                      <a:lnTo>
                        <a:pt x="183" y="125"/>
                      </a:lnTo>
                      <a:lnTo>
                        <a:pt x="183" y="119"/>
                      </a:lnTo>
                      <a:lnTo>
                        <a:pt x="183" y="116"/>
                      </a:lnTo>
                      <a:lnTo>
                        <a:pt x="183" y="114"/>
                      </a:lnTo>
                      <a:lnTo>
                        <a:pt x="184" y="112"/>
                      </a:lnTo>
                      <a:lnTo>
                        <a:pt x="188" y="110"/>
                      </a:lnTo>
                      <a:lnTo>
                        <a:pt x="189" y="110"/>
                      </a:lnTo>
                      <a:lnTo>
                        <a:pt x="192" y="112"/>
                      </a:lnTo>
                      <a:lnTo>
                        <a:pt x="193" y="112"/>
                      </a:lnTo>
                      <a:lnTo>
                        <a:pt x="194" y="113"/>
                      </a:lnTo>
                      <a:lnTo>
                        <a:pt x="198" y="110"/>
                      </a:lnTo>
                      <a:lnTo>
                        <a:pt x="199" y="107"/>
                      </a:lnTo>
                      <a:lnTo>
                        <a:pt x="201" y="102"/>
                      </a:lnTo>
                      <a:lnTo>
                        <a:pt x="201" y="99"/>
                      </a:lnTo>
                      <a:lnTo>
                        <a:pt x="198" y="97"/>
                      </a:lnTo>
                      <a:lnTo>
                        <a:pt x="196" y="96"/>
                      </a:lnTo>
                      <a:lnTo>
                        <a:pt x="194" y="95"/>
                      </a:lnTo>
                      <a:lnTo>
                        <a:pt x="196" y="94"/>
                      </a:lnTo>
                      <a:lnTo>
                        <a:pt x="197" y="93"/>
                      </a:lnTo>
                      <a:lnTo>
                        <a:pt x="201" y="92"/>
                      </a:lnTo>
                      <a:lnTo>
                        <a:pt x="206" y="92"/>
                      </a:lnTo>
                      <a:lnTo>
                        <a:pt x="210" y="90"/>
                      </a:lnTo>
                      <a:lnTo>
                        <a:pt x="211" y="89"/>
                      </a:lnTo>
                      <a:lnTo>
                        <a:pt x="212" y="87"/>
                      </a:lnTo>
                      <a:lnTo>
                        <a:pt x="212" y="83"/>
                      </a:lnTo>
                      <a:lnTo>
                        <a:pt x="212" y="78"/>
                      </a:lnTo>
                      <a:lnTo>
                        <a:pt x="212" y="75"/>
                      </a:lnTo>
                      <a:lnTo>
                        <a:pt x="215" y="74"/>
                      </a:lnTo>
                      <a:lnTo>
                        <a:pt x="217" y="73"/>
                      </a:lnTo>
                      <a:lnTo>
                        <a:pt x="219" y="74"/>
                      </a:lnTo>
                      <a:lnTo>
                        <a:pt x="220" y="75"/>
                      </a:lnTo>
                      <a:lnTo>
                        <a:pt x="221" y="77"/>
                      </a:lnTo>
                      <a:lnTo>
                        <a:pt x="222" y="77"/>
                      </a:lnTo>
                      <a:lnTo>
                        <a:pt x="225" y="76"/>
                      </a:lnTo>
                      <a:lnTo>
                        <a:pt x="226" y="74"/>
                      </a:lnTo>
                      <a:lnTo>
                        <a:pt x="227" y="69"/>
                      </a:lnTo>
                      <a:lnTo>
                        <a:pt x="227" y="64"/>
                      </a:lnTo>
                      <a:lnTo>
                        <a:pt x="226" y="58"/>
                      </a:lnTo>
                      <a:lnTo>
                        <a:pt x="227" y="58"/>
                      </a:lnTo>
                      <a:lnTo>
                        <a:pt x="229" y="58"/>
                      </a:lnTo>
                      <a:lnTo>
                        <a:pt x="230" y="60"/>
                      </a:lnTo>
                      <a:lnTo>
                        <a:pt x="230" y="62"/>
                      </a:lnTo>
                      <a:lnTo>
                        <a:pt x="231" y="63"/>
                      </a:lnTo>
                      <a:lnTo>
                        <a:pt x="233" y="64"/>
                      </a:lnTo>
                      <a:lnTo>
                        <a:pt x="234" y="64"/>
                      </a:lnTo>
                      <a:lnTo>
                        <a:pt x="236" y="63"/>
                      </a:lnTo>
                      <a:lnTo>
                        <a:pt x="238" y="63"/>
                      </a:lnTo>
                      <a:lnTo>
                        <a:pt x="239" y="63"/>
                      </a:lnTo>
                      <a:lnTo>
                        <a:pt x="245" y="65"/>
                      </a:lnTo>
                      <a:lnTo>
                        <a:pt x="252" y="65"/>
                      </a:lnTo>
                      <a:lnTo>
                        <a:pt x="252" y="67"/>
                      </a:lnTo>
                      <a:lnTo>
                        <a:pt x="253" y="67"/>
                      </a:lnTo>
                      <a:lnTo>
                        <a:pt x="253" y="71"/>
                      </a:lnTo>
                      <a:lnTo>
                        <a:pt x="255" y="75"/>
                      </a:lnTo>
                      <a:lnTo>
                        <a:pt x="258" y="78"/>
                      </a:lnTo>
                      <a:lnTo>
                        <a:pt x="260" y="82"/>
                      </a:lnTo>
                      <a:lnTo>
                        <a:pt x="260" y="84"/>
                      </a:lnTo>
                      <a:lnTo>
                        <a:pt x="260" y="87"/>
                      </a:lnTo>
                      <a:lnTo>
                        <a:pt x="257" y="92"/>
                      </a:lnTo>
                      <a:lnTo>
                        <a:pt x="255" y="94"/>
                      </a:lnTo>
                      <a:lnTo>
                        <a:pt x="255" y="96"/>
                      </a:lnTo>
                      <a:lnTo>
                        <a:pt x="257" y="97"/>
                      </a:lnTo>
                      <a:lnTo>
                        <a:pt x="258" y="97"/>
                      </a:lnTo>
                      <a:lnTo>
                        <a:pt x="263" y="93"/>
                      </a:lnTo>
                      <a:lnTo>
                        <a:pt x="267" y="88"/>
                      </a:lnTo>
                      <a:lnTo>
                        <a:pt x="269" y="83"/>
                      </a:lnTo>
                      <a:lnTo>
                        <a:pt x="273" y="78"/>
                      </a:lnTo>
                      <a:lnTo>
                        <a:pt x="274" y="77"/>
                      </a:lnTo>
                      <a:lnTo>
                        <a:pt x="277" y="77"/>
                      </a:lnTo>
                      <a:lnTo>
                        <a:pt x="279" y="78"/>
                      </a:lnTo>
                      <a:lnTo>
                        <a:pt x="285" y="80"/>
                      </a:lnTo>
                      <a:lnTo>
                        <a:pt x="288" y="81"/>
                      </a:lnTo>
                      <a:lnTo>
                        <a:pt x="288" y="78"/>
                      </a:lnTo>
                      <a:lnTo>
                        <a:pt x="288" y="77"/>
                      </a:lnTo>
                      <a:lnTo>
                        <a:pt x="286" y="74"/>
                      </a:lnTo>
                      <a:lnTo>
                        <a:pt x="285" y="70"/>
                      </a:lnTo>
                      <a:lnTo>
                        <a:pt x="286" y="67"/>
                      </a:lnTo>
                      <a:lnTo>
                        <a:pt x="286" y="64"/>
                      </a:lnTo>
                      <a:lnTo>
                        <a:pt x="290" y="58"/>
                      </a:lnTo>
                      <a:lnTo>
                        <a:pt x="296" y="54"/>
                      </a:lnTo>
                      <a:lnTo>
                        <a:pt x="299" y="51"/>
                      </a:lnTo>
                      <a:lnTo>
                        <a:pt x="299" y="48"/>
                      </a:lnTo>
                      <a:lnTo>
                        <a:pt x="297" y="43"/>
                      </a:lnTo>
                      <a:lnTo>
                        <a:pt x="297" y="39"/>
                      </a:lnTo>
                      <a:lnTo>
                        <a:pt x="300" y="38"/>
                      </a:lnTo>
                      <a:lnTo>
                        <a:pt x="305" y="35"/>
                      </a:lnTo>
                      <a:lnTo>
                        <a:pt x="310" y="31"/>
                      </a:lnTo>
                      <a:lnTo>
                        <a:pt x="316" y="29"/>
                      </a:lnTo>
                      <a:lnTo>
                        <a:pt x="321" y="28"/>
                      </a:lnTo>
                      <a:lnTo>
                        <a:pt x="328" y="28"/>
                      </a:lnTo>
                      <a:lnTo>
                        <a:pt x="332" y="28"/>
                      </a:lnTo>
                      <a:lnTo>
                        <a:pt x="335" y="25"/>
                      </a:lnTo>
                      <a:lnTo>
                        <a:pt x="338" y="22"/>
                      </a:lnTo>
                      <a:lnTo>
                        <a:pt x="338" y="18"/>
                      </a:lnTo>
                      <a:lnTo>
                        <a:pt x="335" y="16"/>
                      </a:lnTo>
                      <a:lnTo>
                        <a:pt x="333" y="13"/>
                      </a:lnTo>
                      <a:lnTo>
                        <a:pt x="333" y="11"/>
                      </a:lnTo>
                      <a:lnTo>
                        <a:pt x="335" y="10"/>
                      </a:lnTo>
                      <a:lnTo>
                        <a:pt x="338" y="10"/>
                      </a:lnTo>
                      <a:lnTo>
                        <a:pt x="340" y="11"/>
                      </a:lnTo>
                      <a:lnTo>
                        <a:pt x="348" y="16"/>
                      </a:lnTo>
                      <a:lnTo>
                        <a:pt x="356" y="18"/>
                      </a:lnTo>
                      <a:lnTo>
                        <a:pt x="372" y="22"/>
                      </a:lnTo>
                      <a:lnTo>
                        <a:pt x="398" y="26"/>
                      </a:lnTo>
                      <a:lnTo>
                        <a:pt x="399" y="29"/>
                      </a:lnTo>
                      <a:lnTo>
                        <a:pt x="400" y="29"/>
                      </a:lnTo>
                      <a:lnTo>
                        <a:pt x="401" y="29"/>
                      </a:lnTo>
                      <a:lnTo>
                        <a:pt x="404" y="28"/>
                      </a:lnTo>
                      <a:lnTo>
                        <a:pt x="405" y="26"/>
                      </a:lnTo>
                      <a:lnTo>
                        <a:pt x="406" y="24"/>
                      </a:lnTo>
                      <a:lnTo>
                        <a:pt x="408" y="23"/>
                      </a:lnTo>
                      <a:lnTo>
                        <a:pt x="410" y="23"/>
                      </a:lnTo>
                      <a:lnTo>
                        <a:pt x="413" y="24"/>
                      </a:lnTo>
                      <a:lnTo>
                        <a:pt x="413" y="26"/>
                      </a:lnTo>
                      <a:lnTo>
                        <a:pt x="413" y="29"/>
                      </a:lnTo>
                      <a:lnTo>
                        <a:pt x="410" y="35"/>
                      </a:lnTo>
                      <a:lnTo>
                        <a:pt x="409" y="41"/>
                      </a:lnTo>
                      <a:lnTo>
                        <a:pt x="408" y="42"/>
                      </a:lnTo>
                      <a:lnTo>
                        <a:pt x="406" y="43"/>
                      </a:lnTo>
                      <a:lnTo>
                        <a:pt x="401" y="43"/>
                      </a:lnTo>
                      <a:lnTo>
                        <a:pt x="401" y="44"/>
                      </a:lnTo>
                      <a:lnTo>
                        <a:pt x="401" y="45"/>
                      </a:lnTo>
                      <a:lnTo>
                        <a:pt x="405" y="49"/>
                      </a:lnTo>
                      <a:lnTo>
                        <a:pt x="406" y="50"/>
                      </a:lnTo>
                      <a:lnTo>
                        <a:pt x="405" y="54"/>
                      </a:lnTo>
                      <a:lnTo>
                        <a:pt x="401" y="56"/>
                      </a:lnTo>
                      <a:lnTo>
                        <a:pt x="399" y="57"/>
                      </a:lnTo>
                      <a:lnTo>
                        <a:pt x="399" y="60"/>
                      </a:lnTo>
                      <a:lnTo>
                        <a:pt x="398" y="64"/>
                      </a:lnTo>
                      <a:lnTo>
                        <a:pt x="396" y="69"/>
                      </a:lnTo>
                      <a:lnTo>
                        <a:pt x="395" y="74"/>
                      </a:lnTo>
                      <a:lnTo>
                        <a:pt x="395" y="78"/>
                      </a:lnTo>
                      <a:lnTo>
                        <a:pt x="398" y="84"/>
                      </a:lnTo>
                      <a:lnTo>
                        <a:pt x="400" y="89"/>
                      </a:lnTo>
                      <a:lnTo>
                        <a:pt x="405" y="93"/>
                      </a:lnTo>
                      <a:lnTo>
                        <a:pt x="408" y="94"/>
                      </a:lnTo>
                      <a:lnTo>
                        <a:pt x="410" y="94"/>
                      </a:lnTo>
                      <a:lnTo>
                        <a:pt x="413" y="93"/>
                      </a:lnTo>
                      <a:lnTo>
                        <a:pt x="415" y="92"/>
                      </a:lnTo>
                      <a:lnTo>
                        <a:pt x="417" y="93"/>
                      </a:lnTo>
                      <a:lnTo>
                        <a:pt x="418" y="93"/>
                      </a:lnTo>
                      <a:lnTo>
                        <a:pt x="422" y="100"/>
                      </a:lnTo>
                      <a:lnTo>
                        <a:pt x="427" y="106"/>
                      </a:lnTo>
                      <a:lnTo>
                        <a:pt x="433" y="110"/>
                      </a:lnTo>
                      <a:lnTo>
                        <a:pt x="439" y="114"/>
                      </a:lnTo>
                      <a:lnTo>
                        <a:pt x="445" y="115"/>
                      </a:lnTo>
                      <a:lnTo>
                        <a:pt x="446" y="116"/>
                      </a:lnTo>
                      <a:lnTo>
                        <a:pt x="447" y="118"/>
                      </a:lnTo>
                      <a:lnTo>
                        <a:pt x="448" y="121"/>
                      </a:lnTo>
                      <a:lnTo>
                        <a:pt x="450" y="122"/>
                      </a:lnTo>
                      <a:lnTo>
                        <a:pt x="455" y="124"/>
                      </a:lnTo>
                      <a:lnTo>
                        <a:pt x="457" y="125"/>
                      </a:lnTo>
                      <a:lnTo>
                        <a:pt x="462" y="129"/>
                      </a:lnTo>
                      <a:lnTo>
                        <a:pt x="466" y="134"/>
                      </a:lnTo>
                      <a:lnTo>
                        <a:pt x="469" y="137"/>
                      </a:lnTo>
                      <a:lnTo>
                        <a:pt x="471" y="138"/>
                      </a:lnTo>
                      <a:lnTo>
                        <a:pt x="474" y="138"/>
                      </a:lnTo>
                      <a:lnTo>
                        <a:pt x="475" y="138"/>
                      </a:lnTo>
                      <a:lnTo>
                        <a:pt x="479" y="134"/>
                      </a:lnTo>
                      <a:lnTo>
                        <a:pt x="484" y="124"/>
                      </a:lnTo>
                      <a:lnTo>
                        <a:pt x="495" y="93"/>
                      </a:lnTo>
                      <a:lnTo>
                        <a:pt x="495" y="87"/>
                      </a:lnTo>
                      <a:lnTo>
                        <a:pt x="495" y="81"/>
                      </a:lnTo>
                      <a:lnTo>
                        <a:pt x="493" y="76"/>
                      </a:lnTo>
                      <a:lnTo>
                        <a:pt x="493" y="73"/>
                      </a:lnTo>
                      <a:lnTo>
                        <a:pt x="493" y="70"/>
                      </a:lnTo>
                      <a:lnTo>
                        <a:pt x="495" y="64"/>
                      </a:lnTo>
                      <a:lnTo>
                        <a:pt x="495" y="62"/>
                      </a:lnTo>
                      <a:lnTo>
                        <a:pt x="495" y="58"/>
                      </a:lnTo>
                      <a:lnTo>
                        <a:pt x="495" y="54"/>
                      </a:lnTo>
                      <a:lnTo>
                        <a:pt x="495" y="49"/>
                      </a:lnTo>
                      <a:lnTo>
                        <a:pt x="497" y="38"/>
                      </a:lnTo>
                      <a:lnTo>
                        <a:pt x="497" y="28"/>
                      </a:lnTo>
                      <a:lnTo>
                        <a:pt x="498" y="24"/>
                      </a:lnTo>
                      <a:lnTo>
                        <a:pt x="500" y="22"/>
                      </a:lnTo>
                      <a:lnTo>
                        <a:pt x="504" y="19"/>
                      </a:lnTo>
                      <a:lnTo>
                        <a:pt x="506" y="19"/>
                      </a:lnTo>
                      <a:lnTo>
                        <a:pt x="507" y="18"/>
                      </a:lnTo>
                      <a:lnTo>
                        <a:pt x="507" y="12"/>
                      </a:lnTo>
                      <a:lnTo>
                        <a:pt x="506" y="5"/>
                      </a:lnTo>
                      <a:lnTo>
                        <a:pt x="506" y="3"/>
                      </a:lnTo>
                      <a:lnTo>
                        <a:pt x="507" y="0"/>
                      </a:lnTo>
                      <a:lnTo>
                        <a:pt x="508" y="0"/>
                      </a:lnTo>
                      <a:lnTo>
                        <a:pt x="511" y="0"/>
                      </a:lnTo>
                      <a:lnTo>
                        <a:pt x="514" y="3"/>
                      </a:lnTo>
                      <a:lnTo>
                        <a:pt x="516" y="5"/>
                      </a:lnTo>
                      <a:lnTo>
                        <a:pt x="518" y="12"/>
                      </a:lnTo>
                      <a:lnTo>
                        <a:pt x="519" y="22"/>
                      </a:lnTo>
                      <a:lnTo>
                        <a:pt x="522" y="29"/>
                      </a:lnTo>
                      <a:lnTo>
                        <a:pt x="527" y="38"/>
                      </a:lnTo>
                      <a:lnTo>
                        <a:pt x="528" y="43"/>
                      </a:lnTo>
                      <a:lnTo>
                        <a:pt x="530" y="49"/>
                      </a:lnTo>
                      <a:lnTo>
                        <a:pt x="531" y="55"/>
                      </a:lnTo>
                      <a:lnTo>
                        <a:pt x="531" y="61"/>
                      </a:lnTo>
                      <a:lnTo>
                        <a:pt x="532" y="65"/>
                      </a:lnTo>
                      <a:lnTo>
                        <a:pt x="535" y="71"/>
                      </a:lnTo>
                      <a:lnTo>
                        <a:pt x="536" y="71"/>
                      </a:lnTo>
                      <a:lnTo>
                        <a:pt x="537" y="73"/>
                      </a:lnTo>
                      <a:lnTo>
                        <a:pt x="541" y="71"/>
                      </a:lnTo>
                      <a:lnTo>
                        <a:pt x="544" y="69"/>
                      </a:lnTo>
                      <a:lnTo>
                        <a:pt x="546" y="69"/>
                      </a:lnTo>
                      <a:lnTo>
                        <a:pt x="550" y="70"/>
                      </a:lnTo>
                      <a:lnTo>
                        <a:pt x="553" y="74"/>
                      </a:lnTo>
                      <a:lnTo>
                        <a:pt x="556" y="83"/>
                      </a:lnTo>
                      <a:lnTo>
                        <a:pt x="566" y="106"/>
                      </a:lnTo>
                      <a:lnTo>
                        <a:pt x="577" y="128"/>
                      </a:lnTo>
                      <a:lnTo>
                        <a:pt x="578" y="132"/>
                      </a:lnTo>
                      <a:lnTo>
                        <a:pt x="578" y="135"/>
                      </a:lnTo>
                      <a:lnTo>
                        <a:pt x="575" y="143"/>
                      </a:lnTo>
                      <a:lnTo>
                        <a:pt x="575" y="148"/>
                      </a:lnTo>
                      <a:lnTo>
                        <a:pt x="577" y="154"/>
                      </a:lnTo>
                      <a:lnTo>
                        <a:pt x="580" y="160"/>
                      </a:lnTo>
                      <a:lnTo>
                        <a:pt x="584" y="165"/>
                      </a:lnTo>
                      <a:lnTo>
                        <a:pt x="589" y="170"/>
                      </a:lnTo>
                      <a:lnTo>
                        <a:pt x="596" y="173"/>
                      </a:lnTo>
                      <a:lnTo>
                        <a:pt x="602" y="175"/>
                      </a:lnTo>
                      <a:lnTo>
                        <a:pt x="610" y="177"/>
                      </a:lnTo>
                      <a:lnTo>
                        <a:pt x="612" y="178"/>
                      </a:lnTo>
                      <a:lnTo>
                        <a:pt x="616" y="180"/>
                      </a:lnTo>
                      <a:lnTo>
                        <a:pt x="619" y="184"/>
                      </a:lnTo>
                      <a:lnTo>
                        <a:pt x="620" y="188"/>
                      </a:lnTo>
                      <a:lnTo>
                        <a:pt x="620" y="196"/>
                      </a:lnTo>
                      <a:lnTo>
                        <a:pt x="621" y="197"/>
                      </a:lnTo>
                      <a:lnTo>
                        <a:pt x="621" y="198"/>
                      </a:lnTo>
                      <a:lnTo>
                        <a:pt x="625" y="201"/>
                      </a:lnTo>
                      <a:lnTo>
                        <a:pt x="629" y="204"/>
                      </a:lnTo>
                      <a:lnTo>
                        <a:pt x="633" y="211"/>
                      </a:lnTo>
                      <a:lnTo>
                        <a:pt x="638" y="217"/>
                      </a:lnTo>
                      <a:lnTo>
                        <a:pt x="639" y="221"/>
                      </a:lnTo>
                      <a:lnTo>
                        <a:pt x="641" y="222"/>
                      </a:lnTo>
                      <a:lnTo>
                        <a:pt x="649" y="228"/>
                      </a:lnTo>
                      <a:lnTo>
                        <a:pt x="654" y="234"/>
                      </a:lnTo>
                      <a:lnTo>
                        <a:pt x="655" y="241"/>
                      </a:lnTo>
                      <a:lnTo>
                        <a:pt x="655" y="249"/>
                      </a:lnTo>
                      <a:lnTo>
                        <a:pt x="657" y="254"/>
                      </a:lnTo>
                      <a:lnTo>
                        <a:pt x="659" y="259"/>
                      </a:lnTo>
                      <a:lnTo>
                        <a:pt x="663" y="262"/>
                      </a:lnTo>
                      <a:lnTo>
                        <a:pt x="668" y="266"/>
                      </a:lnTo>
                      <a:lnTo>
                        <a:pt x="669" y="266"/>
                      </a:lnTo>
                      <a:lnTo>
                        <a:pt x="669" y="267"/>
                      </a:lnTo>
                      <a:lnTo>
                        <a:pt x="671" y="268"/>
                      </a:lnTo>
                      <a:lnTo>
                        <a:pt x="676" y="269"/>
                      </a:lnTo>
                      <a:lnTo>
                        <a:pt x="681" y="273"/>
                      </a:lnTo>
                      <a:lnTo>
                        <a:pt x="683" y="276"/>
                      </a:lnTo>
                      <a:lnTo>
                        <a:pt x="686" y="281"/>
                      </a:lnTo>
                      <a:lnTo>
                        <a:pt x="695" y="301"/>
                      </a:lnTo>
                      <a:lnTo>
                        <a:pt x="696" y="308"/>
                      </a:lnTo>
                      <a:lnTo>
                        <a:pt x="697" y="313"/>
                      </a:lnTo>
                      <a:lnTo>
                        <a:pt x="700" y="316"/>
                      </a:lnTo>
                      <a:lnTo>
                        <a:pt x="701" y="319"/>
                      </a:lnTo>
                      <a:lnTo>
                        <a:pt x="702" y="322"/>
                      </a:lnTo>
                      <a:lnTo>
                        <a:pt x="705" y="364"/>
                      </a:lnTo>
                      <a:lnTo>
                        <a:pt x="704" y="376"/>
                      </a:lnTo>
                      <a:lnTo>
                        <a:pt x="701" y="388"/>
                      </a:lnTo>
                      <a:lnTo>
                        <a:pt x="693" y="413"/>
                      </a:lnTo>
                      <a:lnTo>
                        <a:pt x="690" y="421"/>
                      </a:lnTo>
                      <a:lnTo>
                        <a:pt x="683" y="432"/>
                      </a:lnTo>
                      <a:lnTo>
                        <a:pt x="671" y="448"/>
                      </a:lnTo>
                      <a:lnTo>
                        <a:pt x="668" y="453"/>
                      </a:lnTo>
                      <a:lnTo>
                        <a:pt x="666" y="457"/>
                      </a:lnTo>
                      <a:lnTo>
                        <a:pt x="664" y="460"/>
                      </a:lnTo>
                      <a:lnTo>
                        <a:pt x="664" y="463"/>
                      </a:lnTo>
                      <a:lnTo>
                        <a:pt x="657" y="476"/>
                      </a:lnTo>
                      <a:lnTo>
                        <a:pt x="652" y="490"/>
                      </a:lnTo>
                      <a:lnTo>
                        <a:pt x="650" y="492"/>
                      </a:lnTo>
                      <a:lnTo>
                        <a:pt x="646" y="495"/>
                      </a:lnTo>
                      <a:lnTo>
                        <a:pt x="645" y="496"/>
                      </a:lnTo>
                      <a:lnTo>
                        <a:pt x="645" y="497"/>
                      </a:lnTo>
                      <a:lnTo>
                        <a:pt x="649" y="503"/>
                      </a:lnTo>
                      <a:lnTo>
                        <a:pt x="649" y="506"/>
                      </a:lnTo>
                      <a:lnTo>
                        <a:pt x="648" y="509"/>
                      </a:lnTo>
                      <a:lnTo>
                        <a:pt x="645" y="520"/>
                      </a:lnTo>
                      <a:lnTo>
                        <a:pt x="644" y="524"/>
                      </a:lnTo>
                      <a:lnTo>
                        <a:pt x="645" y="530"/>
                      </a:lnTo>
                      <a:lnTo>
                        <a:pt x="646" y="534"/>
                      </a:lnTo>
                      <a:lnTo>
                        <a:pt x="646" y="536"/>
                      </a:lnTo>
                      <a:lnTo>
                        <a:pt x="645" y="537"/>
                      </a:lnTo>
                      <a:lnTo>
                        <a:pt x="643" y="542"/>
                      </a:lnTo>
                      <a:lnTo>
                        <a:pt x="640" y="547"/>
                      </a:lnTo>
                      <a:lnTo>
                        <a:pt x="638" y="550"/>
                      </a:lnTo>
                      <a:lnTo>
                        <a:pt x="634" y="554"/>
                      </a:lnTo>
                      <a:lnTo>
                        <a:pt x="629" y="556"/>
                      </a:lnTo>
                      <a:lnTo>
                        <a:pt x="622" y="557"/>
                      </a:lnTo>
                      <a:lnTo>
                        <a:pt x="610" y="557"/>
                      </a:lnTo>
                      <a:lnTo>
                        <a:pt x="610" y="559"/>
                      </a:lnTo>
                      <a:lnTo>
                        <a:pt x="603" y="560"/>
                      </a:lnTo>
                      <a:lnTo>
                        <a:pt x="598" y="562"/>
                      </a:lnTo>
                      <a:lnTo>
                        <a:pt x="593" y="567"/>
                      </a:lnTo>
                      <a:lnTo>
                        <a:pt x="589" y="570"/>
                      </a:lnTo>
                      <a:lnTo>
                        <a:pt x="587" y="572"/>
                      </a:lnTo>
                      <a:lnTo>
                        <a:pt x="583" y="573"/>
                      </a:lnTo>
                      <a:lnTo>
                        <a:pt x="579" y="573"/>
                      </a:lnTo>
                      <a:lnTo>
                        <a:pt x="577" y="575"/>
                      </a:lnTo>
                      <a:lnTo>
                        <a:pt x="577" y="576"/>
                      </a:lnTo>
                      <a:lnTo>
                        <a:pt x="578" y="579"/>
                      </a:lnTo>
                      <a:lnTo>
                        <a:pt x="579" y="581"/>
                      </a:lnTo>
                      <a:lnTo>
                        <a:pt x="579" y="582"/>
                      </a:lnTo>
                      <a:lnTo>
                        <a:pt x="578" y="584"/>
                      </a:lnTo>
                      <a:lnTo>
                        <a:pt x="577" y="582"/>
                      </a:lnTo>
                      <a:lnTo>
                        <a:pt x="575" y="580"/>
                      </a:lnTo>
                      <a:lnTo>
                        <a:pt x="570" y="576"/>
                      </a:lnTo>
                      <a:lnTo>
                        <a:pt x="566" y="572"/>
                      </a:lnTo>
                      <a:lnTo>
                        <a:pt x="563" y="570"/>
                      </a:lnTo>
                      <a:lnTo>
                        <a:pt x="556" y="570"/>
                      </a:lnTo>
                      <a:lnTo>
                        <a:pt x="561" y="567"/>
                      </a:lnTo>
                      <a:lnTo>
                        <a:pt x="563" y="565"/>
                      </a:lnTo>
                      <a:lnTo>
                        <a:pt x="564" y="562"/>
                      </a:lnTo>
                      <a:lnTo>
                        <a:pt x="563" y="559"/>
                      </a:lnTo>
                      <a:lnTo>
                        <a:pt x="560" y="556"/>
                      </a:lnTo>
                      <a:lnTo>
                        <a:pt x="556" y="555"/>
                      </a:lnTo>
                      <a:lnTo>
                        <a:pt x="553" y="554"/>
                      </a:lnTo>
                      <a:lnTo>
                        <a:pt x="551" y="555"/>
                      </a:lnTo>
                      <a:lnTo>
                        <a:pt x="550" y="557"/>
                      </a:lnTo>
                      <a:lnTo>
                        <a:pt x="549" y="560"/>
                      </a:lnTo>
                      <a:lnTo>
                        <a:pt x="550" y="562"/>
                      </a:lnTo>
                      <a:lnTo>
                        <a:pt x="551" y="565"/>
                      </a:lnTo>
                      <a:lnTo>
                        <a:pt x="551" y="566"/>
                      </a:lnTo>
                      <a:lnTo>
                        <a:pt x="551" y="567"/>
                      </a:lnTo>
                      <a:lnTo>
                        <a:pt x="550" y="567"/>
                      </a:lnTo>
                      <a:lnTo>
                        <a:pt x="549" y="567"/>
                      </a:lnTo>
                      <a:lnTo>
                        <a:pt x="546" y="566"/>
                      </a:lnTo>
                      <a:lnTo>
                        <a:pt x="540" y="567"/>
                      </a:lnTo>
                      <a:lnTo>
                        <a:pt x="535" y="568"/>
                      </a:lnTo>
                      <a:lnTo>
                        <a:pt x="531" y="569"/>
                      </a:lnTo>
                      <a:lnTo>
                        <a:pt x="528" y="572"/>
                      </a:lnTo>
                      <a:lnTo>
                        <a:pt x="525" y="573"/>
                      </a:lnTo>
                      <a:lnTo>
                        <a:pt x="522" y="573"/>
                      </a:lnTo>
                      <a:lnTo>
                        <a:pt x="519" y="573"/>
                      </a:lnTo>
                      <a:lnTo>
                        <a:pt x="514" y="569"/>
                      </a:lnTo>
                      <a:lnTo>
                        <a:pt x="508" y="566"/>
                      </a:lnTo>
                      <a:lnTo>
                        <a:pt x="506" y="566"/>
                      </a:lnTo>
                      <a:lnTo>
                        <a:pt x="503" y="565"/>
                      </a:lnTo>
                      <a:lnTo>
                        <a:pt x="500" y="566"/>
                      </a:lnTo>
                      <a:lnTo>
                        <a:pt x="497" y="568"/>
                      </a:lnTo>
                      <a:lnTo>
                        <a:pt x="495" y="568"/>
                      </a:lnTo>
                      <a:lnTo>
                        <a:pt x="494" y="568"/>
                      </a:lnTo>
                      <a:lnTo>
                        <a:pt x="492" y="567"/>
                      </a:lnTo>
                      <a:lnTo>
                        <a:pt x="490" y="566"/>
                      </a:lnTo>
                      <a:lnTo>
                        <a:pt x="489" y="563"/>
                      </a:lnTo>
                      <a:lnTo>
                        <a:pt x="488" y="563"/>
                      </a:lnTo>
                      <a:lnTo>
                        <a:pt x="483" y="562"/>
                      </a:lnTo>
                      <a:lnTo>
                        <a:pt x="480" y="562"/>
                      </a:lnTo>
                      <a:lnTo>
                        <a:pt x="479" y="560"/>
                      </a:lnTo>
                      <a:lnTo>
                        <a:pt x="469" y="543"/>
                      </a:lnTo>
                      <a:lnTo>
                        <a:pt x="466" y="534"/>
                      </a:lnTo>
                      <a:lnTo>
                        <a:pt x="465" y="529"/>
                      </a:lnTo>
                      <a:lnTo>
                        <a:pt x="465" y="524"/>
                      </a:lnTo>
                      <a:lnTo>
                        <a:pt x="465" y="521"/>
                      </a:lnTo>
                      <a:lnTo>
                        <a:pt x="462" y="517"/>
                      </a:lnTo>
                      <a:lnTo>
                        <a:pt x="457" y="509"/>
                      </a:lnTo>
                      <a:lnTo>
                        <a:pt x="450" y="503"/>
                      </a:lnTo>
                      <a:lnTo>
                        <a:pt x="441" y="498"/>
                      </a:lnTo>
                      <a:lnTo>
                        <a:pt x="441" y="497"/>
                      </a:lnTo>
                      <a:lnTo>
                        <a:pt x="441" y="496"/>
                      </a:lnTo>
                      <a:lnTo>
                        <a:pt x="442" y="492"/>
                      </a:lnTo>
                      <a:lnTo>
                        <a:pt x="443" y="488"/>
                      </a:lnTo>
                      <a:lnTo>
                        <a:pt x="443" y="485"/>
                      </a:lnTo>
                      <a:lnTo>
                        <a:pt x="442" y="483"/>
                      </a:lnTo>
                      <a:lnTo>
                        <a:pt x="438" y="478"/>
                      </a:lnTo>
                      <a:lnTo>
                        <a:pt x="437" y="476"/>
                      </a:lnTo>
                      <a:lnTo>
                        <a:pt x="434" y="476"/>
                      </a:lnTo>
                      <a:lnTo>
                        <a:pt x="433" y="478"/>
                      </a:lnTo>
                      <a:lnTo>
                        <a:pt x="432" y="479"/>
                      </a:lnTo>
                      <a:lnTo>
                        <a:pt x="431" y="484"/>
                      </a:lnTo>
                      <a:lnTo>
                        <a:pt x="431" y="488"/>
                      </a:lnTo>
                      <a:lnTo>
                        <a:pt x="429" y="492"/>
                      </a:lnTo>
                      <a:lnTo>
                        <a:pt x="426" y="493"/>
                      </a:lnTo>
                      <a:lnTo>
                        <a:pt x="420" y="495"/>
                      </a:lnTo>
                      <a:lnTo>
                        <a:pt x="417" y="495"/>
                      </a:lnTo>
                      <a:lnTo>
                        <a:pt x="415" y="495"/>
                      </a:lnTo>
                      <a:lnTo>
                        <a:pt x="415" y="493"/>
                      </a:lnTo>
                      <a:lnTo>
                        <a:pt x="422" y="488"/>
                      </a:lnTo>
                      <a:lnTo>
                        <a:pt x="424" y="480"/>
                      </a:lnTo>
                      <a:lnTo>
                        <a:pt x="426" y="473"/>
                      </a:lnTo>
                      <a:lnTo>
                        <a:pt x="426" y="466"/>
                      </a:lnTo>
                      <a:lnTo>
                        <a:pt x="426" y="464"/>
                      </a:lnTo>
                      <a:lnTo>
                        <a:pt x="427" y="463"/>
                      </a:lnTo>
                      <a:lnTo>
                        <a:pt x="431" y="459"/>
                      </a:lnTo>
                      <a:lnTo>
                        <a:pt x="433" y="453"/>
                      </a:lnTo>
                      <a:lnTo>
                        <a:pt x="433" y="448"/>
                      </a:lnTo>
                      <a:lnTo>
                        <a:pt x="432" y="442"/>
                      </a:lnTo>
                      <a:lnTo>
                        <a:pt x="431" y="438"/>
                      </a:lnTo>
                      <a:lnTo>
                        <a:pt x="429" y="437"/>
                      </a:lnTo>
                      <a:lnTo>
                        <a:pt x="428" y="438"/>
                      </a:lnTo>
                      <a:lnTo>
                        <a:pt x="426" y="439"/>
                      </a:lnTo>
                      <a:lnTo>
                        <a:pt x="418" y="454"/>
                      </a:lnTo>
                      <a:lnTo>
                        <a:pt x="413" y="461"/>
                      </a:lnTo>
                      <a:lnTo>
                        <a:pt x="409" y="464"/>
                      </a:lnTo>
                      <a:lnTo>
                        <a:pt x="405" y="466"/>
                      </a:lnTo>
                      <a:lnTo>
                        <a:pt x="403" y="467"/>
                      </a:lnTo>
                      <a:lnTo>
                        <a:pt x="401" y="470"/>
                      </a:lnTo>
                      <a:lnTo>
                        <a:pt x="399" y="476"/>
                      </a:lnTo>
                      <a:lnTo>
                        <a:pt x="399" y="482"/>
                      </a:lnTo>
                      <a:lnTo>
                        <a:pt x="400" y="488"/>
                      </a:lnTo>
                      <a:lnTo>
                        <a:pt x="396" y="488"/>
                      </a:lnTo>
                      <a:lnTo>
                        <a:pt x="393" y="486"/>
                      </a:lnTo>
                      <a:lnTo>
                        <a:pt x="390" y="484"/>
                      </a:lnTo>
                      <a:lnTo>
                        <a:pt x="389" y="480"/>
                      </a:lnTo>
                      <a:lnTo>
                        <a:pt x="387" y="472"/>
                      </a:lnTo>
                      <a:lnTo>
                        <a:pt x="384" y="465"/>
                      </a:lnTo>
                      <a:lnTo>
                        <a:pt x="380" y="458"/>
                      </a:lnTo>
                      <a:lnTo>
                        <a:pt x="375" y="451"/>
                      </a:lnTo>
                      <a:lnTo>
                        <a:pt x="370" y="444"/>
                      </a:lnTo>
                      <a:lnTo>
                        <a:pt x="363" y="437"/>
                      </a:lnTo>
                      <a:lnTo>
                        <a:pt x="361" y="434"/>
                      </a:lnTo>
                      <a:lnTo>
                        <a:pt x="358" y="434"/>
                      </a:lnTo>
                      <a:lnTo>
                        <a:pt x="351" y="433"/>
                      </a:lnTo>
                      <a:lnTo>
                        <a:pt x="342" y="431"/>
                      </a:lnTo>
                      <a:lnTo>
                        <a:pt x="332" y="427"/>
                      </a:lnTo>
                      <a:lnTo>
                        <a:pt x="321" y="421"/>
                      </a:lnTo>
                      <a:lnTo>
                        <a:pt x="316" y="420"/>
                      </a:lnTo>
                      <a:lnTo>
                        <a:pt x="311" y="418"/>
                      </a:lnTo>
                      <a:lnTo>
                        <a:pt x="306" y="418"/>
                      </a:lnTo>
                      <a:lnTo>
                        <a:pt x="300" y="418"/>
                      </a:lnTo>
                      <a:lnTo>
                        <a:pt x="287" y="421"/>
                      </a:lnTo>
                      <a:lnTo>
                        <a:pt x="279" y="422"/>
                      </a:lnTo>
                      <a:lnTo>
                        <a:pt x="274" y="425"/>
                      </a:lnTo>
                      <a:lnTo>
                        <a:pt x="259" y="433"/>
                      </a:lnTo>
                      <a:lnTo>
                        <a:pt x="254" y="434"/>
                      </a:lnTo>
                      <a:lnTo>
                        <a:pt x="249" y="434"/>
                      </a:lnTo>
                      <a:lnTo>
                        <a:pt x="236" y="433"/>
                      </a:lnTo>
                      <a:lnTo>
                        <a:pt x="231" y="433"/>
                      </a:lnTo>
                      <a:lnTo>
                        <a:pt x="225" y="434"/>
                      </a:lnTo>
                      <a:lnTo>
                        <a:pt x="220" y="437"/>
                      </a:lnTo>
                      <a:lnTo>
                        <a:pt x="216" y="44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4" name="Freeform 443">
                  <a:extLst>
                    <a:ext uri="{FF2B5EF4-FFF2-40B4-BE49-F238E27FC236}">
                      <a16:creationId xmlns:a16="http://schemas.microsoft.com/office/drawing/2014/main" id="{2C1C2CBD-DC89-BE46-B25D-39253D62A3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2275" y="4972053"/>
                  <a:ext cx="174625" cy="402525"/>
                </a:xfrm>
                <a:custGeom>
                  <a:avLst/>
                  <a:gdLst>
                    <a:gd name="T0" fmla="*/ 2147483647 w 128"/>
                    <a:gd name="T1" fmla="*/ 2147483647 h 272"/>
                    <a:gd name="T2" fmla="*/ 2147483647 w 128"/>
                    <a:gd name="T3" fmla="*/ 2147483647 h 272"/>
                    <a:gd name="T4" fmla="*/ 2147483647 w 128"/>
                    <a:gd name="T5" fmla="*/ 2147483647 h 272"/>
                    <a:gd name="T6" fmla="*/ 2147483647 w 128"/>
                    <a:gd name="T7" fmla="*/ 2147483647 h 272"/>
                    <a:gd name="T8" fmla="*/ 2147483647 w 128"/>
                    <a:gd name="T9" fmla="*/ 2147483647 h 272"/>
                    <a:gd name="T10" fmla="*/ 2147483647 w 128"/>
                    <a:gd name="T11" fmla="*/ 2147483647 h 272"/>
                    <a:gd name="T12" fmla="*/ 2147483647 w 128"/>
                    <a:gd name="T13" fmla="*/ 2147483647 h 272"/>
                    <a:gd name="T14" fmla="*/ 2147483647 w 128"/>
                    <a:gd name="T15" fmla="*/ 2147483647 h 272"/>
                    <a:gd name="T16" fmla="*/ 2147483647 w 128"/>
                    <a:gd name="T17" fmla="*/ 2147483647 h 272"/>
                    <a:gd name="T18" fmla="*/ 2147483647 w 128"/>
                    <a:gd name="T19" fmla="*/ 2147483647 h 272"/>
                    <a:gd name="T20" fmla="*/ 2147483647 w 128"/>
                    <a:gd name="T21" fmla="*/ 2147483647 h 272"/>
                    <a:gd name="T22" fmla="*/ 2147483647 w 128"/>
                    <a:gd name="T23" fmla="*/ 0 h 272"/>
                    <a:gd name="T24" fmla="*/ 2147483647 w 128"/>
                    <a:gd name="T25" fmla="*/ 2147483647 h 272"/>
                    <a:gd name="T26" fmla="*/ 2147483647 w 128"/>
                    <a:gd name="T27" fmla="*/ 2147483647 h 272"/>
                    <a:gd name="T28" fmla="*/ 2147483647 w 128"/>
                    <a:gd name="T29" fmla="*/ 2147483647 h 272"/>
                    <a:gd name="T30" fmla="*/ 2147483647 w 128"/>
                    <a:gd name="T31" fmla="*/ 2147483647 h 272"/>
                    <a:gd name="T32" fmla="*/ 2147483647 w 128"/>
                    <a:gd name="T33" fmla="*/ 2147483647 h 272"/>
                    <a:gd name="T34" fmla="*/ 2147483647 w 128"/>
                    <a:gd name="T35" fmla="*/ 2147483647 h 272"/>
                    <a:gd name="T36" fmla="*/ 2147483647 w 128"/>
                    <a:gd name="T37" fmla="*/ 2147483647 h 272"/>
                    <a:gd name="T38" fmla="*/ 2147483647 w 128"/>
                    <a:gd name="T39" fmla="*/ 2147483647 h 272"/>
                    <a:gd name="T40" fmla="*/ 2147483647 w 128"/>
                    <a:gd name="T41" fmla="*/ 2147483647 h 272"/>
                    <a:gd name="T42" fmla="*/ 2147483647 w 128"/>
                    <a:gd name="T43" fmla="*/ 2147483647 h 272"/>
                    <a:gd name="T44" fmla="*/ 2147483647 w 128"/>
                    <a:gd name="T45" fmla="*/ 2147483647 h 272"/>
                    <a:gd name="T46" fmla="*/ 2147483647 w 128"/>
                    <a:gd name="T47" fmla="*/ 2147483647 h 272"/>
                    <a:gd name="T48" fmla="*/ 2147483647 w 128"/>
                    <a:gd name="T49" fmla="*/ 2147483647 h 272"/>
                    <a:gd name="T50" fmla="*/ 2147483647 w 128"/>
                    <a:gd name="T51" fmla="*/ 2147483647 h 272"/>
                    <a:gd name="T52" fmla="*/ 2147483647 w 128"/>
                    <a:gd name="T53" fmla="*/ 2147483647 h 272"/>
                    <a:gd name="T54" fmla="*/ 2147483647 w 128"/>
                    <a:gd name="T55" fmla="*/ 2147483647 h 272"/>
                    <a:gd name="T56" fmla="*/ 2147483647 w 128"/>
                    <a:gd name="T57" fmla="*/ 2147483647 h 272"/>
                    <a:gd name="T58" fmla="*/ 2147483647 w 128"/>
                    <a:gd name="T59" fmla="*/ 2147483647 h 272"/>
                    <a:gd name="T60" fmla="*/ 2147483647 w 128"/>
                    <a:gd name="T61" fmla="*/ 2147483647 h 272"/>
                    <a:gd name="T62" fmla="*/ 0 w 128"/>
                    <a:gd name="T63" fmla="*/ 2147483647 h 272"/>
                    <a:gd name="T64" fmla="*/ 0 w 128"/>
                    <a:gd name="T65" fmla="*/ 2147483647 h 272"/>
                    <a:gd name="T66" fmla="*/ 2147483647 w 128"/>
                    <a:gd name="T67" fmla="*/ 2147483647 h 272"/>
                    <a:gd name="T68" fmla="*/ 2147483647 w 128"/>
                    <a:gd name="T69" fmla="*/ 2147483647 h 272"/>
                    <a:gd name="T70" fmla="*/ 2147483647 w 128"/>
                    <a:gd name="T71" fmla="*/ 2147483647 h 272"/>
                    <a:gd name="T72" fmla="*/ 2147483647 w 128"/>
                    <a:gd name="T73" fmla="*/ 2147483647 h 272"/>
                    <a:gd name="T74" fmla="*/ 2147483647 w 128"/>
                    <a:gd name="T75" fmla="*/ 2147483647 h 272"/>
                    <a:gd name="T76" fmla="*/ 2147483647 w 128"/>
                    <a:gd name="T77" fmla="*/ 2147483647 h 272"/>
                    <a:gd name="T78" fmla="*/ 2147483647 w 128"/>
                    <a:gd name="T79" fmla="*/ 2147483647 h 272"/>
                    <a:gd name="T80" fmla="*/ 2147483647 w 128"/>
                    <a:gd name="T81" fmla="*/ 2147483647 h 272"/>
                    <a:gd name="T82" fmla="*/ 2147483647 w 128"/>
                    <a:gd name="T83" fmla="*/ 2147483647 h 272"/>
                    <a:gd name="T84" fmla="*/ 2147483647 w 128"/>
                    <a:gd name="T85" fmla="*/ 2147483647 h 272"/>
                    <a:gd name="T86" fmla="*/ 2147483647 w 128"/>
                    <a:gd name="T87" fmla="*/ 2147483647 h 272"/>
                    <a:gd name="T88" fmla="*/ 2147483647 w 128"/>
                    <a:gd name="T89" fmla="*/ 2147483647 h 272"/>
                    <a:gd name="T90" fmla="*/ 2147483647 w 128"/>
                    <a:gd name="T91" fmla="*/ 2147483647 h 272"/>
                    <a:gd name="T92" fmla="*/ 2147483647 w 128"/>
                    <a:gd name="T93" fmla="*/ 2147483647 h 272"/>
                    <a:gd name="T94" fmla="*/ 2147483647 w 128"/>
                    <a:gd name="T95" fmla="*/ 2147483647 h 272"/>
                    <a:gd name="T96" fmla="*/ 2147483647 w 128"/>
                    <a:gd name="T97" fmla="*/ 2147483647 h 272"/>
                    <a:gd name="T98" fmla="*/ 2147483647 w 128"/>
                    <a:gd name="T99" fmla="*/ 2147483647 h 272"/>
                    <a:gd name="T100" fmla="*/ 2147483647 w 128"/>
                    <a:gd name="T101" fmla="*/ 2147483647 h 272"/>
                    <a:gd name="T102" fmla="*/ 2147483647 w 128"/>
                    <a:gd name="T103" fmla="*/ 2147483647 h 272"/>
                    <a:gd name="T104" fmla="*/ 2147483647 w 128"/>
                    <a:gd name="T105" fmla="*/ 2147483647 h 272"/>
                    <a:gd name="T106" fmla="*/ 2147483647 w 128"/>
                    <a:gd name="T107" fmla="*/ 2147483647 h 272"/>
                    <a:gd name="T108" fmla="*/ 2147483647 w 128"/>
                    <a:gd name="T109" fmla="*/ 2147483647 h 27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28"/>
                    <a:gd name="T166" fmla="*/ 0 h 272"/>
                    <a:gd name="T167" fmla="*/ 128 w 128"/>
                    <a:gd name="T168" fmla="*/ 272 h 27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28" h="272">
                      <a:moveTo>
                        <a:pt x="110" y="95"/>
                      </a:moveTo>
                      <a:lnTo>
                        <a:pt x="110" y="95"/>
                      </a:lnTo>
                      <a:lnTo>
                        <a:pt x="113" y="91"/>
                      </a:lnTo>
                      <a:lnTo>
                        <a:pt x="113" y="88"/>
                      </a:lnTo>
                      <a:lnTo>
                        <a:pt x="113" y="82"/>
                      </a:lnTo>
                      <a:lnTo>
                        <a:pt x="109" y="69"/>
                      </a:lnTo>
                      <a:lnTo>
                        <a:pt x="109" y="64"/>
                      </a:lnTo>
                      <a:lnTo>
                        <a:pt x="109" y="62"/>
                      </a:lnTo>
                      <a:lnTo>
                        <a:pt x="111" y="63"/>
                      </a:lnTo>
                      <a:lnTo>
                        <a:pt x="113" y="65"/>
                      </a:lnTo>
                      <a:lnTo>
                        <a:pt x="114" y="69"/>
                      </a:lnTo>
                      <a:lnTo>
                        <a:pt x="115" y="76"/>
                      </a:lnTo>
                      <a:lnTo>
                        <a:pt x="116" y="78"/>
                      </a:lnTo>
                      <a:lnTo>
                        <a:pt x="119" y="79"/>
                      </a:lnTo>
                      <a:lnTo>
                        <a:pt x="121" y="78"/>
                      </a:lnTo>
                      <a:lnTo>
                        <a:pt x="123" y="77"/>
                      </a:lnTo>
                      <a:lnTo>
                        <a:pt x="127" y="68"/>
                      </a:lnTo>
                      <a:lnTo>
                        <a:pt x="128" y="58"/>
                      </a:lnTo>
                      <a:lnTo>
                        <a:pt x="127" y="49"/>
                      </a:lnTo>
                      <a:lnTo>
                        <a:pt x="123" y="39"/>
                      </a:lnTo>
                      <a:lnTo>
                        <a:pt x="116" y="27"/>
                      </a:lnTo>
                      <a:lnTo>
                        <a:pt x="111" y="15"/>
                      </a:lnTo>
                      <a:lnTo>
                        <a:pt x="109" y="13"/>
                      </a:lnTo>
                      <a:lnTo>
                        <a:pt x="109" y="10"/>
                      </a:lnTo>
                      <a:lnTo>
                        <a:pt x="109" y="7"/>
                      </a:lnTo>
                      <a:lnTo>
                        <a:pt x="110" y="4"/>
                      </a:lnTo>
                      <a:lnTo>
                        <a:pt x="109" y="1"/>
                      </a:lnTo>
                      <a:lnTo>
                        <a:pt x="106" y="0"/>
                      </a:lnTo>
                      <a:lnTo>
                        <a:pt x="104" y="2"/>
                      </a:lnTo>
                      <a:lnTo>
                        <a:pt x="102" y="5"/>
                      </a:lnTo>
                      <a:lnTo>
                        <a:pt x="101" y="7"/>
                      </a:lnTo>
                      <a:lnTo>
                        <a:pt x="99" y="15"/>
                      </a:lnTo>
                      <a:lnTo>
                        <a:pt x="96" y="24"/>
                      </a:lnTo>
                      <a:lnTo>
                        <a:pt x="92" y="30"/>
                      </a:lnTo>
                      <a:lnTo>
                        <a:pt x="90" y="33"/>
                      </a:lnTo>
                      <a:lnTo>
                        <a:pt x="86" y="34"/>
                      </a:lnTo>
                      <a:lnTo>
                        <a:pt x="85" y="36"/>
                      </a:lnTo>
                      <a:lnTo>
                        <a:pt x="85" y="38"/>
                      </a:lnTo>
                      <a:lnTo>
                        <a:pt x="85" y="42"/>
                      </a:lnTo>
                      <a:lnTo>
                        <a:pt x="85" y="43"/>
                      </a:lnTo>
                      <a:lnTo>
                        <a:pt x="78" y="52"/>
                      </a:lnTo>
                      <a:lnTo>
                        <a:pt x="72" y="59"/>
                      </a:lnTo>
                      <a:lnTo>
                        <a:pt x="57" y="74"/>
                      </a:lnTo>
                      <a:lnTo>
                        <a:pt x="54" y="75"/>
                      </a:lnTo>
                      <a:lnTo>
                        <a:pt x="50" y="75"/>
                      </a:lnTo>
                      <a:lnTo>
                        <a:pt x="47" y="75"/>
                      </a:lnTo>
                      <a:lnTo>
                        <a:pt x="41" y="75"/>
                      </a:lnTo>
                      <a:lnTo>
                        <a:pt x="36" y="78"/>
                      </a:lnTo>
                      <a:lnTo>
                        <a:pt x="26" y="81"/>
                      </a:lnTo>
                      <a:lnTo>
                        <a:pt x="22" y="83"/>
                      </a:lnTo>
                      <a:lnTo>
                        <a:pt x="20" y="87"/>
                      </a:lnTo>
                      <a:lnTo>
                        <a:pt x="16" y="95"/>
                      </a:lnTo>
                      <a:lnTo>
                        <a:pt x="11" y="102"/>
                      </a:lnTo>
                      <a:lnTo>
                        <a:pt x="10" y="104"/>
                      </a:lnTo>
                      <a:lnTo>
                        <a:pt x="10" y="106"/>
                      </a:lnTo>
                      <a:lnTo>
                        <a:pt x="12" y="110"/>
                      </a:lnTo>
                      <a:lnTo>
                        <a:pt x="14" y="114"/>
                      </a:lnTo>
                      <a:lnTo>
                        <a:pt x="15" y="116"/>
                      </a:lnTo>
                      <a:lnTo>
                        <a:pt x="14" y="117"/>
                      </a:lnTo>
                      <a:lnTo>
                        <a:pt x="14" y="122"/>
                      </a:lnTo>
                      <a:lnTo>
                        <a:pt x="14" y="126"/>
                      </a:lnTo>
                      <a:lnTo>
                        <a:pt x="15" y="133"/>
                      </a:lnTo>
                      <a:lnTo>
                        <a:pt x="19" y="140"/>
                      </a:lnTo>
                      <a:lnTo>
                        <a:pt x="22" y="147"/>
                      </a:lnTo>
                      <a:lnTo>
                        <a:pt x="24" y="151"/>
                      </a:lnTo>
                      <a:lnTo>
                        <a:pt x="24" y="154"/>
                      </a:lnTo>
                      <a:lnTo>
                        <a:pt x="24" y="158"/>
                      </a:lnTo>
                      <a:lnTo>
                        <a:pt x="21" y="161"/>
                      </a:lnTo>
                      <a:lnTo>
                        <a:pt x="15" y="168"/>
                      </a:lnTo>
                      <a:lnTo>
                        <a:pt x="10" y="176"/>
                      </a:lnTo>
                      <a:lnTo>
                        <a:pt x="10" y="178"/>
                      </a:lnTo>
                      <a:lnTo>
                        <a:pt x="8" y="181"/>
                      </a:lnTo>
                      <a:lnTo>
                        <a:pt x="3" y="189"/>
                      </a:lnTo>
                      <a:lnTo>
                        <a:pt x="1" y="192"/>
                      </a:lnTo>
                      <a:lnTo>
                        <a:pt x="0" y="198"/>
                      </a:lnTo>
                      <a:lnTo>
                        <a:pt x="0" y="200"/>
                      </a:lnTo>
                      <a:lnTo>
                        <a:pt x="0" y="203"/>
                      </a:lnTo>
                      <a:lnTo>
                        <a:pt x="6" y="216"/>
                      </a:lnTo>
                      <a:lnTo>
                        <a:pt x="7" y="218"/>
                      </a:lnTo>
                      <a:lnTo>
                        <a:pt x="6" y="221"/>
                      </a:lnTo>
                      <a:lnTo>
                        <a:pt x="5" y="223"/>
                      </a:lnTo>
                      <a:lnTo>
                        <a:pt x="5" y="225"/>
                      </a:lnTo>
                      <a:lnTo>
                        <a:pt x="3" y="231"/>
                      </a:lnTo>
                      <a:lnTo>
                        <a:pt x="5" y="241"/>
                      </a:lnTo>
                      <a:lnTo>
                        <a:pt x="6" y="247"/>
                      </a:lnTo>
                      <a:lnTo>
                        <a:pt x="10" y="251"/>
                      </a:lnTo>
                      <a:lnTo>
                        <a:pt x="14" y="256"/>
                      </a:lnTo>
                      <a:lnTo>
                        <a:pt x="19" y="260"/>
                      </a:lnTo>
                      <a:lnTo>
                        <a:pt x="24" y="263"/>
                      </a:lnTo>
                      <a:lnTo>
                        <a:pt x="27" y="268"/>
                      </a:lnTo>
                      <a:lnTo>
                        <a:pt x="30" y="270"/>
                      </a:lnTo>
                      <a:lnTo>
                        <a:pt x="34" y="272"/>
                      </a:lnTo>
                      <a:lnTo>
                        <a:pt x="36" y="272"/>
                      </a:lnTo>
                      <a:lnTo>
                        <a:pt x="40" y="270"/>
                      </a:lnTo>
                      <a:lnTo>
                        <a:pt x="47" y="267"/>
                      </a:lnTo>
                      <a:lnTo>
                        <a:pt x="52" y="262"/>
                      </a:lnTo>
                      <a:lnTo>
                        <a:pt x="54" y="261"/>
                      </a:lnTo>
                      <a:lnTo>
                        <a:pt x="55" y="261"/>
                      </a:lnTo>
                      <a:lnTo>
                        <a:pt x="58" y="262"/>
                      </a:lnTo>
                      <a:lnTo>
                        <a:pt x="61" y="261"/>
                      </a:lnTo>
                      <a:lnTo>
                        <a:pt x="68" y="256"/>
                      </a:lnTo>
                      <a:lnTo>
                        <a:pt x="72" y="254"/>
                      </a:lnTo>
                      <a:lnTo>
                        <a:pt x="74" y="250"/>
                      </a:lnTo>
                      <a:lnTo>
                        <a:pt x="74" y="247"/>
                      </a:lnTo>
                      <a:lnTo>
                        <a:pt x="73" y="243"/>
                      </a:lnTo>
                      <a:lnTo>
                        <a:pt x="73" y="241"/>
                      </a:lnTo>
                      <a:lnTo>
                        <a:pt x="73" y="238"/>
                      </a:lnTo>
                      <a:lnTo>
                        <a:pt x="77" y="235"/>
                      </a:lnTo>
                      <a:lnTo>
                        <a:pt x="80" y="231"/>
                      </a:lnTo>
                      <a:lnTo>
                        <a:pt x="82" y="223"/>
                      </a:lnTo>
                      <a:lnTo>
                        <a:pt x="85" y="206"/>
                      </a:lnTo>
                      <a:lnTo>
                        <a:pt x="87" y="202"/>
                      </a:lnTo>
                      <a:lnTo>
                        <a:pt x="86" y="198"/>
                      </a:lnTo>
                      <a:lnTo>
                        <a:pt x="86" y="197"/>
                      </a:lnTo>
                      <a:lnTo>
                        <a:pt x="90" y="192"/>
                      </a:lnTo>
                      <a:lnTo>
                        <a:pt x="92" y="189"/>
                      </a:lnTo>
                      <a:lnTo>
                        <a:pt x="92" y="184"/>
                      </a:lnTo>
                      <a:lnTo>
                        <a:pt x="92" y="178"/>
                      </a:lnTo>
                      <a:lnTo>
                        <a:pt x="92" y="168"/>
                      </a:lnTo>
                      <a:lnTo>
                        <a:pt x="92" y="162"/>
                      </a:lnTo>
                      <a:lnTo>
                        <a:pt x="94" y="159"/>
                      </a:lnTo>
                      <a:lnTo>
                        <a:pt x="99" y="151"/>
                      </a:lnTo>
                      <a:lnTo>
                        <a:pt x="101" y="142"/>
                      </a:lnTo>
                      <a:lnTo>
                        <a:pt x="105" y="132"/>
                      </a:lnTo>
                      <a:lnTo>
                        <a:pt x="106" y="121"/>
                      </a:lnTo>
                      <a:lnTo>
                        <a:pt x="106" y="113"/>
                      </a:lnTo>
                      <a:lnTo>
                        <a:pt x="106" y="108"/>
                      </a:lnTo>
                      <a:lnTo>
                        <a:pt x="107" y="104"/>
                      </a:lnTo>
                      <a:lnTo>
                        <a:pt x="109" y="100"/>
                      </a:lnTo>
                      <a:lnTo>
                        <a:pt x="110" y="97"/>
                      </a:lnTo>
                      <a:lnTo>
                        <a:pt x="111" y="96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" name="Freeform 607">
                  <a:extLst>
                    <a:ext uri="{FF2B5EF4-FFF2-40B4-BE49-F238E27FC236}">
                      <a16:creationId xmlns:a16="http://schemas.microsoft.com/office/drawing/2014/main" id="{C674154E-10A5-594D-85E5-E0F1118418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8238" y="4421542"/>
                  <a:ext cx="105071" cy="156866"/>
                </a:xfrm>
                <a:custGeom>
                  <a:avLst/>
                  <a:gdLst>
                    <a:gd name="T0" fmla="*/ 0 w 76"/>
                    <a:gd name="T1" fmla="*/ 2147483647 h 106"/>
                    <a:gd name="T2" fmla="*/ 2147483647 w 76"/>
                    <a:gd name="T3" fmla="*/ 2147483647 h 106"/>
                    <a:gd name="T4" fmla="*/ 2147483647 w 76"/>
                    <a:gd name="T5" fmla="*/ 2147483647 h 106"/>
                    <a:gd name="T6" fmla="*/ 2147483647 w 76"/>
                    <a:gd name="T7" fmla="*/ 2147483647 h 106"/>
                    <a:gd name="T8" fmla="*/ 2147483647 w 76"/>
                    <a:gd name="T9" fmla="*/ 2147483647 h 106"/>
                    <a:gd name="T10" fmla="*/ 2147483647 w 76"/>
                    <a:gd name="T11" fmla="*/ 2147483647 h 106"/>
                    <a:gd name="T12" fmla="*/ 2147483647 w 76"/>
                    <a:gd name="T13" fmla="*/ 2147483647 h 106"/>
                    <a:gd name="T14" fmla="*/ 2147483647 w 76"/>
                    <a:gd name="T15" fmla="*/ 2147483647 h 106"/>
                    <a:gd name="T16" fmla="*/ 2147483647 w 76"/>
                    <a:gd name="T17" fmla="*/ 2147483647 h 106"/>
                    <a:gd name="T18" fmla="*/ 2147483647 w 76"/>
                    <a:gd name="T19" fmla="*/ 2147483647 h 106"/>
                    <a:gd name="T20" fmla="*/ 2147483647 w 76"/>
                    <a:gd name="T21" fmla="*/ 2147483647 h 106"/>
                    <a:gd name="T22" fmla="*/ 2147483647 w 76"/>
                    <a:gd name="T23" fmla="*/ 2147483647 h 106"/>
                    <a:gd name="T24" fmla="*/ 2147483647 w 76"/>
                    <a:gd name="T25" fmla="*/ 2147483647 h 106"/>
                    <a:gd name="T26" fmla="*/ 2147483647 w 76"/>
                    <a:gd name="T27" fmla="*/ 2147483647 h 106"/>
                    <a:gd name="T28" fmla="*/ 2147483647 w 76"/>
                    <a:gd name="T29" fmla="*/ 2147483647 h 106"/>
                    <a:gd name="T30" fmla="*/ 2147483647 w 76"/>
                    <a:gd name="T31" fmla="*/ 2147483647 h 106"/>
                    <a:gd name="T32" fmla="*/ 2147483647 w 76"/>
                    <a:gd name="T33" fmla="*/ 2147483647 h 106"/>
                    <a:gd name="T34" fmla="*/ 2147483647 w 76"/>
                    <a:gd name="T35" fmla="*/ 2147483647 h 106"/>
                    <a:gd name="T36" fmla="*/ 2147483647 w 76"/>
                    <a:gd name="T37" fmla="*/ 2147483647 h 106"/>
                    <a:gd name="T38" fmla="*/ 2147483647 w 76"/>
                    <a:gd name="T39" fmla="*/ 2147483647 h 106"/>
                    <a:gd name="T40" fmla="*/ 2147483647 w 76"/>
                    <a:gd name="T41" fmla="*/ 2147483647 h 106"/>
                    <a:gd name="T42" fmla="*/ 2147483647 w 76"/>
                    <a:gd name="T43" fmla="*/ 2147483647 h 106"/>
                    <a:gd name="T44" fmla="*/ 2147483647 w 76"/>
                    <a:gd name="T45" fmla="*/ 2147483647 h 106"/>
                    <a:gd name="T46" fmla="*/ 2147483647 w 76"/>
                    <a:gd name="T47" fmla="*/ 2147483647 h 106"/>
                    <a:gd name="T48" fmla="*/ 2147483647 w 76"/>
                    <a:gd name="T49" fmla="*/ 2147483647 h 106"/>
                    <a:gd name="T50" fmla="*/ 2147483647 w 76"/>
                    <a:gd name="T51" fmla="*/ 2147483647 h 106"/>
                    <a:gd name="T52" fmla="*/ 2147483647 w 76"/>
                    <a:gd name="T53" fmla="*/ 2147483647 h 106"/>
                    <a:gd name="T54" fmla="*/ 2147483647 w 76"/>
                    <a:gd name="T55" fmla="*/ 2147483647 h 106"/>
                    <a:gd name="T56" fmla="*/ 2147483647 w 76"/>
                    <a:gd name="T57" fmla="*/ 2147483647 h 106"/>
                    <a:gd name="T58" fmla="*/ 2147483647 w 76"/>
                    <a:gd name="T59" fmla="*/ 2147483647 h 106"/>
                    <a:gd name="T60" fmla="*/ 2147483647 w 76"/>
                    <a:gd name="T61" fmla="*/ 2147483647 h 106"/>
                    <a:gd name="T62" fmla="*/ 2147483647 w 76"/>
                    <a:gd name="T63" fmla="*/ 2147483647 h 106"/>
                    <a:gd name="T64" fmla="*/ 2147483647 w 76"/>
                    <a:gd name="T65" fmla="*/ 2147483647 h 106"/>
                    <a:gd name="T66" fmla="*/ 2147483647 w 76"/>
                    <a:gd name="T67" fmla="*/ 2147483647 h 106"/>
                    <a:gd name="T68" fmla="*/ 2147483647 w 76"/>
                    <a:gd name="T69" fmla="*/ 2147483647 h 106"/>
                    <a:gd name="T70" fmla="*/ 2147483647 w 76"/>
                    <a:gd name="T71" fmla="*/ 2147483647 h 106"/>
                    <a:gd name="T72" fmla="*/ 2147483647 w 76"/>
                    <a:gd name="T73" fmla="*/ 2147483647 h 106"/>
                    <a:gd name="T74" fmla="*/ 2147483647 w 76"/>
                    <a:gd name="T75" fmla="*/ 2147483647 h 106"/>
                    <a:gd name="T76" fmla="*/ 2147483647 w 76"/>
                    <a:gd name="T77" fmla="*/ 2147483647 h 106"/>
                    <a:gd name="T78" fmla="*/ 2147483647 w 76"/>
                    <a:gd name="T79" fmla="*/ 2147483647 h 106"/>
                    <a:gd name="T80" fmla="*/ 2147483647 w 76"/>
                    <a:gd name="T81" fmla="*/ 2147483647 h 106"/>
                    <a:gd name="T82" fmla="*/ 2147483647 w 76"/>
                    <a:gd name="T83" fmla="*/ 2147483647 h 106"/>
                    <a:gd name="T84" fmla="*/ 2147483647 w 76"/>
                    <a:gd name="T85" fmla="*/ 2147483647 h 106"/>
                    <a:gd name="T86" fmla="*/ 2147483647 w 76"/>
                    <a:gd name="T87" fmla="*/ 2147483647 h 106"/>
                    <a:gd name="T88" fmla="*/ 2147483647 w 76"/>
                    <a:gd name="T89" fmla="*/ 2147483647 h 106"/>
                    <a:gd name="T90" fmla="*/ 2147483647 w 76"/>
                    <a:gd name="T91" fmla="*/ 2147483647 h 106"/>
                    <a:gd name="T92" fmla="*/ 2147483647 w 76"/>
                    <a:gd name="T93" fmla="*/ 2147483647 h 106"/>
                    <a:gd name="T94" fmla="*/ 2147483647 w 76"/>
                    <a:gd name="T95" fmla="*/ 2147483647 h 106"/>
                    <a:gd name="T96" fmla="*/ 2147483647 w 76"/>
                    <a:gd name="T97" fmla="*/ 2147483647 h 106"/>
                    <a:gd name="T98" fmla="*/ 2147483647 w 76"/>
                    <a:gd name="T99" fmla="*/ 2147483647 h 106"/>
                    <a:gd name="T100" fmla="*/ 2147483647 w 76"/>
                    <a:gd name="T101" fmla="*/ 2147483647 h 106"/>
                    <a:gd name="T102" fmla="*/ 2147483647 w 76"/>
                    <a:gd name="T103" fmla="*/ 2147483647 h 106"/>
                    <a:gd name="T104" fmla="*/ 2147483647 w 76"/>
                    <a:gd name="T105" fmla="*/ 2147483647 h 106"/>
                    <a:gd name="T106" fmla="*/ 2147483647 w 76"/>
                    <a:gd name="T107" fmla="*/ 2147483647 h 106"/>
                    <a:gd name="T108" fmla="*/ 2147483647 w 76"/>
                    <a:gd name="T109" fmla="*/ 2147483647 h 106"/>
                    <a:gd name="T110" fmla="*/ 2147483647 w 76"/>
                    <a:gd name="T111" fmla="*/ 2147483647 h 106"/>
                    <a:gd name="T112" fmla="*/ 2147483647 w 76"/>
                    <a:gd name="T113" fmla="*/ 2147483647 h 106"/>
                    <a:gd name="T114" fmla="*/ 2147483647 w 76"/>
                    <a:gd name="T115" fmla="*/ 0 h 106"/>
                    <a:gd name="T116" fmla="*/ 0 w 76"/>
                    <a:gd name="T117" fmla="*/ 2147483647 h 10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6"/>
                    <a:gd name="T178" fmla="*/ 0 h 106"/>
                    <a:gd name="T179" fmla="*/ 76 w 76"/>
                    <a:gd name="T180" fmla="*/ 106 h 10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6" h="106">
                      <a:moveTo>
                        <a:pt x="0" y="1"/>
                      </a:moveTo>
                      <a:lnTo>
                        <a:pt x="5" y="10"/>
                      </a:lnTo>
                      <a:lnTo>
                        <a:pt x="9" y="20"/>
                      </a:lnTo>
                      <a:lnTo>
                        <a:pt x="10" y="31"/>
                      </a:lnTo>
                      <a:lnTo>
                        <a:pt x="8" y="41"/>
                      </a:lnTo>
                      <a:lnTo>
                        <a:pt x="8" y="44"/>
                      </a:lnTo>
                      <a:lnTo>
                        <a:pt x="9" y="46"/>
                      </a:lnTo>
                      <a:lnTo>
                        <a:pt x="15" y="56"/>
                      </a:lnTo>
                      <a:lnTo>
                        <a:pt x="16" y="61"/>
                      </a:lnTo>
                      <a:lnTo>
                        <a:pt x="18" y="66"/>
                      </a:lnTo>
                      <a:lnTo>
                        <a:pt x="18" y="70"/>
                      </a:lnTo>
                      <a:lnTo>
                        <a:pt x="20" y="72"/>
                      </a:lnTo>
                      <a:lnTo>
                        <a:pt x="24" y="73"/>
                      </a:lnTo>
                      <a:lnTo>
                        <a:pt x="25" y="76"/>
                      </a:lnTo>
                      <a:lnTo>
                        <a:pt x="25" y="79"/>
                      </a:lnTo>
                      <a:lnTo>
                        <a:pt x="27" y="80"/>
                      </a:lnTo>
                      <a:lnTo>
                        <a:pt x="27" y="82"/>
                      </a:lnTo>
                      <a:lnTo>
                        <a:pt x="30" y="84"/>
                      </a:lnTo>
                      <a:lnTo>
                        <a:pt x="34" y="85"/>
                      </a:lnTo>
                      <a:lnTo>
                        <a:pt x="39" y="86"/>
                      </a:lnTo>
                      <a:lnTo>
                        <a:pt x="42" y="89"/>
                      </a:lnTo>
                      <a:lnTo>
                        <a:pt x="46" y="95"/>
                      </a:lnTo>
                      <a:lnTo>
                        <a:pt x="51" y="99"/>
                      </a:lnTo>
                      <a:lnTo>
                        <a:pt x="56" y="103"/>
                      </a:lnTo>
                      <a:lnTo>
                        <a:pt x="58" y="104"/>
                      </a:lnTo>
                      <a:lnTo>
                        <a:pt x="62" y="105"/>
                      </a:lnTo>
                      <a:lnTo>
                        <a:pt x="66" y="106"/>
                      </a:lnTo>
                      <a:lnTo>
                        <a:pt x="69" y="106"/>
                      </a:lnTo>
                      <a:lnTo>
                        <a:pt x="70" y="106"/>
                      </a:lnTo>
                      <a:lnTo>
                        <a:pt x="74" y="103"/>
                      </a:lnTo>
                      <a:lnTo>
                        <a:pt x="76" y="99"/>
                      </a:lnTo>
                      <a:lnTo>
                        <a:pt x="75" y="97"/>
                      </a:lnTo>
                      <a:lnTo>
                        <a:pt x="75" y="96"/>
                      </a:lnTo>
                      <a:lnTo>
                        <a:pt x="66" y="85"/>
                      </a:lnTo>
                      <a:lnTo>
                        <a:pt x="60" y="74"/>
                      </a:lnTo>
                      <a:lnTo>
                        <a:pt x="57" y="69"/>
                      </a:lnTo>
                      <a:lnTo>
                        <a:pt x="56" y="63"/>
                      </a:lnTo>
                      <a:lnTo>
                        <a:pt x="55" y="56"/>
                      </a:lnTo>
                      <a:lnTo>
                        <a:pt x="56" y="48"/>
                      </a:lnTo>
                      <a:lnTo>
                        <a:pt x="57" y="44"/>
                      </a:lnTo>
                      <a:lnTo>
                        <a:pt x="56" y="38"/>
                      </a:lnTo>
                      <a:lnTo>
                        <a:pt x="53" y="32"/>
                      </a:lnTo>
                      <a:lnTo>
                        <a:pt x="50" y="26"/>
                      </a:lnTo>
                      <a:lnTo>
                        <a:pt x="47" y="25"/>
                      </a:lnTo>
                      <a:lnTo>
                        <a:pt x="44" y="22"/>
                      </a:lnTo>
                      <a:lnTo>
                        <a:pt x="42" y="21"/>
                      </a:lnTo>
                      <a:lnTo>
                        <a:pt x="39" y="19"/>
                      </a:lnTo>
                      <a:lnTo>
                        <a:pt x="38" y="15"/>
                      </a:lnTo>
                      <a:lnTo>
                        <a:pt x="37" y="13"/>
                      </a:lnTo>
                      <a:lnTo>
                        <a:pt x="30" y="13"/>
                      </a:lnTo>
                      <a:lnTo>
                        <a:pt x="23" y="13"/>
                      </a:lnTo>
                      <a:lnTo>
                        <a:pt x="19" y="12"/>
                      </a:lnTo>
                      <a:lnTo>
                        <a:pt x="16" y="9"/>
                      </a:lnTo>
                      <a:lnTo>
                        <a:pt x="14" y="7"/>
                      </a:lnTo>
                      <a:lnTo>
                        <a:pt x="13" y="3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" name="Freeform 609">
                  <a:extLst>
                    <a:ext uri="{FF2B5EF4-FFF2-40B4-BE49-F238E27FC236}">
                      <a16:creationId xmlns:a16="http://schemas.microsoft.com/office/drawing/2014/main" id="{8E6CE2B4-FD36-084F-B9F8-335A0F6847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8240" y="4420061"/>
                  <a:ext cx="103591" cy="156866"/>
                </a:xfrm>
                <a:custGeom>
                  <a:avLst/>
                  <a:gdLst>
                    <a:gd name="T0" fmla="*/ 0 w 76"/>
                    <a:gd name="T1" fmla="*/ 2147483647 h 106"/>
                    <a:gd name="T2" fmla="*/ 2147483647 w 76"/>
                    <a:gd name="T3" fmla="*/ 2147483647 h 106"/>
                    <a:gd name="T4" fmla="*/ 2147483647 w 76"/>
                    <a:gd name="T5" fmla="*/ 2147483647 h 106"/>
                    <a:gd name="T6" fmla="*/ 2147483647 w 76"/>
                    <a:gd name="T7" fmla="*/ 2147483647 h 106"/>
                    <a:gd name="T8" fmla="*/ 2147483647 w 76"/>
                    <a:gd name="T9" fmla="*/ 2147483647 h 106"/>
                    <a:gd name="T10" fmla="*/ 2147483647 w 76"/>
                    <a:gd name="T11" fmla="*/ 2147483647 h 106"/>
                    <a:gd name="T12" fmla="*/ 2147483647 w 76"/>
                    <a:gd name="T13" fmla="*/ 2147483647 h 106"/>
                    <a:gd name="T14" fmla="*/ 2147483647 w 76"/>
                    <a:gd name="T15" fmla="*/ 2147483647 h 106"/>
                    <a:gd name="T16" fmla="*/ 2147483647 w 76"/>
                    <a:gd name="T17" fmla="*/ 2147483647 h 106"/>
                    <a:gd name="T18" fmla="*/ 2147483647 w 76"/>
                    <a:gd name="T19" fmla="*/ 2147483647 h 106"/>
                    <a:gd name="T20" fmla="*/ 2147483647 w 76"/>
                    <a:gd name="T21" fmla="*/ 2147483647 h 106"/>
                    <a:gd name="T22" fmla="*/ 2147483647 w 76"/>
                    <a:gd name="T23" fmla="*/ 2147483647 h 106"/>
                    <a:gd name="T24" fmla="*/ 2147483647 w 76"/>
                    <a:gd name="T25" fmla="*/ 2147483647 h 106"/>
                    <a:gd name="T26" fmla="*/ 2147483647 w 76"/>
                    <a:gd name="T27" fmla="*/ 2147483647 h 106"/>
                    <a:gd name="T28" fmla="*/ 2147483647 w 76"/>
                    <a:gd name="T29" fmla="*/ 2147483647 h 106"/>
                    <a:gd name="T30" fmla="*/ 2147483647 w 76"/>
                    <a:gd name="T31" fmla="*/ 2147483647 h 106"/>
                    <a:gd name="T32" fmla="*/ 2147483647 w 76"/>
                    <a:gd name="T33" fmla="*/ 2147483647 h 106"/>
                    <a:gd name="T34" fmla="*/ 2147483647 w 76"/>
                    <a:gd name="T35" fmla="*/ 2147483647 h 106"/>
                    <a:gd name="T36" fmla="*/ 2147483647 w 76"/>
                    <a:gd name="T37" fmla="*/ 2147483647 h 106"/>
                    <a:gd name="T38" fmla="*/ 2147483647 w 76"/>
                    <a:gd name="T39" fmla="*/ 2147483647 h 106"/>
                    <a:gd name="T40" fmla="*/ 2147483647 w 76"/>
                    <a:gd name="T41" fmla="*/ 2147483647 h 106"/>
                    <a:gd name="T42" fmla="*/ 2147483647 w 76"/>
                    <a:gd name="T43" fmla="*/ 2147483647 h 106"/>
                    <a:gd name="T44" fmla="*/ 2147483647 w 76"/>
                    <a:gd name="T45" fmla="*/ 2147483647 h 106"/>
                    <a:gd name="T46" fmla="*/ 2147483647 w 76"/>
                    <a:gd name="T47" fmla="*/ 2147483647 h 106"/>
                    <a:gd name="T48" fmla="*/ 2147483647 w 76"/>
                    <a:gd name="T49" fmla="*/ 2147483647 h 106"/>
                    <a:gd name="T50" fmla="*/ 2147483647 w 76"/>
                    <a:gd name="T51" fmla="*/ 2147483647 h 106"/>
                    <a:gd name="T52" fmla="*/ 2147483647 w 76"/>
                    <a:gd name="T53" fmla="*/ 2147483647 h 106"/>
                    <a:gd name="T54" fmla="*/ 2147483647 w 76"/>
                    <a:gd name="T55" fmla="*/ 2147483647 h 106"/>
                    <a:gd name="T56" fmla="*/ 2147483647 w 76"/>
                    <a:gd name="T57" fmla="*/ 2147483647 h 106"/>
                    <a:gd name="T58" fmla="*/ 2147483647 w 76"/>
                    <a:gd name="T59" fmla="*/ 2147483647 h 106"/>
                    <a:gd name="T60" fmla="*/ 2147483647 w 76"/>
                    <a:gd name="T61" fmla="*/ 2147483647 h 106"/>
                    <a:gd name="T62" fmla="*/ 2147483647 w 76"/>
                    <a:gd name="T63" fmla="*/ 2147483647 h 106"/>
                    <a:gd name="T64" fmla="*/ 2147483647 w 76"/>
                    <a:gd name="T65" fmla="*/ 2147483647 h 106"/>
                    <a:gd name="T66" fmla="*/ 2147483647 w 76"/>
                    <a:gd name="T67" fmla="*/ 2147483647 h 106"/>
                    <a:gd name="T68" fmla="*/ 2147483647 w 76"/>
                    <a:gd name="T69" fmla="*/ 2147483647 h 106"/>
                    <a:gd name="T70" fmla="*/ 2147483647 w 76"/>
                    <a:gd name="T71" fmla="*/ 2147483647 h 106"/>
                    <a:gd name="T72" fmla="*/ 0 w 76"/>
                    <a:gd name="T73" fmla="*/ 2147483647 h 10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76"/>
                    <a:gd name="T112" fmla="*/ 0 h 106"/>
                    <a:gd name="T113" fmla="*/ 76 w 76"/>
                    <a:gd name="T114" fmla="*/ 106 h 10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76" h="106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5" y="10"/>
                      </a:lnTo>
                      <a:lnTo>
                        <a:pt x="9" y="20"/>
                      </a:lnTo>
                      <a:lnTo>
                        <a:pt x="10" y="30"/>
                      </a:lnTo>
                      <a:lnTo>
                        <a:pt x="7" y="41"/>
                      </a:lnTo>
                      <a:lnTo>
                        <a:pt x="7" y="43"/>
                      </a:lnTo>
                      <a:lnTo>
                        <a:pt x="9" y="46"/>
                      </a:lnTo>
                      <a:lnTo>
                        <a:pt x="15" y="55"/>
                      </a:lnTo>
                      <a:lnTo>
                        <a:pt x="16" y="61"/>
                      </a:lnTo>
                      <a:lnTo>
                        <a:pt x="17" y="66"/>
                      </a:lnTo>
                      <a:lnTo>
                        <a:pt x="17" y="70"/>
                      </a:lnTo>
                      <a:lnTo>
                        <a:pt x="20" y="72"/>
                      </a:lnTo>
                      <a:lnTo>
                        <a:pt x="24" y="73"/>
                      </a:lnTo>
                      <a:lnTo>
                        <a:pt x="25" y="75"/>
                      </a:lnTo>
                      <a:lnTo>
                        <a:pt x="25" y="79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30" y="84"/>
                      </a:lnTo>
                      <a:lnTo>
                        <a:pt x="34" y="85"/>
                      </a:lnTo>
                      <a:lnTo>
                        <a:pt x="39" y="86"/>
                      </a:lnTo>
                      <a:lnTo>
                        <a:pt x="42" y="89"/>
                      </a:lnTo>
                      <a:lnTo>
                        <a:pt x="45" y="94"/>
                      </a:lnTo>
                      <a:lnTo>
                        <a:pt x="51" y="99"/>
                      </a:lnTo>
                      <a:lnTo>
                        <a:pt x="56" y="103"/>
                      </a:lnTo>
                      <a:lnTo>
                        <a:pt x="58" y="104"/>
                      </a:lnTo>
                      <a:lnTo>
                        <a:pt x="62" y="105"/>
                      </a:lnTo>
                      <a:lnTo>
                        <a:pt x="66" y="106"/>
                      </a:lnTo>
                      <a:lnTo>
                        <a:pt x="68" y="106"/>
                      </a:lnTo>
                      <a:lnTo>
                        <a:pt x="70" y="106"/>
                      </a:lnTo>
                      <a:lnTo>
                        <a:pt x="73" y="103"/>
                      </a:lnTo>
                      <a:lnTo>
                        <a:pt x="76" y="99"/>
                      </a:lnTo>
                      <a:lnTo>
                        <a:pt x="75" y="97"/>
                      </a:lnTo>
                      <a:lnTo>
                        <a:pt x="75" y="96"/>
                      </a:lnTo>
                      <a:lnTo>
                        <a:pt x="66" y="85"/>
                      </a:lnTo>
                      <a:lnTo>
                        <a:pt x="59" y="74"/>
                      </a:lnTo>
                      <a:lnTo>
                        <a:pt x="57" y="68"/>
                      </a:lnTo>
                      <a:lnTo>
                        <a:pt x="56" y="62"/>
                      </a:lnTo>
                      <a:lnTo>
                        <a:pt x="54" y="55"/>
                      </a:lnTo>
                      <a:lnTo>
                        <a:pt x="56" y="48"/>
                      </a:lnTo>
                      <a:lnTo>
                        <a:pt x="57" y="43"/>
                      </a:lnTo>
                      <a:lnTo>
                        <a:pt x="56" y="38"/>
                      </a:lnTo>
                      <a:lnTo>
                        <a:pt x="53" y="32"/>
                      </a:lnTo>
                      <a:lnTo>
                        <a:pt x="49" y="26"/>
                      </a:lnTo>
                      <a:lnTo>
                        <a:pt x="47" y="25"/>
                      </a:lnTo>
                      <a:lnTo>
                        <a:pt x="44" y="22"/>
                      </a:lnTo>
                      <a:lnTo>
                        <a:pt x="42" y="21"/>
                      </a:lnTo>
                      <a:lnTo>
                        <a:pt x="39" y="19"/>
                      </a:lnTo>
                      <a:lnTo>
                        <a:pt x="38" y="15"/>
                      </a:lnTo>
                      <a:lnTo>
                        <a:pt x="37" y="13"/>
                      </a:lnTo>
                      <a:lnTo>
                        <a:pt x="30" y="13"/>
                      </a:lnTo>
                      <a:lnTo>
                        <a:pt x="23" y="13"/>
                      </a:lnTo>
                      <a:lnTo>
                        <a:pt x="19" y="11"/>
                      </a:lnTo>
                      <a:lnTo>
                        <a:pt x="16" y="9"/>
                      </a:lnTo>
                      <a:lnTo>
                        <a:pt x="14" y="7"/>
                      </a:lnTo>
                      <a:lnTo>
                        <a:pt x="12" y="3"/>
                      </a:lnTo>
                      <a:lnTo>
                        <a:pt x="10" y="1"/>
                      </a:lnTo>
                      <a:lnTo>
                        <a:pt x="7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" name="Freeform 612">
                  <a:extLst>
                    <a:ext uri="{FF2B5EF4-FFF2-40B4-BE49-F238E27FC236}">
                      <a16:creationId xmlns:a16="http://schemas.microsoft.com/office/drawing/2014/main" id="{1ABCED94-FDDB-994A-B610-D3C702A0BD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7063" y="2986063"/>
                  <a:ext cx="731057" cy="358129"/>
                </a:xfrm>
                <a:custGeom>
                  <a:avLst/>
                  <a:gdLst>
                    <a:gd name="T0" fmla="*/ 2147483647 w 535"/>
                    <a:gd name="T1" fmla="*/ 2147483647 h 242"/>
                    <a:gd name="T2" fmla="*/ 2147483647 w 535"/>
                    <a:gd name="T3" fmla="*/ 2147483647 h 242"/>
                    <a:gd name="T4" fmla="*/ 2147483647 w 535"/>
                    <a:gd name="T5" fmla="*/ 2147483647 h 242"/>
                    <a:gd name="T6" fmla="*/ 2147483647 w 535"/>
                    <a:gd name="T7" fmla="*/ 2147483647 h 242"/>
                    <a:gd name="T8" fmla="*/ 2147483647 w 535"/>
                    <a:gd name="T9" fmla="*/ 2147483647 h 242"/>
                    <a:gd name="T10" fmla="*/ 2147483647 w 535"/>
                    <a:gd name="T11" fmla="*/ 2147483647 h 242"/>
                    <a:gd name="T12" fmla="*/ 2147483647 w 535"/>
                    <a:gd name="T13" fmla="*/ 2147483647 h 242"/>
                    <a:gd name="T14" fmla="*/ 2147483647 w 535"/>
                    <a:gd name="T15" fmla="*/ 2147483647 h 242"/>
                    <a:gd name="T16" fmla="*/ 2147483647 w 535"/>
                    <a:gd name="T17" fmla="*/ 2147483647 h 242"/>
                    <a:gd name="T18" fmla="*/ 2147483647 w 535"/>
                    <a:gd name="T19" fmla="*/ 2147483647 h 242"/>
                    <a:gd name="T20" fmla="*/ 2147483647 w 535"/>
                    <a:gd name="T21" fmla="*/ 2147483647 h 242"/>
                    <a:gd name="T22" fmla="*/ 2147483647 w 535"/>
                    <a:gd name="T23" fmla="*/ 2147483647 h 242"/>
                    <a:gd name="T24" fmla="*/ 2147483647 w 535"/>
                    <a:gd name="T25" fmla="*/ 2147483647 h 242"/>
                    <a:gd name="T26" fmla="*/ 2147483647 w 535"/>
                    <a:gd name="T27" fmla="*/ 2147483647 h 242"/>
                    <a:gd name="T28" fmla="*/ 2147483647 w 535"/>
                    <a:gd name="T29" fmla="*/ 2147483647 h 242"/>
                    <a:gd name="T30" fmla="*/ 2147483647 w 535"/>
                    <a:gd name="T31" fmla="*/ 2147483647 h 242"/>
                    <a:gd name="T32" fmla="*/ 2147483647 w 535"/>
                    <a:gd name="T33" fmla="*/ 2147483647 h 242"/>
                    <a:gd name="T34" fmla="*/ 2147483647 w 535"/>
                    <a:gd name="T35" fmla="*/ 2147483647 h 242"/>
                    <a:gd name="T36" fmla="*/ 2147483647 w 535"/>
                    <a:gd name="T37" fmla="*/ 2147483647 h 242"/>
                    <a:gd name="T38" fmla="*/ 2147483647 w 535"/>
                    <a:gd name="T39" fmla="*/ 2147483647 h 242"/>
                    <a:gd name="T40" fmla="*/ 2147483647 w 535"/>
                    <a:gd name="T41" fmla="*/ 2147483647 h 242"/>
                    <a:gd name="T42" fmla="*/ 2147483647 w 535"/>
                    <a:gd name="T43" fmla="*/ 2147483647 h 242"/>
                    <a:gd name="T44" fmla="*/ 2147483647 w 535"/>
                    <a:gd name="T45" fmla="*/ 2147483647 h 242"/>
                    <a:gd name="T46" fmla="*/ 2147483647 w 535"/>
                    <a:gd name="T47" fmla="*/ 2147483647 h 242"/>
                    <a:gd name="T48" fmla="*/ 2147483647 w 535"/>
                    <a:gd name="T49" fmla="*/ 2147483647 h 242"/>
                    <a:gd name="T50" fmla="*/ 2147483647 w 535"/>
                    <a:gd name="T51" fmla="*/ 2147483647 h 242"/>
                    <a:gd name="T52" fmla="*/ 2147483647 w 535"/>
                    <a:gd name="T53" fmla="*/ 2147483647 h 242"/>
                    <a:gd name="T54" fmla="*/ 2147483647 w 535"/>
                    <a:gd name="T55" fmla="*/ 2147483647 h 242"/>
                    <a:gd name="T56" fmla="*/ 2147483647 w 535"/>
                    <a:gd name="T57" fmla="*/ 2147483647 h 242"/>
                    <a:gd name="T58" fmla="*/ 2147483647 w 535"/>
                    <a:gd name="T59" fmla="*/ 2147483647 h 242"/>
                    <a:gd name="T60" fmla="*/ 2147483647 w 535"/>
                    <a:gd name="T61" fmla="*/ 2147483647 h 242"/>
                    <a:gd name="T62" fmla="*/ 2147483647 w 535"/>
                    <a:gd name="T63" fmla="*/ 2147483647 h 242"/>
                    <a:gd name="T64" fmla="*/ 2147483647 w 535"/>
                    <a:gd name="T65" fmla="*/ 2147483647 h 242"/>
                    <a:gd name="T66" fmla="*/ 2147483647 w 535"/>
                    <a:gd name="T67" fmla="*/ 2147483647 h 242"/>
                    <a:gd name="T68" fmla="*/ 2147483647 w 535"/>
                    <a:gd name="T69" fmla="*/ 2147483647 h 242"/>
                    <a:gd name="T70" fmla="*/ 2147483647 w 535"/>
                    <a:gd name="T71" fmla="*/ 2147483647 h 242"/>
                    <a:gd name="T72" fmla="*/ 2147483647 w 535"/>
                    <a:gd name="T73" fmla="*/ 2147483647 h 242"/>
                    <a:gd name="T74" fmla="*/ 2147483647 w 535"/>
                    <a:gd name="T75" fmla="*/ 2147483647 h 242"/>
                    <a:gd name="T76" fmla="*/ 2147483647 w 535"/>
                    <a:gd name="T77" fmla="*/ 2147483647 h 242"/>
                    <a:gd name="T78" fmla="*/ 2147483647 w 535"/>
                    <a:gd name="T79" fmla="*/ 2147483647 h 242"/>
                    <a:gd name="T80" fmla="*/ 2147483647 w 535"/>
                    <a:gd name="T81" fmla="*/ 2147483647 h 242"/>
                    <a:gd name="T82" fmla="*/ 2147483647 w 535"/>
                    <a:gd name="T83" fmla="*/ 2147483647 h 242"/>
                    <a:gd name="T84" fmla="*/ 2147483647 w 535"/>
                    <a:gd name="T85" fmla="*/ 2147483647 h 242"/>
                    <a:gd name="T86" fmla="*/ 2147483647 w 535"/>
                    <a:gd name="T87" fmla="*/ 2147483647 h 242"/>
                    <a:gd name="T88" fmla="*/ 2147483647 w 535"/>
                    <a:gd name="T89" fmla="*/ 2147483647 h 242"/>
                    <a:gd name="T90" fmla="*/ 2147483647 w 535"/>
                    <a:gd name="T91" fmla="*/ 2147483647 h 242"/>
                    <a:gd name="T92" fmla="*/ 2147483647 w 535"/>
                    <a:gd name="T93" fmla="*/ 2147483647 h 242"/>
                    <a:gd name="T94" fmla="*/ 2147483647 w 535"/>
                    <a:gd name="T95" fmla="*/ 2147483647 h 242"/>
                    <a:gd name="T96" fmla="*/ 2147483647 w 535"/>
                    <a:gd name="T97" fmla="*/ 2147483647 h 242"/>
                    <a:gd name="T98" fmla="*/ 2147483647 w 535"/>
                    <a:gd name="T99" fmla="*/ 2147483647 h 242"/>
                    <a:gd name="T100" fmla="*/ 2147483647 w 535"/>
                    <a:gd name="T101" fmla="*/ 2147483647 h 242"/>
                    <a:gd name="T102" fmla="*/ 2147483647 w 535"/>
                    <a:gd name="T103" fmla="*/ 2147483647 h 242"/>
                    <a:gd name="T104" fmla="*/ 2147483647 w 535"/>
                    <a:gd name="T105" fmla="*/ 2147483647 h 242"/>
                    <a:gd name="T106" fmla="*/ 2147483647 w 535"/>
                    <a:gd name="T107" fmla="*/ 2147483647 h 242"/>
                    <a:gd name="T108" fmla="*/ 2147483647 w 535"/>
                    <a:gd name="T109" fmla="*/ 2147483647 h 242"/>
                    <a:gd name="T110" fmla="*/ 2147483647 w 535"/>
                    <a:gd name="T111" fmla="*/ 2147483647 h 242"/>
                    <a:gd name="T112" fmla="*/ 2147483647 w 535"/>
                    <a:gd name="T113" fmla="*/ 2147483647 h 242"/>
                    <a:gd name="T114" fmla="*/ 2147483647 w 535"/>
                    <a:gd name="T115" fmla="*/ 2147483647 h 242"/>
                    <a:gd name="T116" fmla="*/ 2147483647 w 535"/>
                    <a:gd name="T117" fmla="*/ 2147483647 h 242"/>
                    <a:gd name="T118" fmla="*/ 2147483647 w 535"/>
                    <a:gd name="T119" fmla="*/ 2147483647 h 242"/>
                    <a:gd name="T120" fmla="*/ 2147483647 w 535"/>
                    <a:gd name="T121" fmla="*/ 2147483647 h 242"/>
                    <a:gd name="T122" fmla="*/ 2147483647 w 535"/>
                    <a:gd name="T123" fmla="*/ 2147483647 h 242"/>
                    <a:gd name="T124" fmla="*/ 2147483647 w 535"/>
                    <a:gd name="T125" fmla="*/ 2147483647 h 24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35"/>
                    <a:gd name="T190" fmla="*/ 0 h 242"/>
                    <a:gd name="T191" fmla="*/ 535 w 535"/>
                    <a:gd name="T192" fmla="*/ 242 h 24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35" h="242">
                      <a:moveTo>
                        <a:pt x="482" y="49"/>
                      </a:moveTo>
                      <a:lnTo>
                        <a:pt x="482" y="49"/>
                      </a:lnTo>
                      <a:lnTo>
                        <a:pt x="475" y="55"/>
                      </a:lnTo>
                      <a:lnTo>
                        <a:pt x="474" y="58"/>
                      </a:lnTo>
                      <a:lnTo>
                        <a:pt x="474" y="62"/>
                      </a:lnTo>
                      <a:lnTo>
                        <a:pt x="476" y="64"/>
                      </a:lnTo>
                      <a:lnTo>
                        <a:pt x="478" y="65"/>
                      </a:lnTo>
                      <a:lnTo>
                        <a:pt x="478" y="66"/>
                      </a:lnTo>
                      <a:lnTo>
                        <a:pt x="475" y="72"/>
                      </a:lnTo>
                      <a:lnTo>
                        <a:pt x="471" y="76"/>
                      </a:lnTo>
                      <a:lnTo>
                        <a:pt x="469" y="82"/>
                      </a:lnTo>
                      <a:lnTo>
                        <a:pt x="469" y="84"/>
                      </a:lnTo>
                      <a:lnTo>
                        <a:pt x="470" y="88"/>
                      </a:lnTo>
                      <a:lnTo>
                        <a:pt x="473" y="92"/>
                      </a:lnTo>
                      <a:lnTo>
                        <a:pt x="475" y="94"/>
                      </a:lnTo>
                      <a:lnTo>
                        <a:pt x="479" y="95"/>
                      </a:lnTo>
                      <a:lnTo>
                        <a:pt x="483" y="96"/>
                      </a:lnTo>
                      <a:lnTo>
                        <a:pt x="488" y="96"/>
                      </a:lnTo>
                      <a:lnTo>
                        <a:pt x="498" y="95"/>
                      </a:lnTo>
                      <a:lnTo>
                        <a:pt x="508" y="95"/>
                      </a:lnTo>
                      <a:lnTo>
                        <a:pt x="513" y="95"/>
                      </a:lnTo>
                      <a:lnTo>
                        <a:pt x="517" y="96"/>
                      </a:lnTo>
                      <a:lnTo>
                        <a:pt x="525" y="100"/>
                      </a:lnTo>
                      <a:lnTo>
                        <a:pt x="531" y="106"/>
                      </a:lnTo>
                      <a:lnTo>
                        <a:pt x="534" y="109"/>
                      </a:lnTo>
                      <a:lnTo>
                        <a:pt x="535" y="113"/>
                      </a:lnTo>
                      <a:lnTo>
                        <a:pt x="535" y="116"/>
                      </a:lnTo>
                      <a:lnTo>
                        <a:pt x="535" y="120"/>
                      </a:lnTo>
                      <a:lnTo>
                        <a:pt x="532" y="122"/>
                      </a:lnTo>
                      <a:lnTo>
                        <a:pt x="527" y="124"/>
                      </a:lnTo>
                      <a:lnTo>
                        <a:pt x="517" y="127"/>
                      </a:lnTo>
                      <a:lnTo>
                        <a:pt x="509" y="127"/>
                      </a:lnTo>
                      <a:lnTo>
                        <a:pt x="501" y="128"/>
                      </a:lnTo>
                      <a:lnTo>
                        <a:pt x="497" y="128"/>
                      </a:lnTo>
                      <a:lnTo>
                        <a:pt x="494" y="130"/>
                      </a:lnTo>
                      <a:lnTo>
                        <a:pt x="490" y="133"/>
                      </a:lnTo>
                      <a:lnTo>
                        <a:pt x="487" y="136"/>
                      </a:lnTo>
                      <a:lnTo>
                        <a:pt x="485" y="138"/>
                      </a:lnTo>
                      <a:lnTo>
                        <a:pt x="484" y="138"/>
                      </a:lnTo>
                      <a:lnTo>
                        <a:pt x="480" y="138"/>
                      </a:lnTo>
                      <a:lnTo>
                        <a:pt x="473" y="134"/>
                      </a:lnTo>
                      <a:lnTo>
                        <a:pt x="471" y="134"/>
                      </a:lnTo>
                      <a:lnTo>
                        <a:pt x="470" y="136"/>
                      </a:lnTo>
                      <a:lnTo>
                        <a:pt x="468" y="140"/>
                      </a:lnTo>
                      <a:lnTo>
                        <a:pt x="465" y="145"/>
                      </a:lnTo>
                      <a:lnTo>
                        <a:pt x="464" y="149"/>
                      </a:lnTo>
                      <a:lnTo>
                        <a:pt x="462" y="152"/>
                      </a:lnTo>
                      <a:lnTo>
                        <a:pt x="461" y="152"/>
                      </a:lnTo>
                      <a:lnTo>
                        <a:pt x="447" y="155"/>
                      </a:lnTo>
                      <a:lnTo>
                        <a:pt x="443" y="155"/>
                      </a:lnTo>
                      <a:lnTo>
                        <a:pt x="428" y="167"/>
                      </a:lnTo>
                      <a:lnTo>
                        <a:pt x="424" y="170"/>
                      </a:lnTo>
                      <a:lnTo>
                        <a:pt x="421" y="171"/>
                      </a:lnTo>
                      <a:lnTo>
                        <a:pt x="417" y="171"/>
                      </a:lnTo>
                      <a:lnTo>
                        <a:pt x="412" y="170"/>
                      </a:lnTo>
                      <a:lnTo>
                        <a:pt x="404" y="166"/>
                      </a:lnTo>
                      <a:lnTo>
                        <a:pt x="395" y="164"/>
                      </a:lnTo>
                      <a:lnTo>
                        <a:pt x="391" y="162"/>
                      </a:lnTo>
                      <a:lnTo>
                        <a:pt x="389" y="164"/>
                      </a:lnTo>
                      <a:lnTo>
                        <a:pt x="385" y="166"/>
                      </a:lnTo>
                      <a:lnTo>
                        <a:pt x="382" y="170"/>
                      </a:lnTo>
                      <a:lnTo>
                        <a:pt x="380" y="177"/>
                      </a:lnTo>
                      <a:lnTo>
                        <a:pt x="379" y="180"/>
                      </a:lnTo>
                      <a:lnTo>
                        <a:pt x="379" y="184"/>
                      </a:lnTo>
                      <a:lnTo>
                        <a:pt x="380" y="187"/>
                      </a:lnTo>
                      <a:lnTo>
                        <a:pt x="384" y="190"/>
                      </a:lnTo>
                      <a:lnTo>
                        <a:pt x="386" y="191"/>
                      </a:lnTo>
                      <a:lnTo>
                        <a:pt x="389" y="193"/>
                      </a:lnTo>
                      <a:lnTo>
                        <a:pt x="390" y="197"/>
                      </a:lnTo>
                      <a:lnTo>
                        <a:pt x="390" y="199"/>
                      </a:lnTo>
                      <a:lnTo>
                        <a:pt x="390" y="203"/>
                      </a:lnTo>
                      <a:lnTo>
                        <a:pt x="389" y="206"/>
                      </a:lnTo>
                      <a:lnTo>
                        <a:pt x="385" y="211"/>
                      </a:lnTo>
                      <a:lnTo>
                        <a:pt x="379" y="216"/>
                      </a:lnTo>
                      <a:lnTo>
                        <a:pt x="369" y="219"/>
                      </a:lnTo>
                      <a:lnTo>
                        <a:pt x="357" y="222"/>
                      </a:lnTo>
                      <a:lnTo>
                        <a:pt x="346" y="223"/>
                      </a:lnTo>
                      <a:lnTo>
                        <a:pt x="341" y="222"/>
                      </a:lnTo>
                      <a:lnTo>
                        <a:pt x="334" y="221"/>
                      </a:lnTo>
                      <a:lnTo>
                        <a:pt x="330" y="221"/>
                      </a:lnTo>
                      <a:lnTo>
                        <a:pt x="325" y="221"/>
                      </a:lnTo>
                      <a:lnTo>
                        <a:pt x="320" y="223"/>
                      </a:lnTo>
                      <a:lnTo>
                        <a:pt x="316" y="225"/>
                      </a:lnTo>
                      <a:lnTo>
                        <a:pt x="308" y="232"/>
                      </a:lnTo>
                      <a:lnTo>
                        <a:pt x="299" y="238"/>
                      </a:lnTo>
                      <a:lnTo>
                        <a:pt x="291" y="242"/>
                      </a:lnTo>
                      <a:lnTo>
                        <a:pt x="285" y="242"/>
                      </a:lnTo>
                      <a:lnTo>
                        <a:pt x="269" y="242"/>
                      </a:lnTo>
                      <a:lnTo>
                        <a:pt x="262" y="241"/>
                      </a:lnTo>
                      <a:lnTo>
                        <a:pt x="253" y="238"/>
                      </a:lnTo>
                      <a:lnTo>
                        <a:pt x="249" y="236"/>
                      </a:lnTo>
                      <a:lnTo>
                        <a:pt x="244" y="231"/>
                      </a:lnTo>
                      <a:lnTo>
                        <a:pt x="240" y="226"/>
                      </a:lnTo>
                      <a:lnTo>
                        <a:pt x="236" y="224"/>
                      </a:lnTo>
                      <a:lnTo>
                        <a:pt x="234" y="223"/>
                      </a:lnTo>
                      <a:lnTo>
                        <a:pt x="230" y="223"/>
                      </a:lnTo>
                      <a:lnTo>
                        <a:pt x="226" y="224"/>
                      </a:lnTo>
                      <a:lnTo>
                        <a:pt x="220" y="225"/>
                      </a:lnTo>
                      <a:lnTo>
                        <a:pt x="214" y="228"/>
                      </a:lnTo>
                      <a:lnTo>
                        <a:pt x="210" y="229"/>
                      </a:lnTo>
                      <a:lnTo>
                        <a:pt x="207" y="228"/>
                      </a:lnTo>
                      <a:lnTo>
                        <a:pt x="183" y="224"/>
                      </a:lnTo>
                      <a:lnTo>
                        <a:pt x="172" y="222"/>
                      </a:lnTo>
                      <a:lnTo>
                        <a:pt x="159" y="219"/>
                      </a:lnTo>
                      <a:lnTo>
                        <a:pt x="154" y="218"/>
                      </a:lnTo>
                      <a:lnTo>
                        <a:pt x="150" y="217"/>
                      </a:lnTo>
                      <a:lnTo>
                        <a:pt x="146" y="213"/>
                      </a:lnTo>
                      <a:lnTo>
                        <a:pt x="142" y="210"/>
                      </a:lnTo>
                      <a:lnTo>
                        <a:pt x="139" y="205"/>
                      </a:lnTo>
                      <a:lnTo>
                        <a:pt x="135" y="199"/>
                      </a:lnTo>
                      <a:lnTo>
                        <a:pt x="130" y="193"/>
                      </a:lnTo>
                      <a:lnTo>
                        <a:pt x="126" y="187"/>
                      </a:lnTo>
                      <a:lnTo>
                        <a:pt x="122" y="183"/>
                      </a:lnTo>
                      <a:lnTo>
                        <a:pt x="118" y="181"/>
                      </a:lnTo>
                      <a:lnTo>
                        <a:pt x="108" y="179"/>
                      </a:lnTo>
                      <a:lnTo>
                        <a:pt x="101" y="175"/>
                      </a:lnTo>
                      <a:lnTo>
                        <a:pt x="85" y="167"/>
                      </a:lnTo>
                      <a:lnTo>
                        <a:pt x="80" y="165"/>
                      </a:lnTo>
                      <a:lnTo>
                        <a:pt x="78" y="165"/>
                      </a:lnTo>
                      <a:lnTo>
                        <a:pt x="75" y="162"/>
                      </a:lnTo>
                      <a:lnTo>
                        <a:pt x="73" y="159"/>
                      </a:lnTo>
                      <a:lnTo>
                        <a:pt x="70" y="154"/>
                      </a:lnTo>
                      <a:lnTo>
                        <a:pt x="68" y="145"/>
                      </a:lnTo>
                      <a:lnTo>
                        <a:pt x="65" y="134"/>
                      </a:lnTo>
                      <a:lnTo>
                        <a:pt x="62" y="124"/>
                      </a:lnTo>
                      <a:lnTo>
                        <a:pt x="54" y="117"/>
                      </a:lnTo>
                      <a:lnTo>
                        <a:pt x="46" y="110"/>
                      </a:lnTo>
                      <a:lnTo>
                        <a:pt x="41" y="108"/>
                      </a:lnTo>
                      <a:lnTo>
                        <a:pt x="36" y="107"/>
                      </a:lnTo>
                      <a:lnTo>
                        <a:pt x="31" y="106"/>
                      </a:lnTo>
                      <a:lnTo>
                        <a:pt x="24" y="107"/>
                      </a:lnTo>
                      <a:lnTo>
                        <a:pt x="21" y="107"/>
                      </a:lnTo>
                      <a:lnTo>
                        <a:pt x="18" y="104"/>
                      </a:lnTo>
                      <a:lnTo>
                        <a:pt x="14" y="101"/>
                      </a:lnTo>
                      <a:lnTo>
                        <a:pt x="10" y="98"/>
                      </a:lnTo>
                      <a:lnTo>
                        <a:pt x="7" y="96"/>
                      </a:lnTo>
                      <a:lnTo>
                        <a:pt x="4" y="94"/>
                      </a:lnTo>
                      <a:lnTo>
                        <a:pt x="3" y="90"/>
                      </a:lnTo>
                      <a:lnTo>
                        <a:pt x="2" y="85"/>
                      </a:lnTo>
                      <a:lnTo>
                        <a:pt x="0" y="77"/>
                      </a:lnTo>
                      <a:lnTo>
                        <a:pt x="0" y="69"/>
                      </a:lnTo>
                      <a:lnTo>
                        <a:pt x="7" y="65"/>
                      </a:lnTo>
                      <a:lnTo>
                        <a:pt x="13" y="64"/>
                      </a:lnTo>
                      <a:lnTo>
                        <a:pt x="21" y="63"/>
                      </a:lnTo>
                      <a:lnTo>
                        <a:pt x="29" y="62"/>
                      </a:lnTo>
                      <a:lnTo>
                        <a:pt x="31" y="62"/>
                      </a:lnTo>
                      <a:lnTo>
                        <a:pt x="32" y="60"/>
                      </a:lnTo>
                      <a:lnTo>
                        <a:pt x="32" y="57"/>
                      </a:lnTo>
                      <a:lnTo>
                        <a:pt x="28" y="51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33" y="44"/>
                      </a:lnTo>
                      <a:lnTo>
                        <a:pt x="38" y="41"/>
                      </a:lnTo>
                      <a:lnTo>
                        <a:pt x="45" y="39"/>
                      </a:lnTo>
                      <a:lnTo>
                        <a:pt x="50" y="36"/>
                      </a:lnTo>
                      <a:lnTo>
                        <a:pt x="54" y="33"/>
                      </a:lnTo>
                      <a:lnTo>
                        <a:pt x="59" y="31"/>
                      </a:lnTo>
                      <a:lnTo>
                        <a:pt x="64" y="31"/>
                      </a:lnTo>
                      <a:lnTo>
                        <a:pt x="69" y="31"/>
                      </a:lnTo>
                      <a:lnTo>
                        <a:pt x="79" y="31"/>
                      </a:lnTo>
                      <a:lnTo>
                        <a:pt x="90" y="33"/>
                      </a:lnTo>
                      <a:lnTo>
                        <a:pt x="92" y="32"/>
                      </a:lnTo>
                      <a:lnTo>
                        <a:pt x="93" y="30"/>
                      </a:lnTo>
                      <a:lnTo>
                        <a:pt x="94" y="28"/>
                      </a:lnTo>
                      <a:lnTo>
                        <a:pt x="97" y="27"/>
                      </a:lnTo>
                      <a:lnTo>
                        <a:pt x="99" y="28"/>
                      </a:lnTo>
                      <a:lnTo>
                        <a:pt x="102" y="30"/>
                      </a:lnTo>
                      <a:lnTo>
                        <a:pt x="103" y="32"/>
                      </a:lnTo>
                      <a:lnTo>
                        <a:pt x="104" y="33"/>
                      </a:lnTo>
                      <a:lnTo>
                        <a:pt x="111" y="36"/>
                      </a:lnTo>
                      <a:lnTo>
                        <a:pt x="115" y="39"/>
                      </a:lnTo>
                      <a:lnTo>
                        <a:pt x="120" y="43"/>
                      </a:lnTo>
                      <a:lnTo>
                        <a:pt x="123" y="46"/>
                      </a:lnTo>
                      <a:lnTo>
                        <a:pt x="127" y="46"/>
                      </a:lnTo>
                      <a:lnTo>
                        <a:pt x="130" y="46"/>
                      </a:lnTo>
                      <a:lnTo>
                        <a:pt x="136" y="45"/>
                      </a:lnTo>
                      <a:lnTo>
                        <a:pt x="140" y="45"/>
                      </a:lnTo>
                      <a:lnTo>
                        <a:pt x="144" y="46"/>
                      </a:lnTo>
                      <a:lnTo>
                        <a:pt x="148" y="47"/>
                      </a:lnTo>
                      <a:lnTo>
                        <a:pt x="150" y="49"/>
                      </a:lnTo>
                      <a:lnTo>
                        <a:pt x="165" y="47"/>
                      </a:lnTo>
                      <a:lnTo>
                        <a:pt x="173" y="46"/>
                      </a:lnTo>
                      <a:lnTo>
                        <a:pt x="181" y="47"/>
                      </a:lnTo>
                      <a:lnTo>
                        <a:pt x="183" y="46"/>
                      </a:lnTo>
                      <a:lnTo>
                        <a:pt x="186" y="45"/>
                      </a:lnTo>
                      <a:lnTo>
                        <a:pt x="187" y="41"/>
                      </a:lnTo>
                      <a:lnTo>
                        <a:pt x="187" y="38"/>
                      </a:lnTo>
                      <a:lnTo>
                        <a:pt x="182" y="32"/>
                      </a:lnTo>
                      <a:lnTo>
                        <a:pt x="178" y="25"/>
                      </a:lnTo>
                      <a:lnTo>
                        <a:pt x="177" y="19"/>
                      </a:lnTo>
                      <a:lnTo>
                        <a:pt x="177" y="15"/>
                      </a:lnTo>
                      <a:lnTo>
                        <a:pt x="178" y="13"/>
                      </a:lnTo>
                      <a:lnTo>
                        <a:pt x="182" y="9"/>
                      </a:lnTo>
                      <a:lnTo>
                        <a:pt x="187" y="7"/>
                      </a:lnTo>
                      <a:lnTo>
                        <a:pt x="198" y="1"/>
                      </a:lnTo>
                      <a:lnTo>
                        <a:pt x="201" y="0"/>
                      </a:lnTo>
                      <a:lnTo>
                        <a:pt x="205" y="0"/>
                      </a:lnTo>
                      <a:lnTo>
                        <a:pt x="212" y="1"/>
                      </a:lnTo>
                      <a:lnTo>
                        <a:pt x="220" y="4"/>
                      </a:lnTo>
                      <a:lnTo>
                        <a:pt x="228" y="5"/>
                      </a:lnTo>
                      <a:lnTo>
                        <a:pt x="229" y="6"/>
                      </a:lnTo>
                      <a:lnTo>
                        <a:pt x="231" y="8"/>
                      </a:lnTo>
                      <a:lnTo>
                        <a:pt x="233" y="11"/>
                      </a:lnTo>
                      <a:lnTo>
                        <a:pt x="236" y="12"/>
                      </a:lnTo>
                      <a:lnTo>
                        <a:pt x="236" y="14"/>
                      </a:lnTo>
                      <a:lnTo>
                        <a:pt x="243" y="15"/>
                      </a:lnTo>
                      <a:lnTo>
                        <a:pt x="244" y="18"/>
                      </a:lnTo>
                      <a:lnTo>
                        <a:pt x="245" y="20"/>
                      </a:lnTo>
                      <a:lnTo>
                        <a:pt x="248" y="26"/>
                      </a:lnTo>
                      <a:lnTo>
                        <a:pt x="250" y="32"/>
                      </a:lnTo>
                      <a:lnTo>
                        <a:pt x="254" y="37"/>
                      </a:lnTo>
                      <a:lnTo>
                        <a:pt x="258" y="41"/>
                      </a:lnTo>
                      <a:lnTo>
                        <a:pt x="266" y="46"/>
                      </a:lnTo>
                      <a:lnTo>
                        <a:pt x="272" y="49"/>
                      </a:lnTo>
                      <a:lnTo>
                        <a:pt x="280" y="50"/>
                      </a:lnTo>
                      <a:lnTo>
                        <a:pt x="286" y="49"/>
                      </a:lnTo>
                      <a:lnTo>
                        <a:pt x="290" y="46"/>
                      </a:lnTo>
                      <a:lnTo>
                        <a:pt x="292" y="44"/>
                      </a:lnTo>
                      <a:lnTo>
                        <a:pt x="297" y="41"/>
                      </a:lnTo>
                      <a:lnTo>
                        <a:pt x="300" y="40"/>
                      </a:lnTo>
                      <a:lnTo>
                        <a:pt x="304" y="41"/>
                      </a:lnTo>
                      <a:lnTo>
                        <a:pt x="318" y="47"/>
                      </a:lnTo>
                      <a:lnTo>
                        <a:pt x="322" y="49"/>
                      </a:lnTo>
                      <a:lnTo>
                        <a:pt x="325" y="49"/>
                      </a:lnTo>
                      <a:lnTo>
                        <a:pt x="329" y="49"/>
                      </a:lnTo>
                      <a:lnTo>
                        <a:pt x="333" y="49"/>
                      </a:lnTo>
                      <a:lnTo>
                        <a:pt x="336" y="49"/>
                      </a:lnTo>
                      <a:lnTo>
                        <a:pt x="337" y="51"/>
                      </a:lnTo>
                      <a:lnTo>
                        <a:pt x="338" y="55"/>
                      </a:lnTo>
                      <a:lnTo>
                        <a:pt x="342" y="59"/>
                      </a:lnTo>
                      <a:lnTo>
                        <a:pt x="343" y="63"/>
                      </a:lnTo>
                      <a:lnTo>
                        <a:pt x="346" y="64"/>
                      </a:lnTo>
                      <a:lnTo>
                        <a:pt x="349" y="64"/>
                      </a:lnTo>
                      <a:lnTo>
                        <a:pt x="352" y="64"/>
                      </a:lnTo>
                      <a:lnTo>
                        <a:pt x="356" y="63"/>
                      </a:lnTo>
                      <a:lnTo>
                        <a:pt x="358" y="63"/>
                      </a:lnTo>
                      <a:lnTo>
                        <a:pt x="372" y="65"/>
                      </a:lnTo>
                      <a:lnTo>
                        <a:pt x="385" y="65"/>
                      </a:lnTo>
                      <a:lnTo>
                        <a:pt x="391" y="64"/>
                      </a:lnTo>
                      <a:lnTo>
                        <a:pt x="398" y="63"/>
                      </a:lnTo>
                      <a:lnTo>
                        <a:pt x="404" y="60"/>
                      </a:lnTo>
                      <a:lnTo>
                        <a:pt x="410" y="56"/>
                      </a:lnTo>
                      <a:lnTo>
                        <a:pt x="417" y="52"/>
                      </a:lnTo>
                      <a:lnTo>
                        <a:pt x="423" y="50"/>
                      </a:lnTo>
                      <a:lnTo>
                        <a:pt x="438" y="46"/>
                      </a:lnTo>
                      <a:lnTo>
                        <a:pt x="442" y="45"/>
                      </a:lnTo>
                      <a:lnTo>
                        <a:pt x="447" y="45"/>
                      </a:lnTo>
                      <a:lnTo>
                        <a:pt x="456" y="46"/>
                      </a:lnTo>
                      <a:lnTo>
                        <a:pt x="464" y="49"/>
                      </a:lnTo>
                      <a:lnTo>
                        <a:pt x="468" y="49"/>
                      </a:lnTo>
                      <a:lnTo>
                        <a:pt x="471" y="47"/>
                      </a:lnTo>
                      <a:lnTo>
                        <a:pt x="476" y="47"/>
                      </a:lnTo>
                      <a:lnTo>
                        <a:pt x="482" y="4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" name="Freeform 625">
                  <a:extLst>
                    <a:ext uri="{FF2B5EF4-FFF2-40B4-BE49-F238E27FC236}">
                      <a16:creationId xmlns:a16="http://schemas.microsoft.com/office/drawing/2014/main" id="{1F33D17E-20E7-6740-9861-1144DD3E2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6463" y="3523257"/>
                  <a:ext cx="689620" cy="862765"/>
                </a:xfrm>
                <a:custGeom>
                  <a:avLst/>
                  <a:gdLst>
                    <a:gd name="T0" fmla="*/ 2147483647 w 505"/>
                    <a:gd name="T1" fmla="*/ 2147483647 h 583"/>
                    <a:gd name="T2" fmla="*/ 2147483647 w 505"/>
                    <a:gd name="T3" fmla="*/ 2147483647 h 583"/>
                    <a:gd name="T4" fmla="*/ 2147483647 w 505"/>
                    <a:gd name="T5" fmla="*/ 2147483647 h 583"/>
                    <a:gd name="T6" fmla="*/ 2147483647 w 505"/>
                    <a:gd name="T7" fmla="*/ 2147483647 h 583"/>
                    <a:gd name="T8" fmla="*/ 2147483647 w 505"/>
                    <a:gd name="T9" fmla="*/ 2147483647 h 583"/>
                    <a:gd name="T10" fmla="*/ 2147483647 w 505"/>
                    <a:gd name="T11" fmla="*/ 2147483647 h 583"/>
                    <a:gd name="T12" fmla="*/ 2147483647 w 505"/>
                    <a:gd name="T13" fmla="*/ 2147483647 h 583"/>
                    <a:gd name="T14" fmla="*/ 2147483647 w 505"/>
                    <a:gd name="T15" fmla="*/ 2147483647 h 583"/>
                    <a:gd name="T16" fmla="*/ 2147483647 w 505"/>
                    <a:gd name="T17" fmla="*/ 2147483647 h 583"/>
                    <a:gd name="T18" fmla="*/ 2147483647 w 505"/>
                    <a:gd name="T19" fmla="*/ 2147483647 h 583"/>
                    <a:gd name="T20" fmla="*/ 2147483647 w 505"/>
                    <a:gd name="T21" fmla="*/ 2147483647 h 583"/>
                    <a:gd name="T22" fmla="*/ 2147483647 w 505"/>
                    <a:gd name="T23" fmla="*/ 2147483647 h 583"/>
                    <a:gd name="T24" fmla="*/ 2147483647 w 505"/>
                    <a:gd name="T25" fmla="*/ 2147483647 h 583"/>
                    <a:gd name="T26" fmla="*/ 2147483647 w 505"/>
                    <a:gd name="T27" fmla="*/ 2147483647 h 583"/>
                    <a:gd name="T28" fmla="*/ 2147483647 w 505"/>
                    <a:gd name="T29" fmla="*/ 2147483647 h 583"/>
                    <a:gd name="T30" fmla="*/ 2147483647 w 505"/>
                    <a:gd name="T31" fmla="*/ 2147483647 h 583"/>
                    <a:gd name="T32" fmla="*/ 2147483647 w 505"/>
                    <a:gd name="T33" fmla="*/ 2147483647 h 583"/>
                    <a:gd name="T34" fmla="*/ 2147483647 w 505"/>
                    <a:gd name="T35" fmla="*/ 2147483647 h 583"/>
                    <a:gd name="T36" fmla="*/ 2147483647 w 505"/>
                    <a:gd name="T37" fmla="*/ 2147483647 h 583"/>
                    <a:gd name="T38" fmla="*/ 2147483647 w 505"/>
                    <a:gd name="T39" fmla="*/ 2147483647 h 583"/>
                    <a:gd name="T40" fmla="*/ 2147483647 w 505"/>
                    <a:gd name="T41" fmla="*/ 2147483647 h 583"/>
                    <a:gd name="T42" fmla="*/ 2147483647 w 505"/>
                    <a:gd name="T43" fmla="*/ 2147483647 h 583"/>
                    <a:gd name="T44" fmla="*/ 2147483647 w 505"/>
                    <a:gd name="T45" fmla="*/ 2147483647 h 583"/>
                    <a:gd name="T46" fmla="*/ 2147483647 w 505"/>
                    <a:gd name="T47" fmla="*/ 2147483647 h 583"/>
                    <a:gd name="T48" fmla="*/ 2147483647 w 505"/>
                    <a:gd name="T49" fmla="*/ 2147483647 h 583"/>
                    <a:gd name="T50" fmla="*/ 2147483647 w 505"/>
                    <a:gd name="T51" fmla="*/ 2147483647 h 583"/>
                    <a:gd name="T52" fmla="*/ 2147483647 w 505"/>
                    <a:gd name="T53" fmla="*/ 2147483647 h 583"/>
                    <a:gd name="T54" fmla="*/ 2147483647 w 505"/>
                    <a:gd name="T55" fmla="*/ 2147483647 h 583"/>
                    <a:gd name="T56" fmla="*/ 2147483647 w 505"/>
                    <a:gd name="T57" fmla="*/ 2147483647 h 583"/>
                    <a:gd name="T58" fmla="*/ 2147483647 w 505"/>
                    <a:gd name="T59" fmla="*/ 2147483647 h 583"/>
                    <a:gd name="T60" fmla="*/ 2147483647 w 505"/>
                    <a:gd name="T61" fmla="*/ 2147483647 h 583"/>
                    <a:gd name="T62" fmla="*/ 2147483647 w 505"/>
                    <a:gd name="T63" fmla="*/ 2147483647 h 583"/>
                    <a:gd name="T64" fmla="*/ 2147483647 w 505"/>
                    <a:gd name="T65" fmla="*/ 2147483647 h 583"/>
                    <a:gd name="T66" fmla="*/ 2147483647 w 505"/>
                    <a:gd name="T67" fmla="*/ 2147483647 h 583"/>
                    <a:gd name="T68" fmla="*/ 2147483647 w 505"/>
                    <a:gd name="T69" fmla="*/ 2147483647 h 583"/>
                    <a:gd name="T70" fmla="*/ 2147483647 w 505"/>
                    <a:gd name="T71" fmla="*/ 2147483647 h 583"/>
                    <a:gd name="T72" fmla="*/ 2147483647 w 505"/>
                    <a:gd name="T73" fmla="*/ 2147483647 h 583"/>
                    <a:gd name="T74" fmla="*/ 2147483647 w 505"/>
                    <a:gd name="T75" fmla="*/ 2147483647 h 583"/>
                    <a:gd name="T76" fmla="*/ 2147483647 w 505"/>
                    <a:gd name="T77" fmla="*/ 2147483647 h 583"/>
                    <a:gd name="T78" fmla="*/ 2147483647 w 505"/>
                    <a:gd name="T79" fmla="*/ 2147483647 h 583"/>
                    <a:gd name="T80" fmla="*/ 2147483647 w 505"/>
                    <a:gd name="T81" fmla="*/ 2147483647 h 583"/>
                    <a:gd name="T82" fmla="*/ 2147483647 w 505"/>
                    <a:gd name="T83" fmla="*/ 2147483647 h 583"/>
                    <a:gd name="T84" fmla="*/ 2147483647 w 505"/>
                    <a:gd name="T85" fmla="*/ 2147483647 h 583"/>
                    <a:gd name="T86" fmla="*/ 2147483647 w 505"/>
                    <a:gd name="T87" fmla="*/ 2147483647 h 583"/>
                    <a:gd name="T88" fmla="*/ 2147483647 w 505"/>
                    <a:gd name="T89" fmla="*/ 2147483647 h 583"/>
                    <a:gd name="T90" fmla="*/ 2147483647 w 505"/>
                    <a:gd name="T91" fmla="*/ 2147483647 h 583"/>
                    <a:gd name="T92" fmla="*/ 2147483647 w 505"/>
                    <a:gd name="T93" fmla="*/ 2147483647 h 583"/>
                    <a:gd name="T94" fmla="*/ 2147483647 w 505"/>
                    <a:gd name="T95" fmla="*/ 2147483647 h 583"/>
                    <a:gd name="T96" fmla="*/ 2147483647 w 505"/>
                    <a:gd name="T97" fmla="*/ 2147483647 h 583"/>
                    <a:gd name="T98" fmla="*/ 2147483647 w 505"/>
                    <a:gd name="T99" fmla="*/ 2147483647 h 583"/>
                    <a:gd name="T100" fmla="*/ 2147483647 w 505"/>
                    <a:gd name="T101" fmla="*/ 2147483647 h 583"/>
                    <a:gd name="T102" fmla="*/ 2147483647 w 505"/>
                    <a:gd name="T103" fmla="*/ 2147483647 h 583"/>
                    <a:gd name="T104" fmla="*/ 2147483647 w 505"/>
                    <a:gd name="T105" fmla="*/ 2147483647 h 583"/>
                    <a:gd name="T106" fmla="*/ 2147483647 w 505"/>
                    <a:gd name="T107" fmla="*/ 2147483647 h 583"/>
                    <a:gd name="T108" fmla="*/ 2147483647 w 505"/>
                    <a:gd name="T109" fmla="*/ 2147483647 h 583"/>
                    <a:gd name="T110" fmla="*/ 2147483647 w 505"/>
                    <a:gd name="T111" fmla="*/ 2147483647 h 583"/>
                    <a:gd name="T112" fmla="*/ 2147483647 w 505"/>
                    <a:gd name="T113" fmla="*/ 0 h 583"/>
                    <a:gd name="T114" fmla="*/ 2147483647 w 505"/>
                    <a:gd name="T115" fmla="*/ 2147483647 h 583"/>
                    <a:gd name="T116" fmla="*/ 2147483647 w 505"/>
                    <a:gd name="T117" fmla="*/ 2147483647 h 583"/>
                    <a:gd name="T118" fmla="*/ 2147483647 w 505"/>
                    <a:gd name="T119" fmla="*/ 2147483647 h 583"/>
                    <a:gd name="T120" fmla="*/ 2147483647 w 505"/>
                    <a:gd name="T121" fmla="*/ 2147483647 h 583"/>
                    <a:gd name="T122" fmla="*/ 2147483647 w 505"/>
                    <a:gd name="T123" fmla="*/ 2147483647 h 583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05"/>
                    <a:gd name="T187" fmla="*/ 0 h 583"/>
                    <a:gd name="T188" fmla="*/ 505 w 505"/>
                    <a:gd name="T189" fmla="*/ 583 h 583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05" h="583">
                      <a:moveTo>
                        <a:pt x="227" y="134"/>
                      </a:moveTo>
                      <a:lnTo>
                        <a:pt x="227" y="134"/>
                      </a:lnTo>
                      <a:lnTo>
                        <a:pt x="230" y="135"/>
                      </a:lnTo>
                      <a:lnTo>
                        <a:pt x="234" y="135"/>
                      </a:lnTo>
                      <a:lnTo>
                        <a:pt x="240" y="133"/>
                      </a:lnTo>
                      <a:lnTo>
                        <a:pt x="242" y="131"/>
                      </a:lnTo>
                      <a:lnTo>
                        <a:pt x="245" y="131"/>
                      </a:lnTo>
                      <a:lnTo>
                        <a:pt x="251" y="135"/>
                      </a:lnTo>
                      <a:lnTo>
                        <a:pt x="258" y="140"/>
                      </a:lnTo>
                      <a:lnTo>
                        <a:pt x="263" y="144"/>
                      </a:lnTo>
                      <a:lnTo>
                        <a:pt x="264" y="147"/>
                      </a:lnTo>
                      <a:lnTo>
                        <a:pt x="267" y="149"/>
                      </a:lnTo>
                      <a:lnTo>
                        <a:pt x="270" y="150"/>
                      </a:lnTo>
                      <a:lnTo>
                        <a:pt x="274" y="150"/>
                      </a:lnTo>
                      <a:lnTo>
                        <a:pt x="279" y="152"/>
                      </a:lnTo>
                      <a:lnTo>
                        <a:pt x="281" y="153"/>
                      </a:lnTo>
                      <a:lnTo>
                        <a:pt x="282" y="154"/>
                      </a:lnTo>
                      <a:lnTo>
                        <a:pt x="281" y="157"/>
                      </a:lnTo>
                      <a:lnTo>
                        <a:pt x="281" y="159"/>
                      </a:lnTo>
                      <a:lnTo>
                        <a:pt x="283" y="159"/>
                      </a:lnTo>
                      <a:lnTo>
                        <a:pt x="286" y="159"/>
                      </a:lnTo>
                      <a:lnTo>
                        <a:pt x="289" y="159"/>
                      </a:lnTo>
                      <a:lnTo>
                        <a:pt x="293" y="160"/>
                      </a:lnTo>
                      <a:lnTo>
                        <a:pt x="298" y="165"/>
                      </a:lnTo>
                      <a:lnTo>
                        <a:pt x="302" y="171"/>
                      </a:lnTo>
                      <a:lnTo>
                        <a:pt x="307" y="174"/>
                      </a:lnTo>
                      <a:lnTo>
                        <a:pt x="314" y="178"/>
                      </a:lnTo>
                      <a:lnTo>
                        <a:pt x="316" y="178"/>
                      </a:lnTo>
                      <a:lnTo>
                        <a:pt x="319" y="178"/>
                      </a:lnTo>
                      <a:lnTo>
                        <a:pt x="322" y="175"/>
                      </a:lnTo>
                      <a:lnTo>
                        <a:pt x="326" y="173"/>
                      </a:lnTo>
                      <a:lnTo>
                        <a:pt x="327" y="173"/>
                      </a:lnTo>
                      <a:lnTo>
                        <a:pt x="330" y="173"/>
                      </a:lnTo>
                      <a:lnTo>
                        <a:pt x="339" y="178"/>
                      </a:lnTo>
                      <a:lnTo>
                        <a:pt x="343" y="179"/>
                      </a:lnTo>
                      <a:lnTo>
                        <a:pt x="348" y="180"/>
                      </a:lnTo>
                      <a:lnTo>
                        <a:pt x="350" y="179"/>
                      </a:lnTo>
                      <a:lnTo>
                        <a:pt x="353" y="178"/>
                      </a:lnTo>
                      <a:lnTo>
                        <a:pt x="354" y="176"/>
                      </a:lnTo>
                      <a:lnTo>
                        <a:pt x="357" y="178"/>
                      </a:lnTo>
                      <a:lnTo>
                        <a:pt x="362" y="181"/>
                      </a:lnTo>
                      <a:lnTo>
                        <a:pt x="366" y="186"/>
                      </a:lnTo>
                      <a:lnTo>
                        <a:pt x="368" y="182"/>
                      </a:lnTo>
                      <a:lnTo>
                        <a:pt x="369" y="180"/>
                      </a:lnTo>
                      <a:lnTo>
                        <a:pt x="371" y="178"/>
                      </a:lnTo>
                      <a:lnTo>
                        <a:pt x="373" y="178"/>
                      </a:lnTo>
                      <a:lnTo>
                        <a:pt x="385" y="176"/>
                      </a:lnTo>
                      <a:lnTo>
                        <a:pt x="395" y="174"/>
                      </a:lnTo>
                      <a:lnTo>
                        <a:pt x="399" y="174"/>
                      </a:lnTo>
                      <a:lnTo>
                        <a:pt x="402" y="175"/>
                      </a:lnTo>
                      <a:lnTo>
                        <a:pt x="405" y="176"/>
                      </a:lnTo>
                      <a:lnTo>
                        <a:pt x="407" y="178"/>
                      </a:lnTo>
                      <a:lnTo>
                        <a:pt x="413" y="178"/>
                      </a:lnTo>
                      <a:lnTo>
                        <a:pt x="419" y="175"/>
                      </a:lnTo>
                      <a:lnTo>
                        <a:pt x="434" y="167"/>
                      </a:lnTo>
                      <a:lnTo>
                        <a:pt x="451" y="159"/>
                      </a:lnTo>
                      <a:lnTo>
                        <a:pt x="463" y="154"/>
                      </a:lnTo>
                      <a:lnTo>
                        <a:pt x="472" y="152"/>
                      </a:lnTo>
                      <a:lnTo>
                        <a:pt x="481" y="152"/>
                      </a:lnTo>
                      <a:lnTo>
                        <a:pt x="489" y="153"/>
                      </a:lnTo>
                      <a:lnTo>
                        <a:pt x="493" y="154"/>
                      </a:lnTo>
                      <a:lnTo>
                        <a:pt x="496" y="156"/>
                      </a:lnTo>
                      <a:lnTo>
                        <a:pt x="498" y="159"/>
                      </a:lnTo>
                      <a:lnTo>
                        <a:pt x="496" y="162"/>
                      </a:lnTo>
                      <a:lnTo>
                        <a:pt x="495" y="165"/>
                      </a:lnTo>
                      <a:lnTo>
                        <a:pt x="495" y="167"/>
                      </a:lnTo>
                      <a:lnTo>
                        <a:pt x="496" y="169"/>
                      </a:lnTo>
                      <a:lnTo>
                        <a:pt x="499" y="171"/>
                      </a:lnTo>
                      <a:lnTo>
                        <a:pt x="505" y="169"/>
                      </a:lnTo>
                      <a:lnTo>
                        <a:pt x="505" y="172"/>
                      </a:lnTo>
                      <a:lnTo>
                        <a:pt x="504" y="173"/>
                      </a:lnTo>
                      <a:lnTo>
                        <a:pt x="503" y="175"/>
                      </a:lnTo>
                      <a:lnTo>
                        <a:pt x="501" y="176"/>
                      </a:lnTo>
                      <a:lnTo>
                        <a:pt x="500" y="182"/>
                      </a:lnTo>
                      <a:lnTo>
                        <a:pt x="496" y="187"/>
                      </a:lnTo>
                      <a:lnTo>
                        <a:pt x="493" y="191"/>
                      </a:lnTo>
                      <a:lnTo>
                        <a:pt x="486" y="193"/>
                      </a:lnTo>
                      <a:lnTo>
                        <a:pt x="484" y="194"/>
                      </a:lnTo>
                      <a:lnTo>
                        <a:pt x="482" y="198"/>
                      </a:lnTo>
                      <a:lnTo>
                        <a:pt x="481" y="204"/>
                      </a:lnTo>
                      <a:lnTo>
                        <a:pt x="479" y="210"/>
                      </a:lnTo>
                      <a:lnTo>
                        <a:pt x="476" y="216"/>
                      </a:lnTo>
                      <a:lnTo>
                        <a:pt x="474" y="221"/>
                      </a:lnTo>
                      <a:lnTo>
                        <a:pt x="465" y="232"/>
                      </a:lnTo>
                      <a:lnTo>
                        <a:pt x="456" y="240"/>
                      </a:lnTo>
                      <a:lnTo>
                        <a:pt x="453" y="244"/>
                      </a:lnTo>
                      <a:lnTo>
                        <a:pt x="452" y="246"/>
                      </a:lnTo>
                      <a:lnTo>
                        <a:pt x="452" y="255"/>
                      </a:lnTo>
                      <a:lnTo>
                        <a:pt x="451" y="261"/>
                      </a:lnTo>
                      <a:lnTo>
                        <a:pt x="449" y="263"/>
                      </a:lnTo>
                      <a:lnTo>
                        <a:pt x="447" y="264"/>
                      </a:lnTo>
                      <a:lnTo>
                        <a:pt x="443" y="267"/>
                      </a:lnTo>
                      <a:lnTo>
                        <a:pt x="438" y="268"/>
                      </a:lnTo>
                      <a:lnTo>
                        <a:pt x="435" y="268"/>
                      </a:lnTo>
                      <a:lnTo>
                        <a:pt x="434" y="269"/>
                      </a:lnTo>
                      <a:lnTo>
                        <a:pt x="430" y="274"/>
                      </a:lnTo>
                      <a:lnTo>
                        <a:pt x="429" y="280"/>
                      </a:lnTo>
                      <a:lnTo>
                        <a:pt x="428" y="284"/>
                      </a:lnTo>
                      <a:lnTo>
                        <a:pt x="428" y="290"/>
                      </a:lnTo>
                      <a:lnTo>
                        <a:pt x="427" y="296"/>
                      </a:lnTo>
                      <a:lnTo>
                        <a:pt x="425" y="299"/>
                      </a:lnTo>
                      <a:lnTo>
                        <a:pt x="423" y="300"/>
                      </a:lnTo>
                      <a:lnTo>
                        <a:pt x="420" y="302"/>
                      </a:lnTo>
                      <a:lnTo>
                        <a:pt x="416" y="302"/>
                      </a:lnTo>
                      <a:lnTo>
                        <a:pt x="416" y="301"/>
                      </a:lnTo>
                      <a:lnTo>
                        <a:pt x="419" y="295"/>
                      </a:lnTo>
                      <a:lnTo>
                        <a:pt x="419" y="288"/>
                      </a:lnTo>
                      <a:lnTo>
                        <a:pt x="418" y="282"/>
                      </a:lnTo>
                      <a:lnTo>
                        <a:pt x="416" y="276"/>
                      </a:lnTo>
                      <a:lnTo>
                        <a:pt x="413" y="274"/>
                      </a:lnTo>
                      <a:lnTo>
                        <a:pt x="409" y="272"/>
                      </a:lnTo>
                      <a:lnTo>
                        <a:pt x="406" y="271"/>
                      </a:lnTo>
                      <a:lnTo>
                        <a:pt x="405" y="269"/>
                      </a:lnTo>
                      <a:lnTo>
                        <a:pt x="406" y="267"/>
                      </a:lnTo>
                      <a:lnTo>
                        <a:pt x="407" y="264"/>
                      </a:lnTo>
                      <a:lnTo>
                        <a:pt x="410" y="261"/>
                      </a:lnTo>
                      <a:lnTo>
                        <a:pt x="416" y="257"/>
                      </a:lnTo>
                      <a:lnTo>
                        <a:pt x="423" y="252"/>
                      </a:lnTo>
                      <a:lnTo>
                        <a:pt x="425" y="249"/>
                      </a:lnTo>
                      <a:lnTo>
                        <a:pt x="427" y="246"/>
                      </a:lnTo>
                      <a:lnTo>
                        <a:pt x="428" y="242"/>
                      </a:lnTo>
                      <a:lnTo>
                        <a:pt x="429" y="237"/>
                      </a:lnTo>
                      <a:lnTo>
                        <a:pt x="428" y="232"/>
                      </a:lnTo>
                      <a:lnTo>
                        <a:pt x="427" y="231"/>
                      </a:lnTo>
                      <a:lnTo>
                        <a:pt x="424" y="231"/>
                      </a:lnTo>
                      <a:lnTo>
                        <a:pt x="409" y="231"/>
                      </a:lnTo>
                      <a:lnTo>
                        <a:pt x="400" y="231"/>
                      </a:lnTo>
                      <a:lnTo>
                        <a:pt x="392" y="230"/>
                      </a:lnTo>
                      <a:lnTo>
                        <a:pt x="386" y="227"/>
                      </a:lnTo>
                      <a:lnTo>
                        <a:pt x="380" y="223"/>
                      </a:lnTo>
                      <a:lnTo>
                        <a:pt x="374" y="218"/>
                      </a:lnTo>
                      <a:lnTo>
                        <a:pt x="372" y="210"/>
                      </a:lnTo>
                      <a:lnTo>
                        <a:pt x="369" y="208"/>
                      </a:lnTo>
                      <a:lnTo>
                        <a:pt x="362" y="210"/>
                      </a:lnTo>
                      <a:lnTo>
                        <a:pt x="359" y="208"/>
                      </a:lnTo>
                      <a:lnTo>
                        <a:pt x="355" y="207"/>
                      </a:lnTo>
                      <a:lnTo>
                        <a:pt x="354" y="207"/>
                      </a:lnTo>
                      <a:lnTo>
                        <a:pt x="353" y="208"/>
                      </a:lnTo>
                      <a:lnTo>
                        <a:pt x="349" y="214"/>
                      </a:lnTo>
                      <a:lnTo>
                        <a:pt x="348" y="218"/>
                      </a:lnTo>
                      <a:lnTo>
                        <a:pt x="344" y="220"/>
                      </a:lnTo>
                      <a:lnTo>
                        <a:pt x="345" y="221"/>
                      </a:lnTo>
                      <a:lnTo>
                        <a:pt x="349" y="223"/>
                      </a:lnTo>
                      <a:lnTo>
                        <a:pt x="353" y="223"/>
                      </a:lnTo>
                      <a:lnTo>
                        <a:pt x="355" y="224"/>
                      </a:lnTo>
                      <a:lnTo>
                        <a:pt x="355" y="225"/>
                      </a:lnTo>
                      <a:lnTo>
                        <a:pt x="355" y="226"/>
                      </a:lnTo>
                      <a:lnTo>
                        <a:pt x="350" y="232"/>
                      </a:lnTo>
                      <a:lnTo>
                        <a:pt x="347" y="238"/>
                      </a:lnTo>
                      <a:lnTo>
                        <a:pt x="345" y="242"/>
                      </a:lnTo>
                      <a:lnTo>
                        <a:pt x="344" y="245"/>
                      </a:lnTo>
                      <a:lnTo>
                        <a:pt x="345" y="249"/>
                      </a:lnTo>
                      <a:lnTo>
                        <a:pt x="347" y="253"/>
                      </a:lnTo>
                      <a:lnTo>
                        <a:pt x="348" y="257"/>
                      </a:lnTo>
                      <a:lnTo>
                        <a:pt x="348" y="262"/>
                      </a:lnTo>
                      <a:lnTo>
                        <a:pt x="348" y="271"/>
                      </a:lnTo>
                      <a:lnTo>
                        <a:pt x="347" y="280"/>
                      </a:lnTo>
                      <a:lnTo>
                        <a:pt x="347" y="289"/>
                      </a:lnTo>
                      <a:lnTo>
                        <a:pt x="345" y="293"/>
                      </a:lnTo>
                      <a:lnTo>
                        <a:pt x="344" y="296"/>
                      </a:lnTo>
                      <a:lnTo>
                        <a:pt x="343" y="303"/>
                      </a:lnTo>
                      <a:lnTo>
                        <a:pt x="341" y="310"/>
                      </a:lnTo>
                      <a:lnTo>
                        <a:pt x="335" y="315"/>
                      </a:lnTo>
                      <a:lnTo>
                        <a:pt x="331" y="318"/>
                      </a:lnTo>
                      <a:lnTo>
                        <a:pt x="327" y="319"/>
                      </a:lnTo>
                      <a:lnTo>
                        <a:pt x="326" y="320"/>
                      </a:lnTo>
                      <a:lnTo>
                        <a:pt x="325" y="321"/>
                      </a:lnTo>
                      <a:lnTo>
                        <a:pt x="324" y="323"/>
                      </a:lnTo>
                      <a:lnTo>
                        <a:pt x="324" y="326"/>
                      </a:lnTo>
                      <a:lnTo>
                        <a:pt x="322" y="332"/>
                      </a:lnTo>
                      <a:lnTo>
                        <a:pt x="320" y="339"/>
                      </a:lnTo>
                      <a:lnTo>
                        <a:pt x="317" y="345"/>
                      </a:lnTo>
                      <a:lnTo>
                        <a:pt x="312" y="348"/>
                      </a:lnTo>
                      <a:lnTo>
                        <a:pt x="308" y="352"/>
                      </a:lnTo>
                      <a:lnTo>
                        <a:pt x="303" y="354"/>
                      </a:lnTo>
                      <a:lnTo>
                        <a:pt x="300" y="357"/>
                      </a:lnTo>
                      <a:lnTo>
                        <a:pt x="291" y="368"/>
                      </a:lnTo>
                      <a:lnTo>
                        <a:pt x="281" y="379"/>
                      </a:lnTo>
                      <a:lnTo>
                        <a:pt x="270" y="390"/>
                      </a:lnTo>
                      <a:lnTo>
                        <a:pt x="264" y="393"/>
                      </a:lnTo>
                      <a:lnTo>
                        <a:pt x="258" y="397"/>
                      </a:lnTo>
                      <a:lnTo>
                        <a:pt x="254" y="401"/>
                      </a:lnTo>
                      <a:lnTo>
                        <a:pt x="253" y="404"/>
                      </a:lnTo>
                      <a:lnTo>
                        <a:pt x="253" y="409"/>
                      </a:lnTo>
                      <a:lnTo>
                        <a:pt x="255" y="412"/>
                      </a:lnTo>
                      <a:lnTo>
                        <a:pt x="256" y="415"/>
                      </a:lnTo>
                      <a:lnTo>
                        <a:pt x="256" y="417"/>
                      </a:lnTo>
                      <a:lnTo>
                        <a:pt x="255" y="418"/>
                      </a:lnTo>
                      <a:lnTo>
                        <a:pt x="254" y="419"/>
                      </a:lnTo>
                      <a:lnTo>
                        <a:pt x="241" y="427"/>
                      </a:lnTo>
                      <a:lnTo>
                        <a:pt x="228" y="434"/>
                      </a:lnTo>
                      <a:lnTo>
                        <a:pt x="226" y="435"/>
                      </a:lnTo>
                      <a:lnTo>
                        <a:pt x="222" y="436"/>
                      </a:lnTo>
                      <a:lnTo>
                        <a:pt x="218" y="437"/>
                      </a:lnTo>
                      <a:lnTo>
                        <a:pt x="216" y="440"/>
                      </a:lnTo>
                      <a:lnTo>
                        <a:pt x="214" y="442"/>
                      </a:lnTo>
                      <a:lnTo>
                        <a:pt x="214" y="443"/>
                      </a:lnTo>
                      <a:lnTo>
                        <a:pt x="216" y="447"/>
                      </a:lnTo>
                      <a:lnTo>
                        <a:pt x="214" y="453"/>
                      </a:lnTo>
                      <a:lnTo>
                        <a:pt x="213" y="459"/>
                      </a:lnTo>
                      <a:lnTo>
                        <a:pt x="212" y="465"/>
                      </a:lnTo>
                      <a:lnTo>
                        <a:pt x="213" y="470"/>
                      </a:lnTo>
                      <a:lnTo>
                        <a:pt x="212" y="472"/>
                      </a:lnTo>
                      <a:lnTo>
                        <a:pt x="211" y="473"/>
                      </a:lnTo>
                      <a:lnTo>
                        <a:pt x="212" y="476"/>
                      </a:lnTo>
                      <a:lnTo>
                        <a:pt x="213" y="480"/>
                      </a:lnTo>
                      <a:lnTo>
                        <a:pt x="214" y="483"/>
                      </a:lnTo>
                      <a:lnTo>
                        <a:pt x="214" y="487"/>
                      </a:lnTo>
                      <a:lnTo>
                        <a:pt x="213" y="493"/>
                      </a:lnTo>
                      <a:lnTo>
                        <a:pt x="209" y="499"/>
                      </a:lnTo>
                      <a:lnTo>
                        <a:pt x="204" y="512"/>
                      </a:lnTo>
                      <a:lnTo>
                        <a:pt x="203" y="518"/>
                      </a:lnTo>
                      <a:lnTo>
                        <a:pt x="202" y="524"/>
                      </a:lnTo>
                      <a:lnTo>
                        <a:pt x="203" y="530"/>
                      </a:lnTo>
                      <a:lnTo>
                        <a:pt x="206" y="537"/>
                      </a:lnTo>
                      <a:lnTo>
                        <a:pt x="206" y="538"/>
                      </a:lnTo>
                      <a:lnTo>
                        <a:pt x="206" y="539"/>
                      </a:lnTo>
                      <a:lnTo>
                        <a:pt x="202" y="540"/>
                      </a:lnTo>
                      <a:lnTo>
                        <a:pt x="198" y="542"/>
                      </a:lnTo>
                      <a:lnTo>
                        <a:pt x="194" y="543"/>
                      </a:lnTo>
                      <a:lnTo>
                        <a:pt x="193" y="545"/>
                      </a:lnTo>
                      <a:lnTo>
                        <a:pt x="192" y="549"/>
                      </a:lnTo>
                      <a:lnTo>
                        <a:pt x="190" y="555"/>
                      </a:lnTo>
                      <a:lnTo>
                        <a:pt x="188" y="562"/>
                      </a:lnTo>
                      <a:lnTo>
                        <a:pt x="187" y="563"/>
                      </a:lnTo>
                      <a:lnTo>
                        <a:pt x="184" y="563"/>
                      </a:lnTo>
                      <a:lnTo>
                        <a:pt x="181" y="563"/>
                      </a:lnTo>
                      <a:lnTo>
                        <a:pt x="179" y="565"/>
                      </a:lnTo>
                      <a:lnTo>
                        <a:pt x="176" y="569"/>
                      </a:lnTo>
                      <a:lnTo>
                        <a:pt x="174" y="574"/>
                      </a:lnTo>
                      <a:lnTo>
                        <a:pt x="171" y="578"/>
                      </a:lnTo>
                      <a:lnTo>
                        <a:pt x="166" y="582"/>
                      </a:lnTo>
                      <a:lnTo>
                        <a:pt x="162" y="583"/>
                      </a:lnTo>
                      <a:lnTo>
                        <a:pt x="160" y="582"/>
                      </a:lnTo>
                      <a:lnTo>
                        <a:pt x="156" y="580"/>
                      </a:lnTo>
                      <a:lnTo>
                        <a:pt x="154" y="577"/>
                      </a:lnTo>
                      <a:lnTo>
                        <a:pt x="151" y="572"/>
                      </a:lnTo>
                      <a:lnTo>
                        <a:pt x="148" y="566"/>
                      </a:lnTo>
                      <a:lnTo>
                        <a:pt x="146" y="562"/>
                      </a:lnTo>
                      <a:lnTo>
                        <a:pt x="143" y="557"/>
                      </a:lnTo>
                      <a:lnTo>
                        <a:pt x="143" y="552"/>
                      </a:lnTo>
                      <a:lnTo>
                        <a:pt x="143" y="548"/>
                      </a:lnTo>
                      <a:lnTo>
                        <a:pt x="142" y="542"/>
                      </a:lnTo>
                      <a:lnTo>
                        <a:pt x="141" y="537"/>
                      </a:lnTo>
                      <a:lnTo>
                        <a:pt x="127" y="505"/>
                      </a:lnTo>
                      <a:lnTo>
                        <a:pt x="121" y="488"/>
                      </a:lnTo>
                      <a:lnTo>
                        <a:pt x="114" y="470"/>
                      </a:lnTo>
                      <a:lnTo>
                        <a:pt x="112" y="462"/>
                      </a:lnTo>
                      <a:lnTo>
                        <a:pt x="107" y="455"/>
                      </a:lnTo>
                      <a:lnTo>
                        <a:pt x="104" y="450"/>
                      </a:lnTo>
                      <a:lnTo>
                        <a:pt x="101" y="446"/>
                      </a:lnTo>
                      <a:lnTo>
                        <a:pt x="99" y="434"/>
                      </a:lnTo>
                      <a:lnTo>
                        <a:pt x="98" y="423"/>
                      </a:lnTo>
                      <a:lnTo>
                        <a:pt x="96" y="411"/>
                      </a:lnTo>
                      <a:lnTo>
                        <a:pt x="94" y="405"/>
                      </a:lnTo>
                      <a:lnTo>
                        <a:pt x="91" y="399"/>
                      </a:lnTo>
                      <a:lnTo>
                        <a:pt x="91" y="397"/>
                      </a:lnTo>
                      <a:lnTo>
                        <a:pt x="91" y="392"/>
                      </a:lnTo>
                      <a:lnTo>
                        <a:pt x="85" y="376"/>
                      </a:lnTo>
                      <a:lnTo>
                        <a:pt x="82" y="359"/>
                      </a:lnTo>
                      <a:lnTo>
                        <a:pt x="82" y="351"/>
                      </a:lnTo>
                      <a:lnTo>
                        <a:pt x="82" y="342"/>
                      </a:lnTo>
                      <a:lnTo>
                        <a:pt x="84" y="334"/>
                      </a:lnTo>
                      <a:lnTo>
                        <a:pt x="86" y="326"/>
                      </a:lnTo>
                      <a:lnTo>
                        <a:pt x="86" y="322"/>
                      </a:lnTo>
                      <a:lnTo>
                        <a:pt x="85" y="320"/>
                      </a:lnTo>
                      <a:lnTo>
                        <a:pt x="80" y="315"/>
                      </a:lnTo>
                      <a:lnTo>
                        <a:pt x="80" y="313"/>
                      </a:lnTo>
                      <a:lnTo>
                        <a:pt x="80" y="310"/>
                      </a:lnTo>
                      <a:lnTo>
                        <a:pt x="82" y="303"/>
                      </a:lnTo>
                      <a:lnTo>
                        <a:pt x="84" y="300"/>
                      </a:lnTo>
                      <a:lnTo>
                        <a:pt x="84" y="296"/>
                      </a:lnTo>
                      <a:lnTo>
                        <a:pt x="81" y="297"/>
                      </a:lnTo>
                      <a:lnTo>
                        <a:pt x="80" y="299"/>
                      </a:lnTo>
                      <a:lnTo>
                        <a:pt x="77" y="308"/>
                      </a:lnTo>
                      <a:lnTo>
                        <a:pt x="72" y="318"/>
                      </a:lnTo>
                      <a:lnTo>
                        <a:pt x="68" y="321"/>
                      </a:lnTo>
                      <a:lnTo>
                        <a:pt x="66" y="323"/>
                      </a:lnTo>
                      <a:lnTo>
                        <a:pt x="61" y="326"/>
                      </a:lnTo>
                      <a:lnTo>
                        <a:pt x="56" y="327"/>
                      </a:lnTo>
                      <a:lnTo>
                        <a:pt x="47" y="327"/>
                      </a:lnTo>
                      <a:lnTo>
                        <a:pt x="41" y="326"/>
                      </a:lnTo>
                      <a:lnTo>
                        <a:pt x="37" y="325"/>
                      </a:lnTo>
                      <a:lnTo>
                        <a:pt x="34" y="321"/>
                      </a:lnTo>
                      <a:lnTo>
                        <a:pt x="32" y="319"/>
                      </a:lnTo>
                      <a:lnTo>
                        <a:pt x="30" y="314"/>
                      </a:lnTo>
                      <a:lnTo>
                        <a:pt x="29" y="313"/>
                      </a:lnTo>
                      <a:lnTo>
                        <a:pt x="27" y="313"/>
                      </a:lnTo>
                      <a:lnTo>
                        <a:pt x="25" y="310"/>
                      </a:lnTo>
                      <a:lnTo>
                        <a:pt x="23" y="308"/>
                      </a:lnTo>
                      <a:lnTo>
                        <a:pt x="21" y="306"/>
                      </a:lnTo>
                      <a:lnTo>
                        <a:pt x="21" y="303"/>
                      </a:lnTo>
                      <a:lnTo>
                        <a:pt x="23" y="300"/>
                      </a:lnTo>
                      <a:lnTo>
                        <a:pt x="25" y="299"/>
                      </a:lnTo>
                      <a:lnTo>
                        <a:pt x="29" y="297"/>
                      </a:lnTo>
                      <a:lnTo>
                        <a:pt x="34" y="297"/>
                      </a:lnTo>
                      <a:lnTo>
                        <a:pt x="38" y="295"/>
                      </a:lnTo>
                      <a:lnTo>
                        <a:pt x="46" y="293"/>
                      </a:lnTo>
                      <a:lnTo>
                        <a:pt x="48" y="290"/>
                      </a:lnTo>
                      <a:lnTo>
                        <a:pt x="51" y="287"/>
                      </a:lnTo>
                      <a:lnTo>
                        <a:pt x="48" y="287"/>
                      </a:lnTo>
                      <a:lnTo>
                        <a:pt x="46" y="286"/>
                      </a:lnTo>
                      <a:lnTo>
                        <a:pt x="41" y="287"/>
                      </a:lnTo>
                      <a:lnTo>
                        <a:pt x="34" y="288"/>
                      </a:lnTo>
                      <a:lnTo>
                        <a:pt x="28" y="289"/>
                      </a:lnTo>
                      <a:lnTo>
                        <a:pt x="25" y="288"/>
                      </a:lnTo>
                      <a:lnTo>
                        <a:pt x="21" y="286"/>
                      </a:lnTo>
                      <a:lnTo>
                        <a:pt x="18" y="283"/>
                      </a:lnTo>
                      <a:lnTo>
                        <a:pt x="15" y="282"/>
                      </a:lnTo>
                      <a:lnTo>
                        <a:pt x="9" y="282"/>
                      </a:lnTo>
                      <a:lnTo>
                        <a:pt x="4" y="282"/>
                      </a:lnTo>
                      <a:lnTo>
                        <a:pt x="1" y="281"/>
                      </a:lnTo>
                      <a:lnTo>
                        <a:pt x="0" y="278"/>
                      </a:lnTo>
                      <a:lnTo>
                        <a:pt x="5" y="276"/>
                      </a:lnTo>
                      <a:lnTo>
                        <a:pt x="10" y="274"/>
                      </a:lnTo>
                      <a:lnTo>
                        <a:pt x="15" y="270"/>
                      </a:lnTo>
                      <a:lnTo>
                        <a:pt x="18" y="265"/>
                      </a:lnTo>
                      <a:lnTo>
                        <a:pt x="19" y="262"/>
                      </a:lnTo>
                      <a:lnTo>
                        <a:pt x="20" y="259"/>
                      </a:lnTo>
                      <a:lnTo>
                        <a:pt x="23" y="257"/>
                      </a:lnTo>
                      <a:lnTo>
                        <a:pt x="25" y="256"/>
                      </a:lnTo>
                      <a:lnTo>
                        <a:pt x="32" y="256"/>
                      </a:lnTo>
                      <a:lnTo>
                        <a:pt x="39" y="257"/>
                      </a:lnTo>
                      <a:lnTo>
                        <a:pt x="53" y="258"/>
                      </a:lnTo>
                      <a:lnTo>
                        <a:pt x="54" y="251"/>
                      </a:lnTo>
                      <a:lnTo>
                        <a:pt x="57" y="245"/>
                      </a:lnTo>
                      <a:lnTo>
                        <a:pt x="57" y="238"/>
                      </a:lnTo>
                      <a:lnTo>
                        <a:pt x="56" y="236"/>
                      </a:lnTo>
                      <a:lnTo>
                        <a:pt x="53" y="233"/>
                      </a:lnTo>
                      <a:lnTo>
                        <a:pt x="48" y="229"/>
                      </a:lnTo>
                      <a:lnTo>
                        <a:pt x="47" y="226"/>
                      </a:lnTo>
                      <a:lnTo>
                        <a:pt x="44" y="224"/>
                      </a:lnTo>
                      <a:lnTo>
                        <a:pt x="44" y="218"/>
                      </a:lnTo>
                      <a:lnTo>
                        <a:pt x="43" y="214"/>
                      </a:lnTo>
                      <a:lnTo>
                        <a:pt x="42" y="212"/>
                      </a:lnTo>
                      <a:lnTo>
                        <a:pt x="41" y="210"/>
                      </a:lnTo>
                      <a:lnTo>
                        <a:pt x="38" y="208"/>
                      </a:lnTo>
                      <a:lnTo>
                        <a:pt x="35" y="207"/>
                      </a:lnTo>
                      <a:lnTo>
                        <a:pt x="33" y="206"/>
                      </a:lnTo>
                      <a:lnTo>
                        <a:pt x="33" y="204"/>
                      </a:lnTo>
                      <a:lnTo>
                        <a:pt x="33" y="203"/>
                      </a:lnTo>
                      <a:lnTo>
                        <a:pt x="35" y="200"/>
                      </a:lnTo>
                      <a:lnTo>
                        <a:pt x="38" y="198"/>
                      </a:lnTo>
                      <a:lnTo>
                        <a:pt x="41" y="195"/>
                      </a:lnTo>
                      <a:lnTo>
                        <a:pt x="44" y="192"/>
                      </a:lnTo>
                      <a:lnTo>
                        <a:pt x="47" y="188"/>
                      </a:lnTo>
                      <a:lnTo>
                        <a:pt x="51" y="187"/>
                      </a:lnTo>
                      <a:lnTo>
                        <a:pt x="54" y="187"/>
                      </a:lnTo>
                      <a:lnTo>
                        <a:pt x="60" y="188"/>
                      </a:lnTo>
                      <a:lnTo>
                        <a:pt x="65" y="187"/>
                      </a:lnTo>
                      <a:lnTo>
                        <a:pt x="67" y="186"/>
                      </a:lnTo>
                      <a:lnTo>
                        <a:pt x="70" y="182"/>
                      </a:lnTo>
                      <a:lnTo>
                        <a:pt x="76" y="173"/>
                      </a:lnTo>
                      <a:lnTo>
                        <a:pt x="82" y="166"/>
                      </a:lnTo>
                      <a:lnTo>
                        <a:pt x="90" y="157"/>
                      </a:lnTo>
                      <a:lnTo>
                        <a:pt x="95" y="149"/>
                      </a:lnTo>
                      <a:lnTo>
                        <a:pt x="101" y="138"/>
                      </a:lnTo>
                      <a:lnTo>
                        <a:pt x="109" y="128"/>
                      </a:lnTo>
                      <a:lnTo>
                        <a:pt x="113" y="124"/>
                      </a:lnTo>
                      <a:lnTo>
                        <a:pt x="115" y="121"/>
                      </a:lnTo>
                      <a:lnTo>
                        <a:pt x="118" y="117"/>
                      </a:lnTo>
                      <a:lnTo>
                        <a:pt x="117" y="112"/>
                      </a:lnTo>
                      <a:lnTo>
                        <a:pt x="115" y="109"/>
                      </a:lnTo>
                      <a:lnTo>
                        <a:pt x="115" y="105"/>
                      </a:lnTo>
                      <a:lnTo>
                        <a:pt x="117" y="102"/>
                      </a:lnTo>
                      <a:lnTo>
                        <a:pt x="119" y="98"/>
                      </a:lnTo>
                      <a:lnTo>
                        <a:pt x="119" y="96"/>
                      </a:lnTo>
                      <a:lnTo>
                        <a:pt x="119" y="93"/>
                      </a:lnTo>
                      <a:lnTo>
                        <a:pt x="114" y="89"/>
                      </a:lnTo>
                      <a:lnTo>
                        <a:pt x="114" y="86"/>
                      </a:lnTo>
                      <a:lnTo>
                        <a:pt x="114" y="83"/>
                      </a:lnTo>
                      <a:lnTo>
                        <a:pt x="117" y="77"/>
                      </a:lnTo>
                      <a:lnTo>
                        <a:pt x="117" y="71"/>
                      </a:lnTo>
                      <a:lnTo>
                        <a:pt x="117" y="65"/>
                      </a:lnTo>
                      <a:lnTo>
                        <a:pt x="114" y="58"/>
                      </a:lnTo>
                      <a:lnTo>
                        <a:pt x="113" y="57"/>
                      </a:lnTo>
                      <a:lnTo>
                        <a:pt x="113" y="54"/>
                      </a:lnTo>
                      <a:lnTo>
                        <a:pt x="114" y="50"/>
                      </a:lnTo>
                      <a:lnTo>
                        <a:pt x="118" y="45"/>
                      </a:lnTo>
                      <a:lnTo>
                        <a:pt x="122" y="41"/>
                      </a:lnTo>
                      <a:lnTo>
                        <a:pt x="124" y="40"/>
                      </a:lnTo>
                      <a:lnTo>
                        <a:pt x="127" y="40"/>
                      </a:lnTo>
                      <a:lnTo>
                        <a:pt x="133" y="41"/>
                      </a:lnTo>
                      <a:lnTo>
                        <a:pt x="138" y="45"/>
                      </a:lnTo>
                      <a:lnTo>
                        <a:pt x="142" y="48"/>
                      </a:lnTo>
                      <a:lnTo>
                        <a:pt x="147" y="51"/>
                      </a:lnTo>
                      <a:lnTo>
                        <a:pt x="152" y="52"/>
                      </a:lnTo>
                      <a:lnTo>
                        <a:pt x="157" y="51"/>
                      </a:lnTo>
                      <a:lnTo>
                        <a:pt x="161" y="48"/>
                      </a:lnTo>
                      <a:lnTo>
                        <a:pt x="167" y="40"/>
                      </a:lnTo>
                      <a:lnTo>
                        <a:pt x="170" y="35"/>
                      </a:lnTo>
                      <a:lnTo>
                        <a:pt x="171" y="31"/>
                      </a:lnTo>
                      <a:lnTo>
                        <a:pt x="173" y="26"/>
                      </a:lnTo>
                      <a:lnTo>
                        <a:pt x="173" y="21"/>
                      </a:lnTo>
                      <a:lnTo>
                        <a:pt x="170" y="18"/>
                      </a:lnTo>
                      <a:lnTo>
                        <a:pt x="166" y="14"/>
                      </a:lnTo>
                      <a:lnTo>
                        <a:pt x="160" y="10"/>
                      </a:lnTo>
                      <a:lnTo>
                        <a:pt x="156" y="7"/>
                      </a:lnTo>
                      <a:lnTo>
                        <a:pt x="154" y="3"/>
                      </a:lnTo>
                      <a:lnTo>
                        <a:pt x="151" y="0"/>
                      </a:lnTo>
                      <a:lnTo>
                        <a:pt x="162" y="5"/>
                      </a:lnTo>
                      <a:lnTo>
                        <a:pt x="174" y="7"/>
                      </a:lnTo>
                      <a:lnTo>
                        <a:pt x="198" y="9"/>
                      </a:lnTo>
                      <a:lnTo>
                        <a:pt x="207" y="9"/>
                      </a:lnTo>
                      <a:lnTo>
                        <a:pt x="209" y="12"/>
                      </a:lnTo>
                      <a:lnTo>
                        <a:pt x="212" y="14"/>
                      </a:lnTo>
                      <a:lnTo>
                        <a:pt x="213" y="19"/>
                      </a:lnTo>
                      <a:lnTo>
                        <a:pt x="213" y="23"/>
                      </a:lnTo>
                      <a:lnTo>
                        <a:pt x="211" y="27"/>
                      </a:lnTo>
                      <a:lnTo>
                        <a:pt x="208" y="32"/>
                      </a:lnTo>
                      <a:lnTo>
                        <a:pt x="202" y="39"/>
                      </a:lnTo>
                      <a:lnTo>
                        <a:pt x="195" y="47"/>
                      </a:lnTo>
                      <a:lnTo>
                        <a:pt x="194" y="52"/>
                      </a:lnTo>
                      <a:lnTo>
                        <a:pt x="194" y="54"/>
                      </a:lnTo>
                      <a:lnTo>
                        <a:pt x="195" y="57"/>
                      </a:lnTo>
                      <a:lnTo>
                        <a:pt x="201" y="64"/>
                      </a:lnTo>
                      <a:lnTo>
                        <a:pt x="203" y="70"/>
                      </a:lnTo>
                      <a:lnTo>
                        <a:pt x="203" y="77"/>
                      </a:lnTo>
                      <a:lnTo>
                        <a:pt x="202" y="84"/>
                      </a:lnTo>
                      <a:lnTo>
                        <a:pt x="201" y="88"/>
                      </a:lnTo>
                      <a:lnTo>
                        <a:pt x="198" y="90"/>
                      </a:lnTo>
                      <a:lnTo>
                        <a:pt x="194" y="92"/>
                      </a:lnTo>
                      <a:lnTo>
                        <a:pt x="192" y="96"/>
                      </a:lnTo>
                      <a:lnTo>
                        <a:pt x="190" y="99"/>
                      </a:lnTo>
                      <a:lnTo>
                        <a:pt x="189" y="103"/>
                      </a:lnTo>
                      <a:lnTo>
                        <a:pt x="190" y="109"/>
                      </a:lnTo>
                      <a:lnTo>
                        <a:pt x="192" y="112"/>
                      </a:lnTo>
                      <a:lnTo>
                        <a:pt x="193" y="115"/>
                      </a:lnTo>
                      <a:lnTo>
                        <a:pt x="195" y="116"/>
                      </a:lnTo>
                      <a:lnTo>
                        <a:pt x="199" y="117"/>
                      </a:lnTo>
                      <a:lnTo>
                        <a:pt x="208" y="120"/>
                      </a:lnTo>
                      <a:lnTo>
                        <a:pt x="216" y="122"/>
                      </a:lnTo>
                      <a:lnTo>
                        <a:pt x="218" y="124"/>
                      </a:lnTo>
                      <a:lnTo>
                        <a:pt x="221" y="128"/>
                      </a:lnTo>
                      <a:lnTo>
                        <a:pt x="223" y="131"/>
                      </a:lnTo>
                      <a:lnTo>
                        <a:pt x="227" y="13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" name="Freeform 632">
                  <a:extLst>
                    <a:ext uri="{FF2B5EF4-FFF2-40B4-BE49-F238E27FC236}">
                      <a16:creationId xmlns:a16="http://schemas.microsoft.com/office/drawing/2014/main" id="{B7BF1CDC-8FC8-9541-9DFC-49264B4BF4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4702" y="4029376"/>
                  <a:ext cx="69554" cy="60674"/>
                </a:xfrm>
                <a:custGeom>
                  <a:avLst/>
                  <a:gdLst>
                    <a:gd name="T0" fmla="*/ 2147483647 w 51"/>
                    <a:gd name="T1" fmla="*/ 2147483647 h 41"/>
                    <a:gd name="T2" fmla="*/ 2147483647 w 51"/>
                    <a:gd name="T3" fmla="*/ 2147483647 h 41"/>
                    <a:gd name="T4" fmla="*/ 2147483647 w 51"/>
                    <a:gd name="T5" fmla="*/ 2147483647 h 41"/>
                    <a:gd name="T6" fmla="*/ 2147483647 w 51"/>
                    <a:gd name="T7" fmla="*/ 2147483647 h 41"/>
                    <a:gd name="T8" fmla="*/ 2147483647 w 51"/>
                    <a:gd name="T9" fmla="*/ 2147483647 h 41"/>
                    <a:gd name="T10" fmla="*/ 2147483647 w 51"/>
                    <a:gd name="T11" fmla="*/ 2147483647 h 41"/>
                    <a:gd name="T12" fmla="*/ 2147483647 w 51"/>
                    <a:gd name="T13" fmla="*/ 0 h 41"/>
                    <a:gd name="T14" fmla="*/ 2147483647 w 51"/>
                    <a:gd name="T15" fmla="*/ 2147483647 h 41"/>
                    <a:gd name="T16" fmla="*/ 2147483647 w 51"/>
                    <a:gd name="T17" fmla="*/ 2147483647 h 41"/>
                    <a:gd name="T18" fmla="*/ 2147483647 w 51"/>
                    <a:gd name="T19" fmla="*/ 2147483647 h 41"/>
                    <a:gd name="T20" fmla="*/ 2147483647 w 51"/>
                    <a:gd name="T21" fmla="*/ 2147483647 h 41"/>
                    <a:gd name="T22" fmla="*/ 2147483647 w 51"/>
                    <a:gd name="T23" fmla="*/ 2147483647 h 41"/>
                    <a:gd name="T24" fmla="*/ 2147483647 w 51"/>
                    <a:gd name="T25" fmla="*/ 2147483647 h 41"/>
                    <a:gd name="T26" fmla="*/ 2147483647 w 51"/>
                    <a:gd name="T27" fmla="*/ 2147483647 h 41"/>
                    <a:gd name="T28" fmla="*/ 2147483647 w 51"/>
                    <a:gd name="T29" fmla="*/ 2147483647 h 41"/>
                    <a:gd name="T30" fmla="*/ 2147483647 w 51"/>
                    <a:gd name="T31" fmla="*/ 2147483647 h 41"/>
                    <a:gd name="T32" fmla="*/ 2147483647 w 51"/>
                    <a:gd name="T33" fmla="*/ 2147483647 h 41"/>
                    <a:gd name="T34" fmla="*/ 2147483647 w 51"/>
                    <a:gd name="T35" fmla="*/ 2147483647 h 41"/>
                    <a:gd name="T36" fmla="*/ 2147483647 w 51"/>
                    <a:gd name="T37" fmla="*/ 2147483647 h 41"/>
                    <a:gd name="T38" fmla="*/ 2147483647 w 51"/>
                    <a:gd name="T39" fmla="*/ 2147483647 h 41"/>
                    <a:gd name="T40" fmla="*/ 2147483647 w 51"/>
                    <a:gd name="T41" fmla="*/ 2147483647 h 41"/>
                    <a:gd name="T42" fmla="*/ 0 w 51"/>
                    <a:gd name="T43" fmla="*/ 2147483647 h 41"/>
                    <a:gd name="T44" fmla="*/ 0 w 51"/>
                    <a:gd name="T45" fmla="*/ 2147483647 h 41"/>
                    <a:gd name="T46" fmla="*/ 2147483647 w 51"/>
                    <a:gd name="T47" fmla="*/ 2147483647 h 41"/>
                    <a:gd name="T48" fmla="*/ 2147483647 w 51"/>
                    <a:gd name="T49" fmla="*/ 2147483647 h 41"/>
                    <a:gd name="T50" fmla="*/ 2147483647 w 51"/>
                    <a:gd name="T51" fmla="*/ 2147483647 h 41"/>
                    <a:gd name="T52" fmla="*/ 2147483647 w 51"/>
                    <a:gd name="T53" fmla="*/ 2147483647 h 41"/>
                    <a:gd name="T54" fmla="*/ 2147483647 w 51"/>
                    <a:gd name="T55" fmla="*/ 2147483647 h 41"/>
                    <a:gd name="T56" fmla="*/ 2147483647 w 51"/>
                    <a:gd name="T57" fmla="*/ 2147483647 h 41"/>
                    <a:gd name="T58" fmla="*/ 2147483647 w 51"/>
                    <a:gd name="T59" fmla="*/ 2147483647 h 41"/>
                    <a:gd name="T60" fmla="*/ 2147483647 w 51"/>
                    <a:gd name="T61" fmla="*/ 2147483647 h 41"/>
                    <a:gd name="T62" fmla="*/ 2147483647 w 51"/>
                    <a:gd name="T63" fmla="*/ 2147483647 h 41"/>
                    <a:gd name="T64" fmla="*/ 2147483647 w 51"/>
                    <a:gd name="T65" fmla="*/ 2147483647 h 41"/>
                    <a:gd name="T66" fmla="*/ 2147483647 w 51"/>
                    <a:gd name="T67" fmla="*/ 2147483647 h 41"/>
                    <a:gd name="T68" fmla="*/ 2147483647 w 51"/>
                    <a:gd name="T69" fmla="*/ 2147483647 h 41"/>
                    <a:gd name="T70" fmla="*/ 2147483647 w 51"/>
                    <a:gd name="T71" fmla="*/ 2147483647 h 41"/>
                    <a:gd name="T72" fmla="*/ 2147483647 w 51"/>
                    <a:gd name="T73" fmla="*/ 2147483647 h 41"/>
                    <a:gd name="T74" fmla="*/ 2147483647 w 51"/>
                    <a:gd name="T75" fmla="*/ 2147483647 h 41"/>
                    <a:gd name="T76" fmla="*/ 2147483647 w 51"/>
                    <a:gd name="T77" fmla="*/ 2147483647 h 41"/>
                    <a:gd name="T78" fmla="*/ 2147483647 w 51"/>
                    <a:gd name="T79" fmla="*/ 2147483647 h 41"/>
                    <a:gd name="T80" fmla="*/ 2147483647 w 51"/>
                    <a:gd name="T81" fmla="*/ 2147483647 h 41"/>
                    <a:gd name="T82" fmla="*/ 2147483647 w 51"/>
                    <a:gd name="T83" fmla="*/ 2147483647 h 41"/>
                    <a:gd name="T84" fmla="*/ 2147483647 w 51"/>
                    <a:gd name="T85" fmla="*/ 2147483647 h 41"/>
                    <a:gd name="T86" fmla="*/ 2147483647 w 51"/>
                    <a:gd name="T87" fmla="*/ 2147483647 h 41"/>
                    <a:gd name="T88" fmla="*/ 2147483647 w 51"/>
                    <a:gd name="T89" fmla="*/ 2147483647 h 41"/>
                    <a:gd name="T90" fmla="*/ 2147483647 w 51"/>
                    <a:gd name="T91" fmla="*/ 2147483647 h 41"/>
                    <a:gd name="T92" fmla="*/ 2147483647 w 51"/>
                    <a:gd name="T93" fmla="*/ 2147483647 h 41"/>
                    <a:gd name="T94" fmla="*/ 2147483647 w 51"/>
                    <a:gd name="T95" fmla="*/ 2147483647 h 41"/>
                    <a:gd name="T96" fmla="*/ 2147483647 w 51"/>
                    <a:gd name="T97" fmla="*/ 2147483647 h 41"/>
                    <a:gd name="T98" fmla="*/ 2147483647 w 51"/>
                    <a:gd name="T99" fmla="*/ 2147483647 h 4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51"/>
                    <a:gd name="T151" fmla="*/ 0 h 41"/>
                    <a:gd name="T152" fmla="*/ 51 w 51"/>
                    <a:gd name="T153" fmla="*/ 41 h 41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51" h="41">
                      <a:moveTo>
                        <a:pt x="47" y="13"/>
                      </a:moveTo>
                      <a:lnTo>
                        <a:pt x="47" y="13"/>
                      </a:lnTo>
                      <a:lnTo>
                        <a:pt x="51" y="8"/>
                      </a:lnTo>
                      <a:lnTo>
                        <a:pt x="51" y="5"/>
                      </a:lnTo>
                      <a:lnTo>
                        <a:pt x="51" y="3"/>
                      </a:lnTo>
                      <a:lnTo>
                        <a:pt x="48" y="0"/>
                      </a:lnTo>
                      <a:lnTo>
                        <a:pt x="46" y="2"/>
                      </a:lnTo>
                      <a:lnTo>
                        <a:pt x="40" y="3"/>
                      </a:lnTo>
                      <a:lnTo>
                        <a:pt x="34" y="4"/>
                      </a:lnTo>
                      <a:lnTo>
                        <a:pt x="23" y="5"/>
                      </a:lnTo>
                      <a:lnTo>
                        <a:pt x="18" y="6"/>
                      </a:lnTo>
                      <a:lnTo>
                        <a:pt x="13" y="9"/>
                      </a:lnTo>
                      <a:lnTo>
                        <a:pt x="11" y="10"/>
                      </a:lnTo>
                      <a:lnTo>
                        <a:pt x="7" y="16"/>
                      </a:lnTo>
                      <a:lnTo>
                        <a:pt x="1" y="21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1" y="28"/>
                      </a:lnTo>
                      <a:lnTo>
                        <a:pt x="5" y="34"/>
                      </a:lnTo>
                      <a:lnTo>
                        <a:pt x="5" y="36"/>
                      </a:lnTo>
                      <a:lnTo>
                        <a:pt x="5" y="38"/>
                      </a:lnTo>
                      <a:lnTo>
                        <a:pt x="5" y="40"/>
                      </a:lnTo>
                      <a:lnTo>
                        <a:pt x="7" y="40"/>
                      </a:lnTo>
                      <a:lnTo>
                        <a:pt x="10" y="38"/>
                      </a:lnTo>
                      <a:lnTo>
                        <a:pt x="14" y="38"/>
                      </a:lnTo>
                      <a:lnTo>
                        <a:pt x="16" y="40"/>
                      </a:lnTo>
                      <a:lnTo>
                        <a:pt x="21" y="41"/>
                      </a:lnTo>
                      <a:lnTo>
                        <a:pt x="25" y="40"/>
                      </a:lnTo>
                      <a:lnTo>
                        <a:pt x="27" y="37"/>
                      </a:lnTo>
                      <a:lnTo>
                        <a:pt x="28" y="31"/>
                      </a:lnTo>
                      <a:lnTo>
                        <a:pt x="29" y="29"/>
                      </a:lnTo>
                      <a:lnTo>
                        <a:pt x="32" y="28"/>
                      </a:lnTo>
                      <a:lnTo>
                        <a:pt x="38" y="26"/>
                      </a:lnTo>
                      <a:lnTo>
                        <a:pt x="40" y="25"/>
                      </a:lnTo>
                      <a:lnTo>
                        <a:pt x="43" y="19"/>
                      </a:lnTo>
                      <a:lnTo>
                        <a:pt x="47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633">
                  <a:extLst>
                    <a:ext uri="{FF2B5EF4-FFF2-40B4-BE49-F238E27FC236}">
                      <a16:creationId xmlns:a16="http://schemas.microsoft.com/office/drawing/2014/main" id="{D5D7CD6D-5075-2542-8C25-D98603D3DC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9654" y="2929830"/>
                  <a:ext cx="1423637" cy="1093626"/>
                </a:xfrm>
                <a:custGeom>
                  <a:avLst/>
                  <a:gdLst>
                    <a:gd name="T0" fmla="*/ 2147483647 w 1042"/>
                    <a:gd name="T1" fmla="*/ 2147483647 h 739"/>
                    <a:gd name="T2" fmla="*/ 2147483647 w 1042"/>
                    <a:gd name="T3" fmla="*/ 2147483647 h 739"/>
                    <a:gd name="T4" fmla="*/ 2147483647 w 1042"/>
                    <a:gd name="T5" fmla="*/ 2147483647 h 739"/>
                    <a:gd name="T6" fmla="*/ 2147483647 w 1042"/>
                    <a:gd name="T7" fmla="*/ 2147483647 h 739"/>
                    <a:gd name="T8" fmla="*/ 0 w 1042"/>
                    <a:gd name="T9" fmla="*/ 2147483647 h 739"/>
                    <a:gd name="T10" fmla="*/ 2147483647 w 1042"/>
                    <a:gd name="T11" fmla="*/ 2147483647 h 739"/>
                    <a:gd name="T12" fmla="*/ 2147483647 w 1042"/>
                    <a:gd name="T13" fmla="*/ 2147483647 h 739"/>
                    <a:gd name="T14" fmla="*/ 2147483647 w 1042"/>
                    <a:gd name="T15" fmla="*/ 2147483647 h 739"/>
                    <a:gd name="T16" fmla="*/ 2147483647 w 1042"/>
                    <a:gd name="T17" fmla="*/ 2147483647 h 739"/>
                    <a:gd name="T18" fmla="*/ 2147483647 w 1042"/>
                    <a:gd name="T19" fmla="*/ 2147483647 h 739"/>
                    <a:gd name="T20" fmla="*/ 2147483647 w 1042"/>
                    <a:gd name="T21" fmla="*/ 2147483647 h 739"/>
                    <a:gd name="T22" fmla="*/ 2147483647 w 1042"/>
                    <a:gd name="T23" fmla="*/ 2147483647 h 739"/>
                    <a:gd name="T24" fmla="*/ 2147483647 w 1042"/>
                    <a:gd name="T25" fmla="*/ 2147483647 h 739"/>
                    <a:gd name="T26" fmla="*/ 2147483647 w 1042"/>
                    <a:gd name="T27" fmla="*/ 2147483647 h 739"/>
                    <a:gd name="T28" fmla="*/ 2147483647 w 1042"/>
                    <a:gd name="T29" fmla="*/ 2147483647 h 739"/>
                    <a:gd name="T30" fmla="*/ 2147483647 w 1042"/>
                    <a:gd name="T31" fmla="*/ 2147483647 h 739"/>
                    <a:gd name="T32" fmla="*/ 2147483647 w 1042"/>
                    <a:gd name="T33" fmla="*/ 2147483647 h 739"/>
                    <a:gd name="T34" fmla="*/ 2147483647 w 1042"/>
                    <a:gd name="T35" fmla="*/ 2147483647 h 739"/>
                    <a:gd name="T36" fmla="*/ 2147483647 w 1042"/>
                    <a:gd name="T37" fmla="*/ 2147483647 h 739"/>
                    <a:gd name="T38" fmla="*/ 2147483647 w 1042"/>
                    <a:gd name="T39" fmla="*/ 2147483647 h 739"/>
                    <a:gd name="T40" fmla="*/ 2147483647 w 1042"/>
                    <a:gd name="T41" fmla="*/ 2147483647 h 739"/>
                    <a:gd name="T42" fmla="*/ 2147483647 w 1042"/>
                    <a:gd name="T43" fmla="*/ 2147483647 h 739"/>
                    <a:gd name="T44" fmla="*/ 2147483647 w 1042"/>
                    <a:gd name="T45" fmla="*/ 2147483647 h 739"/>
                    <a:gd name="T46" fmla="*/ 2147483647 w 1042"/>
                    <a:gd name="T47" fmla="*/ 2147483647 h 739"/>
                    <a:gd name="T48" fmla="*/ 2147483647 w 1042"/>
                    <a:gd name="T49" fmla="*/ 2147483647 h 739"/>
                    <a:gd name="T50" fmla="*/ 2147483647 w 1042"/>
                    <a:gd name="T51" fmla="*/ 2147483647 h 739"/>
                    <a:gd name="T52" fmla="*/ 2147483647 w 1042"/>
                    <a:gd name="T53" fmla="*/ 2147483647 h 739"/>
                    <a:gd name="T54" fmla="*/ 2147483647 w 1042"/>
                    <a:gd name="T55" fmla="*/ 2147483647 h 739"/>
                    <a:gd name="T56" fmla="*/ 2147483647 w 1042"/>
                    <a:gd name="T57" fmla="*/ 2147483647 h 739"/>
                    <a:gd name="T58" fmla="*/ 2147483647 w 1042"/>
                    <a:gd name="T59" fmla="*/ 2147483647 h 739"/>
                    <a:gd name="T60" fmla="*/ 2147483647 w 1042"/>
                    <a:gd name="T61" fmla="*/ 2147483647 h 739"/>
                    <a:gd name="T62" fmla="*/ 2147483647 w 1042"/>
                    <a:gd name="T63" fmla="*/ 2147483647 h 739"/>
                    <a:gd name="T64" fmla="*/ 2147483647 w 1042"/>
                    <a:gd name="T65" fmla="*/ 2147483647 h 739"/>
                    <a:gd name="T66" fmla="*/ 2147483647 w 1042"/>
                    <a:gd name="T67" fmla="*/ 2147483647 h 739"/>
                    <a:gd name="T68" fmla="*/ 2147483647 w 1042"/>
                    <a:gd name="T69" fmla="*/ 2147483647 h 739"/>
                    <a:gd name="T70" fmla="*/ 2147483647 w 1042"/>
                    <a:gd name="T71" fmla="*/ 2147483647 h 739"/>
                    <a:gd name="T72" fmla="*/ 2147483647 w 1042"/>
                    <a:gd name="T73" fmla="*/ 2147483647 h 739"/>
                    <a:gd name="T74" fmla="*/ 2147483647 w 1042"/>
                    <a:gd name="T75" fmla="*/ 2147483647 h 739"/>
                    <a:gd name="T76" fmla="*/ 2147483647 w 1042"/>
                    <a:gd name="T77" fmla="*/ 2147483647 h 739"/>
                    <a:gd name="T78" fmla="*/ 2147483647 w 1042"/>
                    <a:gd name="T79" fmla="*/ 2147483647 h 739"/>
                    <a:gd name="T80" fmla="*/ 2147483647 w 1042"/>
                    <a:gd name="T81" fmla="*/ 2147483647 h 739"/>
                    <a:gd name="T82" fmla="*/ 2147483647 w 1042"/>
                    <a:gd name="T83" fmla="*/ 2147483647 h 739"/>
                    <a:gd name="T84" fmla="*/ 2147483647 w 1042"/>
                    <a:gd name="T85" fmla="*/ 2147483647 h 739"/>
                    <a:gd name="T86" fmla="*/ 2147483647 w 1042"/>
                    <a:gd name="T87" fmla="*/ 2147483647 h 739"/>
                    <a:gd name="T88" fmla="*/ 2147483647 w 1042"/>
                    <a:gd name="T89" fmla="*/ 2147483647 h 739"/>
                    <a:gd name="T90" fmla="*/ 2147483647 w 1042"/>
                    <a:gd name="T91" fmla="*/ 2147483647 h 739"/>
                    <a:gd name="T92" fmla="*/ 2147483647 w 1042"/>
                    <a:gd name="T93" fmla="*/ 2147483647 h 739"/>
                    <a:gd name="T94" fmla="*/ 2147483647 w 1042"/>
                    <a:gd name="T95" fmla="*/ 2147483647 h 739"/>
                    <a:gd name="T96" fmla="*/ 2147483647 w 1042"/>
                    <a:gd name="T97" fmla="*/ 2147483647 h 739"/>
                    <a:gd name="T98" fmla="*/ 2147483647 w 1042"/>
                    <a:gd name="T99" fmla="*/ 2147483647 h 739"/>
                    <a:gd name="T100" fmla="*/ 2147483647 w 1042"/>
                    <a:gd name="T101" fmla="*/ 2147483647 h 739"/>
                    <a:gd name="T102" fmla="*/ 2147483647 w 1042"/>
                    <a:gd name="T103" fmla="*/ 2147483647 h 739"/>
                    <a:gd name="T104" fmla="*/ 2147483647 w 1042"/>
                    <a:gd name="T105" fmla="*/ 2147483647 h 739"/>
                    <a:gd name="T106" fmla="*/ 2147483647 w 1042"/>
                    <a:gd name="T107" fmla="*/ 2147483647 h 739"/>
                    <a:gd name="T108" fmla="*/ 2147483647 w 1042"/>
                    <a:gd name="T109" fmla="*/ 2147483647 h 739"/>
                    <a:gd name="T110" fmla="*/ 2147483647 w 1042"/>
                    <a:gd name="T111" fmla="*/ 2147483647 h 739"/>
                    <a:gd name="T112" fmla="*/ 2147483647 w 1042"/>
                    <a:gd name="T113" fmla="*/ 2147483647 h 739"/>
                    <a:gd name="T114" fmla="*/ 2147483647 w 1042"/>
                    <a:gd name="T115" fmla="*/ 2147483647 h 739"/>
                    <a:gd name="T116" fmla="*/ 2147483647 w 1042"/>
                    <a:gd name="T117" fmla="*/ 2147483647 h 739"/>
                    <a:gd name="T118" fmla="*/ 2147483647 w 1042"/>
                    <a:gd name="T119" fmla="*/ 2147483647 h 739"/>
                    <a:gd name="T120" fmla="*/ 2147483647 w 1042"/>
                    <a:gd name="T121" fmla="*/ 2147483647 h 739"/>
                    <a:gd name="T122" fmla="*/ 2147483647 w 1042"/>
                    <a:gd name="T123" fmla="*/ 2147483647 h 739"/>
                    <a:gd name="T124" fmla="*/ 2147483647 w 1042"/>
                    <a:gd name="T125" fmla="*/ 2147483647 h 73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042"/>
                    <a:gd name="T190" fmla="*/ 0 h 739"/>
                    <a:gd name="T191" fmla="*/ 1042 w 1042"/>
                    <a:gd name="T192" fmla="*/ 739 h 739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042" h="739">
                      <a:moveTo>
                        <a:pt x="129" y="535"/>
                      </a:moveTo>
                      <a:lnTo>
                        <a:pt x="129" y="535"/>
                      </a:lnTo>
                      <a:lnTo>
                        <a:pt x="125" y="532"/>
                      </a:lnTo>
                      <a:lnTo>
                        <a:pt x="123" y="529"/>
                      </a:lnTo>
                      <a:lnTo>
                        <a:pt x="120" y="525"/>
                      </a:lnTo>
                      <a:lnTo>
                        <a:pt x="118" y="523"/>
                      </a:lnTo>
                      <a:lnTo>
                        <a:pt x="110" y="521"/>
                      </a:lnTo>
                      <a:lnTo>
                        <a:pt x="101" y="518"/>
                      </a:lnTo>
                      <a:lnTo>
                        <a:pt x="97" y="517"/>
                      </a:lnTo>
                      <a:lnTo>
                        <a:pt x="95" y="516"/>
                      </a:lnTo>
                      <a:lnTo>
                        <a:pt x="94" y="513"/>
                      </a:lnTo>
                      <a:lnTo>
                        <a:pt x="92" y="510"/>
                      </a:lnTo>
                      <a:lnTo>
                        <a:pt x="91" y="504"/>
                      </a:lnTo>
                      <a:lnTo>
                        <a:pt x="92" y="500"/>
                      </a:lnTo>
                      <a:lnTo>
                        <a:pt x="94" y="497"/>
                      </a:lnTo>
                      <a:lnTo>
                        <a:pt x="96" y="493"/>
                      </a:lnTo>
                      <a:lnTo>
                        <a:pt x="100" y="491"/>
                      </a:lnTo>
                      <a:lnTo>
                        <a:pt x="103" y="489"/>
                      </a:lnTo>
                      <a:lnTo>
                        <a:pt x="104" y="485"/>
                      </a:lnTo>
                      <a:lnTo>
                        <a:pt x="105" y="478"/>
                      </a:lnTo>
                      <a:lnTo>
                        <a:pt x="105" y="471"/>
                      </a:lnTo>
                      <a:lnTo>
                        <a:pt x="103" y="465"/>
                      </a:lnTo>
                      <a:lnTo>
                        <a:pt x="97" y="458"/>
                      </a:lnTo>
                      <a:lnTo>
                        <a:pt x="96" y="455"/>
                      </a:lnTo>
                      <a:lnTo>
                        <a:pt x="96" y="453"/>
                      </a:lnTo>
                      <a:lnTo>
                        <a:pt x="97" y="448"/>
                      </a:lnTo>
                      <a:lnTo>
                        <a:pt x="104" y="440"/>
                      </a:lnTo>
                      <a:lnTo>
                        <a:pt x="110" y="433"/>
                      </a:lnTo>
                      <a:lnTo>
                        <a:pt x="113" y="428"/>
                      </a:lnTo>
                      <a:lnTo>
                        <a:pt x="115" y="424"/>
                      </a:lnTo>
                      <a:lnTo>
                        <a:pt x="115" y="420"/>
                      </a:lnTo>
                      <a:lnTo>
                        <a:pt x="114" y="415"/>
                      </a:lnTo>
                      <a:lnTo>
                        <a:pt x="111" y="413"/>
                      </a:lnTo>
                      <a:lnTo>
                        <a:pt x="109" y="410"/>
                      </a:lnTo>
                      <a:lnTo>
                        <a:pt x="100" y="410"/>
                      </a:lnTo>
                      <a:lnTo>
                        <a:pt x="76" y="408"/>
                      </a:lnTo>
                      <a:lnTo>
                        <a:pt x="64" y="406"/>
                      </a:lnTo>
                      <a:lnTo>
                        <a:pt x="53" y="401"/>
                      </a:lnTo>
                      <a:lnTo>
                        <a:pt x="50" y="395"/>
                      </a:lnTo>
                      <a:lnTo>
                        <a:pt x="49" y="392"/>
                      </a:lnTo>
                      <a:lnTo>
                        <a:pt x="47" y="390"/>
                      </a:lnTo>
                      <a:lnTo>
                        <a:pt x="44" y="388"/>
                      </a:lnTo>
                      <a:lnTo>
                        <a:pt x="40" y="388"/>
                      </a:lnTo>
                      <a:lnTo>
                        <a:pt x="33" y="389"/>
                      </a:lnTo>
                      <a:lnTo>
                        <a:pt x="25" y="391"/>
                      </a:lnTo>
                      <a:lnTo>
                        <a:pt x="17" y="392"/>
                      </a:lnTo>
                      <a:lnTo>
                        <a:pt x="19" y="390"/>
                      </a:lnTo>
                      <a:lnTo>
                        <a:pt x="20" y="387"/>
                      </a:lnTo>
                      <a:lnTo>
                        <a:pt x="20" y="383"/>
                      </a:lnTo>
                      <a:lnTo>
                        <a:pt x="20" y="379"/>
                      </a:lnTo>
                      <a:lnTo>
                        <a:pt x="23" y="378"/>
                      </a:lnTo>
                      <a:lnTo>
                        <a:pt x="23" y="377"/>
                      </a:lnTo>
                      <a:lnTo>
                        <a:pt x="23" y="376"/>
                      </a:lnTo>
                      <a:lnTo>
                        <a:pt x="19" y="370"/>
                      </a:lnTo>
                      <a:lnTo>
                        <a:pt x="17" y="366"/>
                      </a:lnTo>
                      <a:lnTo>
                        <a:pt x="17" y="364"/>
                      </a:lnTo>
                      <a:lnTo>
                        <a:pt x="21" y="359"/>
                      </a:lnTo>
                      <a:lnTo>
                        <a:pt x="21" y="358"/>
                      </a:lnTo>
                      <a:lnTo>
                        <a:pt x="21" y="356"/>
                      </a:lnTo>
                      <a:lnTo>
                        <a:pt x="19" y="353"/>
                      </a:lnTo>
                      <a:lnTo>
                        <a:pt x="16" y="351"/>
                      </a:lnTo>
                      <a:lnTo>
                        <a:pt x="12" y="351"/>
                      </a:lnTo>
                      <a:lnTo>
                        <a:pt x="10" y="352"/>
                      </a:lnTo>
                      <a:lnTo>
                        <a:pt x="7" y="353"/>
                      </a:lnTo>
                      <a:lnTo>
                        <a:pt x="5" y="353"/>
                      </a:lnTo>
                      <a:lnTo>
                        <a:pt x="2" y="350"/>
                      </a:lnTo>
                      <a:lnTo>
                        <a:pt x="0" y="346"/>
                      </a:lnTo>
                      <a:lnTo>
                        <a:pt x="0" y="343"/>
                      </a:lnTo>
                      <a:lnTo>
                        <a:pt x="0" y="338"/>
                      </a:lnTo>
                      <a:lnTo>
                        <a:pt x="2" y="328"/>
                      </a:lnTo>
                      <a:lnTo>
                        <a:pt x="7" y="320"/>
                      </a:lnTo>
                      <a:lnTo>
                        <a:pt x="9" y="319"/>
                      </a:lnTo>
                      <a:lnTo>
                        <a:pt x="11" y="318"/>
                      </a:lnTo>
                      <a:lnTo>
                        <a:pt x="16" y="317"/>
                      </a:lnTo>
                      <a:lnTo>
                        <a:pt x="23" y="313"/>
                      </a:lnTo>
                      <a:lnTo>
                        <a:pt x="25" y="312"/>
                      </a:lnTo>
                      <a:lnTo>
                        <a:pt x="29" y="311"/>
                      </a:lnTo>
                      <a:lnTo>
                        <a:pt x="30" y="312"/>
                      </a:lnTo>
                      <a:lnTo>
                        <a:pt x="31" y="313"/>
                      </a:lnTo>
                      <a:lnTo>
                        <a:pt x="31" y="315"/>
                      </a:lnTo>
                      <a:lnTo>
                        <a:pt x="33" y="317"/>
                      </a:lnTo>
                      <a:lnTo>
                        <a:pt x="35" y="318"/>
                      </a:lnTo>
                      <a:lnTo>
                        <a:pt x="38" y="318"/>
                      </a:lnTo>
                      <a:lnTo>
                        <a:pt x="42" y="317"/>
                      </a:lnTo>
                      <a:lnTo>
                        <a:pt x="47" y="315"/>
                      </a:lnTo>
                      <a:lnTo>
                        <a:pt x="52" y="313"/>
                      </a:lnTo>
                      <a:lnTo>
                        <a:pt x="52" y="311"/>
                      </a:lnTo>
                      <a:lnTo>
                        <a:pt x="52" y="308"/>
                      </a:lnTo>
                      <a:lnTo>
                        <a:pt x="52" y="306"/>
                      </a:lnTo>
                      <a:lnTo>
                        <a:pt x="52" y="304"/>
                      </a:lnTo>
                      <a:lnTo>
                        <a:pt x="52" y="302"/>
                      </a:lnTo>
                      <a:lnTo>
                        <a:pt x="53" y="301"/>
                      </a:lnTo>
                      <a:lnTo>
                        <a:pt x="64" y="302"/>
                      </a:lnTo>
                      <a:lnTo>
                        <a:pt x="69" y="301"/>
                      </a:lnTo>
                      <a:lnTo>
                        <a:pt x="73" y="299"/>
                      </a:lnTo>
                      <a:lnTo>
                        <a:pt x="80" y="293"/>
                      </a:lnTo>
                      <a:lnTo>
                        <a:pt x="87" y="289"/>
                      </a:lnTo>
                      <a:lnTo>
                        <a:pt x="95" y="286"/>
                      </a:lnTo>
                      <a:lnTo>
                        <a:pt x="103" y="283"/>
                      </a:lnTo>
                      <a:lnTo>
                        <a:pt x="106" y="282"/>
                      </a:lnTo>
                      <a:lnTo>
                        <a:pt x="110" y="280"/>
                      </a:lnTo>
                      <a:lnTo>
                        <a:pt x="111" y="276"/>
                      </a:lnTo>
                      <a:lnTo>
                        <a:pt x="113" y="272"/>
                      </a:lnTo>
                      <a:lnTo>
                        <a:pt x="113" y="269"/>
                      </a:lnTo>
                      <a:lnTo>
                        <a:pt x="110" y="267"/>
                      </a:lnTo>
                      <a:lnTo>
                        <a:pt x="109" y="266"/>
                      </a:lnTo>
                      <a:lnTo>
                        <a:pt x="109" y="263"/>
                      </a:lnTo>
                      <a:lnTo>
                        <a:pt x="119" y="249"/>
                      </a:lnTo>
                      <a:lnTo>
                        <a:pt x="122" y="245"/>
                      </a:lnTo>
                      <a:lnTo>
                        <a:pt x="123" y="241"/>
                      </a:lnTo>
                      <a:lnTo>
                        <a:pt x="123" y="237"/>
                      </a:lnTo>
                      <a:lnTo>
                        <a:pt x="122" y="232"/>
                      </a:lnTo>
                      <a:lnTo>
                        <a:pt x="120" y="230"/>
                      </a:lnTo>
                      <a:lnTo>
                        <a:pt x="118" y="229"/>
                      </a:lnTo>
                      <a:lnTo>
                        <a:pt x="116" y="227"/>
                      </a:lnTo>
                      <a:lnTo>
                        <a:pt x="115" y="224"/>
                      </a:lnTo>
                      <a:lnTo>
                        <a:pt x="114" y="221"/>
                      </a:lnTo>
                      <a:lnTo>
                        <a:pt x="111" y="217"/>
                      </a:lnTo>
                      <a:lnTo>
                        <a:pt x="110" y="213"/>
                      </a:lnTo>
                      <a:lnTo>
                        <a:pt x="109" y="210"/>
                      </a:lnTo>
                      <a:lnTo>
                        <a:pt x="110" y="208"/>
                      </a:lnTo>
                      <a:lnTo>
                        <a:pt x="113" y="206"/>
                      </a:lnTo>
                      <a:lnTo>
                        <a:pt x="124" y="204"/>
                      </a:lnTo>
                      <a:lnTo>
                        <a:pt x="137" y="203"/>
                      </a:lnTo>
                      <a:lnTo>
                        <a:pt x="152" y="202"/>
                      </a:lnTo>
                      <a:lnTo>
                        <a:pt x="156" y="199"/>
                      </a:lnTo>
                      <a:lnTo>
                        <a:pt x="157" y="198"/>
                      </a:lnTo>
                      <a:lnTo>
                        <a:pt x="157" y="197"/>
                      </a:lnTo>
                      <a:lnTo>
                        <a:pt x="156" y="194"/>
                      </a:lnTo>
                      <a:lnTo>
                        <a:pt x="153" y="192"/>
                      </a:lnTo>
                      <a:lnTo>
                        <a:pt x="152" y="190"/>
                      </a:lnTo>
                      <a:lnTo>
                        <a:pt x="152" y="181"/>
                      </a:lnTo>
                      <a:lnTo>
                        <a:pt x="155" y="172"/>
                      </a:lnTo>
                      <a:lnTo>
                        <a:pt x="156" y="168"/>
                      </a:lnTo>
                      <a:lnTo>
                        <a:pt x="158" y="165"/>
                      </a:lnTo>
                      <a:lnTo>
                        <a:pt x="162" y="162"/>
                      </a:lnTo>
                      <a:lnTo>
                        <a:pt x="167" y="161"/>
                      </a:lnTo>
                      <a:lnTo>
                        <a:pt x="180" y="161"/>
                      </a:lnTo>
                      <a:lnTo>
                        <a:pt x="190" y="162"/>
                      </a:lnTo>
                      <a:lnTo>
                        <a:pt x="193" y="161"/>
                      </a:lnTo>
                      <a:lnTo>
                        <a:pt x="195" y="159"/>
                      </a:lnTo>
                      <a:lnTo>
                        <a:pt x="198" y="152"/>
                      </a:lnTo>
                      <a:lnTo>
                        <a:pt x="199" y="144"/>
                      </a:lnTo>
                      <a:lnTo>
                        <a:pt x="202" y="134"/>
                      </a:lnTo>
                      <a:lnTo>
                        <a:pt x="203" y="133"/>
                      </a:lnTo>
                      <a:lnTo>
                        <a:pt x="204" y="130"/>
                      </a:lnTo>
                      <a:lnTo>
                        <a:pt x="217" y="125"/>
                      </a:lnTo>
                      <a:lnTo>
                        <a:pt x="223" y="120"/>
                      </a:lnTo>
                      <a:lnTo>
                        <a:pt x="228" y="115"/>
                      </a:lnTo>
                      <a:lnTo>
                        <a:pt x="232" y="113"/>
                      </a:lnTo>
                      <a:lnTo>
                        <a:pt x="235" y="113"/>
                      </a:lnTo>
                      <a:lnTo>
                        <a:pt x="240" y="112"/>
                      </a:lnTo>
                      <a:lnTo>
                        <a:pt x="242" y="110"/>
                      </a:lnTo>
                      <a:lnTo>
                        <a:pt x="247" y="107"/>
                      </a:lnTo>
                      <a:lnTo>
                        <a:pt x="247" y="115"/>
                      </a:lnTo>
                      <a:lnTo>
                        <a:pt x="249" y="123"/>
                      </a:lnTo>
                      <a:lnTo>
                        <a:pt x="250" y="128"/>
                      </a:lnTo>
                      <a:lnTo>
                        <a:pt x="251" y="132"/>
                      </a:lnTo>
                      <a:lnTo>
                        <a:pt x="254" y="134"/>
                      </a:lnTo>
                      <a:lnTo>
                        <a:pt x="257" y="136"/>
                      </a:lnTo>
                      <a:lnTo>
                        <a:pt x="261" y="139"/>
                      </a:lnTo>
                      <a:lnTo>
                        <a:pt x="265" y="142"/>
                      </a:lnTo>
                      <a:lnTo>
                        <a:pt x="268" y="145"/>
                      </a:lnTo>
                      <a:lnTo>
                        <a:pt x="271" y="145"/>
                      </a:lnTo>
                      <a:lnTo>
                        <a:pt x="278" y="144"/>
                      </a:lnTo>
                      <a:lnTo>
                        <a:pt x="283" y="145"/>
                      </a:lnTo>
                      <a:lnTo>
                        <a:pt x="288" y="146"/>
                      </a:lnTo>
                      <a:lnTo>
                        <a:pt x="293" y="148"/>
                      </a:lnTo>
                      <a:lnTo>
                        <a:pt x="301" y="155"/>
                      </a:lnTo>
                      <a:lnTo>
                        <a:pt x="309" y="162"/>
                      </a:lnTo>
                      <a:lnTo>
                        <a:pt x="312" y="172"/>
                      </a:lnTo>
                      <a:lnTo>
                        <a:pt x="315" y="183"/>
                      </a:lnTo>
                      <a:lnTo>
                        <a:pt x="317" y="192"/>
                      </a:lnTo>
                      <a:lnTo>
                        <a:pt x="320" y="197"/>
                      </a:lnTo>
                      <a:lnTo>
                        <a:pt x="322" y="200"/>
                      </a:lnTo>
                      <a:lnTo>
                        <a:pt x="325" y="203"/>
                      </a:lnTo>
                      <a:lnTo>
                        <a:pt x="327" y="203"/>
                      </a:lnTo>
                      <a:lnTo>
                        <a:pt x="332" y="205"/>
                      </a:lnTo>
                      <a:lnTo>
                        <a:pt x="348" y="213"/>
                      </a:lnTo>
                      <a:lnTo>
                        <a:pt x="355" y="217"/>
                      </a:lnTo>
                      <a:lnTo>
                        <a:pt x="365" y="219"/>
                      </a:lnTo>
                      <a:lnTo>
                        <a:pt x="369" y="221"/>
                      </a:lnTo>
                      <a:lnTo>
                        <a:pt x="373" y="225"/>
                      </a:lnTo>
                      <a:lnTo>
                        <a:pt x="377" y="231"/>
                      </a:lnTo>
                      <a:lnTo>
                        <a:pt x="382" y="237"/>
                      </a:lnTo>
                      <a:lnTo>
                        <a:pt x="386" y="243"/>
                      </a:lnTo>
                      <a:lnTo>
                        <a:pt x="389" y="248"/>
                      </a:lnTo>
                      <a:lnTo>
                        <a:pt x="393" y="251"/>
                      </a:lnTo>
                      <a:lnTo>
                        <a:pt x="397" y="255"/>
                      </a:lnTo>
                      <a:lnTo>
                        <a:pt x="401" y="256"/>
                      </a:lnTo>
                      <a:lnTo>
                        <a:pt x="406" y="257"/>
                      </a:lnTo>
                      <a:lnTo>
                        <a:pt x="419" y="260"/>
                      </a:lnTo>
                      <a:lnTo>
                        <a:pt x="430" y="262"/>
                      </a:lnTo>
                      <a:lnTo>
                        <a:pt x="454" y="266"/>
                      </a:lnTo>
                      <a:lnTo>
                        <a:pt x="457" y="267"/>
                      </a:lnTo>
                      <a:lnTo>
                        <a:pt x="461" y="266"/>
                      </a:lnTo>
                      <a:lnTo>
                        <a:pt x="467" y="263"/>
                      </a:lnTo>
                      <a:lnTo>
                        <a:pt x="473" y="262"/>
                      </a:lnTo>
                      <a:lnTo>
                        <a:pt x="477" y="261"/>
                      </a:lnTo>
                      <a:lnTo>
                        <a:pt x="481" y="261"/>
                      </a:lnTo>
                      <a:lnTo>
                        <a:pt x="483" y="262"/>
                      </a:lnTo>
                      <a:lnTo>
                        <a:pt x="487" y="264"/>
                      </a:lnTo>
                      <a:lnTo>
                        <a:pt x="491" y="269"/>
                      </a:lnTo>
                      <a:lnTo>
                        <a:pt x="496" y="274"/>
                      </a:lnTo>
                      <a:lnTo>
                        <a:pt x="500" y="276"/>
                      </a:lnTo>
                      <a:lnTo>
                        <a:pt x="509" y="279"/>
                      </a:lnTo>
                      <a:lnTo>
                        <a:pt x="516" y="280"/>
                      </a:lnTo>
                      <a:lnTo>
                        <a:pt x="532" y="280"/>
                      </a:lnTo>
                      <a:lnTo>
                        <a:pt x="538" y="280"/>
                      </a:lnTo>
                      <a:lnTo>
                        <a:pt x="546" y="276"/>
                      </a:lnTo>
                      <a:lnTo>
                        <a:pt x="555" y="270"/>
                      </a:lnTo>
                      <a:lnTo>
                        <a:pt x="563" y="263"/>
                      </a:lnTo>
                      <a:lnTo>
                        <a:pt x="567" y="261"/>
                      </a:lnTo>
                      <a:lnTo>
                        <a:pt x="572" y="259"/>
                      </a:lnTo>
                      <a:lnTo>
                        <a:pt x="577" y="259"/>
                      </a:lnTo>
                      <a:lnTo>
                        <a:pt x="581" y="259"/>
                      </a:lnTo>
                      <a:lnTo>
                        <a:pt x="588" y="260"/>
                      </a:lnTo>
                      <a:lnTo>
                        <a:pt x="593" y="261"/>
                      </a:lnTo>
                      <a:lnTo>
                        <a:pt x="604" y="260"/>
                      </a:lnTo>
                      <a:lnTo>
                        <a:pt x="616" y="257"/>
                      </a:lnTo>
                      <a:lnTo>
                        <a:pt x="626" y="254"/>
                      </a:lnTo>
                      <a:lnTo>
                        <a:pt x="632" y="249"/>
                      </a:lnTo>
                      <a:lnTo>
                        <a:pt x="636" y="244"/>
                      </a:lnTo>
                      <a:lnTo>
                        <a:pt x="637" y="241"/>
                      </a:lnTo>
                      <a:lnTo>
                        <a:pt x="637" y="237"/>
                      </a:lnTo>
                      <a:lnTo>
                        <a:pt x="637" y="235"/>
                      </a:lnTo>
                      <a:lnTo>
                        <a:pt x="636" y="231"/>
                      </a:lnTo>
                      <a:lnTo>
                        <a:pt x="633" y="229"/>
                      </a:lnTo>
                      <a:lnTo>
                        <a:pt x="631" y="228"/>
                      </a:lnTo>
                      <a:lnTo>
                        <a:pt x="627" y="225"/>
                      </a:lnTo>
                      <a:lnTo>
                        <a:pt x="626" y="222"/>
                      </a:lnTo>
                      <a:lnTo>
                        <a:pt x="626" y="218"/>
                      </a:lnTo>
                      <a:lnTo>
                        <a:pt x="627" y="215"/>
                      </a:lnTo>
                      <a:lnTo>
                        <a:pt x="629" y="208"/>
                      </a:lnTo>
                      <a:lnTo>
                        <a:pt x="632" y="204"/>
                      </a:lnTo>
                      <a:lnTo>
                        <a:pt x="636" y="202"/>
                      </a:lnTo>
                      <a:lnTo>
                        <a:pt x="638" y="200"/>
                      </a:lnTo>
                      <a:lnTo>
                        <a:pt x="642" y="202"/>
                      </a:lnTo>
                      <a:lnTo>
                        <a:pt x="651" y="204"/>
                      </a:lnTo>
                      <a:lnTo>
                        <a:pt x="659" y="208"/>
                      </a:lnTo>
                      <a:lnTo>
                        <a:pt x="664" y="209"/>
                      </a:lnTo>
                      <a:lnTo>
                        <a:pt x="668" y="209"/>
                      </a:lnTo>
                      <a:lnTo>
                        <a:pt x="671" y="208"/>
                      </a:lnTo>
                      <a:lnTo>
                        <a:pt x="675" y="205"/>
                      </a:lnTo>
                      <a:lnTo>
                        <a:pt x="690" y="193"/>
                      </a:lnTo>
                      <a:lnTo>
                        <a:pt x="694" y="193"/>
                      </a:lnTo>
                      <a:lnTo>
                        <a:pt x="708" y="190"/>
                      </a:lnTo>
                      <a:lnTo>
                        <a:pt x="709" y="190"/>
                      </a:lnTo>
                      <a:lnTo>
                        <a:pt x="711" y="187"/>
                      </a:lnTo>
                      <a:lnTo>
                        <a:pt x="712" y="183"/>
                      </a:lnTo>
                      <a:lnTo>
                        <a:pt x="715" y="178"/>
                      </a:lnTo>
                      <a:lnTo>
                        <a:pt x="717" y="174"/>
                      </a:lnTo>
                      <a:lnTo>
                        <a:pt x="718" y="172"/>
                      </a:lnTo>
                      <a:lnTo>
                        <a:pt x="720" y="172"/>
                      </a:lnTo>
                      <a:lnTo>
                        <a:pt x="727" y="176"/>
                      </a:lnTo>
                      <a:lnTo>
                        <a:pt x="731" y="176"/>
                      </a:lnTo>
                      <a:lnTo>
                        <a:pt x="732" y="176"/>
                      </a:lnTo>
                      <a:lnTo>
                        <a:pt x="734" y="174"/>
                      </a:lnTo>
                      <a:lnTo>
                        <a:pt x="737" y="171"/>
                      </a:lnTo>
                      <a:lnTo>
                        <a:pt x="741" y="168"/>
                      </a:lnTo>
                      <a:lnTo>
                        <a:pt x="744" y="166"/>
                      </a:lnTo>
                      <a:lnTo>
                        <a:pt x="748" y="166"/>
                      </a:lnTo>
                      <a:lnTo>
                        <a:pt x="756" y="165"/>
                      </a:lnTo>
                      <a:lnTo>
                        <a:pt x="764" y="165"/>
                      </a:lnTo>
                      <a:lnTo>
                        <a:pt x="774" y="162"/>
                      </a:lnTo>
                      <a:lnTo>
                        <a:pt x="779" y="160"/>
                      </a:lnTo>
                      <a:lnTo>
                        <a:pt x="782" y="158"/>
                      </a:lnTo>
                      <a:lnTo>
                        <a:pt x="782" y="154"/>
                      </a:lnTo>
                      <a:lnTo>
                        <a:pt x="782" y="151"/>
                      </a:lnTo>
                      <a:lnTo>
                        <a:pt x="781" y="147"/>
                      </a:lnTo>
                      <a:lnTo>
                        <a:pt x="778" y="144"/>
                      </a:lnTo>
                      <a:lnTo>
                        <a:pt x="772" y="138"/>
                      </a:lnTo>
                      <a:lnTo>
                        <a:pt x="764" y="134"/>
                      </a:lnTo>
                      <a:lnTo>
                        <a:pt x="760" y="133"/>
                      </a:lnTo>
                      <a:lnTo>
                        <a:pt x="755" y="133"/>
                      </a:lnTo>
                      <a:lnTo>
                        <a:pt x="745" y="133"/>
                      </a:lnTo>
                      <a:lnTo>
                        <a:pt x="735" y="134"/>
                      </a:lnTo>
                      <a:lnTo>
                        <a:pt x="730" y="134"/>
                      </a:lnTo>
                      <a:lnTo>
                        <a:pt x="726" y="133"/>
                      </a:lnTo>
                      <a:lnTo>
                        <a:pt x="722" y="132"/>
                      </a:lnTo>
                      <a:lnTo>
                        <a:pt x="720" y="130"/>
                      </a:lnTo>
                      <a:lnTo>
                        <a:pt x="717" y="126"/>
                      </a:lnTo>
                      <a:lnTo>
                        <a:pt x="716" y="122"/>
                      </a:lnTo>
                      <a:lnTo>
                        <a:pt x="716" y="120"/>
                      </a:lnTo>
                      <a:lnTo>
                        <a:pt x="718" y="114"/>
                      </a:lnTo>
                      <a:lnTo>
                        <a:pt x="722" y="110"/>
                      </a:lnTo>
                      <a:lnTo>
                        <a:pt x="725" y="104"/>
                      </a:lnTo>
                      <a:lnTo>
                        <a:pt x="725" y="103"/>
                      </a:lnTo>
                      <a:lnTo>
                        <a:pt x="723" y="102"/>
                      </a:lnTo>
                      <a:lnTo>
                        <a:pt x="721" y="100"/>
                      </a:lnTo>
                      <a:lnTo>
                        <a:pt x="721" y="96"/>
                      </a:lnTo>
                      <a:lnTo>
                        <a:pt x="722" y="93"/>
                      </a:lnTo>
                      <a:lnTo>
                        <a:pt x="729" y="87"/>
                      </a:lnTo>
                      <a:lnTo>
                        <a:pt x="734" y="89"/>
                      </a:lnTo>
                      <a:lnTo>
                        <a:pt x="739" y="93"/>
                      </a:lnTo>
                      <a:lnTo>
                        <a:pt x="744" y="95"/>
                      </a:lnTo>
                      <a:lnTo>
                        <a:pt x="749" y="96"/>
                      </a:lnTo>
                      <a:lnTo>
                        <a:pt x="753" y="95"/>
                      </a:lnTo>
                      <a:lnTo>
                        <a:pt x="756" y="94"/>
                      </a:lnTo>
                      <a:lnTo>
                        <a:pt x="760" y="91"/>
                      </a:lnTo>
                      <a:lnTo>
                        <a:pt x="768" y="85"/>
                      </a:lnTo>
                      <a:lnTo>
                        <a:pt x="774" y="77"/>
                      </a:lnTo>
                      <a:lnTo>
                        <a:pt x="779" y="68"/>
                      </a:lnTo>
                      <a:lnTo>
                        <a:pt x="789" y="51"/>
                      </a:lnTo>
                      <a:lnTo>
                        <a:pt x="798" y="37"/>
                      </a:lnTo>
                      <a:lnTo>
                        <a:pt x="803" y="30"/>
                      </a:lnTo>
                      <a:lnTo>
                        <a:pt x="805" y="23"/>
                      </a:lnTo>
                      <a:lnTo>
                        <a:pt x="805" y="20"/>
                      </a:lnTo>
                      <a:lnTo>
                        <a:pt x="803" y="20"/>
                      </a:lnTo>
                      <a:lnTo>
                        <a:pt x="800" y="20"/>
                      </a:lnTo>
                      <a:lnTo>
                        <a:pt x="796" y="20"/>
                      </a:lnTo>
                      <a:lnTo>
                        <a:pt x="791" y="20"/>
                      </a:lnTo>
                      <a:lnTo>
                        <a:pt x="797" y="10"/>
                      </a:lnTo>
                      <a:lnTo>
                        <a:pt x="802" y="5"/>
                      </a:lnTo>
                      <a:lnTo>
                        <a:pt x="809" y="2"/>
                      </a:lnTo>
                      <a:lnTo>
                        <a:pt x="817" y="0"/>
                      </a:lnTo>
                      <a:lnTo>
                        <a:pt x="828" y="0"/>
                      </a:lnTo>
                      <a:lnTo>
                        <a:pt x="839" y="0"/>
                      </a:lnTo>
                      <a:lnTo>
                        <a:pt x="850" y="1"/>
                      </a:lnTo>
                      <a:lnTo>
                        <a:pt x="871" y="5"/>
                      </a:lnTo>
                      <a:lnTo>
                        <a:pt x="880" y="7"/>
                      </a:lnTo>
                      <a:lnTo>
                        <a:pt x="887" y="11"/>
                      </a:lnTo>
                      <a:lnTo>
                        <a:pt x="891" y="11"/>
                      </a:lnTo>
                      <a:lnTo>
                        <a:pt x="892" y="13"/>
                      </a:lnTo>
                      <a:lnTo>
                        <a:pt x="895" y="19"/>
                      </a:lnTo>
                      <a:lnTo>
                        <a:pt x="896" y="26"/>
                      </a:lnTo>
                      <a:lnTo>
                        <a:pt x="899" y="33"/>
                      </a:lnTo>
                      <a:lnTo>
                        <a:pt x="903" y="42"/>
                      </a:lnTo>
                      <a:lnTo>
                        <a:pt x="906" y="50"/>
                      </a:lnTo>
                      <a:lnTo>
                        <a:pt x="911" y="58"/>
                      </a:lnTo>
                      <a:lnTo>
                        <a:pt x="914" y="68"/>
                      </a:lnTo>
                      <a:lnTo>
                        <a:pt x="916" y="72"/>
                      </a:lnTo>
                      <a:lnTo>
                        <a:pt x="922" y="77"/>
                      </a:lnTo>
                      <a:lnTo>
                        <a:pt x="924" y="78"/>
                      </a:lnTo>
                      <a:lnTo>
                        <a:pt x="928" y="79"/>
                      </a:lnTo>
                      <a:lnTo>
                        <a:pt x="932" y="79"/>
                      </a:lnTo>
                      <a:lnTo>
                        <a:pt x="934" y="78"/>
                      </a:lnTo>
                      <a:lnTo>
                        <a:pt x="937" y="77"/>
                      </a:lnTo>
                      <a:lnTo>
                        <a:pt x="938" y="78"/>
                      </a:lnTo>
                      <a:lnTo>
                        <a:pt x="939" y="81"/>
                      </a:lnTo>
                      <a:lnTo>
                        <a:pt x="944" y="82"/>
                      </a:lnTo>
                      <a:lnTo>
                        <a:pt x="949" y="83"/>
                      </a:lnTo>
                      <a:lnTo>
                        <a:pt x="958" y="83"/>
                      </a:lnTo>
                      <a:lnTo>
                        <a:pt x="962" y="84"/>
                      </a:lnTo>
                      <a:lnTo>
                        <a:pt x="965" y="87"/>
                      </a:lnTo>
                      <a:lnTo>
                        <a:pt x="965" y="89"/>
                      </a:lnTo>
                      <a:lnTo>
                        <a:pt x="965" y="91"/>
                      </a:lnTo>
                      <a:lnTo>
                        <a:pt x="965" y="94"/>
                      </a:lnTo>
                      <a:lnTo>
                        <a:pt x="966" y="96"/>
                      </a:lnTo>
                      <a:lnTo>
                        <a:pt x="971" y="101"/>
                      </a:lnTo>
                      <a:lnTo>
                        <a:pt x="974" y="107"/>
                      </a:lnTo>
                      <a:lnTo>
                        <a:pt x="975" y="114"/>
                      </a:lnTo>
                      <a:lnTo>
                        <a:pt x="975" y="121"/>
                      </a:lnTo>
                      <a:lnTo>
                        <a:pt x="976" y="128"/>
                      </a:lnTo>
                      <a:lnTo>
                        <a:pt x="977" y="132"/>
                      </a:lnTo>
                      <a:lnTo>
                        <a:pt x="980" y="134"/>
                      </a:lnTo>
                      <a:lnTo>
                        <a:pt x="983" y="136"/>
                      </a:lnTo>
                      <a:lnTo>
                        <a:pt x="988" y="139"/>
                      </a:lnTo>
                      <a:lnTo>
                        <a:pt x="993" y="140"/>
                      </a:lnTo>
                      <a:lnTo>
                        <a:pt x="998" y="140"/>
                      </a:lnTo>
                      <a:lnTo>
                        <a:pt x="1000" y="139"/>
                      </a:lnTo>
                      <a:lnTo>
                        <a:pt x="1003" y="138"/>
                      </a:lnTo>
                      <a:lnTo>
                        <a:pt x="1007" y="134"/>
                      </a:lnTo>
                      <a:lnTo>
                        <a:pt x="1013" y="125"/>
                      </a:lnTo>
                      <a:lnTo>
                        <a:pt x="1014" y="123"/>
                      </a:lnTo>
                      <a:lnTo>
                        <a:pt x="1017" y="121"/>
                      </a:lnTo>
                      <a:lnTo>
                        <a:pt x="1024" y="120"/>
                      </a:lnTo>
                      <a:lnTo>
                        <a:pt x="1032" y="121"/>
                      </a:lnTo>
                      <a:lnTo>
                        <a:pt x="1040" y="122"/>
                      </a:lnTo>
                      <a:lnTo>
                        <a:pt x="1041" y="122"/>
                      </a:lnTo>
                      <a:lnTo>
                        <a:pt x="1041" y="123"/>
                      </a:lnTo>
                      <a:lnTo>
                        <a:pt x="1041" y="127"/>
                      </a:lnTo>
                      <a:lnTo>
                        <a:pt x="1038" y="134"/>
                      </a:lnTo>
                      <a:lnTo>
                        <a:pt x="1038" y="136"/>
                      </a:lnTo>
                      <a:lnTo>
                        <a:pt x="1038" y="139"/>
                      </a:lnTo>
                      <a:lnTo>
                        <a:pt x="1042" y="142"/>
                      </a:lnTo>
                      <a:lnTo>
                        <a:pt x="1042" y="144"/>
                      </a:lnTo>
                      <a:lnTo>
                        <a:pt x="1037" y="148"/>
                      </a:lnTo>
                      <a:lnTo>
                        <a:pt x="1032" y="153"/>
                      </a:lnTo>
                      <a:lnTo>
                        <a:pt x="1031" y="155"/>
                      </a:lnTo>
                      <a:lnTo>
                        <a:pt x="1029" y="159"/>
                      </a:lnTo>
                      <a:lnTo>
                        <a:pt x="1029" y="161"/>
                      </a:lnTo>
                      <a:lnTo>
                        <a:pt x="1031" y="165"/>
                      </a:lnTo>
                      <a:lnTo>
                        <a:pt x="1031" y="166"/>
                      </a:lnTo>
                      <a:lnTo>
                        <a:pt x="1031" y="168"/>
                      </a:lnTo>
                      <a:lnTo>
                        <a:pt x="1027" y="172"/>
                      </a:lnTo>
                      <a:lnTo>
                        <a:pt x="1024" y="178"/>
                      </a:lnTo>
                      <a:lnTo>
                        <a:pt x="1022" y="185"/>
                      </a:lnTo>
                      <a:lnTo>
                        <a:pt x="1017" y="191"/>
                      </a:lnTo>
                      <a:lnTo>
                        <a:pt x="1014" y="192"/>
                      </a:lnTo>
                      <a:lnTo>
                        <a:pt x="1010" y="194"/>
                      </a:lnTo>
                      <a:lnTo>
                        <a:pt x="1005" y="196"/>
                      </a:lnTo>
                      <a:lnTo>
                        <a:pt x="1000" y="194"/>
                      </a:lnTo>
                      <a:lnTo>
                        <a:pt x="990" y="191"/>
                      </a:lnTo>
                      <a:lnTo>
                        <a:pt x="988" y="191"/>
                      </a:lnTo>
                      <a:lnTo>
                        <a:pt x="985" y="191"/>
                      </a:lnTo>
                      <a:lnTo>
                        <a:pt x="983" y="193"/>
                      </a:lnTo>
                      <a:lnTo>
                        <a:pt x="981" y="194"/>
                      </a:lnTo>
                      <a:lnTo>
                        <a:pt x="980" y="199"/>
                      </a:lnTo>
                      <a:lnTo>
                        <a:pt x="979" y="203"/>
                      </a:lnTo>
                      <a:lnTo>
                        <a:pt x="980" y="211"/>
                      </a:lnTo>
                      <a:lnTo>
                        <a:pt x="981" y="218"/>
                      </a:lnTo>
                      <a:lnTo>
                        <a:pt x="985" y="227"/>
                      </a:lnTo>
                      <a:lnTo>
                        <a:pt x="986" y="230"/>
                      </a:lnTo>
                      <a:lnTo>
                        <a:pt x="986" y="234"/>
                      </a:lnTo>
                      <a:lnTo>
                        <a:pt x="986" y="238"/>
                      </a:lnTo>
                      <a:lnTo>
                        <a:pt x="984" y="242"/>
                      </a:lnTo>
                      <a:lnTo>
                        <a:pt x="980" y="249"/>
                      </a:lnTo>
                      <a:lnTo>
                        <a:pt x="975" y="256"/>
                      </a:lnTo>
                      <a:lnTo>
                        <a:pt x="974" y="251"/>
                      </a:lnTo>
                      <a:lnTo>
                        <a:pt x="970" y="248"/>
                      </a:lnTo>
                      <a:lnTo>
                        <a:pt x="966" y="247"/>
                      </a:lnTo>
                      <a:lnTo>
                        <a:pt x="965" y="247"/>
                      </a:lnTo>
                      <a:lnTo>
                        <a:pt x="962" y="248"/>
                      </a:lnTo>
                      <a:lnTo>
                        <a:pt x="956" y="254"/>
                      </a:lnTo>
                      <a:lnTo>
                        <a:pt x="953" y="257"/>
                      </a:lnTo>
                      <a:lnTo>
                        <a:pt x="948" y="260"/>
                      </a:lnTo>
                      <a:lnTo>
                        <a:pt x="947" y="262"/>
                      </a:lnTo>
                      <a:lnTo>
                        <a:pt x="944" y="264"/>
                      </a:lnTo>
                      <a:lnTo>
                        <a:pt x="943" y="267"/>
                      </a:lnTo>
                      <a:lnTo>
                        <a:pt x="942" y="269"/>
                      </a:lnTo>
                      <a:lnTo>
                        <a:pt x="932" y="275"/>
                      </a:lnTo>
                      <a:lnTo>
                        <a:pt x="922" y="281"/>
                      </a:lnTo>
                      <a:lnTo>
                        <a:pt x="920" y="282"/>
                      </a:lnTo>
                      <a:lnTo>
                        <a:pt x="918" y="281"/>
                      </a:lnTo>
                      <a:lnTo>
                        <a:pt x="915" y="277"/>
                      </a:lnTo>
                      <a:lnTo>
                        <a:pt x="910" y="276"/>
                      </a:lnTo>
                      <a:lnTo>
                        <a:pt x="905" y="276"/>
                      </a:lnTo>
                      <a:lnTo>
                        <a:pt x="901" y="277"/>
                      </a:lnTo>
                      <a:lnTo>
                        <a:pt x="899" y="279"/>
                      </a:lnTo>
                      <a:lnTo>
                        <a:pt x="897" y="280"/>
                      </a:lnTo>
                      <a:lnTo>
                        <a:pt x="896" y="285"/>
                      </a:lnTo>
                      <a:lnTo>
                        <a:pt x="896" y="291"/>
                      </a:lnTo>
                      <a:lnTo>
                        <a:pt x="895" y="295"/>
                      </a:lnTo>
                      <a:lnTo>
                        <a:pt x="886" y="299"/>
                      </a:lnTo>
                      <a:lnTo>
                        <a:pt x="883" y="301"/>
                      </a:lnTo>
                      <a:lnTo>
                        <a:pt x="880" y="304"/>
                      </a:lnTo>
                      <a:lnTo>
                        <a:pt x="873" y="312"/>
                      </a:lnTo>
                      <a:lnTo>
                        <a:pt x="869" y="315"/>
                      </a:lnTo>
                      <a:lnTo>
                        <a:pt x="864" y="318"/>
                      </a:lnTo>
                      <a:lnTo>
                        <a:pt x="861" y="318"/>
                      </a:lnTo>
                      <a:lnTo>
                        <a:pt x="858" y="319"/>
                      </a:lnTo>
                      <a:lnTo>
                        <a:pt x="849" y="325"/>
                      </a:lnTo>
                      <a:lnTo>
                        <a:pt x="844" y="327"/>
                      </a:lnTo>
                      <a:lnTo>
                        <a:pt x="838" y="327"/>
                      </a:lnTo>
                      <a:lnTo>
                        <a:pt x="835" y="327"/>
                      </a:lnTo>
                      <a:lnTo>
                        <a:pt x="833" y="328"/>
                      </a:lnTo>
                      <a:lnTo>
                        <a:pt x="830" y="332"/>
                      </a:lnTo>
                      <a:lnTo>
                        <a:pt x="829" y="336"/>
                      </a:lnTo>
                      <a:lnTo>
                        <a:pt x="826" y="338"/>
                      </a:lnTo>
                      <a:lnTo>
                        <a:pt x="824" y="340"/>
                      </a:lnTo>
                      <a:lnTo>
                        <a:pt x="820" y="343"/>
                      </a:lnTo>
                      <a:lnTo>
                        <a:pt x="812" y="344"/>
                      </a:lnTo>
                      <a:lnTo>
                        <a:pt x="806" y="343"/>
                      </a:lnTo>
                      <a:lnTo>
                        <a:pt x="805" y="343"/>
                      </a:lnTo>
                      <a:lnTo>
                        <a:pt x="803" y="342"/>
                      </a:lnTo>
                      <a:lnTo>
                        <a:pt x="805" y="339"/>
                      </a:lnTo>
                      <a:lnTo>
                        <a:pt x="806" y="338"/>
                      </a:lnTo>
                      <a:lnTo>
                        <a:pt x="809" y="337"/>
                      </a:lnTo>
                      <a:lnTo>
                        <a:pt x="811" y="336"/>
                      </a:lnTo>
                      <a:lnTo>
                        <a:pt x="814" y="334"/>
                      </a:lnTo>
                      <a:lnTo>
                        <a:pt x="814" y="332"/>
                      </a:lnTo>
                      <a:lnTo>
                        <a:pt x="812" y="330"/>
                      </a:lnTo>
                      <a:lnTo>
                        <a:pt x="812" y="327"/>
                      </a:lnTo>
                      <a:lnTo>
                        <a:pt x="812" y="326"/>
                      </a:lnTo>
                      <a:lnTo>
                        <a:pt x="816" y="319"/>
                      </a:lnTo>
                      <a:lnTo>
                        <a:pt x="820" y="312"/>
                      </a:lnTo>
                      <a:lnTo>
                        <a:pt x="821" y="304"/>
                      </a:lnTo>
                      <a:lnTo>
                        <a:pt x="821" y="296"/>
                      </a:lnTo>
                      <a:lnTo>
                        <a:pt x="821" y="294"/>
                      </a:lnTo>
                      <a:lnTo>
                        <a:pt x="819" y="292"/>
                      </a:lnTo>
                      <a:lnTo>
                        <a:pt x="816" y="291"/>
                      </a:lnTo>
                      <a:lnTo>
                        <a:pt x="814" y="291"/>
                      </a:lnTo>
                      <a:lnTo>
                        <a:pt x="807" y="298"/>
                      </a:lnTo>
                      <a:lnTo>
                        <a:pt x="800" y="306"/>
                      </a:lnTo>
                      <a:lnTo>
                        <a:pt x="786" y="321"/>
                      </a:lnTo>
                      <a:lnTo>
                        <a:pt x="784" y="324"/>
                      </a:lnTo>
                      <a:lnTo>
                        <a:pt x="784" y="327"/>
                      </a:lnTo>
                      <a:lnTo>
                        <a:pt x="783" y="330"/>
                      </a:lnTo>
                      <a:lnTo>
                        <a:pt x="781" y="332"/>
                      </a:lnTo>
                      <a:lnTo>
                        <a:pt x="779" y="333"/>
                      </a:lnTo>
                      <a:lnTo>
                        <a:pt x="777" y="333"/>
                      </a:lnTo>
                      <a:lnTo>
                        <a:pt x="770" y="334"/>
                      </a:lnTo>
                      <a:lnTo>
                        <a:pt x="767" y="334"/>
                      </a:lnTo>
                      <a:lnTo>
                        <a:pt x="764" y="333"/>
                      </a:lnTo>
                      <a:lnTo>
                        <a:pt x="760" y="331"/>
                      </a:lnTo>
                      <a:lnTo>
                        <a:pt x="758" y="331"/>
                      </a:lnTo>
                      <a:lnTo>
                        <a:pt x="754" y="333"/>
                      </a:lnTo>
                      <a:lnTo>
                        <a:pt x="751" y="337"/>
                      </a:lnTo>
                      <a:lnTo>
                        <a:pt x="749" y="342"/>
                      </a:lnTo>
                      <a:lnTo>
                        <a:pt x="749" y="346"/>
                      </a:lnTo>
                      <a:lnTo>
                        <a:pt x="750" y="347"/>
                      </a:lnTo>
                      <a:lnTo>
                        <a:pt x="751" y="349"/>
                      </a:lnTo>
                      <a:lnTo>
                        <a:pt x="754" y="350"/>
                      </a:lnTo>
                      <a:lnTo>
                        <a:pt x="756" y="355"/>
                      </a:lnTo>
                      <a:lnTo>
                        <a:pt x="758" y="358"/>
                      </a:lnTo>
                      <a:lnTo>
                        <a:pt x="760" y="362"/>
                      </a:lnTo>
                      <a:lnTo>
                        <a:pt x="764" y="365"/>
                      </a:lnTo>
                      <a:lnTo>
                        <a:pt x="765" y="366"/>
                      </a:lnTo>
                      <a:lnTo>
                        <a:pt x="765" y="370"/>
                      </a:lnTo>
                      <a:lnTo>
                        <a:pt x="765" y="372"/>
                      </a:lnTo>
                      <a:lnTo>
                        <a:pt x="765" y="375"/>
                      </a:lnTo>
                      <a:lnTo>
                        <a:pt x="770" y="378"/>
                      </a:lnTo>
                      <a:lnTo>
                        <a:pt x="774" y="379"/>
                      </a:lnTo>
                      <a:lnTo>
                        <a:pt x="779" y="379"/>
                      </a:lnTo>
                      <a:lnTo>
                        <a:pt x="786" y="378"/>
                      </a:lnTo>
                      <a:lnTo>
                        <a:pt x="796" y="375"/>
                      </a:lnTo>
                      <a:lnTo>
                        <a:pt x="805" y="369"/>
                      </a:lnTo>
                      <a:lnTo>
                        <a:pt x="807" y="369"/>
                      </a:lnTo>
                      <a:lnTo>
                        <a:pt x="809" y="369"/>
                      </a:lnTo>
                      <a:lnTo>
                        <a:pt x="812" y="370"/>
                      </a:lnTo>
                      <a:lnTo>
                        <a:pt x="815" y="371"/>
                      </a:lnTo>
                      <a:lnTo>
                        <a:pt x="819" y="372"/>
                      </a:lnTo>
                      <a:lnTo>
                        <a:pt x="825" y="372"/>
                      </a:lnTo>
                      <a:lnTo>
                        <a:pt x="831" y="374"/>
                      </a:lnTo>
                      <a:lnTo>
                        <a:pt x="834" y="374"/>
                      </a:lnTo>
                      <a:lnTo>
                        <a:pt x="835" y="376"/>
                      </a:lnTo>
                      <a:lnTo>
                        <a:pt x="836" y="378"/>
                      </a:lnTo>
                      <a:lnTo>
                        <a:pt x="834" y="383"/>
                      </a:lnTo>
                      <a:lnTo>
                        <a:pt x="831" y="387"/>
                      </a:lnTo>
                      <a:lnTo>
                        <a:pt x="829" y="389"/>
                      </a:lnTo>
                      <a:lnTo>
                        <a:pt x="820" y="390"/>
                      </a:lnTo>
                      <a:lnTo>
                        <a:pt x="812" y="391"/>
                      </a:lnTo>
                      <a:lnTo>
                        <a:pt x="806" y="395"/>
                      </a:lnTo>
                      <a:lnTo>
                        <a:pt x="800" y="400"/>
                      </a:lnTo>
                      <a:lnTo>
                        <a:pt x="795" y="404"/>
                      </a:lnTo>
                      <a:lnTo>
                        <a:pt x="789" y="410"/>
                      </a:lnTo>
                      <a:lnTo>
                        <a:pt x="786" y="416"/>
                      </a:lnTo>
                      <a:lnTo>
                        <a:pt x="783" y="423"/>
                      </a:lnTo>
                      <a:lnTo>
                        <a:pt x="779" y="428"/>
                      </a:lnTo>
                      <a:lnTo>
                        <a:pt x="779" y="429"/>
                      </a:lnTo>
                      <a:lnTo>
                        <a:pt x="781" y="430"/>
                      </a:lnTo>
                      <a:lnTo>
                        <a:pt x="784" y="433"/>
                      </a:lnTo>
                      <a:lnTo>
                        <a:pt x="797" y="449"/>
                      </a:lnTo>
                      <a:lnTo>
                        <a:pt x="797" y="453"/>
                      </a:lnTo>
                      <a:lnTo>
                        <a:pt x="796" y="455"/>
                      </a:lnTo>
                      <a:lnTo>
                        <a:pt x="795" y="459"/>
                      </a:lnTo>
                      <a:lnTo>
                        <a:pt x="795" y="462"/>
                      </a:lnTo>
                      <a:lnTo>
                        <a:pt x="796" y="466"/>
                      </a:lnTo>
                      <a:lnTo>
                        <a:pt x="798" y="470"/>
                      </a:lnTo>
                      <a:lnTo>
                        <a:pt x="798" y="471"/>
                      </a:lnTo>
                      <a:lnTo>
                        <a:pt x="798" y="473"/>
                      </a:lnTo>
                      <a:lnTo>
                        <a:pt x="803" y="474"/>
                      </a:lnTo>
                      <a:lnTo>
                        <a:pt x="807" y="475"/>
                      </a:lnTo>
                      <a:lnTo>
                        <a:pt x="810" y="478"/>
                      </a:lnTo>
                      <a:lnTo>
                        <a:pt x="811" y="480"/>
                      </a:lnTo>
                      <a:lnTo>
                        <a:pt x="815" y="496"/>
                      </a:lnTo>
                      <a:lnTo>
                        <a:pt x="817" y="500"/>
                      </a:lnTo>
                      <a:lnTo>
                        <a:pt x="821" y="504"/>
                      </a:lnTo>
                      <a:lnTo>
                        <a:pt x="823" y="506"/>
                      </a:lnTo>
                      <a:lnTo>
                        <a:pt x="823" y="510"/>
                      </a:lnTo>
                      <a:lnTo>
                        <a:pt x="821" y="512"/>
                      </a:lnTo>
                      <a:lnTo>
                        <a:pt x="819" y="516"/>
                      </a:lnTo>
                      <a:lnTo>
                        <a:pt x="811" y="521"/>
                      </a:lnTo>
                      <a:lnTo>
                        <a:pt x="807" y="525"/>
                      </a:lnTo>
                      <a:lnTo>
                        <a:pt x="803" y="528"/>
                      </a:lnTo>
                      <a:lnTo>
                        <a:pt x="802" y="530"/>
                      </a:lnTo>
                      <a:lnTo>
                        <a:pt x="802" y="531"/>
                      </a:lnTo>
                      <a:lnTo>
                        <a:pt x="803" y="532"/>
                      </a:lnTo>
                      <a:lnTo>
                        <a:pt x="806" y="535"/>
                      </a:lnTo>
                      <a:lnTo>
                        <a:pt x="809" y="535"/>
                      </a:lnTo>
                      <a:lnTo>
                        <a:pt x="814" y="535"/>
                      </a:lnTo>
                      <a:lnTo>
                        <a:pt x="819" y="534"/>
                      </a:lnTo>
                      <a:lnTo>
                        <a:pt x="824" y="534"/>
                      </a:lnTo>
                      <a:lnTo>
                        <a:pt x="825" y="534"/>
                      </a:lnTo>
                      <a:lnTo>
                        <a:pt x="826" y="536"/>
                      </a:lnTo>
                      <a:lnTo>
                        <a:pt x="828" y="541"/>
                      </a:lnTo>
                      <a:lnTo>
                        <a:pt x="825" y="545"/>
                      </a:lnTo>
                      <a:lnTo>
                        <a:pt x="823" y="549"/>
                      </a:lnTo>
                      <a:lnTo>
                        <a:pt x="820" y="550"/>
                      </a:lnTo>
                      <a:lnTo>
                        <a:pt x="816" y="550"/>
                      </a:lnTo>
                      <a:lnTo>
                        <a:pt x="814" y="550"/>
                      </a:lnTo>
                      <a:lnTo>
                        <a:pt x="811" y="553"/>
                      </a:lnTo>
                      <a:lnTo>
                        <a:pt x="810" y="554"/>
                      </a:lnTo>
                      <a:lnTo>
                        <a:pt x="811" y="556"/>
                      </a:lnTo>
                      <a:lnTo>
                        <a:pt x="815" y="558"/>
                      </a:lnTo>
                      <a:lnTo>
                        <a:pt x="816" y="562"/>
                      </a:lnTo>
                      <a:lnTo>
                        <a:pt x="816" y="566"/>
                      </a:lnTo>
                      <a:lnTo>
                        <a:pt x="815" y="574"/>
                      </a:lnTo>
                      <a:lnTo>
                        <a:pt x="815" y="576"/>
                      </a:lnTo>
                      <a:lnTo>
                        <a:pt x="816" y="580"/>
                      </a:lnTo>
                      <a:lnTo>
                        <a:pt x="816" y="581"/>
                      </a:lnTo>
                      <a:lnTo>
                        <a:pt x="815" y="582"/>
                      </a:lnTo>
                      <a:lnTo>
                        <a:pt x="811" y="582"/>
                      </a:lnTo>
                      <a:lnTo>
                        <a:pt x="809" y="582"/>
                      </a:lnTo>
                      <a:lnTo>
                        <a:pt x="806" y="583"/>
                      </a:lnTo>
                      <a:lnTo>
                        <a:pt x="803" y="586"/>
                      </a:lnTo>
                      <a:lnTo>
                        <a:pt x="800" y="590"/>
                      </a:lnTo>
                      <a:lnTo>
                        <a:pt x="797" y="595"/>
                      </a:lnTo>
                      <a:lnTo>
                        <a:pt x="793" y="601"/>
                      </a:lnTo>
                      <a:lnTo>
                        <a:pt x="789" y="605"/>
                      </a:lnTo>
                      <a:lnTo>
                        <a:pt x="784" y="608"/>
                      </a:lnTo>
                      <a:lnTo>
                        <a:pt x="783" y="612"/>
                      </a:lnTo>
                      <a:lnTo>
                        <a:pt x="782" y="614"/>
                      </a:lnTo>
                      <a:lnTo>
                        <a:pt x="779" y="622"/>
                      </a:lnTo>
                      <a:lnTo>
                        <a:pt x="778" y="626"/>
                      </a:lnTo>
                      <a:lnTo>
                        <a:pt x="778" y="631"/>
                      </a:lnTo>
                      <a:lnTo>
                        <a:pt x="777" y="632"/>
                      </a:lnTo>
                      <a:lnTo>
                        <a:pt x="776" y="633"/>
                      </a:lnTo>
                      <a:lnTo>
                        <a:pt x="770" y="634"/>
                      </a:lnTo>
                      <a:lnTo>
                        <a:pt x="767" y="637"/>
                      </a:lnTo>
                      <a:lnTo>
                        <a:pt x="764" y="639"/>
                      </a:lnTo>
                      <a:lnTo>
                        <a:pt x="763" y="641"/>
                      </a:lnTo>
                      <a:lnTo>
                        <a:pt x="764" y="644"/>
                      </a:lnTo>
                      <a:lnTo>
                        <a:pt x="765" y="646"/>
                      </a:lnTo>
                      <a:lnTo>
                        <a:pt x="767" y="647"/>
                      </a:lnTo>
                      <a:lnTo>
                        <a:pt x="767" y="650"/>
                      </a:lnTo>
                      <a:lnTo>
                        <a:pt x="767" y="651"/>
                      </a:lnTo>
                      <a:lnTo>
                        <a:pt x="755" y="658"/>
                      </a:lnTo>
                      <a:lnTo>
                        <a:pt x="750" y="663"/>
                      </a:lnTo>
                      <a:lnTo>
                        <a:pt x="749" y="665"/>
                      </a:lnTo>
                      <a:lnTo>
                        <a:pt x="748" y="668"/>
                      </a:lnTo>
                      <a:lnTo>
                        <a:pt x="748" y="669"/>
                      </a:lnTo>
                      <a:lnTo>
                        <a:pt x="749" y="669"/>
                      </a:lnTo>
                      <a:lnTo>
                        <a:pt x="750" y="670"/>
                      </a:lnTo>
                      <a:lnTo>
                        <a:pt x="750" y="671"/>
                      </a:lnTo>
                      <a:lnTo>
                        <a:pt x="749" y="672"/>
                      </a:lnTo>
                      <a:lnTo>
                        <a:pt x="743" y="672"/>
                      </a:lnTo>
                      <a:lnTo>
                        <a:pt x="737" y="673"/>
                      </a:lnTo>
                      <a:lnTo>
                        <a:pt x="734" y="677"/>
                      </a:lnTo>
                      <a:lnTo>
                        <a:pt x="731" y="682"/>
                      </a:lnTo>
                      <a:lnTo>
                        <a:pt x="729" y="684"/>
                      </a:lnTo>
                      <a:lnTo>
                        <a:pt x="723" y="687"/>
                      </a:lnTo>
                      <a:lnTo>
                        <a:pt x="718" y="688"/>
                      </a:lnTo>
                      <a:lnTo>
                        <a:pt x="716" y="687"/>
                      </a:lnTo>
                      <a:lnTo>
                        <a:pt x="715" y="685"/>
                      </a:lnTo>
                      <a:lnTo>
                        <a:pt x="715" y="683"/>
                      </a:lnTo>
                      <a:lnTo>
                        <a:pt x="715" y="679"/>
                      </a:lnTo>
                      <a:lnTo>
                        <a:pt x="712" y="678"/>
                      </a:lnTo>
                      <a:lnTo>
                        <a:pt x="711" y="678"/>
                      </a:lnTo>
                      <a:lnTo>
                        <a:pt x="707" y="682"/>
                      </a:lnTo>
                      <a:lnTo>
                        <a:pt x="704" y="684"/>
                      </a:lnTo>
                      <a:lnTo>
                        <a:pt x="701" y="685"/>
                      </a:lnTo>
                      <a:lnTo>
                        <a:pt x="697" y="687"/>
                      </a:lnTo>
                      <a:lnTo>
                        <a:pt x="689" y="685"/>
                      </a:lnTo>
                      <a:lnTo>
                        <a:pt x="682" y="684"/>
                      </a:lnTo>
                      <a:lnTo>
                        <a:pt x="679" y="684"/>
                      </a:lnTo>
                      <a:lnTo>
                        <a:pt x="678" y="685"/>
                      </a:lnTo>
                      <a:lnTo>
                        <a:pt x="676" y="691"/>
                      </a:lnTo>
                      <a:lnTo>
                        <a:pt x="675" y="692"/>
                      </a:lnTo>
                      <a:lnTo>
                        <a:pt x="674" y="694"/>
                      </a:lnTo>
                      <a:lnTo>
                        <a:pt x="674" y="700"/>
                      </a:lnTo>
                      <a:lnTo>
                        <a:pt x="671" y="703"/>
                      </a:lnTo>
                      <a:lnTo>
                        <a:pt x="668" y="707"/>
                      </a:lnTo>
                      <a:lnTo>
                        <a:pt x="664" y="708"/>
                      </a:lnTo>
                      <a:lnTo>
                        <a:pt x="663" y="707"/>
                      </a:lnTo>
                      <a:lnTo>
                        <a:pt x="663" y="704"/>
                      </a:lnTo>
                      <a:lnTo>
                        <a:pt x="663" y="702"/>
                      </a:lnTo>
                      <a:lnTo>
                        <a:pt x="663" y="700"/>
                      </a:lnTo>
                      <a:lnTo>
                        <a:pt x="660" y="700"/>
                      </a:lnTo>
                      <a:lnTo>
                        <a:pt x="659" y="700"/>
                      </a:lnTo>
                      <a:lnTo>
                        <a:pt x="656" y="702"/>
                      </a:lnTo>
                      <a:lnTo>
                        <a:pt x="652" y="708"/>
                      </a:lnTo>
                      <a:lnTo>
                        <a:pt x="647" y="710"/>
                      </a:lnTo>
                      <a:lnTo>
                        <a:pt x="642" y="713"/>
                      </a:lnTo>
                      <a:lnTo>
                        <a:pt x="636" y="715"/>
                      </a:lnTo>
                      <a:lnTo>
                        <a:pt x="629" y="719"/>
                      </a:lnTo>
                      <a:lnTo>
                        <a:pt x="624" y="723"/>
                      </a:lnTo>
                      <a:lnTo>
                        <a:pt x="623" y="726"/>
                      </a:lnTo>
                      <a:lnTo>
                        <a:pt x="622" y="728"/>
                      </a:lnTo>
                      <a:lnTo>
                        <a:pt x="623" y="730"/>
                      </a:lnTo>
                      <a:lnTo>
                        <a:pt x="624" y="733"/>
                      </a:lnTo>
                      <a:lnTo>
                        <a:pt x="626" y="735"/>
                      </a:lnTo>
                      <a:lnTo>
                        <a:pt x="627" y="737"/>
                      </a:lnTo>
                      <a:lnTo>
                        <a:pt x="624" y="739"/>
                      </a:lnTo>
                      <a:lnTo>
                        <a:pt x="622" y="739"/>
                      </a:lnTo>
                      <a:lnTo>
                        <a:pt x="613" y="735"/>
                      </a:lnTo>
                      <a:lnTo>
                        <a:pt x="612" y="733"/>
                      </a:lnTo>
                      <a:lnTo>
                        <a:pt x="612" y="732"/>
                      </a:lnTo>
                      <a:lnTo>
                        <a:pt x="613" y="729"/>
                      </a:lnTo>
                      <a:lnTo>
                        <a:pt x="613" y="727"/>
                      </a:lnTo>
                      <a:lnTo>
                        <a:pt x="612" y="724"/>
                      </a:lnTo>
                      <a:lnTo>
                        <a:pt x="610" y="721"/>
                      </a:lnTo>
                      <a:lnTo>
                        <a:pt x="610" y="720"/>
                      </a:lnTo>
                      <a:lnTo>
                        <a:pt x="612" y="719"/>
                      </a:lnTo>
                      <a:lnTo>
                        <a:pt x="614" y="716"/>
                      </a:lnTo>
                      <a:lnTo>
                        <a:pt x="616" y="715"/>
                      </a:lnTo>
                      <a:lnTo>
                        <a:pt x="617" y="714"/>
                      </a:lnTo>
                      <a:lnTo>
                        <a:pt x="617" y="713"/>
                      </a:lnTo>
                      <a:lnTo>
                        <a:pt x="616" y="711"/>
                      </a:lnTo>
                      <a:lnTo>
                        <a:pt x="614" y="711"/>
                      </a:lnTo>
                      <a:lnTo>
                        <a:pt x="610" y="711"/>
                      </a:lnTo>
                      <a:lnTo>
                        <a:pt x="608" y="713"/>
                      </a:lnTo>
                      <a:lnTo>
                        <a:pt x="607" y="714"/>
                      </a:lnTo>
                      <a:lnTo>
                        <a:pt x="605" y="715"/>
                      </a:lnTo>
                      <a:lnTo>
                        <a:pt x="604" y="716"/>
                      </a:lnTo>
                      <a:lnTo>
                        <a:pt x="590" y="717"/>
                      </a:lnTo>
                      <a:lnTo>
                        <a:pt x="588" y="714"/>
                      </a:lnTo>
                      <a:lnTo>
                        <a:pt x="584" y="711"/>
                      </a:lnTo>
                      <a:lnTo>
                        <a:pt x="577" y="708"/>
                      </a:lnTo>
                      <a:lnTo>
                        <a:pt x="570" y="704"/>
                      </a:lnTo>
                      <a:lnTo>
                        <a:pt x="562" y="701"/>
                      </a:lnTo>
                      <a:lnTo>
                        <a:pt x="560" y="700"/>
                      </a:lnTo>
                      <a:lnTo>
                        <a:pt x="560" y="698"/>
                      </a:lnTo>
                      <a:lnTo>
                        <a:pt x="560" y="695"/>
                      </a:lnTo>
                      <a:lnTo>
                        <a:pt x="561" y="690"/>
                      </a:lnTo>
                      <a:lnTo>
                        <a:pt x="561" y="688"/>
                      </a:lnTo>
                      <a:lnTo>
                        <a:pt x="561" y="687"/>
                      </a:lnTo>
                      <a:lnTo>
                        <a:pt x="556" y="681"/>
                      </a:lnTo>
                      <a:lnTo>
                        <a:pt x="551" y="678"/>
                      </a:lnTo>
                      <a:lnTo>
                        <a:pt x="546" y="676"/>
                      </a:lnTo>
                      <a:lnTo>
                        <a:pt x="538" y="677"/>
                      </a:lnTo>
                      <a:lnTo>
                        <a:pt x="527" y="681"/>
                      </a:lnTo>
                      <a:lnTo>
                        <a:pt x="518" y="683"/>
                      </a:lnTo>
                      <a:lnTo>
                        <a:pt x="510" y="688"/>
                      </a:lnTo>
                      <a:lnTo>
                        <a:pt x="506" y="689"/>
                      </a:lnTo>
                      <a:lnTo>
                        <a:pt x="501" y="690"/>
                      </a:lnTo>
                      <a:lnTo>
                        <a:pt x="494" y="689"/>
                      </a:lnTo>
                      <a:lnTo>
                        <a:pt x="491" y="690"/>
                      </a:lnTo>
                      <a:lnTo>
                        <a:pt x="489" y="692"/>
                      </a:lnTo>
                      <a:lnTo>
                        <a:pt x="483" y="691"/>
                      </a:lnTo>
                      <a:lnTo>
                        <a:pt x="481" y="691"/>
                      </a:lnTo>
                      <a:lnTo>
                        <a:pt x="478" y="692"/>
                      </a:lnTo>
                      <a:lnTo>
                        <a:pt x="478" y="695"/>
                      </a:lnTo>
                      <a:lnTo>
                        <a:pt x="477" y="696"/>
                      </a:lnTo>
                      <a:lnTo>
                        <a:pt x="478" y="700"/>
                      </a:lnTo>
                      <a:lnTo>
                        <a:pt x="483" y="707"/>
                      </a:lnTo>
                      <a:lnTo>
                        <a:pt x="483" y="711"/>
                      </a:lnTo>
                      <a:lnTo>
                        <a:pt x="483" y="713"/>
                      </a:lnTo>
                      <a:lnTo>
                        <a:pt x="482" y="714"/>
                      </a:lnTo>
                      <a:lnTo>
                        <a:pt x="478" y="716"/>
                      </a:lnTo>
                      <a:lnTo>
                        <a:pt x="475" y="717"/>
                      </a:lnTo>
                      <a:lnTo>
                        <a:pt x="471" y="716"/>
                      </a:lnTo>
                      <a:lnTo>
                        <a:pt x="466" y="715"/>
                      </a:lnTo>
                      <a:lnTo>
                        <a:pt x="467" y="713"/>
                      </a:lnTo>
                      <a:lnTo>
                        <a:pt x="466" y="710"/>
                      </a:lnTo>
                      <a:lnTo>
                        <a:pt x="466" y="709"/>
                      </a:lnTo>
                      <a:lnTo>
                        <a:pt x="462" y="708"/>
                      </a:lnTo>
                      <a:lnTo>
                        <a:pt x="456" y="708"/>
                      </a:lnTo>
                      <a:lnTo>
                        <a:pt x="454" y="707"/>
                      </a:lnTo>
                      <a:lnTo>
                        <a:pt x="453" y="705"/>
                      </a:lnTo>
                      <a:lnTo>
                        <a:pt x="453" y="702"/>
                      </a:lnTo>
                      <a:lnTo>
                        <a:pt x="453" y="698"/>
                      </a:lnTo>
                      <a:lnTo>
                        <a:pt x="452" y="697"/>
                      </a:lnTo>
                      <a:lnTo>
                        <a:pt x="450" y="697"/>
                      </a:lnTo>
                      <a:lnTo>
                        <a:pt x="445" y="698"/>
                      </a:lnTo>
                      <a:lnTo>
                        <a:pt x="443" y="698"/>
                      </a:lnTo>
                      <a:lnTo>
                        <a:pt x="440" y="698"/>
                      </a:lnTo>
                      <a:lnTo>
                        <a:pt x="439" y="697"/>
                      </a:lnTo>
                      <a:lnTo>
                        <a:pt x="439" y="695"/>
                      </a:lnTo>
                      <a:lnTo>
                        <a:pt x="442" y="690"/>
                      </a:lnTo>
                      <a:lnTo>
                        <a:pt x="445" y="687"/>
                      </a:lnTo>
                      <a:lnTo>
                        <a:pt x="449" y="682"/>
                      </a:lnTo>
                      <a:lnTo>
                        <a:pt x="450" y="677"/>
                      </a:lnTo>
                      <a:lnTo>
                        <a:pt x="450" y="675"/>
                      </a:lnTo>
                      <a:lnTo>
                        <a:pt x="448" y="675"/>
                      </a:lnTo>
                      <a:lnTo>
                        <a:pt x="443" y="675"/>
                      </a:lnTo>
                      <a:lnTo>
                        <a:pt x="440" y="673"/>
                      </a:lnTo>
                      <a:lnTo>
                        <a:pt x="439" y="671"/>
                      </a:lnTo>
                      <a:lnTo>
                        <a:pt x="439" y="666"/>
                      </a:lnTo>
                      <a:lnTo>
                        <a:pt x="439" y="660"/>
                      </a:lnTo>
                      <a:lnTo>
                        <a:pt x="439" y="658"/>
                      </a:lnTo>
                      <a:lnTo>
                        <a:pt x="438" y="657"/>
                      </a:lnTo>
                      <a:lnTo>
                        <a:pt x="435" y="657"/>
                      </a:lnTo>
                      <a:lnTo>
                        <a:pt x="431" y="657"/>
                      </a:lnTo>
                      <a:lnTo>
                        <a:pt x="425" y="658"/>
                      </a:lnTo>
                      <a:lnTo>
                        <a:pt x="419" y="659"/>
                      </a:lnTo>
                      <a:lnTo>
                        <a:pt x="416" y="658"/>
                      </a:lnTo>
                      <a:lnTo>
                        <a:pt x="415" y="657"/>
                      </a:lnTo>
                      <a:lnTo>
                        <a:pt x="412" y="652"/>
                      </a:lnTo>
                      <a:lnTo>
                        <a:pt x="412" y="649"/>
                      </a:lnTo>
                      <a:lnTo>
                        <a:pt x="412" y="645"/>
                      </a:lnTo>
                      <a:lnTo>
                        <a:pt x="414" y="640"/>
                      </a:lnTo>
                      <a:lnTo>
                        <a:pt x="417" y="632"/>
                      </a:lnTo>
                      <a:lnTo>
                        <a:pt x="421" y="624"/>
                      </a:lnTo>
                      <a:lnTo>
                        <a:pt x="424" y="619"/>
                      </a:lnTo>
                      <a:lnTo>
                        <a:pt x="425" y="614"/>
                      </a:lnTo>
                      <a:lnTo>
                        <a:pt x="426" y="604"/>
                      </a:lnTo>
                      <a:lnTo>
                        <a:pt x="425" y="581"/>
                      </a:lnTo>
                      <a:lnTo>
                        <a:pt x="424" y="576"/>
                      </a:lnTo>
                      <a:lnTo>
                        <a:pt x="421" y="572"/>
                      </a:lnTo>
                      <a:lnTo>
                        <a:pt x="416" y="569"/>
                      </a:lnTo>
                      <a:lnTo>
                        <a:pt x="414" y="568"/>
                      </a:lnTo>
                      <a:lnTo>
                        <a:pt x="412" y="569"/>
                      </a:lnTo>
                      <a:lnTo>
                        <a:pt x="407" y="570"/>
                      </a:lnTo>
                      <a:lnTo>
                        <a:pt x="401" y="572"/>
                      </a:lnTo>
                      <a:lnTo>
                        <a:pt x="398" y="570"/>
                      </a:lnTo>
                      <a:lnTo>
                        <a:pt x="397" y="568"/>
                      </a:lnTo>
                      <a:lnTo>
                        <a:pt x="397" y="566"/>
                      </a:lnTo>
                      <a:lnTo>
                        <a:pt x="398" y="563"/>
                      </a:lnTo>
                      <a:lnTo>
                        <a:pt x="400" y="560"/>
                      </a:lnTo>
                      <a:lnTo>
                        <a:pt x="398" y="557"/>
                      </a:lnTo>
                      <a:lnTo>
                        <a:pt x="395" y="555"/>
                      </a:lnTo>
                      <a:lnTo>
                        <a:pt x="391" y="554"/>
                      </a:lnTo>
                      <a:lnTo>
                        <a:pt x="383" y="553"/>
                      </a:lnTo>
                      <a:lnTo>
                        <a:pt x="374" y="553"/>
                      </a:lnTo>
                      <a:lnTo>
                        <a:pt x="365" y="555"/>
                      </a:lnTo>
                      <a:lnTo>
                        <a:pt x="353" y="560"/>
                      </a:lnTo>
                      <a:lnTo>
                        <a:pt x="336" y="568"/>
                      </a:lnTo>
                      <a:lnTo>
                        <a:pt x="321" y="576"/>
                      </a:lnTo>
                      <a:lnTo>
                        <a:pt x="315" y="579"/>
                      </a:lnTo>
                      <a:lnTo>
                        <a:pt x="309" y="579"/>
                      </a:lnTo>
                      <a:lnTo>
                        <a:pt x="307" y="577"/>
                      </a:lnTo>
                      <a:lnTo>
                        <a:pt x="304" y="576"/>
                      </a:lnTo>
                      <a:lnTo>
                        <a:pt x="301" y="575"/>
                      </a:lnTo>
                      <a:lnTo>
                        <a:pt x="297" y="575"/>
                      </a:lnTo>
                      <a:lnTo>
                        <a:pt x="287" y="577"/>
                      </a:lnTo>
                      <a:lnTo>
                        <a:pt x="275" y="579"/>
                      </a:lnTo>
                      <a:lnTo>
                        <a:pt x="273" y="579"/>
                      </a:lnTo>
                      <a:lnTo>
                        <a:pt x="271" y="581"/>
                      </a:lnTo>
                      <a:lnTo>
                        <a:pt x="270" y="583"/>
                      </a:lnTo>
                      <a:lnTo>
                        <a:pt x="268" y="587"/>
                      </a:lnTo>
                      <a:lnTo>
                        <a:pt x="264" y="582"/>
                      </a:lnTo>
                      <a:lnTo>
                        <a:pt x="259" y="579"/>
                      </a:lnTo>
                      <a:lnTo>
                        <a:pt x="256" y="577"/>
                      </a:lnTo>
                      <a:lnTo>
                        <a:pt x="255" y="579"/>
                      </a:lnTo>
                      <a:lnTo>
                        <a:pt x="252" y="580"/>
                      </a:lnTo>
                      <a:lnTo>
                        <a:pt x="250" y="581"/>
                      </a:lnTo>
                      <a:lnTo>
                        <a:pt x="245" y="580"/>
                      </a:lnTo>
                      <a:lnTo>
                        <a:pt x="241" y="579"/>
                      </a:lnTo>
                      <a:lnTo>
                        <a:pt x="232" y="574"/>
                      </a:lnTo>
                      <a:lnTo>
                        <a:pt x="229" y="574"/>
                      </a:lnTo>
                      <a:lnTo>
                        <a:pt x="228" y="574"/>
                      </a:lnTo>
                      <a:lnTo>
                        <a:pt x="224" y="576"/>
                      </a:lnTo>
                      <a:lnTo>
                        <a:pt x="221" y="579"/>
                      </a:lnTo>
                      <a:lnTo>
                        <a:pt x="218" y="579"/>
                      </a:lnTo>
                      <a:lnTo>
                        <a:pt x="216" y="579"/>
                      </a:lnTo>
                      <a:lnTo>
                        <a:pt x="209" y="575"/>
                      </a:lnTo>
                      <a:lnTo>
                        <a:pt x="204" y="572"/>
                      </a:lnTo>
                      <a:lnTo>
                        <a:pt x="200" y="566"/>
                      </a:lnTo>
                      <a:lnTo>
                        <a:pt x="195" y="561"/>
                      </a:lnTo>
                      <a:lnTo>
                        <a:pt x="191" y="560"/>
                      </a:lnTo>
                      <a:lnTo>
                        <a:pt x="188" y="560"/>
                      </a:lnTo>
                      <a:lnTo>
                        <a:pt x="185" y="560"/>
                      </a:lnTo>
                      <a:lnTo>
                        <a:pt x="183" y="560"/>
                      </a:lnTo>
                      <a:lnTo>
                        <a:pt x="183" y="558"/>
                      </a:lnTo>
                      <a:lnTo>
                        <a:pt x="184" y="555"/>
                      </a:lnTo>
                      <a:lnTo>
                        <a:pt x="183" y="554"/>
                      </a:lnTo>
                      <a:lnTo>
                        <a:pt x="181" y="553"/>
                      </a:lnTo>
                      <a:lnTo>
                        <a:pt x="176" y="551"/>
                      </a:lnTo>
                      <a:lnTo>
                        <a:pt x="172" y="551"/>
                      </a:lnTo>
                      <a:lnTo>
                        <a:pt x="169" y="550"/>
                      </a:lnTo>
                      <a:lnTo>
                        <a:pt x="166" y="548"/>
                      </a:lnTo>
                      <a:lnTo>
                        <a:pt x="165" y="545"/>
                      </a:lnTo>
                      <a:lnTo>
                        <a:pt x="160" y="541"/>
                      </a:lnTo>
                      <a:lnTo>
                        <a:pt x="153" y="536"/>
                      </a:lnTo>
                      <a:lnTo>
                        <a:pt x="147" y="532"/>
                      </a:lnTo>
                      <a:lnTo>
                        <a:pt x="144" y="532"/>
                      </a:lnTo>
                      <a:lnTo>
                        <a:pt x="142" y="534"/>
                      </a:lnTo>
                      <a:lnTo>
                        <a:pt x="136" y="536"/>
                      </a:lnTo>
                      <a:lnTo>
                        <a:pt x="132" y="536"/>
                      </a:lnTo>
                      <a:lnTo>
                        <a:pt x="129" y="53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656">
                  <a:extLst>
                    <a:ext uri="{FF2B5EF4-FFF2-40B4-BE49-F238E27FC236}">
                      <a16:creationId xmlns:a16="http://schemas.microsoft.com/office/drawing/2014/main" id="{29754C86-7827-1B41-8AED-825114C26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2817" y="3884346"/>
                  <a:ext cx="207182" cy="258977"/>
                </a:xfrm>
                <a:custGeom>
                  <a:avLst/>
                  <a:gdLst>
                    <a:gd name="T0" fmla="*/ 2147483647 w 152"/>
                    <a:gd name="T1" fmla="*/ 2147483647 h 175"/>
                    <a:gd name="T2" fmla="*/ 2147483647 w 152"/>
                    <a:gd name="T3" fmla="*/ 2147483647 h 175"/>
                    <a:gd name="T4" fmla="*/ 2147483647 w 152"/>
                    <a:gd name="T5" fmla="*/ 2147483647 h 175"/>
                    <a:gd name="T6" fmla="*/ 2147483647 w 152"/>
                    <a:gd name="T7" fmla="*/ 2147483647 h 175"/>
                    <a:gd name="T8" fmla="*/ 2147483647 w 152"/>
                    <a:gd name="T9" fmla="*/ 2147483647 h 175"/>
                    <a:gd name="T10" fmla="*/ 2147483647 w 152"/>
                    <a:gd name="T11" fmla="*/ 2147483647 h 175"/>
                    <a:gd name="T12" fmla="*/ 2147483647 w 152"/>
                    <a:gd name="T13" fmla="*/ 2147483647 h 175"/>
                    <a:gd name="T14" fmla="*/ 2147483647 w 152"/>
                    <a:gd name="T15" fmla="*/ 2147483647 h 175"/>
                    <a:gd name="T16" fmla="*/ 0 w 152"/>
                    <a:gd name="T17" fmla="*/ 2147483647 h 175"/>
                    <a:gd name="T18" fmla="*/ 2147483647 w 152"/>
                    <a:gd name="T19" fmla="*/ 2147483647 h 175"/>
                    <a:gd name="T20" fmla="*/ 2147483647 w 152"/>
                    <a:gd name="T21" fmla="*/ 2147483647 h 175"/>
                    <a:gd name="T22" fmla="*/ 2147483647 w 152"/>
                    <a:gd name="T23" fmla="*/ 2147483647 h 175"/>
                    <a:gd name="T24" fmla="*/ 2147483647 w 152"/>
                    <a:gd name="T25" fmla="*/ 2147483647 h 175"/>
                    <a:gd name="T26" fmla="*/ 2147483647 w 152"/>
                    <a:gd name="T27" fmla="*/ 2147483647 h 175"/>
                    <a:gd name="T28" fmla="*/ 2147483647 w 152"/>
                    <a:gd name="T29" fmla="*/ 2147483647 h 175"/>
                    <a:gd name="T30" fmla="*/ 2147483647 w 152"/>
                    <a:gd name="T31" fmla="*/ 2147483647 h 175"/>
                    <a:gd name="T32" fmla="*/ 2147483647 w 152"/>
                    <a:gd name="T33" fmla="*/ 2147483647 h 175"/>
                    <a:gd name="T34" fmla="*/ 2147483647 w 152"/>
                    <a:gd name="T35" fmla="*/ 2147483647 h 175"/>
                    <a:gd name="T36" fmla="*/ 2147483647 w 152"/>
                    <a:gd name="T37" fmla="*/ 2147483647 h 175"/>
                    <a:gd name="T38" fmla="*/ 2147483647 w 152"/>
                    <a:gd name="T39" fmla="*/ 2147483647 h 175"/>
                    <a:gd name="T40" fmla="*/ 2147483647 w 152"/>
                    <a:gd name="T41" fmla="*/ 2147483647 h 175"/>
                    <a:gd name="T42" fmla="*/ 2147483647 w 152"/>
                    <a:gd name="T43" fmla="*/ 2147483647 h 175"/>
                    <a:gd name="T44" fmla="*/ 2147483647 w 152"/>
                    <a:gd name="T45" fmla="*/ 2147483647 h 175"/>
                    <a:gd name="T46" fmla="*/ 2147483647 w 152"/>
                    <a:gd name="T47" fmla="*/ 2147483647 h 175"/>
                    <a:gd name="T48" fmla="*/ 2147483647 w 152"/>
                    <a:gd name="T49" fmla="*/ 2147483647 h 175"/>
                    <a:gd name="T50" fmla="*/ 2147483647 w 152"/>
                    <a:gd name="T51" fmla="*/ 2147483647 h 175"/>
                    <a:gd name="T52" fmla="*/ 2147483647 w 152"/>
                    <a:gd name="T53" fmla="*/ 2147483647 h 175"/>
                    <a:gd name="T54" fmla="*/ 2147483647 w 152"/>
                    <a:gd name="T55" fmla="*/ 2147483647 h 175"/>
                    <a:gd name="T56" fmla="*/ 2147483647 w 152"/>
                    <a:gd name="T57" fmla="*/ 2147483647 h 175"/>
                    <a:gd name="T58" fmla="*/ 2147483647 w 152"/>
                    <a:gd name="T59" fmla="*/ 2147483647 h 175"/>
                    <a:gd name="T60" fmla="*/ 2147483647 w 152"/>
                    <a:gd name="T61" fmla="*/ 2147483647 h 175"/>
                    <a:gd name="T62" fmla="*/ 2147483647 w 152"/>
                    <a:gd name="T63" fmla="*/ 2147483647 h 175"/>
                    <a:gd name="T64" fmla="*/ 2147483647 w 152"/>
                    <a:gd name="T65" fmla="*/ 2147483647 h 175"/>
                    <a:gd name="T66" fmla="*/ 2147483647 w 152"/>
                    <a:gd name="T67" fmla="*/ 2147483647 h 175"/>
                    <a:gd name="T68" fmla="*/ 2147483647 w 152"/>
                    <a:gd name="T69" fmla="*/ 2147483647 h 175"/>
                    <a:gd name="T70" fmla="*/ 2147483647 w 152"/>
                    <a:gd name="T71" fmla="*/ 2147483647 h 175"/>
                    <a:gd name="T72" fmla="*/ 2147483647 w 152"/>
                    <a:gd name="T73" fmla="*/ 2147483647 h 175"/>
                    <a:gd name="T74" fmla="*/ 2147483647 w 152"/>
                    <a:gd name="T75" fmla="*/ 2147483647 h 175"/>
                    <a:gd name="T76" fmla="*/ 2147483647 w 152"/>
                    <a:gd name="T77" fmla="*/ 2147483647 h 175"/>
                    <a:gd name="T78" fmla="*/ 2147483647 w 152"/>
                    <a:gd name="T79" fmla="*/ 2147483647 h 175"/>
                    <a:gd name="T80" fmla="*/ 2147483647 w 152"/>
                    <a:gd name="T81" fmla="*/ 2147483647 h 175"/>
                    <a:gd name="T82" fmla="*/ 2147483647 w 152"/>
                    <a:gd name="T83" fmla="*/ 2147483647 h 175"/>
                    <a:gd name="T84" fmla="*/ 2147483647 w 152"/>
                    <a:gd name="T85" fmla="*/ 2147483647 h 175"/>
                    <a:gd name="T86" fmla="*/ 2147483647 w 152"/>
                    <a:gd name="T87" fmla="*/ 2147483647 h 175"/>
                    <a:gd name="T88" fmla="*/ 2147483647 w 152"/>
                    <a:gd name="T89" fmla="*/ 2147483647 h 175"/>
                    <a:gd name="T90" fmla="*/ 2147483647 w 152"/>
                    <a:gd name="T91" fmla="*/ 2147483647 h 175"/>
                    <a:gd name="T92" fmla="*/ 2147483647 w 152"/>
                    <a:gd name="T93" fmla="*/ 2147483647 h 175"/>
                    <a:gd name="T94" fmla="*/ 2147483647 w 152"/>
                    <a:gd name="T95" fmla="*/ 2147483647 h 175"/>
                    <a:gd name="T96" fmla="*/ 2147483647 w 152"/>
                    <a:gd name="T97" fmla="*/ 2147483647 h 175"/>
                    <a:gd name="T98" fmla="*/ 2147483647 w 152"/>
                    <a:gd name="T99" fmla="*/ 2147483647 h 175"/>
                    <a:gd name="T100" fmla="*/ 2147483647 w 152"/>
                    <a:gd name="T101" fmla="*/ 2147483647 h 175"/>
                    <a:gd name="T102" fmla="*/ 2147483647 w 152"/>
                    <a:gd name="T103" fmla="*/ 2147483647 h 175"/>
                    <a:gd name="T104" fmla="*/ 2147483647 w 152"/>
                    <a:gd name="T105" fmla="*/ 2147483647 h 175"/>
                    <a:gd name="T106" fmla="*/ 2147483647 w 152"/>
                    <a:gd name="T107" fmla="*/ 0 h 175"/>
                    <a:gd name="T108" fmla="*/ 2147483647 w 152"/>
                    <a:gd name="T109" fmla="*/ 2147483647 h 175"/>
                    <a:gd name="T110" fmla="*/ 2147483647 w 152"/>
                    <a:gd name="T111" fmla="*/ 2147483647 h 175"/>
                    <a:gd name="T112" fmla="*/ 2147483647 w 152"/>
                    <a:gd name="T113" fmla="*/ 2147483647 h 175"/>
                    <a:gd name="T114" fmla="*/ 2147483647 w 152"/>
                    <a:gd name="T115" fmla="*/ 2147483647 h 175"/>
                    <a:gd name="T116" fmla="*/ 2147483647 w 152"/>
                    <a:gd name="T117" fmla="*/ 2147483647 h 175"/>
                    <a:gd name="T118" fmla="*/ 2147483647 w 152"/>
                    <a:gd name="T119" fmla="*/ 2147483647 h 175"/>
                    <a:gd name="T120" fmla="*/ 2147483647 w 152"/>
                    <a:gd name="T121" fmla="*/ 2147483647 h 17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52"/>
                    <a:gd name="T184" fmla="*/ 0 h 175"/>
                    <a:gd name="T185" fmla="*/ 152 w 152"/>
                    <a:gd name="T186" fmla="*/ 175 h 17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52" h="175">
                      <a:moveTo>
                        <a:pt x="77" y="45"/>
                      </a:moveTo>
                      <a:lnTo>
                        <a:pt x="77" y="45"/>
                      </a:lnTo>
                      <a:lnTo>
                        <a:pt x="80" y="51"/>
                      </a:lnTo>
                      <a:lnTo>
                        <a:pt x="81" y="57"/>
                      </a:lnTo>
                      <a:lnTo>
                        <a:pt x="81" y="64"/>
                      </a:lnTo>
                      <a:lnTo>
                        <a:pt x="81" y="70"/>
                      </a:lnTo>
                      <a:lnTo>
                        <a:pt x="77" y="83"/>
                      </a:lnTo>
                      <a:lnTo>
                        <a:pt x="71" y="95"/>
                      </a:lnTo>
                      <a:lnTo>
                        <a:pt x="68" y="101"/>
                      </a:lnTo>
                      <a:lnTo>
                        <a:pt x="67" y="104"/>
                      </a:lnTo>
                      <a:lnTo>
                        <a:pt x="66" y="107"/>
                      </a:lnTo>
                      <a:lnTo>
                        <a:pt x="53" y="114"/>
                      </a:lnTo>
                      <a:lnTo>
                        <a:pt x="36" y="122"/>
                      </a:lnTo>
                      <a:lnTo>
                        <a:pt x="19" y="129"/>
                      </a:lnTo>
                      <a:lnTo>
                        <a:pt x="0" y="136"/>
                      </a:lnTo>
                      <a:lnTo>
                        <a:pt x="14" y="157"/>
                      </a:lnTo>
                      <a:lnTo>
                        <a:pt x="20" y="167"/>
                      </a:lnTo>
                      <a:lnTo>
                        <a:pt x="29" y="175"/>
                      </a:lnTo>
                      <a:lnTo>
                        <a:pt x="33" y="174"/>
                      </a:lnTo>
                      <a:lnTo>
                        <a:pt x="36" y="173"/>
                      </a:lnTo>
                      <a:lnTo>
                        <a:pt x="45" y="171"/>
                      </a:lnTo>
                      <a:lnTo>
                        <a:pt x="50" y="170"/>
                      </a:lnTo>
                      <a:lnTo>
                        <a:pt x="52" y="168"/>
                      </a:lnTo>
                      <a:lnTo>
                        <a:pt x="54" y="165"/>
                      </a:lnTo>
                      <a:lnTo>
                        <a:pt x="58" y="164"/>
                      </a:lnTo>
                      <a:lnTo>
                        <a:pt x="63" y="164"/>
                      </a:lnTo>
                      <a:lnTo>
                        <a:pt x="67" y="164"/>
                      </a:lnTo>
                      <a:lnTo>
                        <a:pt x="71" y="162"/>
                      </a:lnTo>
                      <a:lnTo>
                        <a:pt x="76" y="159"/>
                      </a:lnTo>
                      <a:lnTo>
                        <a:pt x="78" y="155"/>
                      </a:lnTo>
                      <a:lnTo>
                        <a:pt x="78" y="151"/>
                      </a:lnTo>
                      <a:lnTo>
                        <a:pt x="81" y="149"/>
                      </a:lnTo>
                      <a:lnTo>
                        <a:pt x="83" y="148"/>
                      </a:lnTo>
                      <a:lnTo>
                        <a:pt x="89" y="147"/>
                      </a:lnTo>
                      <a:lnTo>
                        <a:pt x="95" y="147"/>
                      </a:lnTo>
                      <a:lnTo>
                        <a:pt x="97" y="147"/>
                      </a:lnTo>
                      <a:lnTo>
                        <a:pt x="99" y="146"/>
                      </a:lnTo>
                      <a:lnTo>
                        <a:pt x="100" y="140"/>
                      </a:lnTo>
                      <a:lnTo>
                        <a:pt x="100" y="136"/>
                      </a:lnTo>
                      <a:lnTo>
                        <a:pt x="101" y="133"/>
                      </a:lnTo>
                      <a:lnTo>
                        <a:pt x="106" y="129"/>
                      </a:lnTo>
                      <a:lnTo>
                        <a:pt x="110" y="128"/>
                      </a:lnTo>
                      <a:lnTo>
                        <a:pt x="113" y="128"/>
                      </a:lnTo>
                      <a:lnTo>
                        <a:pt x="115" y="127"/>
                      </a:lnTo>
                      <a:lnTo>
                        <a:pt x="116" y="126"/>
                      </a:lnTo>
                      <a:lnTo>
                        <a:pt x="116" y="123"/>
                      </a:lnTo>
                      <a:lnTo>
                        <a:pt x="116" y="115"/>
                      </a:lnTo>
                      <a:lnTo>
                        <a:pt x="115" y="108"/>
                      </a:lnTo>
                      <a:lnTo>
                        <a:pt x="115" y="104"/>
                      </a:lnTo>
                      <a:lnTo>
                        <a:pt x="115" y="101"/>
                      </a:lnTo>
                      <a:lnTo>
                        <a:pt x="118" y="97"/>
                      </a:lnTo>
                      <a:lnTo>
                        <a:pt x="120" y="95"/>
                      </a:lnTo>
                      <a:lnTo>
                        <a:pt x="122" y="94"/>
                      </a:lnTo>
                      <a:lnTo>
                        <a:pt x="123" y="94"/>
                      </a:lnTo>
                      <a:lnTo>
                        <a:pt x="125" y="96"/>
                      </a:lnTo>
                      <a:lnTo>
                        <a:pt x="128" y="98"/>
                      </a:lnTo>
                      <a:lnTo>
                        <a:pt x="132" y="101"/>
                      </a:lnTo>
                      <a:lnTo>
                        <a:pt x="134" y="101"/>
                      </a:lnTo>
                      <a:lnTo>
                        <a:pt x="137" y="100"/>
                      </a:lnTo>
                      <a:lnTo>
                        <a:pt x="137" y="97"/>
                      </a:lnTo>
                      <a:lnTo>
                        <a:pt x="137" y="95"/>
                      </a:lnTo>
                      <a:lnTo>
                        <a:pt x="137" y="87"/>
                      </a:lnTo>
                      <a:lnTo>
                        <a:pt x="138" y="83"/>
                      </a:lnTo>
                      <a:lnTo>
                        <a:pt x="142" y="78"/>
                      </a:lnTo>
                      <a:lnTo>
                        <a:pt x="148" y="70"/>
                      </a:lnTo>
                      <a:lnTo>
                        <a:pt x="149" y="68"/>
                      </a:lnTo>
                      <a:lnTo>
                        <a:pt x="149" y="65"/>
                      </a:lnTo>
                      <a:lnTo>
                        <a:pt x="149" y="63"/>
                      </a:lnTo>
                      <a:lnTo>
                        <a:pt x="151" y="60"/>
                      </a:lnTo>
                      <a:lnTo>
                        <a:pt x="152" y="57"/>
                      </a:lnTo>
                      <a:lnTo>
                        <a:pt x="151" y="55"/>
                      </a:lnTo>
                      <a:lnTo>
                        <a:pt x="146" y="50"/>
                      </a:lnTo>
                      <a:lnTo>
                        <a:pt x="139" y="45"/>
                      </a:lnTo>
                      <a:lnTo>
                        <a:pt x="135" y="39"/>
                      </a:lnTo>
                      <a:lnTo>
                        <a:pt x="132" y="34"/>
                      </a:lnTo>
                      <a:lnTo>
                        <a:pt x="129" y="27"/>
                      </a:lnTo>
                      <a:lnTo>
                        <a:pt x="128" y="26"/>
                      </a:lnTo>
                      <a:lnTo>
                        <a:pt x="127" y="26"/>
                      </a:lnTo>
                      <a:lnTo>
                        <a:pt x="124" y="25"/>
                      </a:lnTo>
                      <a:lnTo>
                        <a:pt x="115" y="24"/>
                      </a:lnTo>
                      <a:lnTo>
                        <a:pt x="106" y="20"/>
                      </a:lnTo>
                      <a:lnTo>
                        <a:pt x="102" y="18"/>
                      </a:lnTo>
                      <a:lnTo>
                        <a:pt x="99" y="15"/>
                      </a:lnTo>
                      <a:lnTo>
                        <a:pt x="96" y="12"/>
                      </a:lnTo>
                      <a:lnTo>
                        <a:pt x="95" y="7"/>
                      </a:lnTo>
                      <a:lnTo>
                        <a:pt x="95" y="4"/>
                      </a:lnTo>
                      <a:lnTo>
                        <a:pt x="95" y="0"/>
                      </a:lnTo>
                      <a:lnTo>
                        <a:pt x="91" y="1"/>
                      </a:lnTo>
                      <a:lnTo>
                        <a:pt x="89" y="2"/>
                      </a:lnTo>
                      <a:lnTo>
                        <a:pt x="85" y="6"/>
                      </a:lnTo>
                      <a:lnTo>
                        <a:pt x="83" y="8"/>
                      </a:lnTo>
                      <a:lnTo>
                        <a:pt x="82" y="12"/>
                      </a:lnTo>
                      <a:lnTo>
                        <a:pt x="83" y="18"/>
                      </a:lnTo>
                      <a:lnTo>
                        <a:pt x="86" y="23"/>
                      </a:lnTo>
                      <a:lnTo>
                        <a:pt x="86" y="28"/>
                      </a:lnTo>
                      <a:lnTo>
                        <a:pt x="85" y="34"/>
                      </a:lnTo>
                      <a:lnTo>
                        <a:pt x="77" y="4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685">
                  <a:extLst>
                    <a:ext uri="{FF2B5EF4-FFF2-40B4-BE49-F238E27FC236}">
                      <a16:creationId xmlns:a16="http://schemas.microsoft.com/office/drawing/2014/main" id="{D937E8BB-AB01-A240-A74E-EA568757CD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5633" y="4266155"/>
                  <a:ext cx="173145" cy="145027"/>
                </a:xfrm>
                <a:custGeom>
                  <a:avLst/>
                  <a:gdLst>
                    <a:gd name="T0" fmla="*/ 2147483647 w 126"/>
                    <a:gd name="T1" fmla="*/ 2147483647 h 98"/>
                    <a:gd name="T2" fmla="*/ 2147483647 w 126"/>
                    <a:gd name="T3" fmla="*/ 2147483647 h 98"/>
                    <a:gd name="T4" fmla="*/ 2147483647 w 126"/>
                    <a:gd name="T5" fmla="*/ 2147483647 h 98"/>
                    <a:gd name="T6" fmla="*/ 2147483647 w 126"/>
                    <a:gd name="T7" fmla="*/ 2147483647 h 98"/>
                    <a:gd name="T8" fmla="*/ 2147483647 w 126"/>
                    <a:gd name="T9" fmla="*/ 0 h 98"/>
                    <a:gd name="T10" fmla="*/ 2147483647 w 126"/>
                    <a:gd name="T11" fmla="*/ 0 h 98"/>
                    <a:gd name="T12" fmla="*/ 2147483647 w 126"/>
                    <a:gd name="T13" fmla="*/ 2147483647 h 98"/>
                    <a:gd name="T14" fmla="*/ 2147483647 w 126"/>
                    <a:gd name="T15" fmla="*/ 2147483647 h 98"/>
                    <a:gd name="T16" fmla="*/ 2147483647 w 126"/>
                    <a:gd name="T17" fmla="*/ 2147483647 h 98"/>
                    <a:gd name="T18" fmla="*/ 2147483647 w 126"/>
                    <a:gd name="T19" fmla="*/ 2147483647 h 98"/>
                    <a:gd name="T20" fmla="*/ 2147483647 w 126"/>
                    <a:gd name="T21" fmla="*/ 2147483647 h 98"/>
                    <a:gd name="T22" fmla="*/ 2147483647 w 126"/>
                    <a:gd name="T23" fmla="*/ 2147483647 h 98"/>
                    <a:gd name="T24" fmla="*/ 2147483647 w 126"/>
                    <a:gd name="T25" fmla="*/ 2147483647 h 98"/>
                    <a:gd name="T26" fmla="*/ 2147483647 w 126"/>
                    <a:gd name="T27" fmla="*/ 2147483647 h 98"/>
                    <a:gd name="T28" fmla="*/ 2147483647 w 126"/>
                    <a:gd name="T29" fmla="*/ 2147483647 h 98"/>
                    <a:gd name="T30" fmla="*/ 2147483647 w 126"/>
                    <a:gd name="T31" fmla="*/ 2147483647 h 98"/>
                    <a:gd name="T32" fmla="*/ 2147483647 w 126"/>
                    <a:gd name="T33" fmla="*/ 2147483647 h 98"/>
                    <a:gd name="T34" fmla="*/ 2147483647 w 126"/>
                    <a:gd name="T35" fmla="*/ 2147483647 h 98"/>
                    <a:gd name="T36" fmla="*/ 2147483647 w 126"/>
                    <a:gd name="T37" fmla="*/ 2147483647 h 98"/>
                    <a:gd name="T38" fmla="*/ 2147483647 w 126"/>
                    <a:gd name="T39" fmla="*/ 2147483647 h 98"/>
                    <a:gd name="T40" fmla="*/ 2147483647 w 126"/>
                    <a:gd name="T41" fmla="*/ 2147483647 h 98"/>
                    <a:gd name="T42" fmla="*/ 2147483647 w 126"/>
                    <a:gd name="T43" fmla="*/ 2147483647 h 98"/>
                    <a:gd name="T44" fmla="*/ 2147483647 w 126"/>
                    <a:gd name="T45" fmla="*/ 2147483647 h 98"/>
                    <a:gd name="T46" fmla="*/ 2147483647 w 126"/>
                    <a:gd name="T47" fmla="*/ 2147483647 h 98"/>
                    <a:gd name="T48" fmla="*/ 2147483647 w 126"/>
                    <a:gd name="T49" fmla="*/ 2147483647 h 98"/>
                    <a:gd name="T50" fmla="*/ 2147483647 w 126"/>
                    <a:gd name="T51" fmla="*/ 2147483647 h 98"/>
                    <a:gd name="T52" fmla="*/ 2147483647 w 126"/>
                    <a:gd name="T53" fmla="*/ 2147483647 h 98"/>
                    <a:gd name="T54" fmla="*/ 2147483647 w 126"/>
                    <a:gd name="T55" fmla="*/ 2147483647 h 98"/>
                    <a:gd name="T56" fmla="*/ 2147483647 w 126"/>
                    <a:gd name="T57" fmla="*/ 2147483647 h 98"/>
                    <a:gd name="T58" fmla="*/ 2147483647 w 126"/>
                    <a:gd name="T59" fmla="*/ 2147483647 h 98"/>
                    <a:gd name="T60" fmla="*/ 2147483647 w 126"/>
                    <a:gd name="T61" fmla="*/ 2147483647 h 98"/>
                    <a:gd name="T62" fmla="*/ 2147483647 w 126"/>
                    <a:gd name="T63" fmla="*/ 2147483647 h 98"/>
                    <a:gd name="T64" fmla="*/ 2147483647 w 126"/>
                    <a:gd name="T65" fmla="*/ 2147483647 h 98"/>
                    <a:gd name="T66" fmla="*/ 2147483647 w 126"/>
                    <a:gd name="T67" fmla="*/ 2147483647 h 98"/>
                    <a:gd name="T68" fmla="*/ 2147483647 w 126"/>
                    <a:gd name="T69" fmla="*/ 2147483647 h 98"/>
                    <a:gd name="T70" fmla="*/ 2147483647 w 126"/>
                    <a:gd name="T71" fmla="*/ 2147483647 h 98"/>
                    <a:gd name="T72" fmla="*/ 2147483647 w 126"/>
                    <a:gd name="T73" fmla="*/ 2147483647 h 98"/>
                    <a:gd name="T74" fmla="*/ 2147483647 w 126"/>
                    <a:gd name="T75" fmla="*/ 2147483647 h 98"/>
                    <a:gd name="T76" fmla="*/ 2147483647 w 126"/>
                    <a:gd name="T77" fmla="*/ 2147483647 h 98"/>
                    <a:gd name="T78" fmla="*/ 2147483647 w 126"/>
                    <a:gd name="T79" fmla="*/ 2147483647 h 98"/>
                    <a:gd name="T80" fmla="*/ 2147483647 w 126"/>
                    <a:gd name="T81" fmla="*/ 2147483647 h 98"/>
                    <a:gd name="T82" fmla="*/ 2147483647 w 126"/>
                    <a:gd name="T83" fmla="*/ 2147483647 h 98"/>
                    <a:gd name="T84" fmla="*/ 2147483647 w 126"/>
                    <a:gd name="T85" fmla="*/ 2147483647 h 98"/>
                    <a:gd name="T86" fmla="*/ 0 w 126"/>
                    <a:gd name="T87" fmla="*/ 2147483647 h 9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26"/>
                    <a:gd name="T133" fmla="*/ 0 h 98"/>
                    <a:gd name="T134" fmla="*/ 126 w 126"/>
                    <a:gd name="T135" fmla="*/ 98 h 9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26" h="98">
                      <a:moveTo>
                        <a:pt x="0" y="32"/>
                      </a:moveTo>
                      <a:lnTo>
                        <a:pt x="0" y="32"/>
                      </a:lnTo>
                      <a:lnTo>
                        <a:pt x="5" y="29"/>
                      </a:lnTo>
                      <a:lnTo>
                        <a:pt x="11" y="24"/>
                      </a:lnTo>
                      <a:lnTo>
                        <a:pt x="24" y="18"/>
                      </a:lnTo>
                      <a:lnTo>
                        <a:pt x="22" y="15"/>
                      </a:lnTo>
                      <a:lnTo>
                        <a:pt x="20" y="10"/>
                      </a:lnTo>
                      <a:lnTo>
                        <a:pt x="20" y="2"/>
                      </a:lnTo>
                      <a:lnTo>
                        <a:pt x="27" y="3"/>
                      </a:lnTo>
                      <a:lnTo>
                        <a:pt x="33" y="4"/>
                      </a:lnTo>
                      <a:lnTo>
                        <a:pt x="39" y="4"/>
                      </a:lnTo>
                      <a:lnTo>
                        <a:pt x="53" y="0"/>
                      </a:lnTo>
                      <a:lnTo>
                        <a:pt x="56" y="0"/>
                      </a:lnTo>
                      <a:lnTo>
                        <a:pt x="60" y="2"/>
                      </a:lnTo>
                      <a:lnTo>
                        <a:pt x="63" y="3"/>
                      </a:lnTo>
                      <a:lnTo>
                        <a:pt x="70" y="4"/>
                      </a:lnTo>
                      <a:lnTo>
                        <a:pt x="75" y="3"/>
                      </a:lnTo>
                      <a:lnTo>
                        <a:pt x="80" y="3"/>
                      </a:lnTo>
                      <a:lnTo>
                        <a:pt x="86" y="4"/>
                      </a:lnTo>
                      <a:lnTo>
                        <a:pt x="89" y="4"/>
                      </a:lnTo>
                      <a:lnTo>
                        <a:pt x="91" y="6"/>
                      </a:lnTo>
                      <a:lnTo>
                        <a:pt x="94" y="10"/>
                      </a:lnTo>
                      <a:lnTo>
                        <a:pt x="95" y="14"/>
                      </a:lnTo>
                      <a:lnTo>
                        <a:pt x="95" y="16"/>
                      </a:lnTo>
                      <a:lnTo>
                        <a:pt x="94" y="21"/>
                      </a:lnTo>
                      <a:lnTo>
                        <a:pt x="93" y="23"/>
                      </a:lnTo>
                      <a:lnTo>
                        <a:pt x="94" y="25"/>
                      </a:lnTo>
                      <a:lnTo>
                        <a:pt x="96" y="28"/>
                      </a:lnTo>
                      <a:lnTo>
                        <a:pt x="100" y="29"/>
                      </a:lnTo>
                      <a:lnTo>
                        <a:pt x="100" y="30"/>
                      </a:lnTo>
                      <a:lnTo>
                        <a:pt x="100" y="31"/>
                      </a:lnTo>
                      <a:lnTo>
                        <a:pt x="98" y="35"/>
                      </a:lnTo>
                      <a:lnTo>
                        <a:pt x="94" y="37"/>
                      </a:lnTo>
                      <a:lnTo>
                        <a:pt x="93" y="38"/>
                      </a:lnTo>
                      <a:lnTo>
                        <a:pt x="91" y="40"/>
                      </a:lnTo>
                      <a:lnTo>
                        <a:pt x="91" y="43"/>
                      </a:lnTo>
                      <a:lnTo>
                        <a:pt x="94" y="44"/>
                      </a:lnTo>
                      <a:lnTo>
                        <a:pt x="98" y="46"/>
                      </a:lnTo>
                      <a:lnTo>
                        <a:pt x="103" y="47"/>
                      </a:lnTo>
                      <a:lnTo>
                        <a:pt x="113" y="47"/>
                      </a:lnTo>
                      <a:lnTo>
                        <a:pt x="114" y="47"/>
                      </a:lnTo>
                      <a:lnTo>
                        <a:pt x="116" y="48"/>
                      </a:lnTo>
                      <a:lnTo>
                        <a:pt x="117" y="53"/>
                      </a:lnTo>
                      <a:lnTo>
                        <a:pt x="118" y="56"/>
                      </a:lnTo>
                      <a:lnTo>
                        <a:pt x="119" y="57"/>
                      </a:lnTo>
                      <a:lnTo>
                        <a:pt x="121" y="57"/>
                      </a:lnTo>
                      <a:lnTo>
                        <a:pt x="123" y="57"/>
                      </a:lnTo>
                      <a:lnTo>
                        <a:pt x="126" y="59"/>
                      </a:lnTo>
                      <a:lnTo>
                        <a:pt x="123" y="67"/>
                      </a:lnTo>
                      <a:lnTo>
                        <a:pt x="122" y="76"/>
                      </a:lnTo>
                      <a:lnTo>
                        <a:pt x="121" y="76"/>
                      </a:lnTo>
                      <a:lnTo>
                        <a:pt x="119" y="76"/>
                      </a:lnTo>
                      <a:lnTo>
                        <a:pt x="117" y="76"/>
                      </a:lnTo>
                      <a:lnTo>
                        <a:pt x="116" y="76"/>
                      </a:lnTo>
                      <a:lnTo>
                        <a:pt x="114" y="78"/>
                      </a:lnTo>
                      <a:lnTo>
                        <a:pt x="114" y="80"/>
                      </a:lnTo>
                      <a:lnTo>
                        <a:pt x="116" y="82"/>
                      </a:lnTo>
                      <a:lnTo>
                        <a:pt x="118" y="86"/>
                      </a:lnTo>
                      <a:lnTo>
                        <a:pt x="118" y="87"/>
                      </a:lnTo>
                      <a:lnTo>
                        <a:pt x="117" y="88"/>
                      </a:lnTo>
                      <a:lnTo>
                        <a:pt x="114" y="92"/>
                      </a:lnTo>
                      <a:lnTo>
                        <a:pt x="109" y="94"/>
                      </a:lnTo>
                      <a:lnTo>
                        <a:pt x="109" y="92"/>
                      </a:lnTo>
                      <a:lnTo>
                        <a:pt x="107" y="92"/>
                      </a:lnTo>
                      <a:lnTo>
                        <a:pt x="104" y="94"/>
                      </a:lnTo>
                      <a:lnTo>
                        <a:pt x="102" y="96"/>
                      </a:lnTo>
                      <a:lnTo>
                        <a:pt x="100" y="98"/>
                      </a:lnTo>
                      <a:lnTo>
                        <a:pt x="98" y="98"/>
                      </a:lnTo>
                      <a:lnTo>
                        <a:pt x="95" y="96"/>
                      </a:lnTo>
                      <a:lnTo>
                        <a:pt x="94" y="94"/>
                      </a:lnTo>
                      <a:lnTo>
                        <a:pt x="93" y="89"/>
                      </a:lnTo>
                      <a:lnTo>
                        <a:pt x="93" y="83"/>
                      </a:lnTo>
                      <a:lnTo>
                        <a:pt x="93" y="81"/>
                      </a:lnTo>
                      <a:lnTo>
                        <a:pt x="91" y="80"/>
                      </a:lnTo>
                      <a:lnTo>
                        <a:pt x="89" y="80"/>
                      </a:lnTo>
                      <a:lnTo>
                        <a:pt x="86" y="81"/>
                      </a:lnTo>
                      <a:lnTo>
                        <a:pt x="82" y="82"/>
                      </a:lnTo>
                      <a:lnTo>
                        <a:pt x="80" y="82"/>
                      </a:lnTo>
                      <a:lnTo>
                        <a:pt x="79" y="82"/>
                      </a:lnTo>
                      <a:lnTo>
                        <a:pt x="76" y="80"/>
                      </a:lnTo>
                      <a:lnTo>
                        <a:pt x="70" y="67"/>
                      </a:lnTo>
                      <a:lnTo>
                        <a:pt x="67" y="61"/>
                      </a:lnTo>
                      <a:lnTo>
                        <a:pt x="62" y="56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1" y="50"/>
                      </a:lnTo>
                      <a:lnTo>
                        <a:pt x="46" y="51"/>
                      </a:lnTo>
                      <a:lnTo>
                        <a:pt x="42" y="53"/>
                      </a:lnTo>
                      <a:lnTo>
                        <a:pt x="37" y="54"/>
                      </a:lnTo>
                      <a:lnTo>
                        <a:pt x="30" y="60"/>
                      </a:lnTo>
                      <a:lnTo>
                        <a:pt x="25" y="59"/>
                      </a:lnTo>
                      <a:lnTo>
                        <a:pt x="20" y="56"/>
                      </a:lnTo>
                      <a:lnTo>
                        <a:pt x="16" y="51"/>
                      </a:lnTo>
                      <a:lnTo>
                        <a:pt x="15" y="50"/>
                      </a:lnTo>
                      <a:lnTo>
                        <a:pt x="13" y="49"/>
                      </a:lnTo>
                      <a:lnTo>
                        <a:pt x="9" y="47"/>
                      </a:lnTo>
                      <a:lnTo>
                        <a:pt x="6" y="46"/>
                      </a:lnTo>
                      <a:lnTo>
                        <a:pt x="4" y="41"/>
                      </a:lnTo>
                      <a:lnTo>
                        <a:pt x="4" y="37"/>
                      </a:lnTo>
                      <a:lnTo>
                        <a:pt x="1" y="34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726">
                  <a:extLst>
                    <a:ext uri="{FF2B5EF4-FFF2-40B4-BE49-F238E27FC236}">
                      <a16:creationId xmlns:a16="http://schemas.microsoft.com/office/drawing/2014/main" id="{9BB5E201-E0DF-164A-B2E1-4F5FD27F7F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9020" y="5114119"/>
                  <a:ext cx="327051" cy="358129"/>
                </a:xfrm>
                <a:custGeom>
                  <a:avLst/>
                  <a:gdLst>
                    <a:gd name="T0" fmla="*/ 2147483647 w 240"/>
                    <a:gd name="T1" fmla="*/ 2147483647 h 242"/>
                    <a:gd name="T2" fmla="*/ 2147483647 w 240"/>
                    <a:gd name="T3" fmla="*/ 2147483647 h 242"/>
                    <a:gd name="T4" fmla="*/ 2147483647 w 240"/>
                    <a:gd name="T5" fmla="*/ 2147483647 h 242"/>
                    <a:gd name="T6" fmla="*/ 2147483647 w 240"/>
                    <a:gd name="T7" fmla="*/ 2147483647 h 242"/>
                    <a:gd name="T8" fmla="*/ 2147483647 w 240"/>
                    <a:gd name="T9" fmla="*/ 0 h 242"/>
                    <a:gd name="T10" fmla="*/ 2147483647 w 240"/>
                    <a:gd name="T11" fmla="*/ 0 h 242"/>
                    <a:gd name="T12" fmla="*/ 2147483647 w 240"/>
                    <a:gd name="T13" fmla="*/ 2147483647 h 242"/>
                    <a:gd name="T14" fmla="*/ 2147483647 w 240"/>
                    <a:gd name="T15" fmla="*/ 2147483647 h 242"/>
                    <a:gd name="T16" fmla="*/ 2147483647 w 240"/>
                    <a:gd name="T17" fmla="*/ 2147483647 h 242"/>
                    <a:gd name="T18" fmla="*/ 2147483647 w 240"/>
                    <a:gd name="T19" fmla="*/ 2147483647 h 242"/>
                    <a:gd name="T20" fmla="*/ 2147483647 w 240"/>
                    <a:gd name="T21" fmla="*/ 2147483647 h 242"/>
                    <a:gd name="T22" fmla="*/ 2147483647 w 240"/>
                    <a:gd name="T23" fmla="*/ 2147483647 h 242"/>
                    <a:gd name="T24" fmla="*/ 2147483647 w 240"/>
                    <a:gd name="T25" fmla="*/ 2147483647 h 242"/>
                    <a:gd name="T26" fmla="*/ 2147483647 w 240"/>
                    <a:gd name="T27" fmla="*/ 2147483647 h 242"/>
                    <a:gd name="T28" fmla="*/ 2147483647 w 240"/>
                    <a:gd name="T29" fmla="*/ 2147483647 h 242"/>
                    <a:gd name="T30" fmla="*/ 2147483647 w 240"/>
                    <a:gd name="T31" fmla="*/ 2147483647 h 242"/>
                    <a:gd name="T32" fmla="*/ 2147483647 w 240"/>
                    <a:gd name="T33" fmla="*/ 2147483647 h 242"/>
                    <a:gd name="T34" fmla="*/ 2147483647 w 240"/>
                    <a:gd name="T35" fmla="*/ 2147483647 h 242"/>
                    <a:gd name="T36" fmla="*/ 2147483647 w 240"/>
                    <a:gd name="T37" fmla="*/ 2147483647 h 242"/>
                    <a:gd name="T38" fmla="*/ 2147483647 w 240"/>
                    <a:gd name="T39" fmla="*/ 2147483647 h 242"/>
                    <a:gd name="T40" fmla="*/ 2147483647 w 240"/>
                    <a:gd name="T41" fmla="*/ 2147483647 h 242"/>
                    <a:gd name="T42" fmla="*/ 2147483647 w 240"/>
                    <a:gd name="T43" fmla="*/ 2147483647 h 242"/>
                    <a:gd name="T44" fmla="*/ 2147483647 w 240"/>
                    <a:gd name="T45" fmla="*/ 2147483647 h 242"/>
                    <a:gd name="T46" fmla="*/ 2147483647 w 240"/>
                    <a:gd name="T47" fmla="*/ 2147483647 h 242"/>
                    <a:gd name="T48" fmla="*/ 2147483647 w 240"/>
                    <a:gd name="T49" fmla="*/ 2147483647 h 242"/>
                    <a:gd name="T50" fmla="*/ 2147483647 w 240"/>
                    <a:gd name="T51" fmla="*/ 2147483647 h 242"/>
                    <a:gd name="T52" fmla="*/ 2147483647 w 240"/>
                    <a:gd name="T53" fmla="*/ 2147483647 h 242"/>
                    <a:gd name="T54" fmla="*/ 2147483647 w 240"/>
                    <a:gd name="T55" fmla="*/ 2147483647 h 242"/>
                    <a:gd name="T56" fmla="*/ 2147483647 w 240"/>
                    <a:gd name="T57" fmla="*/ 2147483647 h 242"/>
                    <a:gd name="T58" fmla="*/ 2147483647 w 240"/>
                    <a:gd name="T59" fmla="*/ 2147483647 h 242"/>
                    <a:gd name="T60" fmla="*/ 2147483647 w 240"/>
                    <a:gd name="T61" fmla="*/ 2147483647 h 242"/>
                    <a:gd name="T62" fmla="*/ 2147483647 w 240"/>
                    <a:gd name="T63" fmla="*/ 2147483647 h 242"/>
                    <a:gd name="T64" fmla="*/ 2147483647 w 240"/>
                    <a:gd name="T65" fmla="*/ 2147483647 h 242"/>
                    <a:gd name="T66" fmla="*/ 2147483647 w 240"/>
                    <a:gd name="T67" fmla="*/ 2147483647 h 242"/>
                    <a:gd name="T68" fmla="*/ 2147483647 w 240"/>
                    <a:gd name="T69" fmla="*/ 2147483647 h 242"/>
                    <a:gd name="T70" fmla="*/ 2147483647 w 240"/>
                    <a:gd name="T71" fmla="*/ 2147483647 h 242"/>
                    <a:gd name="T72" fmla="*/ 2147483647 w 240"/>
                    <a:gd name="T73" fmla="*/ 2147483647 h 242"/>
                    <a:gd name="T74" fmla="*/ 2147483647 w 240"/>
                    <a:gd name="T75" fmla="*/ 2147483647 h 242"/>
                    <a:gd name="T76" fmla="*/ 2147483647 w 240"/>
                    <a:gd name="T77" fmla="*/ 2147483647 h 242"/>
                    <a:gd name="T78" fmla="*/ 2147483647 w 240"/>
                    <a:gd name="T79" fmla="*/ 2147483647 h 242"/>
                    <a:gd name="T80" fmla="*/ 2147483647 w 240"/>
                    <a:gd name="T81" fmla="*/ 2147483647 h 242"/>
                    <a:gd name="T82" fmla="*/ 2147483647 w 240"/>
                    <a:gd name="T83" fmla="*/ 2147483647 h 242"/>
                    <a:gd name="T84" fmla="*/ 2147483647 w 240"/>
                    <a:gd name="T85" fmla="*/ 2147483647 h 242"/>
                    <a:gd name="T86" fmla="*/ 2147483647 w 240"/>
                    <a:gd name="T87" fmla="*/ 2147483647 h 242"/>
                    <a:gd name="T88" fmla="*/ 2147483647 w 240"/>
                    <a:gd name="T89" fmla="*/ 2147483647 h 242"/>
                    <a:gd name="T90" fmla="*/ 2147483647 w 240"/>
                    <a:gd name="T91" fmla="*/ 2147483647 h 242"/>
                    <a:gd name="T92" fmla="*/ 2147483647 w 240"/>
                    <a:gd name="T93" fmla="*/ 2147483647 h 242"/>
                    <a:gd name="T94" fmla="*/ 2147483647 w 240"/>
                    <a:gd name="T95" fmla="*/ 2147483647 h 242"/>
                    <a:gd name="T96" fmla="*/ 2147483647 w 240"/>
                    <a:gd name="T97" fmla="*/ 2147483647 h 242"/>
                    <a:gd name="T98" fmla="*/ 2147483647 w 240"/>
                    <a:gd name="T99" fmla="*/ 2147483647 h 242"/>
                    <a:gd name="T100" fmla="*/ 2147483647 w 240"/>
                    <a:gd name="T101" fmla="*/ 2147483647 h 242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40"/>
                    <a:gd name="T154" fmla="*/ 0 h 242"/>
                    <a:gd name="T155" fmla="*/ 240 w 240"/>
                    <a:gd name="T156" fmla="*/ 242 h 242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40" h="242">
                      <a:moveTo>
                        <a:pt x="7" y="4"/>
                      </a:moveTo>
                      <a:lnTo>
                        <a:pt x="7" y="4"/>
                      </a:lnTo>
                      <a:lnTo>
                        <a:pt x="12" y="1"/>
                      </a:lnTo>
                      <a:lnTo>
                        <a:pt x="14" y="0"/>
                      </a:lnTo>
                      <a:lnTo>
                        <a:pt x="17" y="1"/>
                      </a:lnTo>
                      <a:lnTo>
                        <a:pt x="19" y="4"/>
                      </a:lnTo>
                      <a:lnTo>
                        <a:pt x="21" y="6"/>
                      </a:lnTo>
                      <a:lnTo>
                        <a:pt x="23" y="7"/>
                      </a:lnTo>
                      <a:lnTo>
                        <a:pt x="25" y="7"/>
                      </a:lnTo>
                      <a:lnTo>
                        <a:pt x="26" y="6"/>
                      </a:lnTo>
                      <a:lnTo>
                        <a:pt x="27" y="4"/>
                      </a:lnTo>
                      <a:lnTo>
                        <a:pt x="28" y="1"/>
                      </a:lnTo>
                      <a:lnTo>
                        <a:pt x="30" y="0"/>
                      </a:lnTo>
                      <a:lnTo>
                        <a:pt x="33" y="0"/>
                      </a:lnTo>
                      <a:lnTo>
                        <a:pt x="37" y="0"/>
                      </a:lnTo>
                      <a:lnTo>
                        <a:pt x="45" y="2"/>
                      </a:lnTo>
                      <a:lnTo>
                        <a:pt x="64" y="5"/>
                      </a:lnTo>
                      <a:lnTo>
                        <a:pt x="83" y="5"/>
                      </a:lnTo>
                      <a:lnTo>
                        <a:pt x="102" y="5"/>
                      </a:lnTo>
                      <a:lnTo>
                        <a:pt x="121" y="6"/>
                      </a:lnTo>
                      <a:lnTo>
                        <a:pt x="124" y="7"/>
                      </a:lnTo>
                      <a:lnTo>
                        <a:pt x="126" y="12"/>
                      </a:lnTo>
                      <a:lnTo>
                        <a:pt x="130" y="16"/>
                      </a:lnTo>
                      <a:lnTo>
                        <a:pt x="134" y="19"/>
                      </a:lnTo>
                      <a:lnTo>
                        <a:pt x="140" y="20"/>
                      </a:lnTo>
                      <a:lnTo>
                        <a:pt x="145" y="21"/>
                      </a:lnTo>
                      <a:lnTo>
                        <a:pt x="158" y="20"/>
                      </a:lnTo>
                      <a:lnTo>
                        <a:pt x="169" y="19"/>
                      </a:lnTo>
                      <a:lnTo>
                        <a:pt x="181" y="16"/>
                      </a:lnTo>
                      <a:lnTo>
                        <a:pt x="202" y="12"/>
                      </a:lnTo>
                      <a:lnTo>
                        <a:pt x="214" y="11"/>
                      </a:lnTo>
                      <a:lnTo>
                        <a:pt x="224" y="11"/>
                      </a:lnTo>
                      <a:lnTo>
                        <a:pt x="229" y="14"/>
                      </a:lnTo>
                      <a:lnTo>
                        <a:pt x="234" y="14"/>
                      </a:lnTo>
                      <a:lnTo>
                        <a:pt x="240" y="14"/>
                      </a:lnTo>
                      <a:lnTo>
                        <a:pt x="240" y="17"/>
                      </a:lnTo>
                      <a:lnTo>
                        <a:pt x="239" y="18"/>
                      </a:lnTo>
                      <a:lnTo>
                        <a:pt x="226" y="21"/>
                      </a:lnTo>
                      <a:lnTo>
                        <a:pt x="220" y="24"/>
                      </a:lnTo>
                      <a:lnTo>
                        <a:pt x="214" y="26"/>
                      </a:lnTo>
                      <a:lnTo>
                        <a:pt x="213" y="26"/>
                      </a:lnTo>
                      <a:lnTo>
                        <a:pt x="210" y="25"/>
                      </a:lnTo>
                      <a:lnTo>
                        <a:pt x="206" y="21"/>
                      </a:lnTo>
                      <a:lnTo>
                        <a:pt x="167" y="29"/>
                      </a:lnTo>
                      <a:lnTo>
                        <a:pt x="166" y="97"/>
                      </a:lnTo>
                      <a:lnTo>
                        <a:pt x="145" y="97"/>
                      </a:lnTo>
                      <a:lnTo>
                        <a:pt x="145" y="163"/>
                      </a:lnTo>
                      <a:lnTo>
                        <a:pt x="145" y="224"/>
                      </a:lnTo>
                      <a:lnTo>
                        <a:pt x="144" y="228"/>
                      </a:lnTo>
                      <a:lnTo>
                        <a:pt x="143" y="230"/>
                      </a:lnTo>
                      <a:lnTo>
                        <a:pt x="139" y="234"/>
                      </a:lnTo>
                      <a:lnTo>
                        <a:pt x="135" y="236"/>
                      </a:lnTo>
                      <a:lnTo>
                        <a:pt x="133" y="236"/>
                      </a:lnTo>
                      <a:lnTo>
                        <a:pt x="127" y="240"/>
                      </a:lnTo>
                      <a:lnTo>
                        <a:pt x="120" y="242"/>
                      </a:lnTo>
                      <a:lnTo>
                        <a:pt x="115" y="242"/>
                      </a:lnTo>
                      <a:lnTo>
                        <a:pt x="111" y="242"/>
                      </a:lnTo>
                      <a:lnTo>
                        <a:pt x="108" y="241"/>
                      </a:lnTo>
                      <a:lnTo>
                        <a:pt x="106" y="238"/>
                      </a:lnTo>
                      <a:lnTo>
                        <a:pt x="103" y="236"/>
                      </a:lnTo>
                      <a:lnTo>
                        <a:pt x="102" y="232"/>
                      </a:lnTo>
                      <a:lnTo>
                        <a:pt x="102" y="230"/>
                      </a:lnTo>
                      <a:lnTo>
                        <a:pt x="102" y="227"/>
                      </a:lnTo>
                      <a:lnTo>
                        <a:pt x="101" y="224"/>
                      </a:lnTo>
                      <a:lnTo>
                        <a:pt x="98" y="224"/>
                      </a:lnTo>
                      <a:lnTo>
                        <a:pt x="97" y="224"/>
                      </a:lnTo>
                      <a:lnTo>
                        <a:pt x="97" y="225"/>
                      </a:lnTo>
                      <a:lnTo>
                        <a:pt x="97" y="229"/>
                      </a:lnTo>
                      <a:lnTo>
                        <a:pt x="96" y="231"/>
                      </a:lnTo>
                      <a:lnTo>
                        <a:pt x="94" y="232"/>
                      </a:lnTo>
                      <a:lnTo>
                        <a:pt x="91" y="232"/>
                      </a:lnTo>
                      <a:lnTo>
                        <a:pt x="89" y="232"/>
                      </a:lnTo>
                      <a:lnTo>
                        <a:pt x="88" y="234"/>
                      </a:lnTo>
                      <a:lnTo>
                        <a:pt x="87" y="235"/>
                      </a:lnTo>
                      <a:lnTo>
                        <a:pt x="86" y="236"/>
                      </a:lnTo>
                      <a:lnTo>
                        <a:pt x="79" y="229"/>
                      </a:lnTo>
                      <a:lnTo>
                        <a:pt x="69" y="219"/>
                      </a:lnTo>
                      <a:lnTo>
                        <a:pt x="64" y="213"/>
                      </a:lnTo>
                      <a:lnTo>
                        <a:pt x="60" y="208"/>
                      </a:lnTo>
                      <a:lnTo>
                        <a:pt x="55" y="196"/>
                      </a:lnTo>
                      <a:lnTo>
                        <a:pt x="53" y="184"/>
                      </a:lnTo>
                      <a:lnTo>
                        <a:pt x="51" y="172"/>
                      </a:lnTo>
                      <a:lnTo>
                        <a:pt x="53" y="160"/>
                      </a:lnTo>
                      <a:lnTo>
                        <a:pt x="54" y="154"/>
                      </a:lnTo>
                      <a:lnTo>
                        <a:pt x="53" y="148"/>
                      </a:lnTo>
                      <a:lnTo>
                        <a:pt x="51" y="142"/>
                      </a:lnTo>
                      <a:lnTo>
                        <a:pt x="47" y="136"/>
                      </a:lnTo>
                      <a:lnTo>
                        <a:pt x="46" y="134"/>
                      </a:lnTo>
                      <a:lnTo>
                        <a:pt x="47" y="132"/>
                      </a:lnTo>
                      <a:lnTo>
                        <a:pt x="53" y="129"/>
                      </a:lnTo>
                      <a:lnTo>
                        <a:pt x="51" y="126"/>
                      </a:lnTo>
                      <a:lnTo>
                        <a:pt x="53" y="122"/>
                      </a:lnTo>
                      <a:lnTo>
                        <a:pt x="55" y="120"/>
                      </a:lnTo>
                      <a:lnTo>
                        <a:pt x="58" y="117"/>
                      </a:lnTo>
                      <a:lnTo>
                        <a:pt x="59" y="115"/>
                      </a:lnTo>
                      <a:lnTo>
                        <a:pt x="59" y="113"/>
                      </a:lnTo>
                      <a:lnTo>
                        <a:pt x="58" y="112"/>
                      </a:lnTo>
                      <a:lnTo>
                        <a:pt x="55" y="110"/>
                      </a:lnTo>
                      <a:lnTo>
                        <a:pt x="50" y="109"/>
                      </a:lnTo>
                      <a:lnTo>
                        <a:pt x="46" y="107"/>
                      </a:lnTo>
                      <a:lnTo>
                        <a:pt x="44" y="104"/>
                      </a:lnTo>
                      <a:lnTo>
                        <a:pt x="42" y="101"/>
                      </a:lnTo>
                      <a:lnTo>
                        <a:pt x="40" y="94"/>
                      </a:lnTo>
                      <a:lnTo>
                        <a:pt x="37" y="87"/>
                      </a:lnTo>
                      <a:lnTo>
                        <a:pt x="30" y="70"/>
                      </a:lnTo>
                      <a:lnTo>
                        <a:pt x="26" y="61"/>
                      </a:lnTo>
                      <a:lnTo>
                        <a:pt x="26" y="56"/>
                      </a:lnTo>
                      <a:lnTo>
                        <a:pt x="27" y="51"/>
                      </a:lnTo>
                      <a:lnTo>
                        <a:pt x="27" y="46"/>
                      </a:lnTo>
                      <a:lnTo>
                        <a:pt x="25" y="45"/>
                      </a:lnTo>
                      <a:lnTo>
                        <a:pt x="18" y="42"/>
                      </a:lnTo>
                      <a:lnTo>
                        <a:pt x="16" y="39"/>
                      </a:lnTo>
                      <a:lnTo>
                        <a:pt x="16" y="37"/>
                      </a:lnTo>
                      <a:lnTo>
                        <a:pt x="7" y="26"/>
                      </a:lnTo>
                      <a:lnTo>
                        <a:pt x="3" y="21"/>
                      </a:lnTo>
                      <a:lnTo>
                        <a:pt x="0" y="14"/>
                      </a:lnTo>
                      <a:lnTo>
                        <a:pt x="6" y="14"/>
                      </a:lnTo>
                      <a:lnTo>
                        <a:pt x="8" y="11"/>
                      </a:lnTo>
                      <a:lnTo>
                        <a:pt x="8" y="7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Freeform 729">
                  <a:extLst>
                    <a:ext uri="{FF2B5EF4-FFF2-40B4-BE49-F238E27FC236}">
                      <a16:creationId xmlns:a16="http://schemas.microsoft.com/office/drawing/2014/main" id="{6789EA7A-7DE0-944E-B49F-A956527049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5928" y="5263588"/>
                  <a:ext cx="396606" cy="399565"/>
                </a:xfrm>
                <a:custGeom>
                  <a:avLst/>
                  <a:gdLst>
                    <a:gd name="T0" fmla="*/ 2147483647 w 290"/>
                    <a:gd name="T1" fmla="*/ 2147483647 h 270"/>
                    <a:gd name="T2" fmla="*/ 2147483647 w 290"/>
                    <a:gd name="T3" fmla="*/ 2147483647 h 270"/>
                    <a:gd name="T4" fmla="*/ 2147483647 w 290"/>
                    <a:gd name="T5" fmla="*/ 2147483647 h 270"/>
                    <a:gd name="T6" fmla="*/ 2147483647 w 290"/>
                    <a:gd name="T7" fmla="*/ 2147483647 h 270"/>
                    <a:gd name="T8" fmla="*/ 2147483647 w 290"/>
                    <a:gd name="T9" fmla="*/ 2147483647 h 270"/>
                    <a:gd name="T10" fmla="*/ 2147483647 w 290"/>
                    <a:gd name="T11" fmla="*/ 2147483647 h 270"/>
                    <a:gd name="T12" fmla="*/ 2147483647 w 290"/>
                    <a:gd name="T13" fmla="*/ 2147483647 h 270"/>
                    <a:gd name="T14" fmla="*/ 2147483647 w 290"/>
                    <a:gd name="T15" fmla="*/ 2147483647 h 270"/>
                    <a:gd name="T16" fmla="*/ 2147483647 w 290"/>
                    <a:gd name="T17" fmla="*/ 2147483647 h 270"/>
                    <a:gd name="T18" fmla="*/ 2147483647 w 290"/>
                    <a:gd name="T19" fmla="*/ 2147483647 h 270"/>
                    <a:gd name="T20" fmla="*/ 2147483647 w 290"/>
                    <a:gd name="T21" fmla="*/ 2147483647 h 270"/>
                    <a:gd name="T22" fmla="*/ 2147483647 w 290"/>
                    <a:gd name="T23" fmla="*/ 2147483647 h 270"/>
                    <a:gd name="T24" fmla="*/ 2147483647 w 290"/>
                    <a:gd name="T25" fmla="*/ 2147483647 h 270"/>
                    <a:gd name="T26" fmla="*/ 2147483647 w 290"/>
                    <a:gd name="T27" fmla="*/ 2147483647 h 270"/>
                    <a:gd name="T28" fmla="*/ 2147483647 w 290"/>
                    <a:gd name="T29" fmla="*/ 2147483647 h 270"/>
                    <a:gd name="T30" fmla="*/ 2147483647 w 290"/>
                    <a:gd name="T31" fmla="*/ 2147483647 h 270"/>
                    <a:gd name="T32" fmla="*/ 2147483647 w 290"/>
                    <a:gd name="T33" fmla="*/ 2147483647 h 270"/>
                    <a:gd name="T34" fmla="*/ 2147483647 w 290"/>
                    <a:gd name="T35" fmla="*/ 2147483647 h 270"/>
                    <a:gd name="T36" fmla="*/ 2147483647 w 290"/>
                    <a:gd name="T37" fmla="*/ 2147483647 h 270"/>
                    <a:gd name="T38" fmla="*/ 2147483647 w 290"/>
                    <a:gd name="T39" fmla="*/ 2147483647 h 270"/>
                    <a:gd name="T40" fmla="*/ 2147483647 w 290"/>
                    <a:gd name="T41" fmla="*/ 2147483647 h 270"/>
                    <a:gd name="T42" fmla="*/ 2147483647 w 290"/>
                    <a:gd name="T43" fmla="*/ 2147483647 h 270"/>
                    <a:gd name="T44" fmla="*/ 2147483647 w 290"/>
                    <a:gd name="T45" fmla="*/ 2147483647 h 270"/>
                    <a:gd name="T46" fmla="*/ 2147483647 w 290"/>
                    <a:gd name="T47" fmla="*/ 2147483647 h 270"/>
                    <a:gd name="T48" fmla="*/ 2147483647 w 290"/>
                    <a:gd name="T49" fmla="*/ 2147483647 h 270"/>
                    <a:gd name="T50" fmla="*/ 2147483647 w 290"/>
                    <a:gd name="T51" fmla="*/ 2147483647 h 270"/>
                    <a:gd name="T52" fmla="*/ 2147483647 w 290"/>
                    <a:gd name="T53" fmla="*/ 2147483647 h 270"/>
                    <a:gd name="T54" fmla="*/ 2147483647 w 290"/>
                    <a:gd name="T55" fmla="*/ 2147483647 h 270"/>
                    <a:gd name="T56" fmla="*/ 2147483647 w 290"/>
                    <a:gd name="T57" fmla="*/ 2147483647 h 270"/>
                    <a:gd name="T58" fmla="*/ 2147483647 w 290"/>
                    <a:gd name="T59" fmla="*/ 2147483647 h 270"/>
                    <a:gd name="T60" fmla="*/ 2147483647 w 290"/>
                    <a:gd name="T61" fmla="*/ 2147483647 h 270"/>
                    <a:gd name="T62" fmla="*/ 2147483647 w 290"/>
                    <a:gd name="T63" fmla="*/ 2147483647 h 270"/>
                    <a:gd name="T64" fmla="*/ 2147483647 w 290"/>
                    <a:gd name="T65" fmla="*/ 2147483647 h 270"/>
                    <a:gd name="T66" fmla="*/ 2147483647 w 290"/>
                    <a:gd name="T67" fmla="*/ 2147483647 h 270"/>
                    <a:gd name="T68" fmla="*/ 2147483647 w 290"/>
                    <a:gd name="T69" fmla="*/ 2147483647 h 270"/>
                    <a:gd name="T70" fmla="*/ 2147483647 w 290"/>
                    <a:gd name="T71" fmla="*/ 2147483647 h 270"/>
                    <a:gd name="T72" fmla="*/ 2147483647 w 290"/>
                    <a:gd name="T73" fmla="*/ 2147483647 h 270"/>
                    <a:gd name="T74" fmla="*/ 2147483647 w 290"/>
                    <a:gd name="T75" fmla="*/ 2147483647 h 270"/>
                    <a:gd name="T76" fmla="*/ 2147483647 w 290"/>
                    <a:gd name="T77" fmla="*/ 2147483647 h 270"/>
                    <a:gd name="T78" fmla="*/ 2147483647 w 290"/>
                    <a:gd name="T79" fmla="*/ 2147483647 h 270"/>
                    <a:gd name="T80" fmla="*/ 2147483647 w 290"/>
                    <a:gd name="T81" fmla="*/ 2147483647 h 270"/>
                    <a:gd name="T82" fmla="*/ 2147483647 w 290"/>
                    <a:gd name="T83" fmla="*/ 2147483647 h 270"/>
                    <a:gd name="T84" fmla="*/ 2147483647 w 290"/>
                    <a:gd name="T85" fmla="*/ 2147483647 h 270"/>
                    <a:gd name="T86" fmla="*/ 2147483647 w 290"/>
                    <a:gd name="T87" fmla="*/ 2147483647 h 270"/>
                    <a:gd name="T88" fmla="*/ 2147483647 w 290"/>
                    <a:gd name="T89" fmla="*/ 2147483647 h 270"/>
                    <a:gd name="T90" fmla="*/ 2147483647 w 290"/>
                    <a:gd name="T91" fmla="*/ 2147483647 h 270"/>
                    <a:gd name="T92" fmla="*/ 2147483647 w 290"/>
                    <a:gd name="T93" fmla="*/ 2147483647 h 270"/>
                    <a:gd name="T94" fmla="*/ 2147483647 w 290"/>
                    <a:gd name="T95" fmla="*/ 2147483647 h 270"/>
                    <a:gd name="T96" fmla="*/ 2147483647 w 290"/>
                    <a:gd name="T97" fmla="*/ 2147483647 h 270"/>
                    <a:gd name="T98" fmla="*/ 2147483647 w 290"/>
                    <a:gd name="T99" fmla="*/ 2147483647 h 270"/>
                    <a:gd name="T100" fmla="*/ 2147483647 w 290"/>
                    <a:gd name="T101" fmla="*/ 2147483647 h 270"/>
                    <a:gd name="T102" fmla="*/ 2147483647 w 290"/>
                    <a:gd name="T103" fmla="*/ 2147483647 h 270"/>
                    <a:gd name="T104" fmla="*/ 2147483647 w 290"/>
                    <a:gd name="T105" fmla="*/ 2147483647 h 270"/>
                    <a:gd name="T106" fmla="*/ 2147483647 w 290"/>
                    <a:gd name="T107" fmla="*/ 2147483647 h 27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90"/>
                    <a:gd name="T163" fmla="*/ 0 h 270"/>
                    <a:gd name="T164" fmla="*/ 290 w 290"/>
                    <a:gd name="T165" fmla="*/ 270 h 27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90" h="270">
                      <a:moveTo>
                        <a:pt x="0" y="135"/>
                      </a:moveTo>
                      <a:lnTo>
                        <a:pt x="0" y="135"/>
                      </a:lnTo>
                      <a:lnTo>
                        <a:pt x="1" y="134"/>
                      </a:lnTo>
                      <a:lnTo>
                        <a:pt x="2" y="133"/>
                      </a:lnTo>
                      <a:lnTo>
                        <a:pt x="3" y="131"/>
                      </a:lnTo>
                      <a:lnTo>
                        <a:pt x="5" y="131"/>
                      </a:lnTo>
                      <a:lnTo>
                        <a:pt x="8" y="131"/>
                      </a:lnTo>
                      <a:lnTo>
                        <a:pt x="10" y="130"/>
                      </a:lnTo>
                      <a:lnTo>
                        <a:pt x="11" y="128"/>
                      </a:lnTo>
                      <a:lnTo>
                        <a:pt x="11" y="124"/>
                      </a:lnTo>
                      <a:lnTo>
                        <a:pt x="11" y="123"/>
                      </a:lnTo>
                      <a:lnTo>
                        <a:pt x="12" y="123"/>
                      </a:lnTo>
                      <a:lnTo>
                        <a:pt x="15" y="123"/>
                      </a:lnTo>
                      <a:lnTo>
                        <a:pt x="16" y="126"/>
                      </a:lnTo>
                      <a:lnTo>
                        <a:pt x="16" y="129"/>
                      </a:lnTo>
                      <a:lnTo>
                        <a:pt x="16" y="131"/>
                      </a:lnTo>
                      <a:lnTo>
                        <a:pt x="17" y="135"/>
                      </a:lnTo>
                      <a:lnTo>
                        <a:pt x="20" y="137"/>
                      </a:lnTo>
                      <a:lnTo>
                        <a:pt x="22" y="140"/>
                      </a:lnTo>
                      <a:lnTo>
                        <a:pt x="25" y="141"/>
                      </a:lnTo>
                      <a:lnTo>
                        <a:pt x="29" y="141"/>
                      </a:lnTo>
                      <a:lnTo>
                        <a:pt x="34" y="141"/>
                      </a:lnTo>
                      <a:lnTo>
                        <a:pt x="41" y="139"/>
                      </a:lnTo>
                      <a:lnTo>
                        <a:pt x="47" y="135"/>
                      </a:lnTo>
                      <a:lnTo>
                        <a:pt x="49" y="135"/>
                      </a:lnTo>
                      <a:lnTo>
                        <a:pt x="53" y="133"/>
                      </a:lnTo>
                      <a:lnTo>
                        <a:pt x="57" y="129"/>
                      </a:lnTo>
                      <a:lnTo>
                        <a:pt x="58" y="127"/>
                      </a:lnTo>
                      <a:lnTo>
                        <a:pt x="59" y="123"/>
                      </a:lnTo>
                      <a:lnTo>
                        <a:pt x="59" y="62"/>
                      </a:lnTo>
                      <a:lnTo>
                        <a:pt x="64" y="64"/>
                      </a:lnTo>
                      <a:lnTo>
                        <a:pt x="68" y="67"/>
                      </a:lnTo>
                      <a:lnTo>
                        <a:pt x="71" y="71"/>
                      </a:lnTo>
                      <a:lnTo>
                        <a:pt x="73" y="75"/>
                      </a:lnTo>
                      <a:lnTo>
                        <a:pt x="77" y="84"/>
                      </a:lnTo>
                      <a:lnTo>
                        <a:pt x="78" y="95"/>
                      </a:lnTo>
                      <a:lnTo>
                        <a:pt x="80" y="96"/>
                      </a:lnTo>
                      <a:lnTo>
                        <a:pt x="82" y="96"/>
                      </a:lnTo>
                      <a:lnTo>
                        <a:pt x="87" y="95"/>
                      </a:lnTo>
                      <a:lnTo>
                        <a:pt x="93" y="92"/>
                      </a:lnTo>
                      <a:lnTo>
                        <a:pt x="99" y="91"/>
                      </a:lnTo>
                      <a:lnTo>
                        <a:pt x="101" y="90"/>
                      </a:lnTo>
                      <a:lnTo>
                        <a:pt x="102" y="88"/>
                      </a:lnTo>
                      <a:lnTo>
                        <a:pt x="104" y="85"/>
                      </a:lnTo>
                      <a:lnTo>
                        <a:pt x="106" y="84"/>
                      </a:lnTo>
                      <a:lnTo>
                        <a:pt x="109" y="83"/>
                      </a:lnTo>
                      <a:lnTo>
                        <a:pt x="111" y="78"/>
                      </a:lnTo>
                      <a:lnTo>
                        <a:pt x="114" y="72"/>
                      </a:lnTo>
                      <a:lnTo>
                        <a:pt x="116" y="67"/>
                      </a:lnTo>
                      <a:lnTo>
                        <a:pt x="119" y="66"/>
                      </a:lnTo>
                      <a:lnTo>
                        <a:pt x="121" y="66"/>
                      </a:lnTo>
                      <a:lnTo>
                        <a:pt x="127" y="69"/>
                      </a:lnTo>
                      <a:lnTo>
                        <a:pt x="130" y="71"/>
                      </a:lnTo>
                      <a:lnTo>
                        <a:pt x="134" y="73"/>
                      </a:lnTo>
                      <a:lnTo>
                        <a:pt x="138" y="75"/>
                      </a:lnTo>
                      <a:lnTo>
                        <a:pt x="139" y="73"/>
                      </a:lnTo>
                      <a:lnTo>
                        <a:pt x="144" y="72"/>
                      </a:lnTo>
                      <a:lnTo>
                        <a:pt x="149" y="71"/>
                      </a:lnTo>
                      <a:lnTo>
                        <a:pt x="154" y="69"/>
                      </a:lnTo>
                      <a:lnTo>
                        <a:pt x="158" y="65"/>
                      </a:lnTo>
                      <a:lnTo>
                        <a:pt x="161" y="62"/>
                      </a:lnTo>
                      <a:lnTo>
                        <a:pt x="163" y="57"/>
                      </a:lnTo>
                      <a:lnTo>
                        <a:pt x="165" y="52"/>
                      </a:lnTo>
                      <a:lnTo>
                        <a:pt x="166" y="47"/>
                      </a:lnTo>
                      <a:lnTo>
                        <a:pt x="167" y="46"/>
                      </a:lnTo>
                      <a:lnTo>
                        <a:pt x="170" y="45"/>
                      </a:lnTo>
                      <a:lnTo>
                        <a:pt x="172" y="44"/>
                      </a:lnTo>
                      <a:lnTo>
                        <a:pt x="173" y="43"/>
                      </a:lnTo>
                      <a:lnTo>
                        <a:pt x="176" y="38"/>
                      </a:lnTo>
                      <a:lnTo>
                        <a:pt x="177" y="32"/>
                      </a:lnTo>
                      <a:lnTo>
                        <a:pt x="179" y="28"/>
                      </a:lnTo>
                      <a:lnTo>
                        <a:pt x="181" y="27"/>
                      </a:lnTo>
                      <a:lnTo>
                        <a:pt x="182" y="26"/>
                      </a:lnTo>
                      <a:lnTo>
                        <a:pt x="190" y="24"/>
                      </a:lnTo>
                      <a:lnTo>
                        <a:pt x="196" y="20"/>
                      </a:lnTo>
                      <a:lnTo>
                        <a:pt x="201" y="16"/>
                      </a:lnTo>
                      <a:lnTo>
                        <a:pt x="208" y="14"/>
                      </a:lnTo>
                      <a:lnTo>
                        <a:pt x="214" y="13"/>
                      </a:lnTo>
                      <a:lnTo>
                        <a:pt x="219" y="11"/>
                      </a:lnTo>
                      <a:lnTo>
                        <a:pt x="220" y="8"/>
                      </a:lnTo>
                      <a:lnTo>
                        <a:pt x="222" y="7"/>
                      </a:lnTo>
                      <a:lnTo>
                        <a:pt x="223" y="3"/>
                      </a:lnTo>
                      <a:lnTo>
                        <a:pt x="226" y="2"/>
                      </a:lnTo>
                      <a:lnTo>
                        <a:pt x="229" y="2"/>
                      </a:lnTo>
                      <a:lnTo>
                        <a:pt x="234" y="1"/>
                      </a:lnTo>
                      <a:lnTo>
                        <a:pt x="240" y="0"/>
                      </a:lnTo>
                      <a:lnTo>
                        <a:pt x="246" y="1"/>
                      </a:lnTo>
                      <a:lnTo>
                        <a:pt x="251" y="3"/>
                      </a:lnTo>
                      <a:lnTo>
                        <a:pt x="256" y="7"/>
                      </a:lnTo>
                      <a:lnTo>
                        <a:pt x="255" y="13"/>
                      </a:lnTo>
                      <a:lnTo>
                        <a:pt x="255" y="18"/>
                      </a:lnTo>
                      <a:lnTo>
                        <a:pt x="259" y="22"/>
                      </a:lnTo>
                      <a:lnTo>
                        <a:pt x="261" y="34"/>
                      </a:lnTo>
                      <a:lnTo>
                        <a:pt x="265" y="46"/>
                      </a:lnTo>
                      <a:lnTo>
                        <a:pt x="269" y="57"/>
                      </a:lnTo>
                      <a:lnTo>
                        <a:pt x="271" y="63"/>
                      </a:lnTo>
                      <a:lnTo>
                        <a:pt x="274" y="67"/>
                      </a:lnTo>
                      <a:lnTo>
                        <a:pt x="275" y="71"/>
                      </a:lnTo>
                      <a:lnTo>
                        <a:pt x="274" y="73"/>
                      </a:lnTo>
                      <a:lnTo>
                        <a:pt x="271" y="76"/>
                      </a:lnTo>
                      <a:lnTo>
                        <a:pt x="270" y="75"/>
                      </a:lnTo>
                      <a:lnTo>
                        <a:pt x="266" y="71"/>
                      </a:lnTo>
                      <a:lnTo>
                        <a:pt x="262" y="70"/>
                      </a:lnTo>
                      <a:lnTo>
                        <a:pt x="259" y="71"/>
                      </a:lnTo>
                      <a:lnTo>
                        <a:pt x="256" y="76"/>
                      </a:lnTo>
                      <a:lnTo>
                        <a:pt x="252" y="8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5" y="95"/>
                      </a:lnTo>
                      <a:lnTo>
                        <a:pt x="256" y="97"/>
                      </a:lnTo>
                      <a:lnTo>
                        <a:pt x="259" y="98"/>
                      </a:lnTo>
                      <a:lnTo>
                        <a:pt x="261" y="98"/>
                      </a:lnTo>
                      <a:lnTo>
                        <a:pt x="264" y="98"/>
                      </a:lnTo>
                      <a:lnTo>
                        <a:pt x="267" y="95"/>
                      </a:lnTo>
                      <a:lnTo>
                        <a:pt x="273" y="91"/>
                      </a:lnTo>
                      <a:lnTo>
                        <a:pt x="274" y="90"/>
                      </a:lnTo>
                      <a:lnTo>
                        <a:pt x="276" y="90"/>
                      </a:lnTo>
                      <a:lnTo>
                        <a:pt x="278" y="91"/>
                      </a:lnTo>
                      <a:lnTo>
                        <a:pt x="279" y="91"/>
                      </a:lnTo>
                      <a:lnTo>
                        <a:pt x="284" y="90"/>
                      </a:lnTo>
                      <a:lnTo>
                        <a:pt x="288" y="91"/>
                      </a:lnTo>
                      <a:lnTo>
                        <a:pt x="290" y="92"/>
                      </a:lnTo>
                      <a:lnTo>
                        <a:pt x="290" y="94"/>
                      </a:lnTo>
                      <a:lnTo>
                        <a:pt x="290" y="101"/>
                      </a:lnTo>
                      <a:lnTo>
                        <a:pt x="288" y="107"/>
                      </a:lnTo>
                      <a:lnTo>
                        <a:pt x="285" y="110"/>
                      </a:lnTo>
                      <a:lnTo>
                        <a:pt x="281" y="121"/>
                      </a:lnTo>
                      <a:lnTo>
                        <a:pt x="279" y="130"/>
                      </a:lnTo>
                      <a:lnTo>
                        <a:pt x="274" y="140"/>
                      </a:lnTo>
                      <a:lnTo>
                        <a:pt x="270" y="143"/>
                      </a:lnTo>
                      <a:lnTo>
                        <a:pt x="265" y="147"/>
                      </a:lnTo>
                      <a:lnTo>
                        <a:pt x="261" y="152"/>
                      </a:lnTo>
                      <a:lnTo>
                        <a:pt x="259" y="156"/>
                      </a:lnTo>
                      <a:lnTo>
                        <a:pt x="255" y="167"/>
                      </a:lnTo>
                      <a:lnTo>
                        <a:pt x="248" y="175"/>
                      </a:lnTo>
                      <a:lnTo>
                        <a:pt x="234" y="192"/>
                      </a:lnTo>
                      <a:lnTo>
                        <a:pt x="228" y="199"/>
                      </a:lnTo>
                      <a:lnTo>
                        <a:pt x="222" y="206"/>
                      </a:lnTo>
                      <a:lnTo>
                        <a:pt x="213" y="218"/>
                      </a:lnTo>
                      <a:lnTo>
                        <a:pt x="203" y="229"/>
                      </a:lnTo>
                      <a:lnTo>
                        <a:pt x="199" y="232"/>
                      </a:lnTo>
                      <a:lnTo>
                        <a:pt x="194" y="236"/>
                      </a:lnTo>
                      <a:lnTo>
                        <a:pt x="189" y="238"/>
                      </a:lnTo>
                      <a:lnTo>
                        <a:pt x="184" y="239"/>
                      </a:lnTo>
                      <a:lnTo>
                        <a:pt x="181" y="242"/>
                      </a:lnTo>
                      <a:lnTo>
                        <a:pt x="179" y="244"/>
                      </a:lnTo>
                      <a:lnTo>
                        <a:pt x="176" y="246"/>
                      </a:lnTo>
                      <a:lnTo>
                        <a:pt x="175" y="248"/>
                      </a:lnTo>
                      <a:lnTo>
                        <a:pt x="165" y="246"/>
                      </a:lnTo>
                      <a:lnTo>
                        <a:pt x="160" y="248"/>
                      </a:lnTo>
                      <a:lnTo>
                        <a:pt x="156" y="251"/>
                      </a:lnTo>
                      <a:lnTo>
                        <a:pt x="153" y="252"/>
                      </a:lnTo>
                      <a:lnTo>
                        <a:pt x="152" y="252"/>
                      </a:lnTo>
                      <a:lnTo>
                        <a:pt x="147" y="252"/>
                      </a:lnTo>
                      <a:lnTo>
                        <a:pt x="142" y="252"/>
                      </a:lnTo>
                      <a:lnTo>
                        <a:pt x="135" y="251"/>
                      </a:lnTo>
                      <a:lnTo>
                        <a:pt x="137" y="251"/>
                      </a:lnTo>
                      <a:lnTo>
                        <a:pt x="133" y="250"/>
                      </a:lnTo>
                      <a:lnTo>
                        <a:pt x="130" y="250"/>
                      </a:lnTo>
                      <a:lnTo>
                        <a:pt x="125" y="251"/>
                      </a:lnTo>
                      <a:lnTo>
                        <a:pt x="116" y="257"/>
                      </a:lnTo>
                      <a:lnTo>
                        <a:pt x="113" y="257"/>
                      </a:lnTo>
                      <a:lnTo>
                        <a:pt x="110" y="257"/>
                      </a:lnTo>
                      <a:lnTo>
                        <a:pt x="107" y="256"/>
                      </a:lnTo>
                      <a:lnTo>
                        <a:pt x="105" y="255"/>
                      </a:lnTo>
                      <a:lnTo>
                        <a:pt x="102" y="255"/>
                      </a:lnTo>
                      <a:lnTo>
                        <a:pt x="99" y="257"/>
                      </a:lnTo>
                      <a:lnTo>
                        <a:pt x="96" y="260"/>
                      </a:lnTo>
                      <a:lnTo>
                        <a:pt x="93" y="262"/>
                      </a:lnTo>
                      <a:lnTo>
                        <a:pt x="91" y="262"/>
                      </a:lnTo>
                      <a:lnTo>
                        <a:pt x="81" y="261"/>
                      </a:lnTo>
                      <a:lnTo>
                        <a:pt x="77" y="260"/>
                      </a:lnTo>
                      <a:lnTo>
                        <a:pt x="72" y="261"/>
                      </a:lnTo>
                      <a:lnTo>
                        <a:pt x="69" y="263"/>
                      </a:lnTo>
                      <a:lnTo>
                        <a:pt x="68" y="265"/>
                      </a:lnTo>
                      <a:lnTo>
                        <a:pt x="66" y="269"/>
                      </a:lnTo>
                      <a:lnTo>
                        <a:pt x="63" y="270"/>
                      </a:lnTo>
                      <a:lnTo>
                        <a:pt x="60" y="270"/>
                      </a:lnTo>
                      <a:lnTo>
                        <a:pt x="58" y="269"/>
                      </a:lnTo>
                      <a:lnTo>
                        <a:pt x="53" y="267"/>
                      </a:lnTo>
                      <a:lnTo>
                        <a:pt x="49" y="262"/>
                      </a:lnTo>
                      <a:lnTo>
                        <a:pt x="45" y="257"/>
                      </a:lnTo>
                      <a:lnTo>
                        <a:pt x="41" y="255"/>
                      </a:lnTo>
                      <a:lnTo>
                        <a:pt x="39" y="255"/>
                      </a:lnTo>
                      <a:lnTo>
                        <a:pt x="36" y="256"/>
                      </a:lnTo>
                      <a:lnTo>
                        <a:pt x="34" y="257"/>
                      </a:lnTo>
                      <a:lnTo>
                        <a:pt x="33" y="257"/>
                      </a:lnTo>
                      <a:lnTo>
                        <a:pt x="33" y="256"/>
                      </a:lnTo>
                      <a:lnTo>
                        <a:pt x="31" y="245"/>
                      </a:lnTo>
                      <a:lnTo>
                        <a:pt x="30" y="241"/>
                      </a:lnTo>
                      <a:lnTo>
                        <a:pt x="26" y="236"/>
                      </a:lnTo>
                      <a:lnTo>
                        <a:pt x="26" y="233"/>
                      </a:lnTo>
                      <a:lnTo>
                        <a:pt x="25" y="230"/>
                      </a:lnTo>
                      <a:lnTo>
                        <a:pt x="24" y="224"/>
                      </a:lnTo>
                      <a:lnTo>
                        <a:pt x="24" y="222"/>
                      </a:lnTo>
                      <a:lnTo>
                        <a:pt x="25" y="219"/>
                      </a:lnTo>
                      <a:lnTo>
                        <a:pt x="29" y="218"/>
                      </a:lnTo>
                      <a:lnTo>
                        <a:pt x="33" y="218"/>
                      </a:lnTo>
                      <a:lnTo>
                        <a:pt x="34" y="214"/>
                      </a:lnTo>
                      <a:lnTo>
                        <a:pt x="34" y="210"/>
                      </a:lnTo>
                      <a:lnTo>
                        <a:pt x="31" y="201"/>
                      </a:lnTo>
                      <a:lnTo>
                        <a:pt x="26" y="194"/>
                      </a:lnTo>
                      <a:lnTo>
                        <a:pt x="22" y="191"/>
                      </a:lnTo>
                      <a:lnTo>
                        <a:pt x="19" y="188"/>
                      </a:lnTo>
                      <a:lnTo>
                        <a:pt x="16" y="187"/>
                      </a:lnTo>
                      <a:lnTo>
                        <a:pt x="15" y="185"/>
                      </a:lnTo>
                      <a:lnTo>
                        <a:pt x="15" y="179"/>
                      </a:lnTo>
                      <a:lnTo>
                        <a:pt x="13" y="167"/>
                      </a:lnTo>
                      <a:lnTo>
                        <a:pt x="11" y="156"/>
                      </a:lnTo>
                      <a:lnTo>
                        <a:pt x="6" y="145"/>
                      </a:lnTo>
                      <a:lnTo>
                        <a:pt x="0" y="13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5" name="Freeform 733">
                  <a:extLst>
                    <a:ext uri="{FF2B5EF4-FFF2-40B4-BE49-F238E27FC236}">
                      <a16:creationId xmlns:a16="http://schemas.microsoft.com/office/drawing/2014/main" id="{94C5C357-22BB-CE43-A630-772DD81C00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0023" y="4917298"/>
                  <a:ext cx="254537" cy="479478"/>
                </a:xfrm>
                <a:custGeom>
                  <a:avLst/>
                  <a:gdLst>
                    <a:gd name="T0" fmla="*/ 2147483647 w 187"/>
                    <a:gd name="T1" fmla="*/ 2147483647 h 324"/>
                    <a:gd name="T2" fmla="*/ 2147483647 w 187"/>
                    <a:gd name="T3" fmla="*/ 2147483647 h 324"/>
                    <a:gd name="T4" fmla="*/ 2147483647 w 187"/>
                    <a:gd name="T5" fmla="*/ 2147483647 h 324"/>
                    <a:gd name="T6" fmla="*/ 2147483647 w 187"/>
                    <a:gd name="T7" fmla="*/ 2147483647 h 324"/>
                    <a:gd name="T8" fmla="*/ 2147483647 w 187"/>
                    <a:gd name="T9" fmla="*/ 2147483647 h 324"/>
                    <a:gd name="T10" fmla="*/ 2147483647 w 187"/>
                    <a:gd name="T11" fmla="*/ 2147483647 h 324"/>
                    <a:gd name="T12" fmla="*/ 2147483647 w 187"/>
                    <a:gd name="T13" fmla="*/ 2147483647 h 324"/>
                    <a:gd name="T14" fmla="*/ 2147483647 w 187"/>
                    <a:gd name="T15" fmla="*/ 2147483647 h 324"/>
                    <a:gd name="T16" fmla="*/ 2147483647 w 187"/>
                    <a:gd name="T17" fmla="*/ 2147483647 h 324"/>
                    <a:gd name="T18" fmla="*/ 2147483647 w 187"/>
                    <a:gd name="T19" fmla="*/ 2147483647 h 324"/>
                    <a:gd name="T20" fmla="*/ 2147483647 w 187"/>
                    <a:gd name="T21" fmla="*/ 2147483647 h 324"/>
                    <a:gd name="T22" fmla="*/ 0 w 187"/>
                    <a:gd name="T23" fmla="*/ 2147483647 h 324"/>
                    <a:gd name="T24" fmla="*/ 2147483647 w 187"/>
                    <a:gd name="T25" fmla="*/ 2147483647 h 324"/>
                    <a:gd name="T26" fmla="*/ 2147483647 w 187"/>
                    <a:gd name="T27" fmla="*/ 2147483647 h 324"/>
                    <a:gd name="T28" fmla="*/ 2147483647 w 187"/>
                    <a:gd name="T29" fmla="*/ 2147483647 h 324"/>
                    <a:gd name="T30" fmla="*/ 2147483647 w 187"/>
                    <a:gd name="T31" fmla="*/ 2147483647 h 324"/>
                    <a:gd name="T32" fmla="*/ 2147483647 w 187"/>
                    <a:gd name="T33" fmla="*/ 2147483647 h 324"/>
                    <a:gd name="T34" fmla="*/ 2147483647 w 187"/>
                    <a:gd name="T35" fmla="*/ 2147483647 h 324"/>
                    <a:gd name="T36" fmla="*/ 2147483647 w 187"/>
                    <a:gd name="T37" fmla="*/ 2147483647 h 324"/>
                    <a:gd name="T38" fmla="*/ 2147483647 w 187"/>
                    <a:gd name="T39" fmla="*/ 2147483647 h 324"/>
                    <a:gd name="T40" fmla="*/ 2147483647 w 187"/>
                    <a:gd name="T41" fmla="*/ 2147483647 h 324"/>
                    <a:gd name="T42" fmla="*/ 2147483647 w 187"/>
                    <a:gd name="T43" fmla="*/ 2147483647 h 324"/>
                    <a:gd name="T44" fmla="*/ 2147483647 w 187"/>
                    <a:gd name="T45" fmla="*/ 2147483647 h 324"/>
                    <a:gd name="T46" fmla="*/ 2147483647 w 187"/>
                    <a:gd name="T47" fmla="*/ 2147483647 h 324"/>
                    <a:gd name="T48" fmla="*/ 2147483647 w 187"/>
                    <a:gd name="T49" fmla="*/ 2147483647 h 324"/>
                    <a:gd name="T50" fmla="*/ 2147483647 w 187"/>
                    <a:gd name="T51" fmla="*/ 2147483647 h 324"/>
                    <a:gd name="T52" fmla="*/ 2147483647 w 187"/>
                    <a:gd name="T53" fmla="*/ 2147483647 h 324"/>
                    <a:gd name="T54" fmla="*/ 2147483647 w 187"/>
                    <a:gd name="T55" fmla="*/ 2147483647 h 324"/>
                    <a:gd name="T56" fmla="*/ 2147483647 w 187"/>
                    <a:gd name="T57" fmla="*/ 2147483647 h 324"/>
                    <a:gd name="T58" fmla="*/ 2147483647 w 187"/>
                    <a:gd name="T59" fmla="*/ 2147483647 h 324"/>
                    <a:gd name="T60" fmla="*/ 2147483647 w 187"/>
                    <a:gd name="T61" fmla="*/ 2147483647 h 324"/>
                    <a:gd name="T62" fmla="*/ 2147483647 w 187"/>
                    <a:gd name="T63" fmla="*/ 2147483647 h 324"/>
                    <a:gd name="T64" fmla="*/ 2147483647 w 187"/>
                    <a:gd name="T65" fmla="*/ 2147483647 h 324"/>
                    <a:gd name="T66" fmla="*/ 2147483647 w 187"/>
                    <a:gd name="T67" fmla="*/ 2147483647 h 324"/>
                    <a:gd name="T68" fmla="*/ 2147483647 w 187"/>
                    <a:gd name="T69" fmla="*/ 2147483647 h 324"/>
                    <a:gd name="T70" fmla="*/ 2147483647 w 187"/>
                    <a:gd name="T71" fmla="*/ 2147483647 h 324"/>
                    <a:gd name="T72" fmla="*/ 2147483647 w 187"/>
                    <a:gd name="T73" fmla="*/ 2147483647 h 324"/>
                    <a:gd name="T74" fmla="*/ 2147483647 w 187"/>
                    <a:gd name="T75" fmla="*/ 2147483647 h 324"/>
                    <a:gd name="T76" fmla="*/ 2147483647 w 187"/>
                    <a:gd name="T77" fmla="*/ 2147483647 h 324"/>
                    <a:gd name="T78" fmla="*/ 2147483647 w 187"/>
                    <a:gd name="T79" fmla="*/ 2147483647 h 324"/>
                    <a:gd name="T80" fmla="*/ 2147483647 w 187"/>
                    <a:gd name="T81" fmla="*/ 2147483647 h 324"/>
                    <a:gd name="T82" fmla="*/ 2147483647 w 187"/>
                    <a:gd name="T83" fmla="*/ 2147483647 h 324"/>
                    <a:gd name="T84" fmla="*/ 2147483647 w 187"/>
                    <a:gd name="T85" fmla="*/ 2147483647 h 324"/>
                    <a:gd name="T86" fmla="*/ 2147483647 w 187"/>
                    <a:gd name="T87" fmla="*/ 2147483647 h 324"/>
                    <a:gd name="T88" fmla="*/ 2147483647 w 187"/>
                    <a:gd name="T89" fmla="*/ 2147483647 h 324"/>
                    <a:gd name="T90" fmla="*/ 2147483647 w 187"/>
                    <a:gd name="T91" fmla="*/ 2147483647 h 324"/>
                    <a:gd name="T92" fmla="*/ 2147483647 w 187"/>
                    <a:gd name="T93" fmla="*/ 2147483647 h 324"/>
                    <a:gd name="T94" fmla="*/ 2147483647 w 187"/>
                    <a:gd name="T95" fmla="*/ 2147483647 h 324"/>
                    <a:gd name="T96" fmla="*/ 2147483647 w 187"/>
                    <a:gd name="T97" fmla="*/ 2147483647 h 324"/>
                    <a:gd name="T98" fmla="*/ 2147483647 w 187"/>
                    <a:gd name="T99" fmla="*/ 2147483647 h 324"/>
                    <a:gd name="T100" fmla="*/ 2147483647 w 187"/>
                    <a:gd name="T101" fmla="*/ 2147483647 h 324"/>
                    <a:gd name="T102" fmla="*/ 2147483647 w 187"/>
                    <a:gd name="T103" fmla="*/ 2147483647 h 324"/>
                    <a:gd name="T104" fmla="*/ 2147483647 w 187"/>
                    <a:gd name="T105" fmla="*/ 2147483647 h 324"/>
                    <a:gd name="T106" fmla="*/ 2147483647 w 187"/>
                    <a:gd name="T107" fmla="*/ 2147483647 h 32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87"/>
                    <a:gd name="T163" fmla="*/ 0 h 324"/>
                    <a:gd name="T164" fmla="*/ 187 w 187"/>
                    <a:gd name="T165" fmla="*/ 324 h 32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87" h="324">
                      <a:moveTo>
                        <a:pt x="86" y="62"/>
                      </a:moveTo>
                      <a:lnTo>
                        <a:pt x="86" y="62"/>
                      </a:lnTo>
                      <a:lnTo>
                        <a:pt x="91" y="64"/>
                      </a:lnTo>
                      <a:lnTo>
                        <a:pt x="96" y="69"/>
                      </a:lnTo>
                      <a:lnTo>
                        <a:pt x="100" y="75"/>
                      </a:lnTo>
                      <a:lnTo>
                        <a:pt x="102" y="77"/>
                      </a:lnTo>
                      <a:lnTo>
                        <a:pt x="103" y="80"/>
                      </a:lnTo>
                      <a:lnTo>
                        <a:pt x="103" y="86"/>
                      </a:lnTo>
                      <a:lnTo>
                        <a:pt x="102" y="93"/>
                      </a:lnTo>
                      <a:lnTo>
                        <a:pt x="99" y="100"/>
                      </a:lnTo>
                      <a:lnTo>
                        <a:pt x="95" y="107"/>
                      </a:lnTo>
                      <a:lnTo>
                        <a:pt x="94" y="115"/>
                      </a:lnTo>
                      <a:lnTo>
                        <a:pt x="94" y="124"/>
                      </a:lnTo>
                      <a:lnTo>
                        <a:pt x="94" y="132"/>
                      </a:lnTo>
                      <a:lnTo>
                        <a:pt x="94" y="134"/>
                      </a:lnTo>
                      <a:lnTo>
                        <a:pt x="91" y="137"/>
                      </a:lnTo>
                      <a:lnTo>
                        <a:pt x="89" y="137"/>
                      </a:lnTo>
                      <a:lnTo>
                        <a:pt x="88" y="135"/>
                      </a:lnTo>
                      <a:lnTo>
                        <a:pt x="85" y="133"/>
                      </a:lnTo>
                      <a:lnTo>
                        <a:pt x="80" y="122"/>
                      </a:lnTo>
                      <a:lnTo>
                        <a:pt x="76" y="118"/>
                      </a:lnTo>
                      <a:lnTo>
                        <a:pt x="70" y="114"/>
                      </a:lnTo>
                      <a:lnTo>
                        <a:pt x="69" y="113"/>
                      </a:lnTo>
                      <a:lnTo>
                        <a:pt x="67" y="112"/>
                      </a:lnTo>
                      <a:lnTo>
                        <a:pt x="67" y="107"/>
                      </a:lnTo>
                      <a:lnTo>
                        <a:pt x="71" y="98"/>
                      </a:lnTo>
                      <a:lnTo>
                        <a:pt x="74" y="94"/>
                      </a:lnTo>
                      <a:lnTo>
                        <a:pt x="75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0" y="83"/>
                      </a:lnTo>
                      <a:lnTo>
                        <a:pt x="66" y="83"/>
                      </a:lnTo>
                      <a:lnTo>
                        <a:pt x="62" y="83"/>
                      </a:lnTo>
                      <a:lnTo>
                        <a:pt x="57" y="84"/>
                      </a:lnTo>
                      <a:lnTo>
                        <a:pt x="53" y="84"/>
                      </a:lnTo>
                      <a:lnTo>
                        <a:pt x="52" y="83"/>
                      </a:lnTo>
                      <a:lnTo>
                        <a:pt x="51" y="82"/>
                      </a:lnTo>
                      <a:lnTo>
                        <a:pt x="50" y="79"/>
                      </a:lnTo>
                      <a:lnTo>
                        <a:pt x="48" y="74"/>
                      </a:lnTo>
                      <a:lnTo>
                        <a:pt x="38" y="80"/>
                      </a:lnTo>
                      <a:lnTo>
                        <a:pt x="27" y="84"/>
                      </a:lnTo>
                      <a:lnTo>
                        <a:pt x="5" y="93"/>
                      </a:lnTo>
                      <a:lnTo>
                        <a:pt x="3" y="94"/>
                      </a:lnTo>
                      <a:lnTo>
                        <a:pt x="0" y="98"/>
                      </a:lnTo>
                      <a:lnTo>
                        <a:pt x="0" y="102"/>
                      </a:lnTo>
                      <a:lnTo>
                        <a:pt x="0" y="107"/>
                      </a:lnTo>
                      <a:lnTo>
                        <a:pt x="3" y="112"/>
                      </a:lnTo>
                      <a:lnTo>
                        <a:pt x="6" y="114"/>
                      </a:lnTo>
                      <a:lnTo>
                        <a:pt x="16" y="119"/>
                      </a:lnTo>
                      <a:lnTo>
                        <a:pt x="27" y="124"/>
                      </a:lnTo>
                      <a:lnTo>
                        <a:pt x="32" y="126"/>
                      </a:lnTo>
                      <a:lnTo>
                        <a:pt x="37" y="127"/>
                      </a:lnTo>
                      <a:lnTo>
                        <a:pt x="42" y="130"/>
                      </a:lnTo>
                      <a:lnTo>
                        <a:pt x="46" y="133"/>
                      </a:lnTo>
                      <a:lnTo>
                        <a:pt x="48" y="139"/>
                      </a:lnTo>
                      <a:lnTo>
                        <a:pt x="48" y="145"/>
                      </a:lnTo>
                      <a:lnTo>
                        <a:pt x="50" y="159"/>
                      </a:lnTo>
                      <a:lnTo>
                        <a:pt x="50" y="163"/>
                      </a:lnTo>
                      <a:lnTo>
                        <a:pt x="47" y="166"/>
                      </a:lnTo>
                      <a:lnTo>
                        <a:pt x="44" y="169"/>
                      </a:lnTo>
                      <a:lnTo>
                        <a:pt x="43" y="172"/>
                      </a:lnTo>
                      <a:lnTo>
                        <a:pt x="42" y="176"/>
                      </a:lnTo>
                      <a:lnTo>
                        <a:pt x="42" y="179"/>
                      </a:lnTo>
                      <a:lnTo>
                        <a:pt x="43" y="185"/>
                      </a:lnTo>
                      <a:lnTo>
                        <a:pt x="47" y="192"/>
                      </a:lnTo>
                      <a:lnTo>
                        <a:pt x="50" y="199"/>
                      </a:lnTo>
                      <a:lnTo>
                        <a:pt x="51" y="207"/>
                      </a:lnTo>
                      <a:lnTo>
                        <a:pt x="50" y="211"/>
                      </a:lnTo>
                      <a:lnTo>
                        <a:pt x="48" y="217"/>
                      </a:lnTo>
                      <a:lnTo>
                        <a:pt x="44" y="221"/>
                      </a:lnTo>
                      <a:lnTo>
                        <a:pt x="34" y="229"/>
                      </a:lnTo>
                      <a:lnTo>
                        <a:pt x="24" y="236"/>
                      </a:lnTo>
                      <a:lnTo>
                        <a:pt x="20" y="239"/>
                      </a:lnTo>
                      <a:lnTo>
                        <a:pt x="19" y="240"/>
                      </a:lnTo>
                      <a:lnTo>
                        <a:pt x="19" y="241"/>
                      </a:lnTo>
                      <a:lnTo>
                        <a:pt x="18" y="247"/>
                      </a:lnTo>
                      <a:lnTo>
                        <a:pt x="18" y="252"/>
                      </a:lnTo>
                      <a:lnTo>
                        <a:pt x="22" y="256"/>
                      </a:lnTo>
                      <a:lnTo>
                        <a:pt x="24" y="268"/>
                      </a:lnTo>
                      <a:lnTo>
                        <a:pt x="28" y="280"/>
                      </a:lnTo>
                      <a:lnTo>
                        <a:pt x="32" y="291"/>
                      </a:lnTo>
                      <a:lnTo>
                        <a:pt x="34" y="297"/>
                      </a:lnTo>
                      <a:lnTo>
                        <a:pt x="37" y="301"/>
                      </a:lnTo>
                      <a:lnTo>
                        <a:pt x="38" y="305"/>
                      </a:lnTo>
                      <a:lnTo>
                        <a:pt x="37" y="307"/>
                      </a:lnTo>
                      <a:lnTo>
                        <a:pt x="34" y="310"/>
                      </a:lnTo>
                      <a:lnTo>
                        <a:pt x="37" y="313"/>
                      </a:lnTo>
                      <a:lnTo>
                        <a:pt x="38" y="317"/>
                      </a:lnTo>
                      <a:lnTo>
                        <a:pt x="39" y="324"/>
                      </a:lnTo>
                      <a:lnTo>
                        <a:pt x="41" y="316"/>
                      </a:lnTo>
                      <a:lnTo>
                        <a:pt x="43" y="309"/>
                      </a:lnTo>
                      <a:lnTo>
                        <a:pt x="48" y="304"/>
                      </a:lnTo>
                      <a:lnTo>
                        <a:pt x="53" y="300"/>
                      </a:lnTo>
                      <a:lnTo>
                        <a:pt x="58" y="298"/>
                      </a:lnTo>
                      <a:lnTo>
                        <a:pt x="65" y="297"/>
                      </a:lnTo>
                      <a:lnTo>
                        <a:pt x="71" y="296"/>
                      </a:lnTo>
                      <a:lnTo>
                        <a:pt x="80" y="292"/>
                      </a:lnTo>
                      <a:lnTo>
                        <a:pt x="85" y="291"/>
                      </a:lnTo>
                      <a:lnTo>
                        <a:pt x="89" y="288"/>
                      </a:lnTo>
                      <a:lnTo>
                        <a:pt x="93" y="286"/>
                      </a:lnTo>
                      <a:lnTo>
                        <a:pt x="95" y="284"/>
                      </a:lnTo>
                      <a:lnTo>
                        <a:pt x="96" y="281"/>
                      </a:lnTo>
                      <a:lnTo>
                        <a:pt x="96" y="279"/>
                      </a:lnTo>
                      <a:lnTo>
                        <a:pt x="94" y="275"/>
                      </a:lnTo>
                      <a:lnTo>
                        <a:pt x="93" y="273"/>
                      </a:lnTo>
                      <a:lnTo>
                        <a:pt x="91" y="271"/>
                      </a:lnTo>
                      <a:lnTo>
                        <a:pt x="94" y="267"/>
                      </a:lnTo>
                      <a:lnTo>
                        <a:pt x="95" y="265"/>
                      </a:lnTo>
                      <a:lnTo>
                        <a:pt x="98" y="262"/>
                      </a:lnTo>
                      <a:lnTo>
                        <a:pt x="98" y="259"/>
                      </a:lnTo>
                      <a:lnTo>
                        <a:pt x="95" y="249"/>
                      </a:lnTo>
                      <a:lnTo>
                        <a:pt x="94" y="240"/>
                      </a:lnTo>
                      <a:lnTo>
                        <a:pt x="93" y="236"/>
                      </a:lnTo>
                      <a:lnTo>
                        <a:pt x="91" y="234"/>
                      </a:lnTo>
                      <a:lnTo>
                        <a:pt x="90" y="231"/>
                      </a:lnTo>
                      <a:lnTo>
                        <a:pt x="89" y="228"/>
                      </a:lnTo>
                      <a:lnTo>
                        <a:pt x="89" y="223"/>
                      </a:lnTo>
                      <a:lnTo>
                        <a:pt x="90" y="217"/>
                      </a:lnTo>
                      <a:lnTo>
                        <a:pt x="90" y="215"/>
                      </a:lnTo>
                      <a:lnTo>
                        <a:pt x="90" y="213"/>
                      </a:lnTo>
                      <a:lnTo>
                        <a:pt x="86" y="210"/>
                      </a:lnTo>
                      <a:lnTo>
                        <a:pt x="84" y="208"/>
                      </a:lnTo>
                      <a:lnTo>
                        <a:pt x="83" y="207"/>
                      </a:lnTo>
                      <a:lnTo>
                        <a:pt x="81" y="204"/>
                      </a:lnTo>
                      <a:lnTo>
                        <a:pt x="81" y="203"/>
                      </a:lnTo>
                      <a:lnTo>
                        <a:pt x="80" y="201"/>
                      </a:lnTo>
                      <a:lnTo>
                        <a:pt x="75" y="197"/>
                      </a:lnTo>
                      <a:lnTo>
                        <a:pt x="74" y="195"/>
                      </a:lnTo>
                      <a:lnTo>
                        <a:pt x="74" y="192"/>
                      </a:lnTo>
                      <a:lnTo>
                        <a:pt x="76" y="184"/>
                      </a:lnTo>
                      <a:lnTo>
                        <a:pt x="77" y="183"/>
                      </a:lnTo>
                      <a:lnTo>
                        <a:pt x="80" y="183"/>
                      </a:lnTo>
                      <a:lnTo>
                        <a:pt x="84" y="183"/>
                      </a:lnTo>
                      <a:lnTo>
                        <a:pt x="90" y="182"/>
                      </a:lnTo>
                      <a:lnTo>
                        <a:pt x="94" y="181"/>
                      </a:lnTo>
                      <a:lnTo>
                        <a:pt x="102" y="172"/>
                      </a:lnTo>
                      <a:lnTo>
                        <a:pt x="103" y="171"/>
                      </a:lnTo>
                      <a:lnTo>
                        <a:pt x="105" y="170"/>
                      </a:lnTo>
                      <a:lnTo>
                        <a:pt x="108" y="170"/>
                      </a:lnTo>
                      <a:lnTo>
                        <a:pt x="110" y="172"/>
                      </a:lnTo>
                      <a:lnTo>
                        <a:pt x="113" y="171"/>
                      </a:lnTo>
                      <a:lnTo>
                        <a:pt x="114" y="169"/>
                      </a:lnTo>
                      <a:lnTo>
                        <a:pt x="117" y="165"/>
                      </a:lnTo>
                      <a:lnTo>
                        <a:pt x="121" y="160"/>
                      </a:lnTo>
                      <a:lnTo>
                        <a:pt x="122" y="157"/>
                      </a:lnTo>
                      <a:lnTo>
                        <a:pt x="123" y="154"/>
                      </a:lnTo>
                      <a:lnTo>
                        <a:pt x="122" y="152"/>
                      </a:lnTo>
                      <a:lnTo>
                        <a:pt x="122" y="150"/>
                      </a:lnTo>
                      <a:lnTo>
                        <a:pt x="124" y="147"/>
                      </a:lnTo>
                      <a:lnTo>
                        <a:pt x="127" y="146"/>
                      </a:lnTo>
                      <a:lnTo>
                        <a:pt x="128" y="146"/>
                      </a:lnTo>
                      <a:lnTo>
                        <a:pt x="133" y="146"/>
                      </a:lnTo>
                      <a:lnTo>
                        <a:pt x="136" y="146"/>
                      </a:lnTo>
                      <a:lnTo>
                        <a:pt x="138" y="145"/>
                      </a:lnTo>
                      <a:lnTo>
                        <a:pt x="149" y="138"/>
                      </a:lnTo>
                      <a:lnTo>
                        <a:pt x="155" y="135"/>
                      </a:lnTo>
                      <a:lnTo>
                        <a:pt x="161" y="133"/>
                      </a:lnTo>
                      <a:lnTo>
                        <a:pt x="165" y="131"/>
                      </a:lnTo>
                      <a:lnTo>
                        <a:pt x="166" y="127"/>
                      </a:lnTo>
                      <a:lnTo>
                        <a:pt x="170" y="119"/>
                      </a:lnTo>
                      <a:lnTo>
                        <a:pt x="174" y="113"/>
                      </a:lnTo>
                      <a:lnTo>
                        <a:pt x="178" y="107"/>
                      </a:lnTo>
                      <a:lnTo>
                        <a:pt x="187" y="95"/>
                      </a:lnTo>
                      <a:lnTo>
                        <a:pt x="187" y="93"/>
                      </a:lnTo>
                      <a:lnTo>
                        <a:pt x="187" y="92"/>
                      </a:lnTo>
                      <a:lnTo>
                        <a:pt x="185" y="89"/>
                      </a:lnTo>
                      <a:lnTo>
                        <a:pt x="185" y="87"/>
                      </a:lnTo>
                      <a:lnTo>
                        <a:pt x="185" y="70"/>
                      </a:lnTo>
                      <a:lnTo>
                        <a:pt x="184" y="62"/>
                      </a:lnTo>
                      <a:lnTo>
                        <a:pt x="183" y="54"/>
                      </a:lnTo>
                      <a:lnTo>
                        <a:pt x="180" y="45"/>
                      </a:lnTo>
                      <a:lnTo>
                        <a:pt x="180" y="35"/>
                      </a:lnTo>
                      <a:lnTo>
                        <a:pt x="182" y="13"/>
                      </a:lnTo>
                      <a:lnTo>
                        <a:pt x="183" y="9"/>
                      </a:lnTo>
                      <a:lnTo>
                        <a:pt x="183" y="6"/>
                      </a:lnTo>
                      <a:lnTo>
                        <a:pt x="182" y="4"/>
                      </a:lnTo>
                      <a:lnTo>
                        <a:pt x="176" y="0"/>
                      </a:lnTo>
                      <a:lnTo>
                        <a:pt x="173" y="5"/>
                      </a:lnTo>
                      <a:lnTo>
                        <a:pt x="171" y="7"/>
                      </a:lnTo>
                      <a:lnTo>
                        <a:pt x="169" y="9"/>
                      </a:lnTo>
                      <a:lnTo>
                        <a:pt x="163" y="11"/>
                      </a:lnTo>
                      <a:lnTo>
                        <a:pt x="157" y="15"/>
                      </a:lnTo>
                      <a:lnTo>
                        <a:pt x="152" y="18"/>
                      </a:lnTo>
                      <a:lnTo>
                        <a:pt x="147" y="22"/>
                      </a:lnTo>
                      <a:lnTo>
                        <a:pt x="145" y="23"/>
                      </a:lnTo>
                      <a:lnTo>
                        <a:pt x="142" y="23"/>
                      </a:lnTo>
                      <a:lnTo>
                        <a:pt x="138" y="20"/>
                      </a:lnTo>
                      <a:lnTo>
                        <a:pt x="136" y="18"/>
                      </a:lnTo>
                      <a:lnTo>
                        <a:pt x="135" y="17"/>
                      </a:lnTo>
                      <a:lnTo>
                        <a:pt x="132" y="17"/>
                      </a:lnTo>
                      <a:lnTo>
                        <a:pt x="119" y="23"/>
                      </a:lnTo>
                      <a:lnTo>
                        <a:pt x="112" y="25"/>
                      </a:lnTo>
                      <a:lnTo>
                        <a:pt x="104" y="25"/>
                      </a:lnTo>
                      <a:lnTo>
                        <a:pt x="98" y="24"/>
                      </a:lnTo>
                      <a:lnTo>
                        <a:pt x="91" y="24"/>
                      </a:lnTo>
                      <a:lnTo>
                        <a:pt x="86" y="25"/>
                      </a:lnTo>
                      <a:lnTo>
                        <a:pt x="81" y="28"/>
                      </a:lnTo>
                      <a:lnTo>
                        <a:pt x="77" y="30"/>
                      </a:lnTo>
                      <a:lnTo>
                        <a:pt x="76" y="35"/>
                      </a:lnTo>
                      <a:lnTo>
                        <a:pt x="75" y="41"/>
                      </a:lnTo>
                      <a:lnTo>
                        <a:pt x="76" y="47"/>
                      </a:lnTo>
                      <a:lnTo>
                        <a:pt x="77" y="51"/>
                      </a:lnTo>
                      <a:lnTo>
                        <a:pt x="79" y="55"/>
                      </a:lnTo>
                      <a:lnTo>
                        <a:pt x="80" y="58"/>
                      </a:lnTo>
                      <a:lnTo>
                        <a:pt x="80" y="61"/>
                      </a:lnTo>
                      <a:lnTo>
                        <a:pt x="86" y="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" name="Freeform 759">
                  <a:extLst>
                    <a:ext uri="{FF2B5EF4-FFF2-40B4-BE49-F238E27FC236}">
                      <a16:creationId xmlns:a16="http://schemas.microsoft.com/office/drawing/2014/main" id="{D8F33675-6B63-E241-BF7B-261E526399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25304" y="4519212"/>
                  <a:ext cx="10360" cy="17758"/>
                </a:xfrm>
                <a:custGeom>
                  <a:avLst/>
                  <a:gdLst>
                    <a:gd name="T0" fmla="*/ 2147483647 w 7"/>
                    <a:gd name="T1" fmla="*/ 2147483647 h 12"/>
                    <a:gd name="T2" fmla="*/ 2147483647 w 7"/>
                    <a:gd name="T3" fmla="*/ 2147483647 h 12"/>
                    <a:gd name="T4" fmla="*/ 2147483647 w 7"/>
                    <a:gd name="T5" fmla="*/ 2147483647 h 12"/>
                    <a:gd name="T6" fmla="*/ 2147483647 w 7"/>
                    <a:gd name="T7" fmla="*/ 0 h 12"/>
                    <a:gd name="T8" fmla="*/ 2147483647 w 7"/>
                    <a:gd name="T9" fmla="*/ 2147483647 h 12"/>
                    <a:gd name="T10" fmla="*/ 2147483647 w 7"/>
                    <a:gd name="T11" fmla="*/ 2147483647 h 12"/>
                    <a:gd name="T12" fmla="*/ 0 w 7"/>
                    <a:gd name="T13" fmla="*/ 2147483647 h 12"/>
                    <a:gd name="T14" fmla="*/ 0 w 7"/>
                    <a:gd name="T15" fmla="*/ 2147483647 h 12"/>
                    <a:gd name="T16" fmla="*/ 2147483647 w 7"/>
                    <a:gd name="T17" fmla="*/ 2147483647 h 12"/>
                    <a:gd name="T18" fmla="*/ 2147483647 w 7"/>
                    <a:gd name="T19" fmla="*/ 2147483647 h 12"/>
                    <a:gd name="T20" fmla="*/ 2147483647 w 7"/>
                    <a:gd name="T21" fmla="*/ 2147483647 h 12"/>
                    <a:gd name="T22" fmla="*/ 2147483647 w 7"/>
                    <a:gd name="T23" fmla="*/ 2147483647 h 12"/>
                    <a:gd name="T24" fmla="*/ 2147483647 w 7"/>
                    <a:gd name="T25" fmla="*/ 2147483647 h 12"/>
                    <a:gd name="T26" fmla="*/ 2147483647 w 7"/>
                    <a:gd name="T27" fmla="*/ 2147483647 h 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"/>
                    <a:gd name="T43" fmla="*/ 0 h 12"/>
                    <a:gd name="T44" fmla="*/ 7 w 7"/>
                    <a:gd name="T45" fmla="*/ 12 h 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" h="12">
                      <a:moveTo>
                        <a:pt x="7" y="8"/>
                      </a:moveTo>
                      <a:lnTo>
                        <a:pt x="7" y="5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3" y="11"/>
                      </a:lnTo>
                      <a:lnTo>
                        <a:pt x="3" y="12"/>
                      </a:lnTo>
                      <a:lnTo>
                        <a:pt x="4" y="12"/>
                      </a:lnTo>
                      <a:lnTo>
                        <a:pt x="5" y="11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" name="Freeform 761">
                  <a:extLst>
                    <a:ext uri="{FF2B5EF4-FFF2-40B4-BE49-F238E27FC236}">
                      <a16:creationId xmlns:a16="http://schemas.microsoft.com/office/drawing/2014/main" id="{4F1BFBC1-E3F5-EF43-ACFC-23347637F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25300" y="4517730"/>
                  <a:ext cx="7400" cy="17758"/>
                </a:xfrm>
                <a:custGeom>
                  <a:avLst/>
                  <a:gdLst>
                    <a:gd name="T0" fmla="*/ 2147483647 w 6"/>
                    <a:gd name="T1" fmla="*/ 2147483647 h 12"/>
                    <a:gd name="T2" fmla="*/ 2147483647 w 6"/>
                    <a:gd name="T3" fmla="*/ 2147483647 h 12"/>
                    <a:gd name="T4" fmla="*/ 2147483647 w 6"/>
                    <a:gd name="T5" fmla="*/ 2147483647 h 12"/>
                    <a:gd name="T6" fmla="*/ 2147483647 w 6"/>
                    <a:gd name="T7" fmla="*/ 2147483647 h 12"/>
                    <a:gd name="T8" fmla="*/ 2147483647 w 6"/>
                    <a:gd name="T9" fmla="*/ 2147483647 h 12"/>
                    <a:gd name="T10" fmla="*/ 2147483647 w 6"/>
                    <a:gd name="T11" fmla="*/ 0 h 12"/>
                    <a:gd name="T12" fmla="*/ 2147483647 w 6"/>
                    <a:gd name="T13" fmla="*/ 2147483647 h 12"/>
                    <a:gd name="T14" fmla="*/ 2147483647 w 6"/>
                    <a:gd name="T15" fmla="*/ 2147483647 h 12"/>
                    <a:gd name="T16" fmla="*/ 0 w 6"/>
                    <a:gd name="T17" fmla="*/ 2147483647 h 12"/>
                    <a:gd name="T18" fmla="*/ 0 w 6"/>
                    <a:gd name="T19" fmla="*/ 2147483647 h 12"/>
                    <a:gd name="T20" fmla="*/ 0 w 6"/>
                    <a:gd name="T21" fmla="*/ 2147483647 h 12"/>
                    <a:gd name="T22" fmla="*/ 2147483647 w 6"/>
                    <a:gd name="T23" fmla="*/ 2147483647 h 12"/>
                    <a:gd name="T24" fmla="*/ 2147483647 w 6"/>
                    <a:gd name="T25" fmla="*/ 2147483647 h 12"/>
                    <a:gd name="T26" fmla="*/ 2147483647 w 6"/>
                    <a:gd name="T27" fmla="*/ 2147483647 h 12"/>
                    <a:gd name="T28" fmla="*/ 2147483647 w 6"/>
                    <a:gd name="T29" fmla="*/ 2147483647 h 12"/>
                    <a:gd name="T30" fmla="*/ 2147483647 w 6"/>
                    <a:gd name="T31" fmla="*/ 2147483647 h 12"/>
                    <a:gd name="T32" fmla="*/ 2147483647 w 6"/>
                    <a:gd name="T33" fmla="*/ 2147483647 h 12"/>
                    <a:gd name="T34" fmla="*/ 2147483647 w 6"/>
                    <a:gd name="T35" fmla="*/ 2147483647 h 12"/>
                    <a:gd name="T36" fmla="*/ 2147483647 w 6"/>
                    <a:gd name="T37" fmla="*/ 2147483647 h 12"/>
                    <a:gd name="T38" fmla="*/ 2147483647 w 6"/>
                    <a:gd name="T39" fmla="*/ 2147483647 h 1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6"/>
                    <a:gd name="T61" fmla="*/ 0 h 12"/>
                    <a:gd name="T62" fmla="*/ 6 w 6"/>
                    <a:gd name="T63" fmla="*/ 12 h 1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6" h="12">
                      <a:moveTo>
                        <a:pt x="6" y="8"/>
                      </a:moveTo>
                      <a:lnTo>
                        <a:pt x="6" y="8"/>
                      </a:lnTo>
                      <a:lnTo>
                        <a:pt x="6" y="5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1" y="11"/>
                      </a:lnTo>
                      <a:lnTo>
                        <a:pt x="3" y="11"/>
                      </a:lnTo>
                      <a:lnTo>
                        <a:pt x="3" y="12"/>
                      </a:lnTo>
                      <a:lnTo>
                        <a:pt x="4" y="12"/>
                      </a:lnTo>
                      <a:lnTo>
                        <a:pt x="5" y="11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" name="Freeform 763">
                  <a:extLst>
                    <a:ext uri="{FF2B5EF4-FFF2-40B4-BE49-F238E27FC236}">
                      <a16:creationId xmlns:a16="http://schemas.microsoft.com/office/drawing/2014/main" id="{EEDAB824-1CE7-6543-882F-2D58DEAD71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0143" y="4544369"/>
                  <a:ext cx="39956" cy="94712"/>
                </a:xfrm>
                <a:custGeom>
                  <a:avLst/>
                  <a:gdLst>
                    <a:gd name="T0" fmla="*/ 2147483647 w 29"/>
                    <a:gd name="T1" fmla="*/ 2147483647 h 64"/>
                    <a:gd name="T2" fmla="*/ 2147483647 w 29"/>
                    <a:gd name="T3" fmla="*/ 2147483647 h 64"/>
                    <a:gd name="T4" fmla="*/ 2147483647 w 29"/>
                    <a:gd name="T5" fmla="*/ 2147483647 h 64"/>
                    <a:gd name="T6" fmla="*/ 2147483647 w 29"/>
                    <a:gd name="T7" fmla="*/ 2147483647 h 64"/>
                    <a:gd name="T8" fmla="*/ 2147483647 w 29"/>
                    <a:gd name="T9" fmla="*/ 2147483647 h 64"/>
                    <a:gd name="T10" fmla="*/ 2147483647 w 29"/>
                    <a:gd name="T11" fmla="*/ 2147483647 h 64"/>
                    <a:gd name="T12" fmla="*/ 2147483647 w 29"/>
                    <a:gd name="T13" fmla="*/ 2147483647 h 64"/>
                    <a:gd name="T14" fmla="*/ 2147483647 w 29"/>
                    <a:gd name="T15" fmla="*/ 2147483647 h 64"/>
                    <a:gd name="T16" fmla="*/ 2147483647 w 29"/>
                    <a:gd name="T17" fmla="*/ 2147483647 h 64"/>
                    <a:gd name="T18" fmla="*/ 2147483647 w 29"/>
                    <a:gd name="T19" fmla="*/ 2147483647 h 64"/>
                    <a:gd name="T20" fmla="*/ 2147483647 w 29"/>
                    <a:gd name="T21" fmla="*/ 2147483647 h 64"/>
                    <a:gd name="T22" fmla="*/ 2147483647 w 29"/>
                    <a:gd name="T23" fmla="*/ 2147483647 h 64"/>
                    <a:gd name="T24" fmla="*/ 2147483647 w 29"/>
                    <a:gd name="T25" fmla="*/ 2147483647 h 64"/>
                    <a:gd name="T26" fmla="*/ 2147483647 w 29"/>
                    <a:gd name="T27" fmla="*/ 2147483647 h 64"/>
                    <a:gd name="T28" fmla="*/ 2147483647 w 29"/>
                    <a:gd name="T29" fmla="*/ 2147483647 h 64"/>
                    <a:gd name="T30" fmla="*/ 2147483647 w 29"/>
                    <a:gd name="T31" fmla="*/ 2147483647 h 64"/>
                    <a:gd name="T32" fmla="*/ 2147483647 w 29"/>
                    <a:gd name="T33" fmla="*/ 2147483647 h 64"/>
                    <a:gd name="T34" fmla="*/ 2147483647 w 29"/>
                    <a:gd name="T35" fmla="*/ 0 h 64"/>
                    <a:gd name="T36" fmla="*/ 2147483647 w 29"/>
                    <a:gd name="T37" fmla="*/ 0 h 64"/>
                    <a:gd name="T38" fmla="*/ 2147483647 w 29"/>
                    <a:gd name="T39" fmla="*/ 2147483647 h 64"/>
                    <a:gd name="T40" fmla="*/ 2147483647 w 29"/>
                    <a:gd name="T41" fmla="*/ 2147483647 h 64"/>
                    <a:gd name="T42" fmla="*/ 2147483647 w 29"/>
                    <a:gd name="T43" fmla="*/ 2147483647 h 64"/>
                    <a:gd name="T44" fmla="*/ 0 w 29"/>
                    <a:gd name="T45" fmla="*/ 2147483647 h 64"/>
                    <a:gd name="T46" fmla="*/ 2147483647 w 29"/>
                    <a:gd name="T47" fmla="*/ 2147483647 h 64"/>
                    <a:gd name="T48" fmla="*/ 2147483647 w 29"/>
                    <a:gd name="T49" fmla="*/ 2147483647 h 64"/>
                    <a:gd name="T50" fmla="*/ 2147483647 w 29"/>
                    <a:gd name="T51" fmla="*/ 2147483647 h 64"/>
                    <a:gd name="T52" fmla="*/ 2147483647 w 29"/>
                    <a:gd name="T53" fmla="*/ 2147483647 h 64"/>
                    <a:gd name="T54" fmla="*/ 2147483647 w 29"/>
                    <a:gd name="T55" fmla="*/ 2147483647 h 64"/>
                    <a:gd name="T56" fmla="*/ 2147483647 w 29"/>
                    <a:gd name="T57" fmla="*/ 2147483647 h 64"/>
                    <a:gd name="T58" fmla="*/ 2147483647 w 29"/>
                    <a:gd name="T59" fmla="*/ 2147483647 h 64"/>
                    <a:gd name="T60" fmla="*/ 2147483647 w 29"/>
                    <a:gd name="T61" fmla="*/ 2147483647 h 64"/>
                    <a:gd name="T62" fmla="*/ 2147483647 w 29"/>
                    <a:gd name="T63" fmla="*/ 2147483647 h 64"/>
                    <a:gd name="T64" fmla="*/ 2147483647 w 29"/>
                    <a:gd name="T65" fmla="*/ 2147483647 h 64"/>
                    <a:gd name="T66" fmla="*/ 2147483647 w 29"/>
                    <a:gd name="T67" fmla="*/ 2147483647 h 64"/>
                    <a:gd name="T68" fmla="*/ 2147483647 w 29"/>
                    <a:gd name="T69" fmla="*/ 2147483647 h 64"/>
                    <a:gd name="T70" fmla="*/ 2147483647 w 29"/>
                    <a:gd name="T71" fmla="*/ 2147483647 h 64"/>
                    <a:gd name="T72" fmla="*/ 2147483647 w 29"/>
                    <a:gd name="T73" fmla="*/ 2147483647 h 64"/>
                    <a:gd name="T74" fmla="*/ 2147483647 w 29"/>
                    <a:gd name="T75" fmla="*/ 2147483647 h 64"/>
                    <a:gd name="T76" fmla="*/ 2147483647 w 29"/>
                    <a:gd name="T77" fmla="*/ 2147483647 h 64"/>
                    <a:gd name="T78" fmla="*/ 2147483647 w 29"/>
                    <a:gd name="T79" fmla="*/ 2147483647 h 64"/>
                    <a:gd name="T80" fmla="*/ 2147483647 w 29"/>
                    <a:gd name="T81" fmla="*/ 2147483647 h 64"/>
                    <a:gd name="T82" fmla="*/ 2147483647 w 29"/>
                    <a:gd name="T83" fmla="*/ 2147483647 h 64"/>
                    <a:gd name="T84" fmla="*/ 2147483647 w 29"/>
                    <a:gd name="T85" fmla="*/ 2147483647 h 64"/>
                    <a:gd name="T86" fmla="*/ 2147483647 w 29"/>
                    <a:gd name="T87" fmla="*/ 2147483647 h 64"/>
                    <a:gd name="T88" fmla="*/ 2147483647 w 29"/>
                    <a:gd name="T89" fmla="*/ 2147483647 h 64"/>
                    <a:gd name="T90" fmla="*/ 2147483647 w 29"/>
                    <a:gd name="T91" fmla="*/ 2147483647 h 64"/>
                    <a:gd name="T92" fmla="*/ 2147483647 w 29"/>
                    <a:gd name="T93" fmla="*/ 2147483647 h 64"/>
                    <a:gd name="T94" fmla="*/ 2147483647 w 29"/>
                    <a:gd name="T95" fmla="*/ 2147483647 h 64"/>
                    <a:gd name="T96" fmla="*/ 2147483647 w 29"/>
                    <a:gd name="T97" fmla="*/ 2147483647 h 64"/>
                    <a:gd name="T98" fmla="*/ 2147483647 w 29"/>
                    <a:gd name="T99" fmla="*/ 2147483647 h 64"/>
                    <a:gd name="T100" fmla="*/ 2147483647 w 29"/>
                    <a:gd name="T101" fmla="*/ 2147483647 h 64"/>
                    <a:gd name="T102" fmla="*/ 2147483647 w 29"/>
                    <a:gd name="T103" fmla="*/ 2147483647 h 64"/>
                    <a:gd name="T104" fmla="*/ 2147483647 w 29"/>
                    <a:gd name="T105" fmla="*/ 2147483647 h 6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9"/>
                    <a:gd name="T160" fmla="*/ 0 h 64"/>
                    <a:gd name="T161" fmla="*/ 29 w 29"/>
                    <a:gd name="T162" fmla="*/ 64 h 6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9" h="64">
                      <a:moveTo>
                        <a:pt x="28" y="16"/>
                      </a:moveTo>
                      <a:lnTo>
                        <a:pt x="28" y="10"/>
                      </a:lnTo>
                      <a:lnTo>
                        <a:pt x="28" y="8"/>
                      </a:lnTo>
                      <a:lnTo>
                        <a:pt x="27" y="7"/>
                      </a:lnTo>
                      <a:lnTo>
                        <a:pt x="26" y="7"/>
                      </a:lnTo>
                      <a:lnTo>
                        <a:pt x="23" y="9"/>
                      </a:lnTo>
                      <a:lnTo>
                        <a:pt x="21" y="13"/>
                      </a:lnTo>
                      <a:lnTo>
                        <a:pt x="19" y="15"/>
                      </a:lnTo>
                      <a:lnTo>
                        <a:pt x="15" y="18"/>
                      </a:lnTo>
                      <a:lnTo>
                        <a:pt x="14" y="19"/>
                      </a:lnTo>
                      <a:lnTo>
                        <a:pt x="12" y="18"/>
                      </a:lnTo>
                      <a:lnTo>
                        <a:pt x="12" y="16"/>
                      </a:lnTo>
                      <a:lnTo>
                        <a:pt x="12" y="15"/>
                      </a:lnTo>
                      <a:lnTo>
                        <a:pt x="14" y="12"/>
                      </a:lnTo>
                      <a:lnTo>
                        <a:pt x="14" y="10"/>
                      </a:lnTo>
                      <a:lnTo>
                        <a:pt x="14" y="8"/>
                      </a:lnTo>
                      <a:lnTo>
                        <a:pt x="13" y="2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4" y="5"/>
                      </a:lnTo>
                      <a:lnTo>
                        <a:pt x="1" y="9"/>
                      </a:lnTo>
                      <a:lnTo>
                        <a:pt x="0" y="14"/>
                      </a:lnTo>
                      <a:lnTo>
                        <a:pt x="1" y="19"/>
                      </a:lnTo>
                      <a:lnTo>
                        <a:pt x="3" y="26"/>
                      </a:lnTo>
                      <a:lnTo>
                        <a:pt x="4" y="32"/>
                      </a:lnTo>
                      <a:lnTo>
                        <a:pt x="5" y="46"/>
                      </a:lnTo>
                      <a:lnTo>
                        <a:pt x="7" y="52"/>
                      </a:lnTo>
                      <a:lnTo>
                        <a:pt x="10" y="58"/>
                      </a:lnTo>
                      <a:lnTo>
                        <a:pt x="15" y="61"/>
                      </a:lnTo>
                      <a:lnTo>
                        <a:pt x="19" y="63"/>
                      </a:lnTo>
                      <a:lnTo>
                        <a:pt x="23" y="64"/>
                      </a:lnTo>
                      <a:lnTo>
                        <a:pt x="22" y="61"/>
                      </a:lnTo>
                      <a:lnTo>
                        <a:pt x="17" y="56"/>
                      </a:lnTo>
                      <a:lnTo>
                        <a:pt x="13" y="50"/>
                      </a:lnTo>
                      <a:lnTo>
                        <a:pt x="10" y="44"/>
                      </a:lnTo>
                      <a:lnTo>
                        <a:pt x="10" y="37"/>
                      </a:lnTo>
                      <a:lnTo>
                        <a:pt x="10" y="35"/>
                      </a:lnTo>
                      <a:lnTo>
                        <a:pt x="13" y="35"/>
                      </a:lnTo>
                      <a:lnTo>
                        <a:pt x="19" y="39"/>
                      </a:lnTo>
                      <a:lnTo>
                        <a:pt x="23" y="39"/>
                      </a:lnTo>
                      <a:lnTo>
                        <a:pt x="27" y="38"/>
                      </a:lnTo>
                      <a:lnTo>
                        <a:pt x="29" y="35"/>
                      </a:lnTo>
                      <a:lnTo>
                        <a:pt x="29" y="33"/>
                      </a:lnTo>
                      <a:lnTo>
                        <a:pt x="26" y="28"/>
                      </a:lnTo>
                      <a:lnTo>
                        <a:pt x="21" y="28"/>
                      </a:lnTo>
                      <a:lnTo>
                        <a:pt x="18" y="27"/>
                      </a:lnTo>
                      <a:lnTo>
                        <a:pt x="18" y="26"/>
                      </a:lnTo>
                      <a:lnTo>
                        <a:pt x="19" y="25"/>
                      </a:lnTo>
                      <a:lnTo>
                        <a:pt x="22" y="22"/>
                      </a:lnTo>
                      <a:lnTo>
                        <a:pt x="26" y="20"/>
                      </a:lnTo>
                      <a:lnTo>
                        <a:pt x="27" y="19"/>
                      </a:lnTo>
                      <a:lnTo>
                        <a:pt x="28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" name="Freeform 764">
                  <a:extLst>
                    <a:ext uri="{FF2B5EF4-FFF2-40B4-BE49-F238E27FC236}">
                      <a16:creationId xmlns:a16="http://schemas.microsoft.com/office/drawing/2014/main" id="{0C610484-A129-DE44-9F54-459FB80D55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4225" y="4621325"/>
                  <a:ext cx="16278" cy="20718"/>
                </a:xfrm>
                <a:custGeom>
                  <a:avLst/>
                  <a:gdLst>
                    <a:gd name="T0" fmla="*/ 2147483647 w 12"/>
                    <a:gd name="T1" fmla="*/ 2147483647 h 14"/>
                    <a:gd name="T2" fmla="*/ 2147483647 w 12"/>
                    <a:gd name="T3" fmla="*/ 2147483647 h 14"/>
                    <a:gd name="T4" fmla="*/ 2147483647 w 12"/>
                    <a:gd name="T5" fmla="*/ 2147483647 h 14"/>
                    <a:gd name="T6" fmla="*/ 2147483647 w 12"/>
                    <a:gd name="T7" fmla="*/ 2147483647 h 14"/>
                    <a:gd name="T8" fmla="*/ 2147483647 w 12"/>
                    <a:gd name="T9" fmla="*/ 0 h 14"/>
                    <a:gd name="T10" fmla="*/ 2147483647 w 12"/>
                    <a:gd name="T11" fmla="*/ 0 h 14"/>
                    <a:gd name="T12" fmla="*/ 2147483647 w 12"/>
                    <a:gd name="T13" fmla="*/ 2147483647 h 14"/>
                    <a:gd name="T14" fmla="*/ 0 w 12"/>
                    <a:gd name="T15" fmla="*/ 2147483647 h 14"/>
                    <a:gd name="T16" fmla="*/ 2147483647 w 12"/>
                    <a:gd name="T17" fmla="*/ 2147483647 h 14"/>
                    <a:gd name="T18" fmla="*/ 2147483647 w 12"/>
                    <a:gd name="T19" fmla="*/ 2147483647 h 14"/>
                    <a:gd name="T20" fmla="*/ 2147483647 w 12"/>
                    <a:gd name="T21" fmla="*/ 2147483647 h 14"/>
                    <a:gd name="T22" fmla="*/ 2147483647 w 12"/>
                    <a:gd name="T23" fmla="*/ 2147483647 h 14"/>
                    <a:gd name="T24" fmla="*/ 2147483647 w 12"/>
                    <a:gd name="T25" fmla="*/ 2147483647 h 14"/>
                    <a:gd name="T26" fmla="*/ 2147483647 w 12"/>
                    <a:gd name="T27" fmla="*/ 2147483647 h 14"/>
                    <a:gd name="T28" fmla="*/ 2147483647 w 12"/>
                    <a:gd name="T29" fmla="*/ 2147483647 h 1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"/>
                    <a:gd name="T46" fmla="*/ 0 h 14"/>
                    <a:gd name="T47" fmla="*/ 12 w 12"/>
                    <a:gd name="T48" fmla="*/ 14 h 1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" h="14">
                      <a:moveTo>
                        <a:pt x="11" y="12"/>
                      </a:moveTo>
                      <a:lnTo>
                        <a:pt x="7" y="7"/>
                      </a:lnTo>
                      <a:lnTo>
                        <a:pt x="4" y="4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6"/>
                      </a:lnTo>
                      <a:lnTo>
                        <a:pt x="2" y="11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8" y="14"/>
                      </a:lnTo>
                      <a:lnTo>
                        <a:pt x="11" y="14"/>
                      </a:lnTo>
                      <a:lnTo>
                        <a:pt x="12" y="13"/>
                      </a:lnTo>
                      <a:lnTo>
                        <a:pt x="11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" name="Freeform 765">
                  <a:extLst>
                    <a:ext uri="{FF2B5EF4-FFF2-40B4-BE49-F238E27FC236}">
                      <a16:creationId xmlns:a16="http://schemas.microsoft.com/office/drawing/2014/main" id="{8DED90C6-10C9-9A48-9C38-D38D8FE361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8664" y="4542888"/>
                  <a:ext cx="39957" cy="94712"/>
                </a:xfrm>
                <a:custGeom>
                  <a:avLst/>
                  <a:gdLst>
                    <a:gd name="T0" fmla="*/ 2147483647 w 29"/>
                    <a:gd name="T1" fmla="*/ 2147483647 h 64"/>
                    <a:gd name="T2" fmla="*/ 2147483647 w 29"/>
                    <a:gd name="T3" fmla="*/ 2147483647 h 64"/>
                    <a:gd name="T4" fmla="*/ 2147483647 w 29"/>
                    <a:gd name="T5" fmla="*/ 2147483647 h 64"/>
                    <a:gd name="T6" fmla="*/ 2147483647 w 29"/>
                    <a:gd name="T7" fmla="*/ 2147483647 h 64"/>
                    <a:gd name="T8" fmla="*/ 2147483647 w 29"/>
                    <a:gd name="T9" fmla="*/ 2147483647 h 64"/>
                    <a:gd name="T10" fmla="*/ 2147483647 w 29"/>
                    <a:gd name="T11" fmla="*/ 2147483647 h 64"/>
                    <a:gd name="T12" fmla="*/ 2147483647 w 29"/>
                    <a:gd name="T13" fmla="*/ 2147483647 h 64"/>
                    <a:gd name="T14" fmla="*/ 2147483647 w 29"/>
                    <a:gd name="T15" fmla="*/ 2147483647 h 64"/>
                    <a:gd name="T16" fmla="*/ 2147483647 w 29"/>
                    <a:gd name="T17" fmla="*/ 2147483647 h 64"/>
                    <a:gd name="T18" fmla="*/ 2147483647 w 29"/>
                    <a:gd name="T19" fmla="*/ 2147483647 h 64"/>
                    <a:gd name="T20" fmla="*/ 2147483647 w 29"/>
                    <a:gd name="T21" fmla="*/ 2147483647 h 64"/>
                    <a:gd name="T22" fmla="*/ 2147483647 w 29"/>
                    <a:gd name="T23" fmla="*/ 0 h 64"/>
                    <a:gd name="T24" fmla="*/ 2147483647 w 29"/>
                    <a:gd name="T25" fmla="*/ 2147483647 h 64"/>
                    <a:gd name="T26" fmla="*/ 2147483647 w 29"/>
                    <a:gd name="T27" fmla="*/ 2147483647 h 64"/>
                    <a:gd name="T28" fmla="*/ 2147483647 w 29"/>
                    <a:gd name="T29" fmla="*/ 2147483647 h 64"/>
                    <a:gd name="T30" fmla="*/ 2147483647 w 29"/>
                    <a:gd name="T31" fmla="*/ 2147483647 h 64"/>
                    <a:gd name="T32" fmla="*/ 2147483647 w 29"/>
                    <a:gd name="T33" fmla="*/ 2147483647 h 64"/>
                    <a:gd name="T34" fmla="*/ 2147483647 w 29"/>
                    <a:gd name="T35" fmla="*/ 2147483647 h 64"/>
                    <a:gd name="T36" fmla="*/ 2147483647 w 29"/>
                    <a:gd name="T37" fmla="*/ 2147483647 h 64"/>
                    <a:gd name="T38" fmla="*/ 2147483647 w 29"/>
                    <a:gd name="T39" fmla="*/ 2147483647 h 64"/>
                    <a:gd name="T40" fmla="*/ 2147483647 w 29"/>
                    <a:gd name="T41" fmla="*/ 2147483647 h 64"/>
                    <a:gd name="T42" fmla="*/ 2147483647 w 29"/>
                    <a:gd name="T43" fmla="*/ 2147483647 h 64"/>
                    <a:gd name="T44" fmla="*/ 2147483647 w 29"/>
                    <a:gd name="T45" fmla="*/ 2147483647 h 64"/>
                    <a:gd name="T46" fmla="*/ 2147483647 w 29"/>
                    <a:gd name="T47" fmla="*/ 2147483647 h 64"/>
                    <a:gd name="T48" fmla="*/ 2147483647 w 29"/>
                    <a:gd name="T49" fmla="*/ 2147483647 h 64"/>
                    <a:gd name="T50" fmla="*/ 2147483647 w 29"/>
                    <a:gd name="T51" fmla="*/ 2147483647 h 64"/>
                    <a:gd name="T52" fmla="*/ 2147483647 w 29"/>
                    <a:gd name="T53" fmla="*/ 2147483647 h 64"/>
                    <a:gd name="T54" fmla="*/ 2147483647 w 29"/>
                    <a:gd name="T55" fmla="*/ 2147483647 h 64"/>
                    <a:gd name="T56" fmla="*/ 2147483647 w 29"/>
                    <a:gd name="T57" fmla="*/ 2147483647 h 64"/>
                    <a:gd name="T58" fmla="*/ 2147483647 w 29"/>
                    <a:gd name="T59" fmla="*/ 2147483647 h 64"/>
                    <a:gd name="T60" fmla="*/ 2147483647 w 29"/>
                    <a:gd name="T61" fmla="*/ 2147483647 h 64"/>
                    <a:gd name="T62" fmla="*/ 2147483647 w 29"/>
                    <a:gd name="T63" fmla="*/ 2147483647 h 64"/>
                    <a:gd name="T64" fmla="*/ 2147483647 w 29"/>
                    <a:gd name="T65" fmla="*/ 2147483647 h 64"/>
                    <a:gd name="T66" fmla="*/ 2147483647 w 29"/>
                    <a:gd name="T67" fmla="*/ 2147483647 h 64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9"/>
                    <a:gd name="T103" fmla="*/ 0 h 64"/>
                    <a:gd name="T104" fmla="*/ 29 w 29"/>
                    <a:gd name="T105" fmla="*/ 64 h 64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9" h="64">
                      <a:moveTo>
                        <a:pt x="28" y="16"/>
                      </a:moveTo>
                      <a:lnTo>
                        <a:pt x="28" y="16"/>
                      </a:lnTo>
                      <a:lnTo>
                        <a:pt x="28" y="10"/>
                      </a:lnTo>
                      <a:lnTo>
                        <a:pt x="28" y="8"/>
                      </a:lnTo>
                      <a:lnTo>
                        <a:pt x="27" y="7"/>
                      </a:lnTo>
                      <a:lnTo>
                        <a:pt x="25" y="7"/>
                      </a:lnTo>
                      <a:lnTo>
                        <a:pt x="23" y="9"/>
                      </a:lnTo>
                      <a:lnTo>
                        <a:pt x="20" y="13"/>
                      </a:lnTo>
                      <a:lnTo>
                        <a:pt x="19" y="15"/>
                      </a:lnTo>
                      <a:lnTo>
                        <a:pt x="15" y="17"/>
                      </a:lnTo>
                      <a:lnTo>
                        <a:pt x="14" y="19"/>
                      </a:lnTo>
                      <a:lnTo>
                        <a:pt x="11" y="17"/>
                      </a:lnTo>
                      <a:lnTo>
                        <a:pt x="11" y="16"/>
                      </a:lnTo>
                      <a:lnTo>
                        <a:pt x="11" y="15"/>
                      </a:lnTo>
                      <a:lnTo>
                        <a:pt x="14" y="11"/>
                      </a:lnTo>
                      <a:lnTo>
                        <a:pt x="14" y="10"/>
                      </a:lnTo>
                      <a:lnTo>
                        <a:pt x="14" y="8"/>
                      </a:lnTo>
                      <a:lnTo>
                        <a:pt x="13" y="2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4" y="4"/>
                      </a:lnTo>
                      <a:lnTo>
                        <a:pt x="1" y="9"/>
                      </a:lnTo>
                      <a:lnTo>
                        <a:pt x="0" y="14"/>
                      </a:lnTo>
                      <a:lnTo>
                        <a:pt x="1" y="19"/>
                      </a:lnTo>
                      <a:lnTo>
                        <a:pt x="2" y="26"/>
                      </a:lnTo>
                      <a:lnTo>
                        <a:pt x="4" y="32"/>
                      </a:lnTo>
                      <a:lnTo>
                        <a:pt x="5" y="46"/>
                      </a:lnTo>
                      <a:lnTo>
                        <a:pt x="6" y="52"/>
                      </a:lnTo>
                      <a:lnTo>
                        <a:pt x="10" y="58"/>
                      </a:lnTo>
                      <a:lnTo>
                        <a:pt x="15" y="61"/>
                      </a:lnTo>
                      <a:lnTo>
                        <a:pt x="19" y="62"/>
                      </a:lnTo>
                      <a:lnTo>
                        <a:pt x="23" y="64"/>
                      </a:lnTo>
                      <a:lnTo>
                        <a:pt x="22" y="61"/>
                      </a:lnTo>
                      <a:lnTo>
                        <a:pt x="16" y="55"/>
                      </a:lnTo>
                      <a:lnTo>
                        <a:pt x="13" y="49"/>
                      </a:lnTo>
                      <a:lnTo>
                        <a:pt x="10" y="43"/>
                      </a:lnTo>
                      <a:lnTo>
                        <a:pt x="10" y="36"/>
                      </a:lnTo>
                      <a:lnTo>
                        <a:pt x="10" y="35"/>
                      </a:lnTo>
                      <a:lnTo>
                        <a:pt x="13" y="35"/>
                      </a:lnTo>
                      <a:lnTo>
                        <a:pt x="19" y="39"/>
                      </a:lnTo>
                      <a:lnTo>
                        <a:pt x="23" y="39"/>
                      </a:lnTo>
                      <a:lnTo>
                        <a:pt x="27" y="38"/>
                      </a:lnTo>
                      <a:lnTo>
                        <a:pt x="29" y="35"/>
                      </a:lnTo>
                      <a:lnTo>
                        <a:pt x="29" y="33"/>
                      </a:lnTo>
                      <a:lnTo>
                        <a:pt x="25" y="28"/>
                      </a:lnTo>
                      <a:lnTo>
                        <a:pt x="20" y="28"/>
                      </a:lnTo>
                      <a:lnTo>
                        <a:pt x="18" y="27"/>
                      </a:lnTo>
                      <a:lnTo>
                        <a:pt x="18" y="26"/>
                      </a:lnTo>
                      <a:lnTo>
                        <a:pt x="19" y="24"/>
                      </a:lnTo>
                      <a:lnTo>
                        <a:pt x="22" y="22"/>
                      </a:lnTo>
                      <a:lnTo>
                        <a:pt x="25" y="20"/>
                      </a:lnTo>
                      <a:lnTo>
                        <a:pt x="27" y="19"/>
                      </a:lnTo>
                      <a:lnTo>
                        <a:pt x="28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" name="Freeform 766">
                  <a:extLst>
                    <a:ext uri="{FF2B5EF4-FFF2-40B4-BE49-F238E27FC236}">
                      <a16:creationId xmlns:a16="http://schemas.microsoft.com/office/drawing/2014/main" id="{6E10C062-C708-6841-A987-B223DF8CED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2747" y="4619846"/>
                  <a:ext cx="16279" cy="20718"/>
                </a:xfrm>
                <a:custGeom>
                  <a:avLst/>
                  <a:gdLst>
                    <a:gd name="T0" fmla="*/ 2147483647 w 12"/>
                    <a:gd name="T1" fmla="*/ 2147483647 h 14"/>
                    <a:gd name="T2" fmla="*/ 2147483647 w 12"/>
                    <a:gd name="T3" fmla="*/ 2147483647 h 14"/>
                    <a:gd name="T4" fmla="*/ 2147483647 w 12"/>
                    <a:gd name="T5" fmla="*/ 2147483647 h 14"/>
                    <a:gd name="T6" fmla="*/ 2147483647 w 12"/>
                    <a:gd name="T7" fmla="*/ 2147483647 h 14"/>
                    <a:gd name="T8" fmla="*/ 2147483647 w 12"/>
                    <a:gd name="T9" fmla="*/ 2147483647 h 14"/>
                    <a:gd name="T10" fmla="*/ 2147483647 w 12"/>
                    <a:gd name="T11" fmla="*/ 2147483647 h 14"/>
                    <a:gd name="T12" fmla="*/ 2147483647 w 12"/>
                    <a:gd name="T13" fmla="*/ 0 h 14"/>
                    <a:gd name="T14" fmla="*/ 2147483647 w 12"/>
                    <a:gd name="T15" fmla="*/ 0 h 14"/>
                    <a:gd name="T16" fmla="*/ 2147483647 w 12"/>
                    <a:gd name="T17" fmla="*/ 2147483647 h 14"/>
                    <a:gd name="T18" fmla="*/ 2147483647 w 12"/>
                    <a:gd name="T19" fmla="*/ 2147483647 h 14"/>
                    <a:gd name="T20" fmla="*/ 0 w 12"/>
                    <a:gd name="T21" fmla="*/ 2147483647 h 14"/>
                    <a:gd name="T22" fmla="*/ 2147483647 w 12"/>
                    <a:gd name="T23" fmla="*/ 2147483647 h 14"/>
                    <a:gd name="T24" fmla="*/ 2147483647 w 12"/>
                    <a:gd name="T25" fmla="*/ 2147483647 h 14"/>
                    <a:gd name="T26" fmla="*/ 2147483647 w 12"/>
                    <a:gd name="T27" fmla="*/ 2147483647 h 14"/>
                    <a:gd name="T28" fmla="*/ 2147483647 w 12"/>
                    <a:gd name="T29" fmla="*/ 2147483647 h 14"/>
                    <a:gd name="T30" fmla="*/ 2147483647 w 12"/>
                    <a:gd name="T31" fmla="*/ 2147483647 h 14"/>
                    <a:gd name="T32" fmla="*/ 2147483647 w 12"/>
                    <a:gd name="T33" fmla="*/ 2147483647 h 14"/>
                    <a:gd name="T34" fmla="*/ 2147483647 w 12"/>
                    <a:gd name="T35" fmla="*/ 2147483647 h 14"/>
                    <a:gd name="T36" fmla="*/ 2147483647 w 12"/>
                    <a:gd name="T37" fmla="*/ 2147483647 h 14"/>
                    <a:gd name="T38" fmla="*/ 2147483647 w 12"/>
                    <a:gd name="T39" fmla="*/ 2147483647 h 1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2"/>
                    <a:gd name="T61" fmla="*/ 0 h 14"/>
                    <a:gd name="T62" fmla="*/ 12 w 12"/>
                    <a:gd name="T63" fmla="*/ 14 h 1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2" h="14">
                      <a:moveTo>
                        <a:pt x="10" y="12"/>
                      </a:moveTo>
                      <a:lnTo>
                        <a:pt x="10" y="12"/>
                      </a:lnTo>
                      <a:lnTo>
                        <a:pt x="6" y="7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6"/>
                      </a:lnTo>
                      <a:lnTo>
                        <a:pt x="1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2" y="13"/>
                      </a:lnTo>
                      <a:lnTo>
                        <a:pt x="10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" name="Freeform 767">
                  <a:extLst>
                    <a:ext uri="{FF2B5EF4-FFF2-40B4-BE49-F238E27FC236}">
                      <a16:creationId xmlns:a16="http://schemas.microsoft.com/office/drawing/2014/main" id="{B2913518-03C5-BD4B-A390-169449CF46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9427" y="4661277"/>
                  <a:ext cx="14799" cy="7400"/>
                </a:xfrm>
                <a:custGeom>
                  <a:avLst/>
                  <a:gdLst>
                    <a:gd name="T0" fmla="*/ 2147483647 w 11"/>
                    <a:gd name="T1" fmla="*/ 2147483647 h 5"/>
                    <a:gd name="T2" fmla="*/ 2147483647 w 11"/>
                    <a:gd name="T3" fmla="*/ 2147483647 h 5"/>
                    <a:gd name="T4" fmla="*/ 2147483647 w 11"/>
                    <a:gd name="T5" fmla="*/ 2147483647 h 5"/>
                    <a:gd name="T6" fmla="*/ 2147483647 w 11"/>
                    <a:gd name="T7" fmla="*/ 0 h 5"/>
                    <a:gd name="T8" fmla="*/ 0 w 11"/>
                    <a:gd name="T9" fmla="*/ 0 h 5"/>
                    <a:gd name="T10" fmla="*/ 2147483647 w 11"/>
                    <a:gd name="T11" fmla="*/ 2147483647 h 5"/>
                    <a:gd name="T12" fmla="*/ 2147483647 w 11"/>
                    <a:gd name="T13" fmla="*/ 2147483647 h 5"/>
                    <a:gd name="T14" fmla="*/ 2147483647 w 11"/>
                    <a:gd name="T15" fmla="*/ 2147483647 h 5"/>
                    <a:gd name="T16" fmla="*/ 2147483647 w 11"/>
                    <a:gd name="T17" fmla="*/ 2147483647 h 5"/>
                    <a:gd name="T18" fmla="*/ 2147483647 w 11"/>
                    <a:gd name="T19" fmla="*/ 2147483647 h 5"/>
                    <a:gd name="T20" fmla="*/ 2147483647 w 11"/>
                    <a:gd name="T21" fmla="*/ 2147483647 h 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1"/>
                    <a:gd name="T34" fmla="*/ 0 h 5"/>
                    <a:gd name="T35" fmla="*/ 11 w 11"/>
                    <a:gd name="T36" fmla="*/ 5 h 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1" h="5">
                      <a:moveTo>
                        <a:pt x="11" y="5"/>
                      </a:moveTo>
                      <a:lnTo>
                        <a:pt x="11" y="3"/>
                      </a:lnTo>
                      <a:lnTo>
                        <a:pt x="10" y="1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  <a:lnTo>
                        <a:pt x="9" y="5"/>
                      </a:lnTo>
                      <a:lnTo>
                        <a:pt x="11" y="5"/>
                      </a:lnTo>
                      <a:lnTo>
                        <a:pt x="11" y="4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" name="Freeform 768">
                  <a:extLst>
                    <a:ext uri="{FF2B5EF4-FFF2-40B4-BE49-F238E27FC236}">
                      <a16:creationId xmlns:a16="http://schemas.microsoft.com/office/drawing/2014/main" id="{0EC19DF3-CEAB-EC42-8975-9A4630D75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7545" y="4661278"/>
                  <a:ext cx="20718" cy="14799"/>
                </a:xfrm>
                <a:custGeom>
                  <a:avLst/>
                  <a:gdLst>
                    <a:gd name="T0" fmla="*/ 2147483647 w 16"/>
                    <a:gd name="T1" fmla="*/ 2147483647 h 10"/>
                    <a:gd name="T2" fmla="*/ 2147483647 w 16"/>
                    <a:gd name="T3" fmla="*/ 2147483647 h 10"/>
                    <a:gd name="T4" fmla="*/ 2147483647 w 16"/>
                    <a:gd name="T5" fmla="*/ 0 h 10"/>
                    <a:gd name="T6" fmla="*/ 2147483647 w 16"/>
                    <a:gd name="T7" fmla="*/ 0 h 10"/>
                    <a:gd name="T8" fmla="*/ 2147483647 w 16"/>
                    <a:gd name="T9" fmla="*/ 2147483647 h 10"/>
                    <a:gd name="T10" fmla="*/ 0 w 16"/>
                    <a:gd name="T11" fmla="*/ 2147483647 h 10"/>
                    <a:gd name="T12" fmla="*/ 2147483647 w 16"/>
                    <a:gd name="T13" fmla="*/ 2147483647 h 10"/>
                    <a:gd name="T14" fmla="*/ 2147483647 w 16"/>
                    <a:gd name="T15" fmla="*/ 2147483647 h 10"/>
                    <a:gd name="T16" fmla="*/ 2147483647 w 16"/>
                    <a:gd name="T17" fmla="*/ 2147483647 h 10"/>
                    <a:gd name="T18" fmla="*/ 2147483647 w 16"/>
                    <a:gd name="T19" fmla="*/ 2147483647 h 10"/>
                    <a:gd name="T20" fmla="*/ 2147483647 w 16"/>
                    <a:gd name="T21" fmla="*/ 2147483647 h 10"/>
                    <a:gd name="T22" fmla="*/ 2147483647 w 16"/>
                    <a:gd name="T23" fmla="*/ 2147483647 h 10"/>
                    <a:gd name="T24" fmla="*/ 2147483647 w 16"/>
                    <a:gd name="T25" fmla="*/ 2147483647 h 10"/>
                    <a:gd name="T26" fmla="*/ 2147483647 w 16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6"/>
                    <a:gd name="T43" fmla="*/ 0 h 10"/>
                    <a:gd name="T44" fmla="*/ 16 w 16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6" h="10">
                      <a:moveTo>
                        <a:pt x="16" y="7"/>
                      </a:moveTo>
                      <a:lnTo>
                        <a:pt x="12" y="4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3" y="9"/>
                      </a:lnTo>
                      <a:lnTo>
                        <a:pt x="7" y="9"/>
                      </a:lnTo>
                      <a:lnTo>
                        <a:pt x="10" y="9"/>
                      </a:lnTo>
                      <a:lnTo>
                        <a:pt x="14" y="10"/>
                      </a:lnTo>
                      <a:lnTo>
                        <a:pt x="16" y="9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" name="Freeform 769">
                  <a:extLst>
                    <a:ext uri="{FF2B5EF4-FFF2-40B4-BE49-F238E27FC236}">
                      <a16:creationId xmlns:a16="http://schemas.microsoft.com/office/drawing/2014/main" id="{B50EDC65-6E2E-5C43-81BB-B90A84C7B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7947" y="4659802"/>
                  <a:ext cx="14799" cy="7399"/>
                </a:xfrm>
                <a:custGeom>
                  <a:avLst/>
                  <a:gdLst>
                    <a:gd name="T0" fmla="*/ 2147483647 w 11"/>
                    <a:gd name="T1" fmla="*/ 2147483647 h 5"/>
                    <a:gd name="T2" fmla="*/ 2147483647 w 11"/>
                    <a:gd name="T3" fmla="*/ 2147483647 h 5"/>
                    <a:gd name="T4" fmla="*/ 2147483647 w 11"/>
                    <a:gd name="T5" fmla="*/ 2147483647 h 5"/>
                    <a:gd name="T6" fmla="*/ 2147483647 w 11"/>
                    <a:gd name="T7" fmla="*/ 2147483647 h 5"/>
                    <a:gd name="T8" fmla="*/ 2147483647 w 11"/>
                    <a:gd name="T9" fmla="*/ 0 h 5"/>
                    <a:gd name="T10" fmla="*/ 0 w 11"/>
                    <a:gd name="T11" fmla="*/ 0 h 5"/>
                    <a:gd name="T12" fmla="*/ 0 w 11"/>
                    <a:gd name="T13" fmla="*/ 0 h 5"/>
                    <a:gd name="T14" fmla="*/ 2147483647 w 11"/>
                    <a:gd name="T15" fmla="*/ 2147483647 h 5"/>
                    <a:gd name="T16" fmla="*/ 2147483647 w 11"/>
                    <a:gd name="T17" fmla="*/ 2147483647 h 5"/>
                    <a:gd name="T18" fmla="*/ 2147483647 w 11"/>
                    <a:gd name="T19" fmla="*/ 2147483647 h 5"/>
                    <a:gd name="T20" fmla="*/ 2147483647 w 11"/>
                    <a:gd name="T21" fmla="*/ 2147483647 h 5"/>
                    <a:gd name="T22" fmla="*/ 2147483647 w 11"/>
                    <a:gd name="T23" fmla="*/ 2147483647 h 5"/>
                    <a:gd name="T24" fmla="*/ 2147483647 w 11"/>
                    <a:gd name="T25" fmla="*/ 2147483647 h 5"/>
                    <a:gd name="T26" fmla="*/ 2147483647 w 11"/>
                    <a:gd name="T27" fmla="*/ 2147483647 h 5"/>
                    <a:gd name="T28" fmla="*/ 2147483647 w 11"/>
                    <a:gd name="T29" fmla="*/ 2147483647 h 5"/>
                    <a:gd name="T30" fmla="*/ 2147483647 w 11"/>
                    <a:gd name="T31" fmla="*/ 2147483647 h 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1"/>
                    <a:gd name="T49" fmla="*/ 0 h 5"/>
                    <a:gd name="T50" fmla="*/ 11 w 11"/>
                    <a:gd name="T51" fmla="*/ 5 h 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1" h="5">
                      <a:moveTo>
                        <a:pt x="11" y="5"/>
                      </a:moveTo>
                      <a:lnTo>
                        <a:pt x="11" y="5"/>
                      </a:lnTo>
                      <a:lnTo>
                        <a:pt x="11" y="2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5" y="5"/>
                      </a:lnTo>
                      <a:lnTo>
                        <a:pt x="9" y="5"/>
                      </a:lnTo>
                      <a:lnTo>
                        <a:pt x="11" y="5"/>
                      </a:lnTo>
                      <a:lnTo>
                        <a:pt x="11" y="4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" name="Freeform 770">
                  <a:extLst>
                    <a:ext uri="{FF2B5EF4-FFF2-40B4-BE49-F238E27FC236}">
                      <a16:creationId xmlns:a16="http://schemas.microsoft.com/office/drawing/2014/main" id="{882E74D5-8592-3E45-BDDF-5AAC7DB5C1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6063" y="4659802"/>
                  <a:ext cx="19238" cy="14799"/>
                </a:xfrm>
                <a:custGeom>
                  <a:avLst/>
                  <a:gdLst>
                    <a:gd name="T0" fmla="*/ 2147483647 w 15"/>
                    <a:gd name="T1" fmla="*/ 2147483647 h 10"/>
                    <a:gd name="T2" fmla="*/ 2147483647 w 15"/>
                    <a:gd name="T3" fmla="*/ 2147483647 h 10"/>
                    <a:gd name="T4" fmla="*/ 2147483647 w 15"/>
                    <a:gd name="T5" fmla="*/ 2147483647 h 10"/>
                    <a:gd name="T6" fmla="*/ 2147483647 w 15"/>
                    <a:gd name="T7" fmla="*/ 0 h 10"/>
                    <a:gd name="T8" fmla="*/ 2147483647 w 15"/>
                    <a:gd name="T9" fmla="*/ 0 h 10"/>
                    <a:gd name="T10" fmla="*/ 2147483647 w 15"/>
                    <a:gd name="T11" fmla="*/ 0 h 10"/>
                    <a:gd name="T12" fmla="*/ 2147483647 w 15"/>
                    <a:gd name="T13" fmla="*/ 2147483647 h 10"/>
                    <a:gd name="T14" fmla="*/ 0 w 15"/>
                    <a:gd name="T15" fmla="*/ 2147483647 h 10"/>
                    <a:gd name="T16" fmla="*/ 2147483647 w 15"/>
                    <a:gd name="T17" fmla="*/ 2147483647 h 10"/>
                    <a:gd name="T18" fmla="*/ 2147483647 w 15"/>
                    <a:gd name="T19" fmla="*/ 2147483647 h 10"/>
                    <a:gd name="T20" fmla="*/ 2147483647 w 15"/>
                    <a:gd name="T21" fmla="*/ 2147483647 h 10"/>
                    <a:gd name="T22" fmla="*/ 2147483647 w 15"/>
                    <a:gd name="T23" fmla="*/ 2147483647 h 10"/>
                    <a:gd name="T24" fmla="*/ 2147483647 w 15"/>
                    <a:gd name="T25" fmla="*/ 2147483647 h 10"/>
                    <a:gd name="T26" fmla="*/ 2147483647 w 15"/>
                    <a:gd name="T27" fmla="*/ 2147483647 h 10"/>
                    <a:gd name="T28" fmla="*/ 2147483647 w 15"/>
                    <a:gd name="T29" fmla="*/ 2147483647 h 10"/>
                    <a:gd name="T30" fmla="*/ 2147483647 w 15"/>
                    <a:gd name="T31" fmla="*/ 2147483647 h 10"/>
                    <a:gd name="T32" fmla="*/ 2147483647 w 15"/>
                    <a:gd name="T33" fmla="*/ 2147483647 h 10"/>
                    <a:gd name="T34" fmla="*/ 2147483647 w 15"/>
                    <a:gd name="T35" fmla="*/ 2147483647 h 10"/>
                    <a:gd name="T36" fmla="*/ 2147483647 w 15"/>
                    <a:gd name="T37" fmla="*/ 2147483647 h 10"/>
                    <a:gd name="T38" fmla="*/ 2147483647 w 15"/>
                    <a:gd name="T39" fmla="*/ 2147483647 h 10"/>
                    <a:gd name="T40" fmla="*/ 2147483647 w 15"/>
                    <a:gd name="T41" fmla="*/ 2147483647 h 1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5"/>
                    <a:gd name="T64" fmla="*/ 0 h 10"/>
                    <a:gd name="T65" fmla="*/ 15 w 15"/>
                    <a:gd name="T66" fmla="*/ 10 h 1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5" h="10">
                      <a:moveTo>
                        <a:pt x="15" y="7"/>
                      </a:moveTo>
                      <a:lnTo>
                        <a:pt x="15" y="7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1" y="8"/>
                      </a:lnTo>
                      <a:lnTo>
                        <a:pt x="3" y="8"/>
                      </a:lnTo>
                      <a:lnTo>
                        <a:pt x="6" y="8"/>
                      </a:lnTo>
                      <a:lnTo>
                        <a:pt x="10" y="8"/>
                      </a:lnTo>
                      <a:lnTo>
                        <a:pt x="14" y="10"/>
                      </a:lnTo>
                      <a:lnTo>
                        <a:pt x="15" y="8"/>
                      </a:lnTo>
                      <a:lnTo>
                        <a:pt x="15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" name="Freeform 771">
                  <a:extLst>
                    <a:ext uri="{FF2B5EF4-FFF2-40B4-BE49-F238E27FC236}">
                      <a16:creationId xmlns:a16="http://schemas.microsoft.com/office/drawing/2014/main" id="{5EB592D6-E712-F24F-9596-A458A4A26A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6378" y="4665721"/>
                  <a:ext cx="23678" cy="13319"/>
                </a:xfrm>
                <a:custGeom>
                  <a:avLst/>
                  <a:gdLst>
                    <a:gd name="T0" fmla="*/ 2147483647 w 18"/>
                    <a:gd name="T1" fmla="*/ 2147483647 h 9"/>
                    <a:gd name="T2" fmla="*/ 2147483647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2147483647 w 18"/>
                    <a:gd name="T11" fmla="*/ 2147483647 h 9"/>
                    <a:gd name="T12" fmla="*/ 2147483647 w 18"/>
                    <a:gd name="T13" fmla="*/ 2147483647 h 9"/>
                    <a:gd name="T14" fmla="*/ 2147483647 w 18"/>
                    <a:gd name="T15" fmla="*/ 2147483647 h 9"/>
                    <a:gd name="T16" fmla="*/ 0 w 18"/>
                    <a:gd name="T17" fmla="*/ 2147483647 h 9"/>
                    <a:gd name="T18" fmla="*/ 2147483647 w 18"/>
                    <a:gd name="T19" fmla="*/ 2147483647 h 9"/>
                    <a:gd name="T20" fmla="*/ 2147483647 w 18"/>
                    <a:gd name="T21" fmla="*/ 2147483647 h 9"/>
                    <a:gd name="T22" fmla="*/ 2147483647 w 18"/>
                    <a:gd name="T23" fmla="*/ 2147483647 h 9"/>
                    <a:gd name="T24" fmla="*/ 2147483647 w 18"/>
                    <a:gd name="T25" fmla="*/ 2147483647 h 9"/>
                    <a:gd name="T26" fmla="*/ 2147483647 w 18"/>
                    <a:gd name="T27" fmla="*/ 2147483647 h 9"/>
                    <a:gd name="T28" fmla="*/ 2147483647 w 18"/>
                    <a:gd name="T29" fmla="*/ 2147483647 h 9"/>
                    <a:gd name="T30" fmla="*/ 2147483647 w 18"/>
                    <a:gd name="T31" fmla="*/ 2147483647 h 9"/>
                    <a:gd name="T32" fmla="*/ 2147483647 w 18"/>
                    <a:gd name="T33" fmla="*/ 2147483647 h 9"/>
                    <a:gd name="T34" fmla="*/ 2147483647 w 18"/>
                    <a:gd name="T35" fmla="*/ 2147483647 h 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8"/>
                    <a:gd name="T55" fmla="*/ 0 h 9"/>
                    <a:gd name="T56" fmla="*/ 18 w 18"/>
                    <a:gd name="T57" fmla="*/ 9 h 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8" h="9">
                      <a:moveTo>
                        <a:pt x="18" y="4"/>
                      </a:move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6" y="7"/>
                      </a:lnTo>
                      <a:lnTo>
                        <a:pt x="9" y="8"/>
                      </a:lnTo>
                      <a:lnTo>
                        <a:pt x="13" y="9"/>
                      </a:lnTo>
                      <a:lnTo>
                        <a:pt x="16" y="9"/>
                      </a:lnTo>
                      <a:lnTo>
                        <a:pt x="18" y="8"/>
                      </a:lnTo>
                      <a:lnTo>
                        <a:pt x="18" y="6"/>
                      </a:lnTo>
                      <a:lnTo>
                        <a:pt x="18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" name="Freeform 772">
                  <a:extLst>
                    <a:ext uri="{FF2B5EF4-FFF2-40B4-BE49-F238E27FC236}">
                      <a16:creationId xmlns:a16="http://schemas.microsoft.com/office/drawing/2014/main" id="{F76A77DB-DA22-5348-8301-2DF44D1DE1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0056" y="4637600"/>
                  <a:ext cx="16278" cy="19239"/>
                </a:xfrm>
                <a:custGeom>
                  <a:avLst/>
                  <a:gdLst>
                    <a:gd name="T0" fmla="*/ 2147483647 w 11"/>
                    <a:gd name="T1" fmla="*/ 2147483647 h 13"/>
                    <a:gd name="T2" fmla="*/ 0 w 11"/>
                    <a:gd name="T3" fmla="*/ 2147483647 h 13"/>
                    <a:gd name="T4" fmla="*/ 0 w 11"/>
                    <a:gd name="T5" fmla="*/ 2147483647 h 13"/>
                    <a:gd name="T6" fmla="*/ 0 w 11"/>
                    <a:gd name="T7" fmla="*/ 2147483647 h 13"/>
                    <a:gd name="T8" fmla="*/ 2147483647 w 11"/>
                    <a:gd name="T9" fmla="*/ 2147483647 h 13"/>
                    <a:gd name="T10" fmla="*/ 2147483647 w 11"/>
                    <a:gd name="T11" fmla="*/ 0 h 13"/>
                    <a:gd name="T12" fmla="*/ 2147483647 w 11"/>
                    <a:gd name="T13" fmla="*/ 2147483647 h 13"/>
                    <a:gd name="T14" fmla="*/ 2147483647 w 11"/>
                    <a:gd name="T15" fmla="*/ 2147483647 h 13"/>
                    <a:gd name="T16" fmla="*/ 2147483647 w 11"/>
                    <a:gd name="T17" fmla="*/ 2147483647 h 13"/>
                    <a:gd name="T18" fmla="*/ 2147483647 w 11"/>
                    <a:gd name="T19" fmla="*/ 2147483647 h 13"/>
                    <a:gd name="T20" fmla="*/ 2147483647 w 11"/>
                    <a:gd name="T21" fmla="*/ 2147483647 h 13"/>
                    <a:gd name="T22" fmla="*/ 2147483647 w 11"/>
                    <a:gd name="T23" fmla="*/ 2147483647 h 13"/>
                    <a:gd name="T24" fmla="*/ 2147483647 w 11"/>
                    <a:gd name="T25" fmla="*/ 2147483647 h 13"/>
                    <a:gd name="T26" fmla="*/ 2147483647 w 11"/>
                    <a:gd name="T27" fmla="*/ 2147483647 h 13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"/>
                    <a:gd name="T43" fmla="*/ 0 h 13"/>
                    <a:gd name="T44" fmla="*/ 11 w 11"/>
                    <a:gd name="T45" fmla="*/ 13 h 13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" h="13">
                      <a:moveTo>
                        <a:pt x="2" y="13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9" y="3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6" y="10"/>
                      </a:lnTo>
                      <a:lnTo>
                        <a:pt x="5" y="11"/>
                      </a:lnTo>
                      <a:lnTo>
                        <a:pt x="5" y="13"/>
                      </a:lnTo>
                      <a:lnTo>
                        <a:pt x="2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" name="Freeform 773">
                  <a:extLst>
                    <a:ext uri="{FF2B5EF4-FFF2-40B4-BE49-F238E27FC236}">
                      <a16:creationId xmlns:a16="http://schemas.microsoft.com/office/drawing/2014/main" id="{8AE54E3D-197E-C44C-B50C-C8984F0CA9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4898" y="4662759"/>
                  <a:ext cx="23678" cy="14799"/>
                </a:xfrm>
                <a:custGeom>
                  <a:avLst/>
                  <a:gdLst>
                    <a:gd name="T0" fmla="*/ 2147483647 w 17"/>
                    <a:gd name="T1" fmla="*/ 2147483647 h 10"/>
                    <a:gd name="T2" fmla="*/ 2147483647 w 17"/>
                    <a:gd name="T3" fmla="*/ 2147483647 h 10"/>
                    <a:gd name="T4" fmla="*/ 2147483647 w 17"/>
                    <a:gd name="T5" fmla="*/ 2147483647 h 10"/>
                    <a:gd name="T6" fmla="*/ 2147483647 w 17"/>
                    <a:gd name="T7" fmla="*/ 2147483647 h 10"/>
                    <a:gd name="T8" fmla="*/ 2147483647 w 17"/>
                    <a:gd name="T9" fmla="*/ 0 h 10"/>
                    <a:gd name="T10" fmla="*/ 2147483647 w 17"/>
                    <a:gd name="T11" fmla="*/ 0 h 10"/>
                    <a:gd name="T12" fmla="*/ 2147483647 w 17"/>
                    <a:gd name="T13" fmla="*/ 0 h 10"/>
                    <a:gd name="T14" fmla="*/ 2147483647 w 17"/>
                    <a:gd name="T15" fmla="*/ 2147483647 h 10"/>
                    <a:gd name="T16" fmla="*/ 2147483647 w 17"/>
                    <a:gd name="T17" fmla="*/ 2147483647 h 10"/>
                    <a:gd name="T18" fmla="*/ 2147483647 w 17"/>
                    <a:gd name="T19" fmla="*/ 2147483647 h 10"/>
                    <a:gd name="T20" fmla="*/ 2147483647 w 17"/>
                    <a:gd name="T21" fmla="*/ 2147483647 h 10"/>
                    <a:gd name="T22" fmla="*/ 0 w 17"/>
                    <a:gd name="T23" fmla="*/ 2147483647 h 10"/>
                    <a:gd name="T24" fmla="*/ 2147483647 w 17"/>
                    <a:gd name="T25" fmla="*/ 2147483647 h 10"/>
                    <a:gd name="T26" fmla="*/ 2147483647 w 17"/>
                    <a:gd name="T27" fmla="*/ 2147483647 h 10"/>
                    <a:gd name="T28" fmla="*/ 2147483647 w 17"/>
                    <a:gd name="T29" fmla="*/ 2147483647 h 10"/>
                    <a:gd name="T30" fmla="*/ 2147483647 w 17"/>
                    <a:gd name="T31" fmla="*/ 2147483647 h 10"/>
                    <a:gd name="T32" fmla="*/ 2147483647 w 17"/>
                    <a:gd name="T33" fmla="*/ 2147483647 h 10"/>
                    <a:gd name="T34" fmla="*/ 2147483647 w 17"/>
                    <a:gd name="T35" fmla="*/ 2147483647 h 10"/>
                    <a:gd name="T36" fmla="*/ 2147483647 w 17"/>
                    <a:gd name="T37" fmla="*/ 2147483647 h 10"/>
                    <a:gd name="T38" fmla="*/ 2147483647 w 17"/>
                    <a:gd name="T39" fmla="*/ 2147483647 h 10"/>
                    <a:gd name="T40" fmla="*/ 2147483647 w 17"/>
                    <a:gd name="T41" fmla="*/ 2147483647 h 10"/>
                    <a:gd name="T42" fmla="*/ 2147483647 w 17"/>
                    <a:gd name="T43" fmla="*/ 2147483647 h 10"/>
                    <a:gd name="T44" fmla="*/ 2147483647 w 17"/>
                    <a:gd name="T45" fmla="*/ 2147483647 h 10"/>
                    <a:gd name="T46" fmla="*/ 2147483647 w 17"/>
                    <a:gd name="T47" fmla="*/ 2147483647 h 1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7"/>
                    <a:gd name="T73" fmla="*/ 0 h 10"/>
                    <a:gd name="T74" fmla="*/ 17 w 17"/>
                    <a:gd name="T75" fmla="*/ 10 h 1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7" h="10">
                      <a:moveTo>
                        <a:pt x="17" y="5"/>
                      </a:moveTo>
                      <a:lnTo>
                        <a:pt x="17" y="5"/>
                      </a:lnTo>
                      <a:lnTo>
                        <a:pt x="16" y="4"/>
                      </a:lnTo>
                      <a:lnTo>
                        <a:pt x="16" y="3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2" y="8"/>
                      </a:lnTo>
                      <a:lnTo>
                        <a:pt x="6" y="8"/>
                      </a:lnTo>
                      <a:lnTo>
                        <a:pt x="8" y="9"/>
                      </a:lnTo>
                      <a:lnTo>
                        <a:pt x="12" y="10"/>
                      </a:lnTo>
                      <a:lnTo>
                        <a:pt x="16" y="10"/>
                      </a:lnTo>
                      <a:lnTo>
                        <a:pt x="17" y="9"/>
                      </a:lnTo>
                      <a:lnTo>
                        <a:pt x="17" y="6"/>
                      </a:lnTo>
                      <a:lnTo>
                        <a:pt x="17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" name="Freeform 774">
                  <a:extLst>
                    <a:ext uri="{FF2B5EF4-FFF2-40B4-BE49-F238E27FC236}">
                      <a16:creationId xmlns:a16="http://schemas.microsoft.com/office/drawing/2014/main" id="{A0392DA5-98FC-7C4C-AF7F-04BBF3C1EE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8578" y="4634643"/>
                  <a:ext cx="16279" cy="19239"/>
                </a:xfrm>
                <a:custGeom>
                  <a:avLst/>
                  <a:gdLst>
                    <a:gd name="T0" fmla="*/ 2147483647 w 12"/>
                    <a:gd name="T1" fmla="*/ 2147483647 h 13"/>
                    <a:gd name="T2" fmla="*/ 2147483647 w 12"/>
                    <a:gd name="T3" fmla="*/ 2147483647 h 13"/>
                    <a:gd name="T4" fmla="*/ 0 w 12"/>
                    <a:gd name="T5" fmla="*/ 2147483647 h 13"/>
                    <a:gd name="T6" fmla="*/ 0 w 12"/>
                    <a:gd name="T7" fmla="*/ 2147483647 h 13"/>
                    <a:gd name="T8" fmla="*/ 0 w 12"/>
                    <a:gd name="T9" fmla="*/ 2147483647 h 13"/>
                    <a:gd name="T10" fmla="*/ 0 w 12"/>
                    <a:gd name="T11" fmla="*/ 2147483647 h 13"/>
                    <a:gd name="T12" fmla="*/ 2147483647 w 12"/>
                    <a:gd name="T13" fmla="*/ 2147483647 h 13"/>
                    <a:gd name="T14" fmla="*/ 2147483647 w 12"/>
                    <a:gd name="T15" fmla="*/ 2147483647 h 13"/>
                    <a:gd name="T16" fmla="*/ 2147483647 w 12"/>
                    <a:gd name="T17" fmla="*/ 0 h 13"/>
                    <a:gd name="T18" fmla="*/ 2147483647 w 12"/>
                    <a:gd name="T19" fmla="*/ 2147483647 h 13"/>
                    <a:gd name="T20" fmla="*/ 2147483647 w 12"/>
                    <a:gd name="T21" fmla="*/ 2147483647 h 13"/>
                    <a:gd name="T22" fmla="*/ 2147483647 w 12"/>
                    <a:gd name="T23" fmla="*/ 2147483647 h 13"/>
                    <a:gd name="T24" fmla="*/ 2147483647 w 12"/>
                    <a:gd name="T25" fmla="*/ 2147483647 h 13"/>
                    <a:gd name="T26" fmla="*/ 2147483647 w 12"/>
                    <a:gd name="T27" fmla="*/ 2147483647 h 13"/>
                    <a:gd name="T28" fmla="*/ 2147483647 w 12"/>
                    <a:gd name="T29" fmla="*/ 2147483647 h 13"/>
                    <a:gd name="T30" fmla="*/ 2147483647 w 12"/>
                    <a:gd name="T31" fmla="*/ 2147483647 h 13"/>
                    <a:gd name="T32" fmla="*/ 2147483647 w 12"/>
                    <a:gd name="T33" fmla="*/ 2147483647 h 13"/>
                    <a:gd name="T34" fmla="*/ 2147483647 w 12"/>
                    <a:gd name="T35" fmla="*/ 2147483647 h 13"/>
                    <a:gd name="T36" fmla="*/ 2147483647 w 12"/>
                    <a:gd name="T37" fmla="*/ 2147483647 h 13"/>
                    <a:gd name="T38" fmla="*/ 2147483647 w 12"/>
                    <a:gd name="T39" fmla="*/ 2147483647 h 13"/>
                    <a:gd name="T40" fmla="*/ 2147483647 w 12"/>
                    <a:gd name="T41" fmla="*/ 2147483647 h 13"/>
                    <a:gd name="T42" fmla="*/ 2147483647 w 12"/>
                    <a:gd name="T43" fmla="*/ 2147483647 h 1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2"/>
                    <a:gd name="T67" fmla="*/ 0 h 13"/>
                    <a:gd name="T68" fmla="*/ 12 w 12"/>
                    <a:gd name="T69" fmla="*/ 13 h 1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2" h="13">
                      <a:moveTo>
                        <a:pt x="3" y="13"/>
                      </a:moveTo>
                      <a:lnTo>
                        <a:pt x="3" y="13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1" y="6"/>
                      </a:lnTo>
                      <a:lnTo>
                        <a:pt x="12" y="10"/>
                      </a:lnTo>
                      <a:lnTo>
                        <a:pt x="7" y="11"/>
                      </a:lnTo>
                      <a:lnTo>
                        <a:pt x="5" y="12"/>
                      </a:lnTo>
                      <a:lnTo>
                        <a:pt x="5" y="13"/>
                      </a:lnTo>
                      <a:lnTo>
                        <a:pt x="3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" name="Freeform 775">
                  <a:extLst>
                    <a:ext uri="{FF2B5EF4-FFF2-40B4-BE49-F238E27FC236}">
                      <a16:creationId xmlns:a16="http://schemas.microsoft.com/office/drawing/2014/main" id="{4A3501E3-B2E2-964C-892F-EA5100E4CE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8579" y="4615404"/>
                  <a:ext cx="28118" cy="13319"/>
                </a:xfrm>
                <a:custGeom>
                  <a:avLst/>
                  <a:gdLst>
                    <a:gd name="T0" fmla="*/ 2147483647 w 21"/>
                    <a:gd name="T1" fmla="*/ 2147483647 h 9"/>
                    <a:gd name="T2" fmla="*/ 2147483647 w 21"/>
                    <a:gd name="T3" fmla="*/ 0 h 9"/>
                    <a:gd name="T4" fmla="*/ 2147483647 w 21"/>
                    <a:gd name="T5" fmla="*/ 2147483647 h 9"/>
                    <a:gd name="T6" fmla="*/ 2147483647 w 21"/>
                    <a:gd name="T7" fmla="*/ 2147483647 h 9"/>
                    <a:gd name="T8" fmla="*/ 2147483647 w 21"/>
                    <a:gd name="T9" fmla="*/ 2147483647 h 9"/>
                    <a:gd name="T10" fmla="*/ 2147483647 w 21"/>
                    <a:gd name="T11" fmla="*/ 2147483647 h 9"/>
                    <a:gd name="T12" fmla="*/ 2147483647 w 21"/>
                    <a:gd name="T13" fmla="*/ 2147483647 h 9"/>
                    <a:gd name="T14" fmla="*/ 2147483647 w 21"/>
                    <a:gd name="T15" fmla="*/ 0 h 9"/>
                    <a:gd name="T16" fmla="*/ 2147483647 w 21"/>
                    <a:gd name="T17" fmla="*/ 0 h 9"/>
                    <a:gd name="T18" fmla="*/ 0 w 21"/>
                    <a:gd name="T19" fmla="*/ 2147483647 h 9"/>
                    <a:gd name="T20" fmla="*/ 0 w 21"/>
                    <a:gd name="T21" fmla="*/ 2147483647 h 9"/>
                    <a:gd name="T22" fmla="*/ 2147483647 w 21"/>
                    <a:gd name="T23" fmla="*/ 2147483647 h 9"/>
                    <a:gd name="T24" fmla="*/ 2147483647 w 21"/>
                    <a:gd name="T25" fmla="*/ 2147483647 h 9"/>
                    <a:gd name="T26" fmla="*/ 2147483647 w 21"/>
                    <a:gd name="T27" fmla="*/ 2147483647 h 9"/>
                    <a:gd name="T28" fmla="*/ 2147483647 w 21"/>
                    <a:gd name="T29" fmla="*/ 2147483647 h 9"/>
                    <a:gd name="T30" fmla="*/ 2147483647 w 21"/>
                    <a:gd name="T31" fmla="*/ 2147483647 h 9"/>
                    <a:gd name="T32" fmla="*/ 2147483647 w 21"/>
                    <a:gd name="T33" fmla="*/ 2147483647 h 9"/>
                    <a:gd name="T34" fmla="*/ 2147483647 w 21"/>
                    <a:gd name="T35" fmla="*/ 2147483647 h 9"/>
                    <a:gd name="T36" fmla="*/ 2147483647 w 21"/>
                    <a:gd name="T37" fmla="*/ 2147483647 h 9"/>
                    <a:gd name="T38" fmla="*/ 2147483647 w 21"/>
                    <a:gd name="T39" fmla="*/ 2147483647 h 9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1"/>
                    <a:gd name="T61" fmla="*/ 0 h 9"/>
                    <a:gd name="T62" fmla="*/ 21 w 21"/>
                    <a:gd name="T63" fmla="*/ 9 h 9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1" h="9">
                      <a:moveTo>
                        <a:pt x="18" y="2"/>
                      </a:moveTo>
                      <a:lnTo>
                        <a:pt x="16" y="0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8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7" y="8"/>
                      </a:lnTo>
                      <a:lnTo>
                        <a:pt x="11" y="8"/>
                      </a:lnTo>
                      <a:lnTo>
                        <a:pt x="14" y="9"/>
                      </a:lnTo>
                      <a:lnTo>
                        <a:pt x="18" y="9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8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" name="Freeform 776">
                  <a:extLst>
                    <a:ext uri="{FF2B5EF4-FFF2-40B4-BE49-F238E27FC236}">
                      <a16:creationId xmlns:a16="http://schemas.microsoft.com/office/drawing/2014/main" id="{FCD4E798-C5EA-7041-A3BD-400F01A0B7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9425" y="4696794"/>
                  <a:ext cx="22198" cy="26638"/>
                </a:xfrm>
                <a:custGeom>
                  <a:avLst/>
                  <a:gdLst>
                    <a:gd name="T0" fmla="*/ 2147483647 w 16"/>
                    <a:gd name="T1" fmla="*/ 2147483647 h 18"/>
                    <a:gd name="T2" fmla="*/ 2147483647 w 16"/>
                    <a:gd name="T3" fmla="*/ 2147483647 h 18"/>
                    <a:gd name="T4" fmla="*/ 2147483647 w 16"/>
                    <a:gd name="T5" fmla="*/ 2147483647 h 18"/>
                    <a:gd name="T6" fmla="*/ 2147483647 w 16"/>
                    <a:gd name="T7" fmla="*/ 0 h 18"/>
                    <a:gd name="T8" fmla="*/ 2147483647 w 16"/>
                    <a:gd name="T9" fmla="*/ 0 h 18"/>
                    <a:gd name="T10" fmla="*/ 2147483647 w 16"/>
                    <a:gd name="T11" fmla="*/ 2147483647 h 18"/>
                    <a:gd name="T12" fmla="*/ 0 w 16"/>
                    <a:gd name="T13" fmla="*/ 2147483647 h 18"/>
                    <a:gd name="T14" fmla="*/ 0 w 16"/>
                    <a:gd name="T15" fmla="*/ 2147483647 h 18"/>
                    <a:gd name="T16" fmla="*/ 2147483647 w 16"/>
                    <a:gd name="T17" fmla="*/ 2147483647 h 18"/>
                    <a:gd name="T18" fmla="*/ 2147483647 w 16"/>
                    <a:gd name="T19" fmla="*/ 2147483647 h 18"/>
                    <a:gd name="T20" fmla="*/ 2147483647 w 16"/>
                    <a:gd name="T21" fmla="*/ 2147483647 h 18"/>
                    <a:gd name="T22" fmla="*/ 2147483647 w 16"/>
                    <a:gd name="T23" fmla="*/ 2147483647 h 18"/>
                    <a:gd name="T24" fmla="*/ 2147483647 w 16"/>
                    <a:gd name="T25" fmla="*/ 2147483647 h 18"/>
                    <a:gd name="T26" fmla="*/ 2147483647 w 16"/>
                    <a:gd name="T27" fmla="*/ 2147483647 h 18"/>
                    <a:gd name="T28" fmla="*/ 2147483647 w 16"/>
                    <a:gd name="T29" fmla="*/ 2147483647 h 18"/>
                    <a:gd name="T30" fmla="*/ 2147483647 w 16"/>
                    <a:gd name="T31" fmla="*/ 2147483647 h 1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"/>
                    <a:gd name="T49" fmla="*/ 0 h 18"/>
                    <a:gd name="T50" fmla="*/ 16 w 16"/>
                    <a:gd name="T51" fmla="*/ 18 h 1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" h="18">
                      <a:moveTo>
                        <a:pt x="16" y="7"/>
                      </a:moveTo>
                      <a:lnTo>
                        <a:pt x="16" y="3"/>
                      </a:lnTo>
                      <a:lnTo>
                        <a:pt x="1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3" y="13"/>
                      </a:lnTo>
                      <a:lnTo>
                        <a:pt x="5" y="17"/>
                      </a:lnTo>
                      <a:lnTo>
                        <a:pt x="8" y="18"/>
                      </a:lnTo>
                      <a:lnTo>
                        <a:pt x="9" y="18"/>
                      </a:lnTo>
                      <a:lnTo>
                        <a:pt x="11" y="18"/>
                      </a:lnTo>
                      <a:lnTo>
                        <a:pt x="14" y="15"/>
                      </a:lnTo>
                      <a:lnTo>
                        <a:pt x="15" y="12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" name="Freeform 777">
                  <a:extLst>
                    <a:ext uri="{FF2B5EF4-FFF2-40B4-BE49-F238E27FC236}">
                      <a16:creationId xmlns:a16="http://schemas.microsoft.com/office/drawing/2014/main" id="{9CF8F4BD-9B49-424A-AC0F-F63E3F99B7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7097" y="4613921"/>
                  <a:ext cx="26637" cy="13319"/>
                </a:xfrm>
                <a:custGeom>
                  <a:avLst/>
                  <a:gdLst>
                    <a:gd name="T0" fmla="*/ 2147483647 w 20"/>
                    <a:gd name="T1" fmla="*/ 2147483647 h 9"/>
                    <a:gd name="T2" fmla="*/ 2147483647 w 20"/>
                    <a:gd name="T3" fmla="*/ 2147483647 h 9"/>
                    <a:gd name="T4" fmla="*/ 2147483647 w 20"/>
                    <a:gd name="T5" fmla="*/ 0 h 9"/>
                    <a:gd name="T6" fmla="*/ 2147483647 w 20"/>
                    <a:gd name="T7" fmla="*/ 2147483647 h 9"/>
                    <a:gd name="T8" fmla="*/ 2147483647 w 20"/>
                    <a:gd name="T9" fmla="*/ 2147483647 h 9"/>
                    <a:gd name="T10" fmla="*/ 2147483647 w 20"/>
                    <a:gd name="T11" fmla="*/ 2147483647 h 9"/>
                    <a:gd name="T12" fmla="*/ 2147483647 w 20"/>
                    <a:gd name="T13" fmla="*/ 2147483647 h 9"/>
                    <a:gd name="T14" fmla="*/ 2147483647 w 20"/>
                    <a:gd name="T15" fmla="*/ 2147483647 h 9"/>
                    <a:gd name="T16" fmla="*/ 2147483647 w 20"/>
                    <a:gd name="T17" fmla="*/ 2147483647 h 9"/>
                    <a:gd name="T18" fmla="*/ 2147483647 w 20"/>
                    <a:gd name="T19" fmla="*/ 0 h 9"/>
                    <a:gd name="T20" fmla="*/ 2147483647 w 20"/>
                    <a:gd name="T21" fmla="*/ 0 h 9"/>
                    <a:gd name="T22" fmla="*/ 2147483647 w 20"/>
                    <a:gd name="T23" fmla="*/ 0 h 9"/>
                    <a:gd name="T24" fmla="*/ 0 w 20"/>
                    <a:gd name="T25" fmla="*/ 2147483647 h 9"/>
                    <a:gd name="T26" fmla="*/ 0 w 20"/>
                    <a:gd name="T27" fmla="*/ 2147483647 h 9"/>
                    <a:gd name="T28" fmla="*/ 2147483647 w 20"/>
                    <a:gd name="T29" fmla="*/ 2147483647 h 9"/>
                    <a:gd name="T30" fmla="*/ 2147483647 w 20"/>
                    <a:gd name="T31" fmla="*/ 2147483647 h 9"/>
                    <a:gd name="T32" fmla="*/ 2147483647 w 20"/>
                    <a:gd name="T33" fmla="*/ 2147483647 h 9"/>
                    <a:gd name="T34" fmla="*/ 2147483647 w 20"/>
                    <a:gd name="T35" fmla="*/ 2147483647 h 9"/>
                    <a:gd name="T36" fmla="*/ 2147483647 w 20"/>
                    <a:gd name="T37" fmla="*/ 2147483647 h 9"/>
                    <a:gd name="T38" fmla="*/ 2147483647 w 20"/>
                    <a:gd name="T39" fmla="*/ 2147483647 h 9"/>
                    <a:gd name="T40" fmla="*/ 2147483647 w 20"/>
                    <a:gd name="T41" fmla="*/ 2147483647 h 9"/>
                    <a:gd name="T42" fmla="*/ 2147483647 w 20"/>
                    <a:gd name="T43" fmla="*/ 2147483647 h 9"/>
                    <a:gd name="T44" fmla="*/ 2147483647 w 20"/>
                    <a:gd name="T45" fmla="*/ 2147483647 h 9"/>
                    <a:gd name="T46" fmla="*/ 2147483647 w 20"/>
                    <a:gd name="T47" fmla="*/ 2147483647 h 9"/>
                    <a:gd name="T48" fmla="*/ 2147483647 w 20"/>
                    <a:gd name="T49" fmla="*/ 2147483647 h 9"/>
                    <a:gd name="T50" fmla="*/ 2147483647 w 20"/>
                    <a:gd name="T51" fmla="*/ 2147483647 h 9"/>
                    <a:gd name="T52" fmla="*/ 2147483647 w 20"/>
                    <a:gd name="T53" fmla="*/ 2147483647 h 9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0"/>
                    <a:gd name="T82" fmla="*/ 0 h 9"/>
                    <a:gd name="T83" fmla="*/ 20 w 20"/>
                    <a:gd name="T84" fmla="*/ 9 h 9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0" h="9">
                      <a:moveTo>
                        <a:pt x="18" y="1"/>
                      </a:move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4" y="1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8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6" y="7"/>
                      </a:lnTo>
                      <a:lnTo>
                        <a:pt x="10" y="7"/>
                      </a:lnTo>
                      <a:lnTo>
                        <a:pt x="14" y="9"/>
                      </a:lnTo>
                      <a:lnTo>
                        <a:pt x="18" y="9"/>
                      </a:lnTo>
                      <a:lnTo>
                        <a:pt x="19" y="7"/>
                      </a:lnTo>
                      <a:lnTo>
                        <a:pt x="20" y="6"/>
                      </a:lnTo>
                      <a:lnTo>
                        <a:pt x="18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" name="Freeform 778">
                  <a:extLst>
                    <a:ext uri="{FF2B5EF4-FFF2-40B4-BE49-F238E27FC236}">
                      <a16:creationId xmlns:a16="http://schemas.microsoft.com/office/drawing/2014/main" id="{0E986D66-811E-AB4D-AEEF-7EDBF1A771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7944" y="4695319"/>
                  <a:ext cx="22199" cy="26638"/>
                </a:xfrm>
                <a:custGeom>
                  <a:avLst/>
                  <a:gdLst>
                    <a:gd name="T0" fmla="*/ 2147483647 w 16"/>
                    <a:gd name="T1" fmla="*/ 2147483647 h 18"/>
                    <a:gd name="T2" fmla="*/ 2147483647 w 16"/>
                    <a:gd name="T3" fmla="*/ 2147483647 h 18"/>
                    <a:gd name="T4" fmla="*/ 2147483647 w 16"/>
                    <a:gd name="T5" fmla="*/ 2147483647 h 18"/>
                    <a:gd name="T6" fmla="*/ 2147483647 w 16"/>
                    <a:gd name="T7" fmla="*/ 2147483647 h 18"/>
                    <a:gd name="T8" fmla="*/ 2147483647 w 16"/>
                    <a:gd name="T9" fmla="*/ 2147483647 h 18"/>
                    <a:gd name="T10" fmla="*/ 2147483647 w 16"/>
                    <a:gd name="T11" fmla="*/ 0 h 18"/>
                    <a:gd name="T12" fmla="*/ 2147483647 w 16"/>
                    <a:gd name="T13" fmla="*/ 0 h 18"/>
                    <a:gd name="T14" fmla="*/ 2147483647 w 16"/>
                    <a:gd name="T15" fmla="*/ 2147483647 h 18"/>
                    <a:gd name="T16" fmla="*/ 2147483647 w 16"/>
                    <a:gd name="T17" fmla="*/ 2147483647 h 18"/>
                    <a:gd name="T18" fmla="*/ 0 w 16"/>
                    <a:gd name="T19" fmla="*/ 2147483647 h 18"/>
                    <a:gd name="T20" fmla="*/ 0 w 16"/>
                    <a:gd name="T21" fmla="*/ 2147483647 h 18"/>
                    <a:gd name="T22" fmla="*/ 2147483647 w 16"/>
                    <a:gd name="T23" fmla="*/ 2147483647 h 18"/>
                    <a:gd name="T24" fmla="*/ 2147483647 w 16"/>
                    <a:gd name="T25" fmla="*/ 2147483647 h 18"/>
                    <a:gd name="T26" fmla="*/ 2147483647 w 16"/>
                    <a:gd name="T27" fmla="*/ 2147483647 h 18"/>
                    <a:gd name="T28" fmla="*/ 2147483647 w 16"/>
                    <a:gd name="T29" fmla="*/ 2147483647 h 18"/>
                    <a:gd name="T30" fmla="*/ 2147483647 w 16"/>
                    <a:gd name="T31" fmla="*/ 2147483647 h 18"/>
                    <a:gd name="T32" fmla="*/ 2147483647 w 16"/>
                    <a:gd name="T33" fmla="*/ 2147483647 h 18"/>
                    <a:gd name="T34" fmla="*/ 2147483647 w 16"/>
                    <a:gd name="T35" fmla="*/ 2147483647 h 18"/>
                    <a:gd name="T36" fmla="*/ 2147483647 w 16"/>
                    <a:gd name="T37" fmla="*/ 2147483647 h 18"/>
                    <a:gd name="T38" fmla="*/ 2147483647 w 16"/>
                    <a:gd name="T39" fmla="*/ 2147483647 h 18"/>
                    <a:gd name="T40" fmla="*/ 2147483647 w 16"/>
                    <a:gd name="T41" fmla="*/ 2147483647 h 18"/>
                    <a:gd name="T42" fmla="*/ 2147483647 w 16"/>
                    <a:gd name="T43" fmla="*/ 2147483647 h 1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6"/>
                    <a:gd name="T67" fmla="*/ 0 h 18"/>
                    <a:gd name="T68" fmla="*/ 16 w 16"/>
                    <a:gd name="T69" fmla="*/ 18 h 1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6" h="18">
                      <a:moveTo>
                        <a:pt x="16" y="7"/>
                      </a:moveTo>
                      <a:lnTo>
                        <a:pt x="16" y="7"/>
                      </a:lnTo>
                      <a:lnTo>
                        <a:pt x="16" y="3"/>
                      </a:lnTo>
                      <a:lnTo>
                        <a:pt x="14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2" y="13"/>
                      </a:lnTo>
                      <a:lnTo>
                        <a:pt x="5" y="16"/>
                      </a:lnTo>
                      <a:lnTo>
                        <a:pt x="7" y="18"/>
                      </a:lnTo>
                      <a:lnTo>
                        <a:pt x="9" y="18"/>
                      </a:lnTo>
                      <a:lnTo>
                        <a:pt x="11" y="18"/>
                      </a:lnTo>
                      <a:lnTo>
                        <a:pt x="14" y="15"/>
                      </a:lnTo>
                      <a:lnTo>
                        <a:pt x="15" y="12"/>
                      </a:lnTo>
                      <a:lnTo>
                        <a:pt x="1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" name="Freeform 779">
                  <a:extLst>
                    <a:ext uri="{FF2B5EF4-FFF2-40B4-BE49-F238E27FC236}">
                      <a16:creationId xmlns:a16="http://schemas.microsoft.com/office/drawing/2014/main" id="{517313BD-331B-3F48-853C-C4A0023429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28260" y="4696794"/>
                  <a:ext cx="59195" cy="31078"/>
                </a:xfrm>
                <a:custGeom>
                  <a:avLst/>
                  <a:gdLst>
                    <a:gd name="T0" fmla="*/ 2147483647 w 43"/>
                    <a:gd name="T1" fmla="*/ 2147483647 h 21"/>
                    <a:gd name="T2" fmla="*/ 2147483647 w 43"/>
                    <a:gd name="T3" fmla="*/ 2147483647 h 21"/>
                    <a:gd name="T4" fmla="*/ 2147483647 w 43"/>
                    <a:gd name="T5" fmla="*/ 2147483647 h 21"/>
                    <a:gd name="T6" fmla="*/ 2147483647 w 43"/>
                    <a:gd name="T7" fmla="*/ 2147483647 h 21"/>
                    <a:gd name="T8" fmla="*/ 2147483647 w 43"/>
                    <a:gd name="T9" fmla="*/ 2147483647 h 21"/>
                    <a:gd name="T10" fmla="*/ 2147483647 w 43"/>
                    <a:gd name="T11" fmla="*/ 2147483647 h 21"/>
                    <a:gd name="T12" fmla="*/ 2147483647 w 43"/>
                    <a:gd name="T13" fmla="*/ 2147483647 h 21"/>
                    <a:gd name="T14" fmla="*/ 2147483647 w 43"/>
                    <a:gd name="T15" fmla="*/ 2147483647 h 21"/>
                    <a:gd name="T16" fmla="*/ 2147483647 w 43"/>
                    <a:gd name="T17" fmla="*/ 0 h 21"/>
                    <a:gd name="T18" fmla="*/ 2147483647 w 43"/>
                    <a:gd name="T19" fmla="*/ 2147483647 h 21"/>
                    <a:gd name="T20" fmla="*/ 2147483647 w 43"/>
                    <a:gd name="T21" fmla="*/ 2147483647 h 21"/>
                    <a:gd name="T22" fmla="*/ 2147483647 w 43"/>
                    <a:gd name="T23" fmla="*/ 2147483647 h 21"/>
                    <a:gd name="T24" fmla="*/ 2147483647 w 43"/>
                    <a:gd name="T25" fmla="*/ 2147483647 h 21"/>
                    <a:gd name="T26" fmla="*/ 2147483647 w 43"/>
                    <a:gd name="T27" fmla="*/ 2147483647 h 21"/>
                    <a:gd name="T28" fmla="*/ 0 w 43"/>
                    <a:gd name="T29" fmla="*/ 2147483647 h 21"/>
                    <a:gd name="T30" fmla="*/ 0 w 43"/>
                    <a:gd name="T31" fmla="*/ 2147483647 h 21"/>
                    <a:gd name="T32" fmla="*/ 2147483647 w 43"/>
                    <a:gd name="T33" fmla="*/ 2147483647 h 21"/>
                    <a:gd name="T34" fmla="*/ 2147483647 w 43"/>
                    <a:gd name="T35" fmla="*/ 2147483647 h 21"/>
                    <a:gd name="T36" fmla="*/ 2147483647 w 43"/>
                    <a:gd name="T37" fmla="*/ 2147483647 h 21"/>
                    <a:gd name="T38" fmla="*/ 2147483647 w 43"/>
                    <a:gd name="T39" fmla="*/ 2147483647 h 21"/>
                    <a:gd name="T40" fmla="*/ 2147483647 w 43"/>
                    <a:gd name="T41" fmla="*/ 2147483647 h 21"/>
                    <a:gd name="T42" fmla="*/ 2147483647 w 43"/>
                    <a:gd name="T43" fmla="*/ 2147483647 h 21"/>
                    <a:gd name="T44" fmla="*/ 2147483647 w 43"/>
                    <a:gd name="T45" fmla="*/ 2147483647 h 21"/>
                    <a:gd name="T46" fmla="*/ 2147483647 w 43"/>
                    <a:gd name="T47" fmla="*/ 2147483647 h 21"/>
                    <a:gd name="T48" fmla="*/ 2147483647 w 43"/>
                    <a:gd name="T49" fmla="*/ 2147483647 h 21"/>
                    <a:gd name="T50" fmla="*/ 2147483647 w 43"/>
                    <a:gd name="T51" fmla="*/ 2147483647 h 21"/>
                    <a:gd name="T52" fmla="*/ 2147483647 w 43"/>
                    <a:gd name="T53" fmla="*/ 2147483647 h 21"/>
                    <a:gd name="T54" fmla="*/ 2147483647 w 43"/>
                    <a:gd name="T55" fmla="*/ 2147483647 h 21"/>
                    <a:gd name="T56" fmla="*/ 2147483647 w 43"/>
                    <a:gd name="T57" fmla="*/ 2147483647 h 21"/>
                    <a:gd name="T58" fmla="*/ 2147483647 w 43"/>
                    <a:gd name="T59" fmla="*/ 2147483647 h 21"/>
                    <a:gd name="T60" fmla="*/ 2147483647 w 43"/>
                    <a:gd name="T61" fmla="*/ 2147483647 h 21"/>
                    <a:gd name="T62" fmla="*/ 2147483647 w 43"/>
                    <a:gd name="T63" fmla="*/ 2147483647 h 21"/>
                    <a:gd name="T64" fmla="*/ 2147483647 w 43"/>
                    <a:gd name="T65" fmla="*/ 2147483647 h 21"/>
                    <a:gd name="T66" fmla="*/ 2147483647 w 43"/>
                    <a:gd name="T67" fmla="*/ 2147483647 h 21"/>
                    <a:gd name="T68" fmla="*/ 2147483647 w 43"/>
                    <a:gd name="T69" fmla="*/ 2147483647 h 21"/>
                    <a:gd name="T70" fmla="*/ 2147483647 w 43"/>
                    <a:gd name="T71" fmla="*/ 2147483647 h 21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43"/>
                    <a:gd name="T109" fmla="*/ 0 h 21"/>
                    <a:gd name="T110" fmla="*/ 43 w 43"/>
                    <a:gd name="T111" fmla="*/ 21 h 21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43" h="21">
                      <a:moveTo>
                        <a:pt x="43" y="19"/>
                      </a:moveTo>
                      <a:lnTo>
                        <a:pt x="43" y="15"/>
                      </a:lnTo>
                      <a:lnTo>
                        <a:pt x="41" y="12"/>
                      </a:lnTo>
                      <a:lnTo>
                        <a:pt x="40" y="9"/>
                      </a:lnTo>
                      <a:lnTo>
                        <a:pt x="38" y="7"/>
                      </a:lnTo>
                      <a:lnTo>
                        <a:pt x="33" y="3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1" y="0"/>
                      </a:lnTo>
                      <a:lnTo>
                        <a:pt x="17" y="1"/>
                      </a:lnTo>
                      <a:lnTo>
                        <a:pt x="13" y="1"/>
                      </a:lnTo>
                      <a:lnTo>
                        <a:pt x="6" y="1"/>
                      </a:ln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3" y="9"/>
                      </a:lnTo>
                      <a:lnTo>
                        <a:pt x="6" y="8"/>
                      </a:lnTo>
                      <a:lnTo>
                        <a:pt x="8" y="7"/>
                      </a:lnTo>
                      <a:lnTo>
                        <a:pt x="10" y="7"/>
                      </a:lnTo>
                      <a:lnTo>
                        <a:pt x="11" y="9"/>
                      </a:lnTo>
                      <a:lnTo>
                        <a:pt x="12" y="12"/>
                      </a:lnTo>
                      <a:lnTo>
                        <a:pt x="13" y="12"/>
                      </a:lnTo>
                      <a:lnTo>
                        <a:pt x="16" y="12"/>
                      </a:lnTo>
                      <a:lnTo>
                        <a:pt x="20" y="11"/>
                      </a:lnTo>
                      <a:lnTo>
                        <a:pt x="24" y="11"/>
                      </a:lnTo>
                      <a:lnTo>
                        <a:pt x="25" y="11"/>
                      </a:lnTo>
                      <a:lnTo>
                        <a:pt x="26" y="12"/>
                      </a:lnTo>
                      <a:lnTo>
                        <a:pt x="31" y="17"/>
                      </a:lnTo>
                      <a:lnTo>
                        <a:pt x="36" y="20"/>
                      </a:lnTo>
                      <a:lnTo>
                        <a:pt x="39" y="21"/>
                      </a:lnTo>
                      <a:lnTo>
                        <a:pt x="40" y="21"/>
                      </a:lnTo>
                      <a:lnTo>
                        <a:pt x="41" y="20"/>
                      </a:lnTo>
                      <a:lnTo>
                        <a:pt x="43" y="1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" name="Freeform 780">
                  <a:extLst>
                    <a:ext uri="{FF2B5EF4-FFF2-40B4-BE49-F238E27FC236}">
                      <a16:creationId xmlns:a16="http://schemas.microsoft.com/office/drawing/2014/main" id="{410DBE93-D1CD-AB4B-A154-191FCCFC57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04368" y="4633160"/>
                  <a:ext cx="13318" cy="16278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0 h 11"/>
                    <a:gd name="T6" fmla="*/ 2147483647 w 9"/>
                    <a:gd name="T7" fmla="*/ 0 h 11"/>
                    <a:gd name="T8" fmla="*/ 0 w 9"/>
                    <a:gd name="T9" fmla="*/ 2147483647 h 11"/>
                    <a:gd name="T10" fmla="*/ 0 w 9"/>
                    <a:gd name="T11" fmla="*/ 2147483647 h 11"/>
                    <a:gd name="T12" fmla="*/ 2147483647 w 9"/>
                    <a:gd name="T13" fmla="*/ 2147483647 h 11"/>
                    <a:gd name="T14" fmla="*/ 2147483647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11"/>
                    <a:gd name="T35" fmla="*/ 9 w 9"/>
                    <a:gd name="T36" fmla="*/ 11 h 11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11">
                      <a:moveTo>
                        <a:pt x="8" y="9"/>
                      </a:moveTo>
                      <a:lnTo>
                        <a:pt x="5" y="4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3" y="9"/>
                      </a:lnTo>
                      <a:lnTo>
                        <a:pt x="6" y="11"/>
                      </a:lnTo>
                      <a:lnTo>
                        <a:pt x="8" y="10"/>
                      </a:lnTo>
                      <a:lnTo>
                        <a:pt x="9" y="10"/>
                      </a:lnTo>
                      <a:lnTo>
                        <a:pt x="8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" name="Freeform 781">
                  <a:extLst>
                    <a:ext uri="{FF2B5EF4-FFF2-40B4-BE49-F238E27FC236}">
                      <a16:creationId xmlns:a16="http://schemas.microsoft.com/office/drawing/2014/main" id="{BFB79C18-89F8-B342-8CCA-4430C583A3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25300" y="4695318"/>
                  <a:ext cx="59195" cy="31077"/>
                </a:xfrm>
                <a:custGeom>
                  <a:avLst/>
                  <a:gdLst>
                    <a:gd name="T0" fmla="*/ 2147483647 w 43"/>
                    <a:gd name="T1" fmla="*/ 2147483647 h 21"/>
                    <a:gd name="T2" fmla="*/ 2147483647 w 43"/>
                    <a:gd name="T3" fmla="*/ 2147483647 h 21"/>
                    <a:gd name="T4" fmla="*/ 2147483647 w 43"/>
                    <a:gd name="T5" fmla="*/ 2147483647 h 21"/>
                    <a:gd name="T6" fmla="*/ 2147483647 w 43"/>
                    <a:gd name="T7" fmla="*/ 2147483647 h 21"/>
                    <a:gd name="T8" fmla="*/ 2147483647 w 43"/>
                    <a:gd name="T9" fmla="*/ 2147483647 h 21"/>
                    <a:gd name="T10" fmla="*/ 2147483647 w 43"/>
                    <a:gd name="T11" fmla="*/ 2147483647 h 21"/>
                    <a:gd name="T12" fmla="*/ 2147483647 w 43"/>
                    <a:gd name="T13" fmla="*/ 2147483647 h 21"/>
                    <a:gd name="T14" fmla="*/ 2147483647 w 43"/>
                    <a:gd name="T15" fmla="*/ 2147483647 h 21"/>
                    <a:gd name="T16" fmla="*/ 2147483647 w 43"/>
                    <a:gd name="T17" fmla="*/ 2147483647 h 21"/>
                    <a:gd name="T18" fmla="*/ 2147483647 w 43"/>
                    <a:gd name="T19" fmla="*/ 2147483647 h 21"/>
                    <a:gd name="T20" fmla="*/ 2147483647 w 43"/>
                    <a:gd name="T21" fmla="*/ 0 h 21"/>
                    <a:gd name="T22" fmla="*/ 2147483647 w 43"/>
                    <a:gd name="T23" fmla="*/ 0 h 21"/>
                    <a:gd name="T24" fmla="*/ 2147483647 w 43"/>
                    <a:gd name="T25" fmla="*/ 2147483647 h 21"/>
                    <a:gd name="T26" fmla="*/ 2147483647 w 43"/>
                    <a:gd name="T27" fmla="*/ 2147483647 h 21"/>
                    <a:gd name="T28" fmla="*/ 2147483647 w 43"/>
                    <a:gd name="T29" fmla="*/ 2147483647 h 21"/>
                    <a:gd name="T30" fmla="*/ 2147483647 w 43"/>
                    <a:gd name="T31" fmla="*/ 2147483647 h 21"/>
                    <a:gd name="T32" fmla="*/ 2147483647 w 43"/>
                    <a:gd name="T33" fmla="*/ 2147483647 h 21"/>
                    <a:gd name="T34" fmla="*/ 2147483647 w 43"/>
                    <a:gd name="T35" fmla="*/ 2147483647 h 21"/>
                    <a:gd name="T36" fmla="*/ 0 w 43"/>
                    <a:gd name="T37" fmla="*/ 2147483647 h 21"/>
                    <a:gd name="T38" fmla="*/ 0 w 43"/>
                    <a:gd name="T39" fmla="*/ 2147483647 h 21"/>
                    <a:gd name="T40" fmla="*/ 0 w 43"/>
                    <a:gd name="T41" fmla="*/ 2147483647 h 21"/>
                    <a:gd name="T42" fmla="*/ 2147483647 w 43"/>
                    <a:gd name="T43" fmla="*/ 2147483647 h 21"/>
                    <a:gd name="T44" fmla="*/ 2147483647 w 43"/>
                    <a:gd name="T45" fmla="*/ 2147483647 h 21"/>
                    <a:gd name="T46" fmla="*/ 2147483647 w 43"/>
                    <a:gd name="T47" fmla="*/ 2147483647 h 21"/>
                    <a:gd name="T48" fmla="*/ 2147483647 w 43"/>
                    <a:gd name="T49" fmla="*/ 2147483647 h 21"/>
                    <a:gd name="T50" fmla="*/ 2147483647 w 43"/>
                    <a:gd name="T51" fmla="*/ 2147483647 h 21"/>
                    <a:gd name="T52" fmla="*/ 2147483647 w 43"/>
                    <a:gd name="T53" fmla="*/ 2147483647 h 21"/>
                    <a:gd name="T54" fmla="*/ 2147483647 w 43"/>
                    <a:gd name="T55" fmla="*/ 2147483647 h 21"/>
                    <a:gd name="T56" fmla="*/ 2147483647 w 43"/>
                    <a:gd name="T57" fmla="*/ 2147483647 h 21"/>
                    <a:gd name="T58" fmla="*/ 2147483647 w 43"/>
                    <a:gd name="T59" fmla="*/ 2147483647 h 21"/>
                    <a:gd name="T60" fmla="*/ 2147483647 w 43"/>
                    <a:gd name="T61" fmla="*/ 2147483647 h 21"/>
                    <a:gd name="T62" fmla="*/ 2147483647 w 43"/>
                    <a:gd name="T63" fmla="*/ 2147483647 h 21"/>
                    <a:gd name="T64" fmla="*/ 2147483647 w 43"/>
                    <a:gd name="T65" fmla="*/ 2147483647 h 21"/>
                    <a:gd name="T66" fmla="*/ 2147483647 w 43"/>
                    <a:gd name="T67" fmla="*/ 2147483647 h 21"/>
                    <a:gd name="T68" fmla="*/ 2147483647 w 43"/>
                    <a:gd name="T69" fmla="*/ 2147483647 h 21"/>
                    <a:gd name="T70" fmla="*/ 2147483647 w 43"/>
                    <a:gd name="T71" fmla="*/ 2147483647 h 21"/>
                    <a:gd name="T72" fmla="*/ 2147483647 w 43"/>
                    <a:gd name="T73" fmla="*/ 2147483647 h 21"/>
                    <a:gd name="T74" fmla="*/ 2147483647 w 43"/>
                    <a:gd name="T75" fmla="*/ 2147483647 h 21"/>
                    <a:gd name="T76" fmla="*/ 2147483647 w 43"/>
                    <a:gd name="T77" fmla="*/ 2147483647 h 21"/>
                    <a:gd name="T78" fmla="*/ 2147483647 w 43"/>
                    <a:gd name="T79" fmla="*/ 2147483647 h 21"/>
                    <a:gd name="T80" fmla="*/ 2147483647 w 43"/>
                    <a:gd name="T81" fmla="*/ 2147483647 h 21"/>
                    <a:gd name="T82" fmla="*/ 2147483647 w 43"/>
                    <a:gd name="T83" fmla="*/ 2147483647 h 21"/>
                    <a:gd name="T84" fmla="*/ 2147483647 w 43"/>
                    <a:gd name="T85" fmla="*/ 2147483647 h 21"/>
                    <a:gd name="T86" fmla="*/ 2147483647 w 43"/>
                    <a:gd name="T87" fmla="*/ 2147483647 h 21"/>
                    <a:gd name="T88" fmla="*/ 2147483647 w 43"/>
                    <a:gd name="T89" fmla="*/ 2147483647 h 21"/>
                    <a:gd name="T90" fmla="*/ 2147483647 w 43"/>
                    <a:gd name="T91" fmla="*/ 2147483647 h 21"/>
                    <a:gd name="T92" fmla="*/ 2147483647 w 43"/>
                    <a:gd name="T93" fmla="*/ 2147483647 h 21"/>
                    <a:gd name="T94" fmla="*/ 2147483647 w 43"/>
                    <a:gd name="T95" fmla="*/ 2147483647 h 2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3"/>
                    <a:gd name="T145" fmla="*/ 0 h 21"/>
                    <a:gd name="T146" fmla="*/ 43 w 43"/>
                    <a:gd name="T147" fmla="*/ 21 h 2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3" h="21">
                      <a:moveTo>
                        <a:pt x="43" y="19"/>
                      </a:moveTo>
                      <a:lnTo>
                        <a:pt x="43" y="19"/>
                      </a:lnTo>
                      <a:lnTo>
                        <a:pt x="43" y="15"/>
                      </a:lnTo>
                      <a:lnTo>
                        <a:pt x="42" y="12"/>
                      </a:lnTo>
                      <a:lnTo>
                        <a:pt x="41" y="9"/>
                      </a:lnTo>
                      <a:lnTo>
                        <a:pt x="38" y="7"/>
                      </a:lnTo>
                      <a:lnTo>
                        <a:pt x="33" y="3"/>
                      </a:lnTo>
                      <a:lnTo>
                        <a:pt x="26" y="2"/>
                      </a:lnTo>
                      <a:lnTo>
                        <a:pt x="23" y="1"/>
                      </a:lnTo>
                      <a:lnTo>
                        <a:pt x="22" y="0"/>
                      </a:lnTo>
                      <a:lnTo>
                        <a:pt x="18" y="1"/>
                      </a:lnTo>
                      <a:lnTo>
                        <a:pt x="14" y="1"/>
                      </a:lnTo>
                      <a:lnTo>
                        <a:pt x="7" y="1"/>
                      </a:lnTo>
                      <a:lnTo>
                        <a:pt x="4" y="1"/>
                      </a:lnTo>
                      <a:lnTo>
                        <a:pt x="2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4" y="9"/>
                      </a:ln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10" y="7"/>
                      </a:lnTo>
                      <a:lnTo>
                        <a:pt x="12" y="9"/>
                      </a:lnTo>
                      <a:lnTo>
                        <a:pt x="13" y="12"/>
                      </a:lnTo>
                      <a:lnTo>
                        <a:pt x="14" y="12"/>
                      </a:lnTo>
                      <a:lnTo>
                        <a:pt x="17" y="12"/>
                      </a:lnTo>
                      <a:lnTo>
                        <a:pt x="21" y="10"/>
                      </a:lnTo>
                      <a:lnTo>
                        <a:pt x="24" y="10"/>
                      </a:lnTo>
                      <a:lnTo>
                        <a:pt x="26" y="10"/>
                      </a:lnTo>
                      <a:lnTo>
                        <a:pt x="27" y="12"/>
                      </a:lnTo>
                      <a:lnTo>
                        <a:pt x="32" y="16"/>
                      </a:lnTo>
                      <a:lnTo>
                        <a:pt x="37" y="20"/>
                      </a:lnTo>
                      <a:lnTo>
                        <a:pt x="40" y="21"/>
                      </a:lnTo>
                      <a:lnTo>
                        <a:pt x="41" y="21"/>
                      </a:lnTo>
                      <a:lnTo>
                        <a:pt x="42" y="20"/>
                      </a:lnTo>
                      <a:lnTo>
                        <a:pt x="43" y="1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" name="Freeform 782">
                  <a:extLst>
                    <a:ext uri="{FF2B5EF4-FFF2-40B4-BE49-F238E27FC236}">
                      <a16:creationId xmlns:a16="http://schemas.microsoft.com/office/drawing/2014/main" id="{7F79D395-0F5E-2D48-8C73-7152BDC9AB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02885" y="4631684"/>
                  <a:ext cx="13319" cy="16279"/>
                </a:xfrm>
                <a:custGeom>
                  <a:avLst/>
                  <a:gdLst>
                    <a:gd name="T0" fmla="*/ 2147483647 w 9"/>
                    <a:gd name="T1" fmla="*/ 2147483647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0 h 11"/>
                    <a:gd name="T8" fmla="*/ 2147483647 w 9"/>
                    <a:gd name="T9" fmla="*/ 0 h 11"/>
                    <a:gd name="T10" fmla="*/ 2147483647 w 9"/>
                    <a:gd name="T11" fmla="*/ 0 h 11"/>
                    <a:gd name="T12" fmla="*/ 0 w 9"/>
                    <a:gd name="T13" fmla="*/ 2147483647 h 11"/>
                    <a:gd name="T14" fmla="*/ 0 w 9"/>
                    <a:gd name="T15" fmla="*/ 2147483647 h 11"/>
                    <a:gd name="T16" fmla="*/ 0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2147483647 w 9"/>
                    <a:gd name="T29" fmla="*/ 2147483647 h 11"/>
                    <a:gd name="T30" fmla="*/ 2147483647 w 9"/>
                    <a:gd name="T31" fmla="*/ 2147483647 h 11"/>
                    <a:gd name="T32" fmla="*/ 2147483647 w 9"/>
                    <a:gd name="T33" fmla="*/ 2147483647 h 11"/>
                    <a:gd name="T34" fmla="*/ 2147483647 w 9"/>
                    <a:gd name="T35" fmla="*/ 2147483647 h 11"/>
                    <a:gd name="T36" fmla="*/ 2147483647 w 9"/>
                    <a:gd name="T37" fmla="*/ 2147483647 h 11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9"/>
                    <a:gd name="T58" fmla="*/ 0 h 11"/>
                    <a:gd name="T59" fmla="*/ 9 w 9"/>
                    <a:gd name="T60" fmla="*/ 11 h 11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9" h="11">
                      <a:moveTo>
                        <a:pt x="7" y="8"/>
                      </a:moveTo>
                      <a:lnTo>
                        <a:pt x="7" y="8"/>
                      </a:lnTo>
                      <a:lnTo>
                        <a:pt x="5" y="4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6" y="11"/>
                      </a:lnTo>
                      <a:lnTo>
                        <a:pt x="7" y="10"/>
                      </a:lnTo>
                      <a:lnTo>
                        <a:pt x="9" y="10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" name="Freeform 783">
                  <a:extLst>
                    <a:ext uri="{FF2B5EF4-FFF2-40B4-BE49-F238E27FC236}">
                      <a16:creationId xmlns:a16="http://schemas.microsoft.com/office/drawing/2014/main" id="{8F07D759-5AEC-8D45-9EBA-67AE449C24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02888" y="4665720"/>
                  <a:ext cx="28118" cy="5919"/>
                </a:xfrm>
                <a:custGeom>
                  <a:avLst/>
                  <a:gdLst>
                    <a:gd name="T0" fmla="*/ 2147483647 w 21"/>
                    <a:gd name="T1" fmla="*/ 2147483647 h 4"/>
                    <a:gd name="T2" fmla="*/ 2147483647 w 21"/>
                    <a:gd name="T3" fmla="*/ 2147483647 h 4"/>
                    <a:gd name="T4" fmla="*/ 2147483647 w 21"/>
                    <a:gd name="T5" fmla="*/ 2147483647 h 4"/>
                    <a:gd name="T6" fmla="*/ 2147483647 w 21"/>
                    <a:gd name="T7" fmla="*/ 0 h 4"/>
                    <a:gd name="T8" fmla="*/ 2147483647 w 21"/>
                    <a:gd name="T9" fmla="*/ 0 h 4"/>
                    <a:gd name="T10" fmla="*/ 2147483647 w 21"/>
                    <a:gd name="T11" fmla="*/ 2147483647 h 4"/>
                    <a:gd name="T12" fmla="*/ 0 w 21"/>
                    <a:gd name="T13" fmla="*/ 2147483647 h 4"/>
                    <a:gd name="T14" fmla="*/ 0 w 21"/>
                    <a:gd name="T15" fmla="*/ 2147483647 h 4"/>
                    <a:gd name="T16" fmla="*/ 2147483647 w 21"/>
                    <a:gd name="T17" fmla="*/ 2147483647 h 4"/>
                    <a:gd name="T18" fmla="*/ 2147483647 w 21"/>
                    <a:gd name="T19" fmla="*/ 2147483647 h 4"/>
                    <a:gd name="T20" fmla="*/ 2147483647 w 21"/>
                    <a:gd name="T21" fmla="*/ 2147483647 h 4"/>
                    <a:gd name="T22" fmla="*/ 2147483647 w 21"/>
                    <a:gd name="T23" fmla="*/ 2147483647 h 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1"/>
                    <a:gd name="T37" fmla="*/ 0 h 4"/>
                    <a:gd name="T38" fmla="*/ 21 w 21"/>
                    <a:gd name="T39" fmla="*/ 4 h 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1" h="4">
                      <a:moveTo>
                        <a:pt x="20" y="4"/>
                      </a:move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21" y="0"/>
                      </a:lnTo>
                      <a:lnTo>
                        <a:pt x="19" y="0"/>
                      </a:lnTo>
                      <a:lnTo>
                        <a:pt x="1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5" y="4"/>
                      </a:lnTo>
                      <a:lnTo>
                        <a:pt x="10" y="4"/>
                      </a:lnTo>
                      <a:lnTo>
                        <a:pt x="15" y="4"/>
                      </a:lnTo>
                      <a:lnTo>
                        <a:pt x="2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784">
                  <a:extLst>
                    <a:ext uri="{FF2B5EF4-FFF2-40B4-BE49-F238E27FC236}">
                      <a16:creationId xmlns:a16="http://schemas.microsoft.com/office/drawing/2014/main" id="{99EA0953-B367-6246-854D-C116894234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3287" y="4776707"/>
                  <a:ext cx="11839" cy="11839"/>
                </a:xfrm>
                <a:custGeom>
                  <a:avLst/>
                  <a:gdLst>
                    <a:gd name="T0" fmla="*/ 2147483647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2147483647 w 8"/>
                    <a:gd name="T7" fmla="*/ 0 h 8"/>
                    <a:gd name="T8" fmla="*/ 2147483647 w 8"/>
                    <a:gd name="T9" fmla="*/ 2147483647 h 8"/>
                    <a:gd name="T10" fmla="*/ 0 w 8"/>
                    <a:gd name="T11" fmla="*/ 2147483647 h 8"/>
                    <a:gd name="T12" fmla="*/ 0 w 8"/>
                    <a:gd name="T13" fmla="*/ 2147483647 h 8"/>
                    <a:gd name="T14" fmla="*/ 2147483647 w 8"/>
                    <a:gd name="T15" fmla="*/ 2147483647 h 8"/>
                    <a:gd name="T16" fmla="*/ 2147483647 w 8"/>
                    <a:gd name="T17" fmla="*/ 2147483647 h 8"/>
                    <a:gd name="T18" fmla="*/ 2147483647 w 8"/>
                    <a:gd name="T19" fmla="*/ 2147483647 h 8"/>
                    <a:gd name="T20" fmla="*/ 2147483647 w 8"/>
                    <a:gd name="T21" fmla="*/ 2147483647 h 8"/>
                    <a:gd name="T22" fmla="*/ 2147483647 w 8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"/>
                    <a:gd name="T37" fmla="*/ 0 h 8"/>
                    <a:gd name="T38" fmla="*/ 8 w 8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" h="8">
                      <a:moveTo>
                        <a:pt x="8" y="5"/>
                      </a:move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3" y="8"/>
                      </a:lnTo>
                      <a:lnTo>
                        <a:pt x="5" y="8"/>
                      </a:lnTo>
                      <a:lnTo>
                        <a:pt x="7" y="8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" name="Freeform 785">
                  <a:extLst>
                    <a:ext uri="{FF2B5EF4-FFF2-40B4-BE49-F238E27FC236}">
                      <a16:creationId xmlns:a16="http://schemas.microsoft.com/office/drawing/2014/main" id="{4CB7468D-B975-7942-A61B-0ECECB7921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9925" y="4662761"/>
                  <a:ext cx="29597" cy="7399"/>
                </a:xfrm>
                <a:custGeom>
                  <a:avLst/>
                  <a:gdLst>
                    <a:gd name="T0" fmla="*/ 2147483647 w 22"/>
                    <a:gd name="T1" fmla="*/ 2147483647 h 5"/>
                    <a:gd name="T2" fmla="*/ 2147483647 w 22"/>
                    <a:gd name="T3" fmla="*/ 2147483647 h 5"/>
                    <a:gd name="T4" fmla="*/ 2147483647 w 22"/>
                    <a:gd name="T5" fmla="*/ 2147483647 h 5"/>
                    <a:gd name="T6" fmla="*/ 2147483647 w 22"/>
                    <a:gd name="T7" fmla="*/ 2147483647 h 5"/>
                    <a:gd name="T8" fmla="*/ 2147483647 w 22"/>
                    <a:gd name="T9" fmla="*/ 0 h 5"/>
                    <a:gd name="T10" fmla="*/ 2147483647 w 22"/>
                    <a:gd name="T11" fmla="*/ 0 h 5"/>
                    <a:gd name="T12" fmla="*/ 2147483647 w 22"/>
                    <a:gd name="T13" fmla="*/ 0 h 5"/>
                    <a:gd name="T14" fmla="*/ 2147483647 w 22"/>
                    <a:gd name="T15" fmla="*/ 2147483647 h 5"/>
                    <a:gd name="T16" fmla="*/ 0 w 22"/>
                    <a:gd name="T17" fmla="*/ 2147483647 h 5"/>
                    <a:gd name="T18" fmla="*/ 0 w 22"/>
                    <a:gd name="T19" fmla="*/ 2147483647 h 5"/>
                    <a:gd name="T20" fmla="*/ 0 w 22"/>
                    <a:gd name="T21" fmla="*/ 2147483647 h 5"/>
                    <a:gd name="T22" fmla="*/ 0 w 22"/>
                    <a:gd name="T23" fmla="*/ 2147483647 h 5"/>
                    <a:gd name="T24" fmla="*/ 2147483647 w 22"/>
                    <a:gd name="T25" fmla="*/ 2147483647 h 5"/>
                    <a:gd name="T26" fmla="*/ 2147483647 w 22"/>
                    <a:gd name="T27" fmla="*/ 2147483647 h 5"/>
                    <a:gd name="T28" fmla="*/ 2147483647 w 22"/>
                    <a:gd name="T29" fmla="*/ 2147483647 h 5"/>
                    <a:gd name="T30" fmla="*/ 2147483647 w 22"/>
                    <a:gd name="T31" fmla="*/ 2147483647 h 5"/>
                    <a:gd name="T32" fmla="*/ 2147483647 w 22"/>
                    <a:gd name="T33" fmla="*/ 2147483647 h 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5"/>
                    <a:gd name="T53" fmla="*/ 22 w 22"/>
                    <a:gd name="T54" fmla="*/ 5 h 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5">
                      <a:moveTo>
                        <a:pt x="21" y="5"/>
                      </a:moveTo>
                      <a:lnTo>
                        <a:pt x="21" y="5"/>
                      </a:lnTo>
                      <a:lnTo>
                        <a:pt x="22" y="4"/>
                      </a:lnTo>
                      <a:lnTo>
                        <a:pt x="22" y="2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5" y="5"/>
                      </a:lnTo>
                      <a:lnTo>
                        <a:pt x="10" y="5"/>
                      </a:lnTo>
                      <a:lnTo>
                        <a:pt x="15" y="5"/>
                      </a:lnTo>
                      <a:lnTo>
                        <a:pt x="21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" name="Freeform 786">
                  <a:extLst>
                    <a:ext uri="{FF2B5EF4-FFF2-40B4-BE49-F238E27FC236}">
                      <a16:creationId xmlns:a16="http://schemas.microsoft.com/office/drawing/2014/main" id="{3B7133A2-F156-9742-9EB0-4BADD9E820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1810" y="4775228"/>
                  <a:ext cx="11839" cy="10359"/>
                </a:xfrm>
                <a:custGeom>
                  <a:avLst/>
                  <a:gdLst>
                    <a:gd name="T0" fmla="*/ 2147483647 w 8"/>
                    <a:gd name="T1" fmla="*/ 2147483647 h 7"/>
                    <a:gd name="T2" fmla="*/ 2147483647 w 8"/>
                    <a:gd name="T3" fmla="*/ 2147483647 h 7"/>
                    <a:gd name="T4" fmla="*/ 2147483647 w 8"/>
                    <a:gd name="T5" fmla="*/ 2147483647 h 7"/>
                    <a:gd name="T6" fmla="*/ 2147483647 w 8"/>
                    <a:gd name="T7" fmla="*/ 0 h 7"/>
                    <a:gd name="T8" fmla="*/ 2147483647 w 8"/>
                    <a:gd name="T9" fmla="*/ 0 h 7"/>
                    <a:gd name="T10" fmla="*/ 2147483647 w 8"/>
                    <a:gd name="T11" fmla="*/ 0 h 7"/>
                    <a:gd name="T12" fmla="*/ 2147483647 w 8"/>
                    <a:gd name="T13" fmla="*/ 2147483647 h 7"/>
                    <a:gd name="T14" fmla="*/ 2147483647 w 8"/>
                    <a:gd name="T15" fmla="*/ 2147483647 h 7"/>
                    <a:gd name="T16" fmla="*/ 0 w 8"/>
                    <a:gd name="T17" fmla="*/ 2147483647 h 7"/>
                    <a:gd name="T18" fmla="*/ 0 w 8"/>
                    <a:gd name="T19" fmla="*/ 2147483647 h 7"/>
                    <a:gd name="T20" fmla="*/ 2147483647 w 8"/>
                    <a:gd name="T21" fmla="*/ 2147483647 h 7"/>
                    <a:gd name="T22" fmla="*/ 2147483647 w 8"/>
                    <a:gd name="T23" fmla="*/ 2147483647 h 7"/>
                    <a:gd name="T24" fmla="*/ 2147483647 w 8"/>
                    <a:gd name="T25" fmla="*/ 2147483647 h 7"/>
                    <a:gd name="T26" fmla="*/ 2147483647 w 8"/>
                    <a:gd name="T27" fmla="*/ 2147483647 h 7"/>
                    <a:gd name="T28" fmla="*/ 2147483647 w 8"/>
                    <a:gd name="T29" fmla="*/ 2147483647 h 7"/>
                    <a:gd name="T30" fmla="*/ 2147483647 w 8"/>
                    <a:gd name="T31" fmla="*/ 2147483647 h 7"/>
                    <a:gd name="T32" fmla="*/ 2147483647 w 8"/>
                    <a:gd name="T33" fmla="*/ 2147483647 h 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"/>
                    <a:gd name="T52" fmla="*/ 0 h 7"/>
                    <a:gd name="T53" fmla="*/ 8 w 8"/>
                    <a:gd name="T54" fmla="*/ 7 h 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" h="7">
                      <a:moveTo>
                        <a:pt x="8" y="5"/>
                      </a:moveTo>
                      <a:lnTo>
                        <a:pt x="8" y="5"/>
                      </a:lnTo>
                      <a:lnTo>
                        <a:pt x="8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7"/>
                      </a:lnTo>
                      <a:lnTo>
                        <a:pt x="6" y="7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" name="Freeform 787">
                  <a:extLst>
                    <a:ext uri="{FF2B5EF4-FFF2-40B4-BE49-F238E27FC236}">
                      <a16:creationId xmlns:a16="http://schemas.microsoft.com/office/drawing/2014/main" id="{7058B142-D833-AC48-9815-988629AE26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9252" y="4772272"/>
                  <a:ext cx="11839" cy="20718"/>
                </a:xfrm>
                <a:custGeom>
                  <a:avLst/>
                  <a:gdLst>
                    <a:gd name="T0" fmla="*/ 2147483647 w 9"/>
                    <a:gd name="T1" fmla="*/ 2147483647 h 14"/>
                    <a:gd name="T2" fmla="*/ 2147483647 w 9"/>
                    <a:gd name="T3" fmla="*/ 2147483647 h 14"/>
                    <a:gd name="T4" fmla="*/ 2147483647 w 9"/>
                    <a:gd name="T5" fmla="*/ 2147483647 h 14"/>
                    <a:gd name="T6" fmla="*/ 2147483647 w 9"/>
                    <a:gd name="T7" fmla="*/ 0 h 14"/>
                    <a:gd name="T8" fmla="*/ 2147483647 w 9"/>
                    <a:gd name="T9" fmla="*/ 0 h 14"/>
                    <a:gd name="T10" fmla="*/ 2147483647 w 9"/>
                    <a:gd name="T11" fmla="*/ 0 h 14"/>
                    <a:gd name="T12" fmla="*/ 2147483647 w 9"/>
                    <a:gd name="T13" fmla="*/ 2147483647 h 14"/>
                    <a:gd name="T14" fmla="*/ 0 w 9"/>
                    <a:gd name="T15" fmla="*/ 2147483647 h 14"/>
                    <a:gd name="T16" fmla="*/ 0 w 9"/>
                    <a:gd name="T17" fmla="*/ 2147483647 h 14"/>
                    <a:gd name="T18" fmla="*/ 0 w 9"/>
                    <a:gd name="T19" fmla="*/ 2147483647 h 14"/>
                    <a:gd name="T20" fmla="*/ 2147483647 w 9"/>
                    <a:gd name="T21" fmla="*/ 2147483647 h 14"/>
                    <a:gd name="T22" fmla="*/ 2147483647 w 9"/>
                    <a:gd name="T23" fmla="*/ 2147483647 h 14"/>
                    <a:gd name="T24" fmla="*/ 2147483647 w 9"/>
                    <a:gd name="T25" fmla="*/ 2147483647 h 14"/>
                    <a:gd name="T26" fmla="*/ 2147483647 w 9"/>
                    <a:gd name="T27" fmla="*/ 2147483647 h 14"/>
                    <a:gd name="T28" fmla="*/ 2147483647 w 9"/>
                    <a:gd name="T29" fmla="*/ 2147483647 h 1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14"/>
                    <a:gd name="T47" fmla="*/ 9 w 9"/>
                    <a:gd name="T48" fmla="*/ 14 h 1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14">
                      <a:moveTo>
                        <a:pt x="6" y="7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7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2" y="14"/>
                      </a:lnTo>
                      <a:lnTo>
                        <a:pt x="4" y="13"/>
                      </a:lnTo>
                      <a:lnTo>
                        <a:pt x="5" y="12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" name="Freeform 788">
                  <a:extLst>
                    <a:ext uri="{FF2B5EF4-FFF2-40B4-BE49-F238E27FC236}">
                      <a16:creationId xmlns:a16="http://schemas.microsoft.com/office/drawing/2014/main" id="{A9C4CB6F-75B9-B541-8D19-BC37C4DE04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0241" y="4837383"/>
                  <a:ext cx="26637" cy="23678"/>
                </a:xfrm>
                <a:custGeom>
                  <a:avLst/>
                  <a:gdLst>
                    <a:gd name="T0" fmla="*/ 2147483647 w 20"/>
                    <a:gd name="T1" fmla="*/ 2147483647 h 16"/>
                    <a:gd name="T2" fmla="*/ 2147483647 w 20"/>
                    <a:gd name="T3" fmla="*/ 2147483647 h 16"/>
                    <a:gd name="T4" fmla="*/ 2147483647 w 20"/>
                    <a:gd name="T5" fmla="*/ 2147483647 h 16"/>
                    <a:gd name="T6" fmla="*/ 2147483647 w 20"/>
                    <a:gd name="T7" fmla="*/ 2147483647 h 16"/>
                    <a:gd name="T8" fmla="*/ 2147483647 w 20"/>
                    <a:gd name="T9" fmla="*/ 2147483647 h 16"/>
                    <a:gd name="T10" fmla="*/ 0 w 20"/>
                    <a:gd name="T11" fmla="*/ 2147483647 h 16"/>
                    <a:gd name="T12" fmla="*/ 0 w 20"/>
                    <a:gd name="T13" fmla="*/ 2147483647 h 16"/>
                    <a:gd name="T14" fmla="*/ 0 w 20"/>
                    <a:gd name="T15" fmla="*/ 2147483647 h 16"/>
                    <a:gd name="T16" fmla="*/ 2147483647 w 20"/>
                    <a:gd name="T17" fmla="*/ 2147483647 h 16"/>
                    <a:gd name="T18" fmla="*/ 2147483647 w 20"/>
                    <a:gd name="T19" fmla="*/ 2147483647 h 16"/>
                    <a:gd name="T20" fmla="*/ 2147483647 w 20"/>
                    <a:gd name="T21" fmla="*/ 2147483647 h 16"/>
                    <a:gd name="T22" fmla="*/ 2147483647 w 20"/>
                    <a:gd name="T23" fmla="*/ 0 h 16"/>
                    <a:gd name="T24" fmla="*/ 2147483647 w 20"/>
                    <a:gd name="T25" fmla="*/ 0 h 16"/>
                    <a:gd name="T26" fmla="*/ 2147483647 w 20"/>
                    <a:gd name="T27" fmla="*/ 2147483647 h 16"/>
                    <a:gd name="T28" fmla="*/ 2147483647 w 20"/>
                    <a:gd name="T29" fmla="*/ 2147483647 h 16"/>
                    <a:gd name="T30" fmla="*/ 2147483647 w 20"/>
                    <a:gd name="T31" fmla="*/ 2147483647 h 16"/>
                    <a:gd name="T32" fmla="*/ 2147483647 w 20"/>
                    <a:gd name="T33" fmla="*/ 2147483647 h 1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0"/>
                    <a:gd name="T52" fmla="*/ 0 h 16"/>
                    <a:gd name="T53" fmla="*/ 20 w 20"/>
                    <a:gd name="T54" fmla="*/ 16 h 1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0" h="16">
                      <a:moveTo>
                        <a:pt x="15" y="14"/>
                      </a:moveTo>
                      <a:lnTo>
                        <a:pt x="11" y="15"/>
                      </a:lnTo>
                      <a:lnTo>
                        <a:pt x="8" y="15"/>
                      </a:lnTo>
                      <a:lnTo>
                        <a:pt x="4" y="16"/>
                      </a:lnTo>
                      <a:lnTo>
                        <a:pt x="1" y="16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3" y="8"/>
                      </a:lnTo>
                      <a:lnTo>
                        <a:pt x="5" y="6"/>
                      </a:lnTo>
                      <a:lnTo>
                        <a:pt x="11" y="1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19" y="1"/>
                      </a:lnTo>
                      <a:lnTo>
                        <a:pt x="20" y="6"/>
                      </a:lnTo>
                      <a:lnTo>
                        <a:pt x="19" y="10"/>
                      </a:lnTo>
                      <a:lnTo>
                        <a:pt x="15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" name="Freeform 789">
                  <a:extLst>
                    <a:ext uri="{FF2B5EF4-FFF2-40B4-BE49-F238E27FC236}">
                      <a16:creationId xmlns:a16="http://schemas.microsoft.com/office/drawing/2014/main" id="{6E9D9E64-55D8-3941-9F68-BE96459DD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7771" y="4770792"/>
                  <a:ext cx="11839" cy="20718"/>
                </a:xfrm>
                <a:custGeom>
                  <a:avLst/>
                  <a:gdLst>
                    <a:gd name="T0" fmla="*/ 2147483647 w 8"/>
                    <a:gd name="T1" fmla="*/ 2147483647 h 14"/>
                    <a:gd name="T2" fmla="*/ 2147483647 w 8"/>
                    <a:gd name="T3" fmla="*/ 2147483647 h 14"/>
                    <a:gd name="T4" fmla="*/ 2147483647 w 8"/>
                    <a:gd name="T5" fmla="*/ 2147483647 h 14"/>
                    <a:gd name="T6" fmla="*/ 2147483647 w 8"/>
                    <a:gd name="T7" fmla="*/ 2147483647 h 14"/>
                    <a:gd name="T8" fmla="*/ 2147483647 w 8"/>
                    <a:gd name="T9" fmla="*/ 0 h 14"/>
                    <a:gd name="T10" fmla="*/ 2147483647 w 8"/>
                    <a:gd name="T11" fmla="*/ 0 h 14"/>
                    <a:gd name="T12" fmla="*/ 2147483647 w 8"/>
                    <a:gd name="T13" fmla="*/ 0 h 14"/>
                    <a:gd name="T14" fmla="*/ 2147483647 w 8"/>
                    <a:gd name="T15" fmla="*/ 0 h 14"/>
                    <a:gd name="T16" fmla="*/ 2147483647 w 8"/>
                    <a:gd name="T17" fmla="*/ 2147483647 h 14"/>
                    <a:gd name="T18" fmla="*/ 0 w 8"/>
                    <a:gd name="T19" fmla="*/ 2147483647 h 14"/>
                    <a:gd name="T20" fmla="*/ 0 w 8"/>
                    <a:gd name="T21" fmla="*/ 2147483647 h 14"/>
                    <a:gd name="T22" fmla="*/ 0 w 8"/>
                    <a:gd name="T23" fmla="*/ 2147483647 h 14"/>
                    <a:gd name="T24" fmla="*/ 0 w 8"/>
                    <a:gd name="T25" fmla="*/ 2147483647 h 14"/>
                    <a:gd name="T26" fmla="*/ 2147483647 w 8"/>
                    <a:gd name="T27" fmla="*/ 2147483647 h 14"/>
                    <a:gd name="T28" fmla="*/ 2147483647 w 8"/>
                    <a:gd name="T29" fmla="*/ 2147483647 h 14"/>
                    <a:gd name="T30" fmla="*/ 2147483647 w 8"/>
                    <a:gd name="T31" fmla="*/ 2147483647 h 14"/>
                    <a:gd name="T32" fmla="*/ 2147483647 w 8"/>
                    <a:gd name="T33" fmla="*/ 2147483647 h 14"/>
                    <a:gd name="T34" fmla="*/ 2147483647 w 8"/>
                    <a:gd name="T35" fmla="*/ 2147483647 h 14"/>
                    <a:gd name="T36" fmla="*/ 2147483647 w 8"/>
                    <a:gd name="T37" fmla="*/ 2147483647 h 14"/>
                    <a:gd name="T38" fmla="*/ 2147483647 w 8"/>
                    <a:gd name="T39" fmla="*/ 2147483647 h 1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"/>
                    <a:gd name="T61" fmla="*/ 0 h 14"/>
                    <a:gd name="T62" fmla="*/ 8 w 8"/>
                    <a:gd name="T63" fmla="*/ 14 h 1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" h="14"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8" y="3"/>
                      </a:lnTo>
                      <a:lnTo>
                        <a:pt x="8" y="1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7"/>
                      </a:lnTo>
                      <a:lnTo>
                        <a:pt x="0" y="10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2" y="14"/>
                      </a:lnTo>
                      <a:lnTo>
                        <a:pt x="3" y="13"/>
                      </a:lnTo>
                      <a:lnTo>
                        <a:pt x="5" y="12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" name="Freeform 790">
                  <a:extLst>
                    <a:ext uri="{FF2B5EF4-FFF2-40B4-BE49-F238E27FC236}">
                      <a16:creationId xmlns:a16="http://schemas.microsoft.com/office/drawing/2014/main" id="{6978B348-4B9B-1A40-9AFF-1AF71B03BE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48763" y="4835902"/>
                  <a:ext cx="26637" cy="23678"/>
                </a:xfrm>
                <a:custGeom>
                  <a:avLst/>
                  <a:gdLst>
                    <a:gd name="T0" fmla="*/ 2147483647 w 20"/>
                    <a:gd name="T1" fmla="*/ 2147483647 h 16"/>
                    <a:gd name="T2" fmla="*/ 2147483647 w 20"/>
                    <a:gd name="T3" fmla="*/ 2147483647 h 16"/>
                    <a:gd name="T4" fmla="*/ 2147483647 w 20"/>
                    <a:gd name="T5" fmla="*/ 2147483647 h 16"/>
                    <a:gd name="T6" fmla="*/ 2147483647 w 20"/>
                    <a:gd name="T7" fmla="*/ 2147483647 h 16"/>
                    <a:gd name="T8" fmla="*/ 2147483647 w 20"/>
                    <a:gd name="T9" fmla="*/ 2147483647 h 16"/>
                    <a:gd name="T10" fmla="*/ 2147483647 w 20"/>
                    <a:gd name="T11" fmla="*/ 2147483647 h 16"/>
                    <a:gd name="T12" fmla="*/ 2147483647 w 20"/>
                    <a:gd name="T13" fmla="*/ 2147483647 h 16"/>
                    <a:gd name="T14" fmla="*/ 0 w 20"/>
                    <a:gd name="T15" fmla="*/ 2147483647 h 16"/>
                    <a:gd name="T16" fmla="*/ 0 w 20"/>
                    <a:gd name="T17" fmla="*/ 2147483647 h 16"/>
                    <a:gd name="T18" fmla="*/ 0 w 20"/>
                    <a:gd name="T19" fmla="*/ 2147483647 h 16"/>
                    <a:gd name="T20" fmla="*/ 0 w 20"/>
                    <a:gd name="T21" fmla="*/ 2147483647 h 16"/>
                    <a:gd name="T22" fmla="*/ 2147483647 w 20"/>
                    <a:gd name="T23" fmla="*/ 2147483647 h 16"/>
                    <a:gd name="T24" fmla="*/ 2147483647 w 20"/>
                    <a:gd name="T25" fmla="*/ 2147483647 h 16"/>
                    <a:gd name="T26" fmla="*/ 2147483647 w 20"/>
                    <a:gd name="T27" fmla="*/ 2147483647 h 16"/>
                    <a:gd name="T28" fmla="*/ 2147483647 w 20"/>
                    <a:gd name="T29" fmla="*/ 0 h 16"/>
                    <a:gd name="T30" fmla="*/ 2147483647 w 20"/>
                    <a:gd name="T31" fmla="*/ 0 h 16"/>
                    <a:gd name="T32" fmla="*/ 2147483647 w 20"/>
                    <a:gd name="T33" fmla="*/ 0 h 16"/>
                    <a:gd name="T34" fmla="*/ 2147483647 w 20"/>
                    <a:gd name="T35" fmla="*/ 2147483647 h 16"/>
                    <a:gd name="T36" fmla="*/ 2147483647 w 20"/>
                    <a:gd name="T37" fmla="*/ 2147483647 h 16"/>
                    <a:gd name="T38" fmla="*/ 2147483647 w 20"/>
                    <a:gd name="T39" fmla="*/ 2147483647 h 16"/>
                    <a:gd name="T40" fmla="*/ 2147483647 w 20"/>
                    <a:gd name="T41" fmla="*/ 2147483647 h 16"/>
                    <a:gd name="T42" fmla="*/ 2147483647 w 20"/>
                    <a:gd name="T43" fmla="*/ 2147483647 h 1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"/>
                    <a:gd name="T67" fmla="*/ 0 h 16"/>
                    <a:gd name="T68" fmla="*/ 20 w 20"/>
                    <a:gd name="T69" fmla="*/ 16 h 1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" h="16">
                      <a:moveTo>
                        <a:pt x="15" y="14"/>
                      </a:moveTo>
                      <a:lnTo>
                        <a:pt x="15" y="14"/>
                      </a:lnTo>
                      <a:lnTo>
                        <a:pt x="11" y="15"/>
                      </a:lnTo>
                      <a:lnTo>
                        <a:pt x="7" y="15"/>
                      </a:lnTo>
                      <a:lnTo>
                        <a:pt x="4" y="16"/>
                      </a:lnTo>
                      <a:lnTo>
                        <a:pt x="1" y="16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5" y="6"/>
                      </a:lnTo>
                      <a:lnTo>
                        <a:pt x="11" y="1"/>
                      </a:lnTo>
                      <a:lnTo>
                        <a:pt x="16" y="0"/>
                      </a:lnTo>
                      <a:lnTo>
                        <a:pt x="18" y="0"/>
                      </a:lnTo>
                      <a:lnTo>
                        <a:pt x="19" y="1"/>
                      </a:lnTo>
                      <a:lnTo>
                        <a:pt x="20" y="6"/>
                      </a:lnTo>
                      <a:lnTo>
                        <a:pt x="19" y="10"/>
                      </a:lnTo>
                      <a:lnTo>
                        <a:pt x="15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" name="Freeform 791">
                  <a:extLst>
                    <a:ext uri="{FF2B5EF4-FFF2-40B4-BE49-F238E27FC236}">
                      <a16:creationId xmlns:a16="http://schemas.microsoft.com/office/drawing/2014/main" id="{0F89FD28-B988-6740-9405-91ADAD079F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3506" y="4832946"/>
                  <a:ext cx="32557" cy="17758"/>
                </a:xfrm>
                <a:custGeom>
                  <a:avLst/>
                  <a:gdLst>
                    <a:gd name="T0" fmla="*/ 2147483647 w 23"/>
                    <a:gd name="T1" fmla="*/ 2147483647 h 12"/>
                    <a:gd name="T2" fmla="*/ 2147483647 w 23"/>
                    <a:gd name="T3" fmla="*/ 0 h 12"/>
                    <a:gd name="T4" fmla="*/ 2147483647 w 23"/>
                    <a:gd name="T5" fmla="*/ 2147483647 h 12"/>
                    <a:gd name="T6" fmla="*/ 2147483647 w 23"/>
                    <a:gd name="T7" fmla="*/ 2147483647 h 12"/>
                    <a:gd name="T8" fmla="*/ 2147483647 w 23"/>
                    <a:gd name="T9" fmla="*/ 2147483647 h 12"/>
                    <a:gd name="T10" fmla="*/ 2147483647 w 23"/>
                    <a:gd name="T11" fmla="*/ 2147483647 h 12"/>
                    <a:gd name="T12" fmla="*/ 2147483647 w 23"/>
                    <a:gd name="T13" fmla="*/ 2147483647 h 12"/>
                    <a:gd name="T14" fmla="*/ 2147483647 w 23"/>
                    <a:gd name="T15" fmla="*/ 2147483647 h 12"/>
                    <a:gd name="T16" fmla="*/ 2147483647 w 23"/>
                    <a:gd name="T17" fmla="*/ 2147483647 h 12"/>
                    <a:gd name="T18" fmla="*/ 2147483647 w 23"/>
                    <a:gd name="T19" fmla="*/ 2147483647 h 12"/>
                    <a:gd name="T20" fmla="*/ 2147483647 w 23"/>
                    <a:gd name="T21" fmla="*/ 2147483647 h 12"/>
                    <a:gd name="T22" fmla="*/ 0 w 23"/>
                    <a:gd name="T23" fmla="*/ 2147483647 h 12"/>
                    <a:gd name="T24" fmla="*/ 2147483647 w 23"/>
                    <a:gd name="T25" fmla="*/ 2147483647 h 12"/>
                    <a:gd name="T26" fmla="*/ 2147483647 w 23"/>
                    <a:gd name="T27" fmla="*/ 2147483647 h 12"/>
                    <a:gd name="T28" fmla="*/ 2147483647 w 23"/>
                    <a:gd name="T29" fmla="*/ 2147483647 h 12"/>
                    <a:gd name="T30" fmla="*/ 2147483647 w 23"/>
                    <a:gd name="T31" fmla="*/ 2147483647 h 12"/>
                    <a:gd name="T32" fmla="*/ 2147483647 w 23"/>
                    <a:gd name="T33" fmla="*/ 2147483647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3"/>
                    <a:gd name="T52" fmla="*/ 0 h 12"/>
                    <a:gd name="T53" fmla="*/ 23 w 23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3" h="12">
                      <a:moveTo>
                        <a:pt x="18" y="2"/>
                      </a:moveTo>
                      <a:lnTo>
                        <a:pt x="19" y="0"/>
                      </a:lnTo>
                      <a:lnTo>
                        <a:pt x="20" y="2"/>
                      </a:lnTo>
                      <a:lnTo>
                        <a:pt x="23" y="4"/>
                      </a:lnTo>
                      <a:lnTo>
                        <a:pt x="23" y="6"/>
                      </a:lnTo>
                      <a:lnTo>
                        <a:pt x="22" y="9"/>
                      </a:lnTo>
                      <a:lnTo>
                        <a:pt x="17" y="11"/>
                      </a:lnTo>
                      <a:lnTo>
                        <a:pt x="10" y="12"/>
                      </a:lnTo>
                      <a:lnTo>
                        <a:pt x="5" y="12"/>
                      </a:lnTo>
                      <a:lnTo>
                        <a:pt x="3" y="11"/>
                      </a:lnTo>
                      <a:lnTo>
                        <a:pt x="1" y="10"/>
                      </a:lnTo>
                      <a:lnTo>
                        <a:pt x="0" y="8"/>
                      </a:lnTo>
                      <a:lnTo>
                        <a:pt x="1" y="5"/>
                      </a:lnTo>
                      <a:lnTo>
                        <a:pt x="3" y="4"/>
                      </a:lnTo>
                      <a:lnTo>
                        <a:pt x="5" y="4"/>
                      </a:lnTo>
                      <a:lnTo>
                        <a:pt x="13" y="3"/>
                      </a:lnTo>
                      <a:lnTo>
                        <a:pt x="18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" name="Freeform 792">
                  <a:extLst>
                    <a:ext uri="{FF2B5EF4-FFF2-40B4-BE49-F238E27FC236}">
                      <a16:creationId xmlns:a16="http://schemas.microsoft.com/office/drawing/2014/main" id="{2A3C9994-2114-514E-BC51-AFD15DF1A2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7857" y="4846262"/>
                  <a:ext cx="7400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0 w 6"/>
                    <a:gd name="T9" fmla="*/ 2147483647 h 7"/>
                    <a:gd name="T10" fmla="*/ 0 w 6"/>
                    <a:gd name="T11" fmla="*/ 2147483647 h 7"/>
                    <a:gd name="T12" fmla="*/ 0 w 6"/>
                    <a:gd name="T13" fmla="*/ 0 h 7"/>
                    <a:gd name="T14" fmla="*/ 2147483647 w 6"/>
                    <a:gd name="T15" fmla="*/ 0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7"/>
                    <a:gd name="T32" fmla="*/ 6 w 6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7">
                      <a:moveTo>
                        <a:pt x="5" y="3"/>
                      </a:moveTo>
                      <a:lnTo>
                        <a:pt x="6" y="6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" name="Freeform 793">
                  <a:extLst>
                    <a:ext uri="{FF2B5EF4-FFF2-40B4-BE49-F238E27FC236}">
                      <a16:creationId xmlns:a16="http://schemas.microsoft.com/office/drawing/2014/main" id="{F77BF305-F8A6-5648-ACE0-5BB39BA33B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2026" y="4831466"/>
                  <a:ext cx="32557" cy="17758"/>
                </a:xfrm>
                <a:custGeom>
                  <a:avLst/>
                  <a:gdLst>
                    <a:gd name="T0" fmla="*/ 2147483647 w 23"/>
                    <a:gd name="T1" fmla="*/ 2147483647 h 12"/>
                    <a:gd name="T2" fmla="*/ 2147483647 w 23"/>
                    <a:gd name="T3" fmla="*/ 2147483647 h 12"/>
                    <a:gd name="T4" fmla="*/ 2147483647 w 23"/>
                    <a:gd name="T5" fmla="*/ 0 h 12"/>
                    <a:gd name="T6" fmla="*/ 2147483647 w 23"/>
                    <a:gd name="T7" fmla="*/ 2147483647 h 12"/>
                    <a:gd name="T8" fmla="*/ 2147483647 w 23"/>
                    <a:gd name="T9" fmla="*/ 2147483647 h 12"/>
                    <a:gd name="T10" fmla="*/ 2147483647 w 23"/>
                    <a:gd name="T11" fmla="*/ 2147483647 h 12"/>
                    <a:gd name="T12" fmla="*/ 2147483647 w 23"/>
                    <a:gd name="T13" fmla="*/ 2147483647 h 12"/>
                    <a:gd name="T14" fmla="*/ 2147483647 w 23"/>
                    <a:gd name="T15" fmla="*/ 2147483647 h 12"/>
                    <a:gd name="T16" fmla="*/ 2147483647 w 23"/>
                    <a:gd name="T17" fmla="*/ 2147483647 h 12"/>
                    <a:gd name="T18" fmla="*/ 2147483647 w 23"/>
                    <a:gd name="T19" fmla="*/ 2147483647 h 12"/>
                    <a:gd name="T20" fmla="*/ 2147483647 w 23"/>
                    <a:gd name="T21" fmla="*/ 2147483647 h 12"/>
                    <a:gd name="T22" fmla="*/ 2147483647 w 23"/>
                    <a:gd name="T23" fmla="*/ 2147483647 h 12"/>
                    <a:gd name="T24" fmla="*/ 2147483647 w 23"/>
                    <a:gd name="T25" fmla="*/ 2147483647 h 12"/>
                    <a:gd name="T26" fmla="*/ 2147483647 w 23"/>
                    <a:gd name="T27" fmla="*/ 2147483647 h 12"/>
                    <a:gd name="T28" fmla="*/ 0 w 23"/>
                    <a:gd name="T29" fmla="*/ 2147483647 h 12"/>
                    <a:gd name="T30" fmla="*/ 2147483647 w 23"/>
                    <a:gd name="T31" fmla="*/ 2147483647 h 12"/>
                    <a:gd name="T32" fmla="*/ 2147483647 w 23"/>
                    <a:gd name="T33" fmla="*/ 2147483647 h 12"/>
                    <a:gd name="T34" fmla="*/ 2147483647 w 23"/>
                    <a:gd name="T35" fmla="*/ 2147483647 h 12"/>
                    <a:gd name="T36" fmla="*/ 2147483647 w 23"/>
                    <a:gd name="T37" fmla="*/ 2147483647 h 12"/>
                    <a:gd name="T38" fmla="*/ 2147483647 w 23"/>
                    <a:gd name="T39" fmla="*/ 2147483647 h 12"/>
                    <a:gd name="T40" fmla="*/ 2147483647 w 23"/>
                    <a:gd name="T41" fmla="*/ 2147483647 h 1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3"/>
                    <a:gd name="T64" fmla="*/ 0 h 12"/>
                    <a:gd name="T65" fmla="*/ 23 w 23"/>
                    <a:gd name="T66" fmla="*/ 12 h 1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3" h="12">
                      <a:moveTo>
                        <a:pt x="18" y="1"/>
                      </a:moveTo>
                      <a:lnTo>
                        <a:pt x="18" y="1"/>
                      </a:lnTo>
                      <a:lnTo>
                        <a:pt x="19" y="0"/>
                      </a:lnTo>
                      <a:lnTo>
                        <a:pt x="20" y="1"/>
                      </a:lnTo>
                      <a:lnTo>
                        <a:pt x="23" y="4"/>
                      </a:lnTo>
                      <a:lnTo>
                        <a:pt x="23" y="6"/>
                      </a:lnTo>
                      <a:lnTo>
                        <a:pt x="21" y="9"/>
                      </a:lnTo>
                      <a:lnTo>
                        <a:pt x="16" y="11"/>
                      </a:lnTo>
                      <a:lnTo>
                        <a:pt x="10" y="12"/>
                      </a:lnTo>
                      <a:lnTo>
                        <a:pt x="5" y="12"/>
                      </a:lnTo>
                      <a:lnTo>
                        <a:pt x="2" y="11"/>
                      </a:lnTo>
                      <a:lnTo>
                        <a:pt x="1" y="10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13" y="3"/>
                      </a:lnTo>
                      <a:lnTo>
                        <a:pt x="18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" name="Freeform 794">
                  <a:extLst>
                    <a:ext uri="{FF2B5EF4-FFF2-40B4-BE49-F238E27FC236}">
                      <a16:creationId xmlns:a16="http://schemas.microsoft.com/office/drawing/2014/main" id="{C5D00F6F-ABDF-464D-BDEB-FBDC3FB90A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6382" y="4844782"/>
                  <a:ext cx="739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0 w 6"/>
                    <a:gd name="T11" fmla="*/ 2147483647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0 w 6"/>
                    <a:gd name="T17" fmla="*/ 0 h 7"/>
                    <a:gd name="T18" fmla="*/ 2147483647 w 6"/>
                    <a:gd name="T19" fmla="*/ 0 h 7"/>
                    <a:gd name="T20" fmla="*/ 2147483647 w 6"/>
                    <a:gd name="T21" fmla="*/ 0 h 7"/>
                    <a:gd name="T22" fmla="*/ 2147483647 w 6"/>
                    <a:gd name="T23" fmla="*/ 0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5" y="3"/>
                      </a:moveTo>
                      <a:lnTo>
                        <a:pt x="5" y="3"/>
                      </a:lnTo>
                      <a:lnTo>
                        <a:pt x="6" y="5"/>
                      </a:lnTo>
                      <a:lnTo>
                        <a:pt x="4" y="7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" name="Freeform 795">
                  <a:extLst>
                    <a:ext uri="{FF2B5EF4-FFF2-40B4-BE49-F238E27FC236}">
                      <a16:creationId xmlns:a16="http://schemas.microsoft.com/office/drawing/2014/main" id="{F1E209DA-5E6E-2048-A3D0-ED7C04375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90414" y="4831463"/>
                  <a:ext cx="19239" cy="23678"/>
                </a:xfrm>
                <a:custGeom>
                  <a:avLst/>
                  <a:gdLst>
                    <a:gd name="T0" fmla="*/ 2147483647 w 14"/>
                    <a:gd name="T1" fmla="*/ 2147483647 h 16"/>
                    <a:gd name="T2" fmla="*/ 2147483647 w 14"/>
                    <a:gd name="T3" fmla="*/ 2147483647 h 16"/>
                    <a:gd name="T4" fmla="*/ 0 w 14"/>
                    <a:gd name="T5" fmla="*/ 2147483647 h 16"/>
                    <a:gd name="T6" fmla="*/ 0 w 14"/>
                    <a:gd name="T7" fmla="*/ 2147483647 h 16"/>
                    <a:gd name="T8" fmla="*/ 2147483647 w 14"/>
                    <a:gd name="T9" fmla="*/ 2147483647 h 16"/>
                    <a:gd name="T10" fmla="*/ 2147483647 w 14"/>
                    <a:gd name="T11" fmla="*/ 2147483647 h 16"/>
                    <a:gd name="T12" fmla="*/ 2147483647 w 14"/>
                    <a:gd name="T13" fmla="*/ 0 h 16"/>
                    <a:gd name="T14" fmla="*/ 2147483647 w 14"/>
                    <a:gd name="T15" fmla="*/ 0 h 16"/>
                    <a:gd name="T16" fmla="*/ 2147483647 w 14"/>
                    <a:gd name="T17" fmla="*/ 2147483647 h 16"/>
                    <a:gd name="T18" fmla="*/ 2147483647 w 14"/>
                    <a:gd name="T19" fmla="*/ 2147483647 h 16"/>
                    <a:gd name="T20" fmla="*/ 2147483647 w 14"/>
                    <a:gd name="T21" fmla="*/ 2147483647 h 16"/>
                    <a:gd name="T22" fmla="*/ 2147483647 w 14"/>
                    <a:gd name="T23" fmla="*/ 2147483647 h 16"/>
                    <a:gd name="T24" fmla="*/ 2147483647 w 14"/>
                    <a:gd name="T25" fmla="*/ 2147483647 h 1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"/>
                    <a:gd name="T40" fmla="*/ 0 h 16"/>
                    <a:gd name="T41" fmla="*/ 14 w 14"/>
                    <a:gd name="T42" fmla="*/ 16 h 1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" h="16">
                      <a:moveTo>
                        <a:pt x="7" y="14"/>
                      </a:moveTo>
                      <a:lnTo>
                        <a:pt x="3" y="16"/>
                      </a:lnTo>
                      <a:lnTo>
                        <a:pt x="0" y="14"/>
                      </a:lnTo>
                      <a:lnTo>
                        <a:pt x="0" y="13"/>
                      </a:lnTo>
                      <a:lnTo>
                        <a:pt x="2" y="9"/>
                      </a:lnTo>
                      <a:lnTo>
                        <a:pt x="5" y="4"/>
                      </a:lnTo>
                      <a:lnTo>
                        <a:pt x="9" y="0"/>
                      </a:lnTo>
                      <a:lnTo>
                        <a:pt x="12" y="0"/>
                      </a:lnTo>
                      <a:lnTo>
                        <a:pt x="13" y="1"/>
                      </a:lnTo>
                      <a:lnTo>
                        <a:pt x="14" y="5"/>
                      </a:lnTo>
                      <a:lnTo>
                        <a:pt x="13" y="9"/>
                      </a:lnTo>
                      <a:lnTo>
                        <a:pt x="10" y="12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" name="Freeform 796">
                  <a:extLst>
                    <a:ext uri="{FF2B5EF4-FFF2-40B4-BE49-F238E27FC236}">
                      <a16:creationId xmlns:a16="http://schemas.microsoft.com/office/drawing/2014/main" id="{C83D3493-B4C9-B248-B59C-DFE00F14E4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4412" y="4804828"/>
                  <a:ext cx="10360" cy="17758"/>
                </a:xfrm>
                <a:custGeom>
                  <a:avLst/>
                  <a:gdLst>
                    <a:gd name="T0" fmla="*/ 2147483647 w 8"/>
                    <a:gd name="T1" fmla="*/ 2147483647 h 12"/>
                    <a:gd name="T2" fmla="*/ 2147483647 w 8"/>
                    <a:gd name="T3" fmla="*/ 2147483647 h 12"/>
                    <a:gd name="T4" fmla="*/ 2147483647 w 8"/>
                    <a:gd name="T5" fmla="*/ 2147483647 h 12"/>
                    <a:gd name="T6" fmla="*/ 2147483647 w 8"/>
                    <a:gd name="T7" fmla="*/ 2147483647 h 12"/>
                    <a:gd name="T8" fmla="*/ 2147483647 w 8"/>
                    <a:gd name="T9" fmla="*/ 2147483647 h 12"/>
                    <a:gd name="T10" fmla="*/ 0 w 8"/>
                    <a:gd name="T11" fmla="*/ 2147483647 h 12"/>
                    <a:gd name="T12" fmla="*/ 0 w 8"/>
                    <a:gd name="T13" fmla="*/ 2147483647 h 12"/>
                    <a:gd name="T14" fmla="*/ 2147483647 w 8"/>
                    <a:gd name="T15" fmla="*/ 0 h 12"/>
                    <a:gd name="T16" fmla="*/ 2147483647 w 8"/>
                    <a:gd name="T17" fmla="*/ 0 h 12"/>
                    <a:gd name="T18" fmla="*/ 2147483647 w 8"/>
                    <a:gd name="T19" fmla="*/ 2147483647 h 12"/>
                    <a:gd name="T20" fmla="*/ 2147483647 w 8"/>
                    <a:gd name="T21" fmla="*/ 2147483647 h 12"/>
                    <a:gd name="T22" fmla="*/ 2147483647 w 8"/>
                    <a:gd name="T23" fmla="*/ 2147483647 h 1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"/>
                    <a:gd name="T37" fmla="*/ 0 h 12"/>
                    <a:gd name="T38" fmla="*/ 8 w 8"/>
                    <a:gd name="T39" fmla="*/ 12 h 1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" h="12">
                      <a:moveTo>
                        <a:pt x="8" y="9"/>
                      </a:moveTo>
                      <a:lnTo>
                        <a:pt x="7" y="11"/>
                      </a:lnTo>
                      <a:lnTo>
                        <a:pt x="6" y="12"/>
                      </a:lnTo>
                      <a:lnTo>
                        <a:pt x="3" y="12"/>
                      </a:lnTo>
                      <a:lnTo>
                        <a:pt x="2" y="11"/>
                      </a:ln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7" y="5"/>
                      </a:lnTo>
                      <a:lnTo>
                        <a:pt x="8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" name="Freeform 797">
                  <a:extLst>
                    <a:ext uri="{FF2B5EF4-FFF2-40B4-BE49-F238E27FC236}">
                      <a16:creationId xmlns:a16="http://schemas.microsoft.com/office/drawing/2014/main" id="{B957CA97-93E7-2A45-BCB9-0D96F25A3E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936" y="4829986"/>
                  <a:ext cx="19238" cy="22199"/>
                </a:xfrm>
                <a:custGeom>
                  <a:avLst/>
                  <a:gdLst>
                    <a:gd name="T0" fmla="*/ 2147483647 w 14"/>
                    <a:gd name="T1" fmla="*/ 2147483647 h 15"/>
                    <a:gd name="T2" fmla="*/ 2147483647 w 14"/>
                    <a:gd name="T3" fmla="*/ 2147483647 h 15"/>
                    <a:gd name="T4" fmla="*/ 2147483647 w 14"/>
                    <a:gd name="T5" fmla="*/ 2147483647 h 15"/>
                    <a:gd name="T6" fmla="*/ 0 w 14"/>
                    <a:gd name="T7" fmla="*/ 2147483647 h 15"/>
                    <a:gd name="T8" fmla="*/ 0 w 14"/>
                    <a:gd name="T9" fmla="*/ 2147483647 h 15"/>
                    <a:gd name="T10" fmla="*/ 0 w 14"/>
                    <a:gd name="T11" fmla="*/ 2147483647 h 15"/>
                    <a:gd name="T12" fmla="*/ 2147483647 w 14"/>
                    <a:gd name="T13" fmla="*/ 2147483647 h 15"/>
                    <a:gd name="T14" fmla="*/ 2147483647 w 14"/>
                    <a:gd name="T15" fmla="*/ 2147483647 h 15"/>
                    <a:gd name="T16" fmla="*/ 2147483647 w 14"/>
                    <a:gd name="T17" fmla="*/ 0 h 15"/>
                    <a:gd name="T18" fmla="*/ 2147483647 w 14"/>
                    <a:gd name="T19" fmla="*/ 0 h 15"/>
                    <a:gd name="T20" fmla="*/ 2147483647 w 14"/>
                    <a:gd name="T21" fmla="*/ 2147483647 h 15"/>
                    <a:gd name="T22" fmla="*/ 2147483647 w 14"/>
                    <a:gd name="T23" fmla="*/ 2147483647 h 15"/>
                    <a:gd name="T24" fmla="*/ 2147483647 w 14"/>
                    <a:gd name="T25" fmla="*/ 2147483647 h 15"/>
                    <a:gd name="T26" fmla="*/ 2147483647 w 14"/>
                    <a:gd name="T27" fmla="*/ 2147483647 h 15"/>
                    <a:gd name="T28" fmla="*/ 2147483647 w 14"/>
                    <a:gd name="T29" fmla="*/ 2147483647 h 15"/>
                    <a:gd name="T30" fmla="*/ 2147483647 w 14"/>
                    <a:gd name="T31" fmla="*/ 2147483647 h 15"/>
                    <a:gd name="T32" fmla="*/ 2147483647 w 14"/>
                    <a:gd name="T33" fmla="*/ 2147483647 h 1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4"/>
                    <a:gd name="T52" fmla="*/ 0 h 15"/>
                    <a:gd name="T53" fmla="*/ 14 w 14"/>
                    <a:gd name="T54" fmla="*/ 15 h 1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4" h="15">
                      <a:moveTo>
                        <a:pt x="6" y="14"/>
                      </a:moveTo>
                      <a:lnTo>
                        <a:pt x="6" y="14"/>
                      </a:lnTo>
                      <a:lnTo>
                        <a:pt x="3" y="15"/>
                      </a:lnTo>
                      <a:lnTo>
                        <a:pt x="0" y="14"/>
                      </a:lnTo>
                      <a:lnTo>
                        <a:pt x="0" y="13"/>
                      </a:lnTo>
                      <a:lnTo>
                        <a:pt x="1" y="8"/>
                      </a:lnTo>
                      <a:lnTo>
                        <a:pt x="5" y="4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1"/>
                      </a:lnTo>
                      <a:lnTo>
                        <a:pt x="14" y="5"/>
                      </a:lnTo>
                      <a:lnTo>
                        <a:pt x="13" y="8"/>
                      </a:lnTo>
                      <a:lnTo>
                        <a:pt x="10" y="12"/>
                      </a:lnTo>
                      <a:lnTo>
                        <a:pt x="6" y="1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" name="Freeform 798">
                  <a:extLst>
                    <a:ext uri="{FF2B5EF4-FFF2-40B4-BE49-F238E27FC236}">
                      <a16:creationId xmlns:a16="http://schemas.microsoft.com/office/drawing/2014/main" id="{6332D91B-E350-644D-B3AD-9108478A99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448" y="4803346"/>
                  <a:ext cx="11839" cy="17758"/>
                </a:xfrm>
                <a:custGeom>
                  <a:avLst/>
                  <a:gdLst>
                    <a:gd name="T0" fmla="*/ 2147483647 w 9"/>
                    <a:gd name="T1" fmla="*/ 2147483647 h 12"/>
                    <a:gd name="T2" fmla="*/ 2147483647 w 9"/>
                    <a:gd name="T3" fmla="*/ 2147483647 h 12"/>
                    <a:gd name="T4" fmla="*/ 2147483647 w 9"/>
                    <a:gd name="T5" fmla="*/ 2147483647 h 12"/>
                    <a:gd name="T6" fmla="*/ 2147483647 w 9"/>
                    <a:gd name="T7" fmla="*/ 2147483647 h 12"/>
                    <a:gd name="T8" fmla="*/ 2147483647 w 9"/>
                    <a:gd name="T9" fmla="*/ 2147483647 h 12"/>
                    <a:gd name="T10" fmla="*/ 2147483647 w 9"/>
                    <a:gd name="T11" fmla="*/ 2147483647 h 12"/>
                    <a:gd name="T12" fmla="*/ 2147483647 w 9"/>
                    <a:gd name="T13" fmla="*/ 2147483647 h 12"/>
                    <a:gd name="T14" fmla="*/ 0 w 9"/>
                    <a:gd name="T15" fmla="*/ 2147483647 h 12"/>
                    <a:gd name="T16" fmla="*/ 0 w 9"/>
                    <a:gd name="T17" fmla="*/ 2147483647 h 12"/>
                    <a:gd name="T18" fmla="*/ 2147483647 w 9"/>
                    <a:gd name="T19" fmla="*/ 0 h 12"/>
                    <a:gd name="T20" fmla="*/ 2147483647 w 9"/>
                    <a:gd name="T21" fmla="*/ 0 h 12"/>
                    <a:gd name="T22" fmla="*/ 2147483647 w 9"/>
                    <a:gd name="T23" fmla="*/ 0 h 12"/>
                    <a:gd name="T24" fmla="*/ 2147483647 w 9"/>
                    <a:gd name="T25" fmla="*/ 2147483647 h 12"/>
                    <a:gd name="T26" fmla="*/ 2147483647 w 9"/>
                    <a:gd name="T27" fmla="*/ 2147483647 h 12"/>
                    <a:gd name="T28" fmla="*/ 2147483647 w 9"/>
                    <a:gd name="T29" fmla="*/ 2147483647 h 12"/>
                    <a:gd name="T30" fmla="*/ 2147483647 w 9"/>
                    <a:gd name="T31" fmla="*/ 2147483647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"/>
                    <a:gd name="T49" fmla="*/ 0 h 12"/>
                    <a:gd name="T50" fmla="*/ 9 w 9"/>
                    <a:gd name="T51" fmla="*/ 12 h 1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" h="12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8" y="11"/>
                      </a:lnTo>
                      <a:lnTo>
                        <a:pt x="7" y="12"/>
                      </a:lnTo>
                      <a:lnTo>
                        <a:pt x="4" y="12"/>
                      </a:lnTo>
                      <a:lnTo>
                        <a:pt x="3" y="11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1"/>
                      </a:lnTo>
                      <a:lnTo>
                        <a:pt x="8" y="5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" name="Freeform 799">
                  <a:extLst>
                    <a:ext uri="{FF2B5EF4-FFF2-40B4-BE49-F238E27FC236}">
                      <a16:creationId xmlns:a16="http://schemas.microsoft.com/office/drawing/2014/main" id="{322E5ADD-87CE-5541-B24E-5F835EC411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3287" y="4794466"/>
                  <a:ext cx="11839" cy="10360"/>
                </a:xfrm>
                <a:custGeom>
                  <a:avLst/>
                  <a:gdLst>
                    <a:gd name="T0" fmla="*/ 2147483647 w 9"/>
                    <a:gd name="T1" fmla="*/ 2147483647 h 7"/>
                    <a:gd name="T2" fmla="*/ 2147483647 w 9"/>
                    <a:gd name="T3" fmla="*/ 2147483647 h 7"/>
                    <a:gd name="T4" fmla="*/ 2147483647 w 9"/>
                    <a:gd name="T5" fmla="*/ 2147483647 h 7"/>
                    <a:gd name="T6" fmla="*/ 0 w 9"/>
                    <a:gd name="T7" fmla="*/ 2147483647 h 7"/>
                    <a:gd name="T8" fmla="*/ 2147483647 w 9"/>
                    <a:gd name="T9" fmla="*/ 2147483647 h 7"/>
                    <a:gd name="T10" fmla="*/ 2147483647 w 9"/>
                    <a:gd name="T11" fmla="*/ 0 h 7"/>
                    <a:gd name="T12" fmla="*/ 2147483647 w 9"/>
                    <a:gd name="T13" fmla="*/ 2147483647 h 7"/>
                    <a:gd name="T14" fmla="*/ 2147483647 w 9"/>
                    <a:gd name="T15" fmla="*/ 2147483647 h 7"/>
                    <a:gd name="T16" fmla="*/ 2147483647 w 9"/>
                    <a:gd name="T17" fmla="*/ 2147483647 h 7"/>
                    <a:gd name="T18" fmla="*/ 2147483647 w 9"/>
                    <a:gd name="T19" fmla="*/ 2147483647 h 7"/>
                    <a:gd name="T20" fmla="*/ 2147483647 w 9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7"/>
                    <a:gd name="T35" fmla="*/ 9 w 9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7">
                      <a:moveTo>
                        <a:pt x="7" y="7"/>
                      </a:moveTo>
                      <a:lnTo>
                        <a:pt x="4" y="7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8" y="2"/>
                      </a:lnTo>
                      <a:lnTo>
                        <a:pt x="9" y="3"/>
                      </a:ln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" name="Freeform 800">
                  <a:extLst>
                    <a:ext uri="{FF2B5EF4-FFF2-40B4-BE49-F238E27FC236}">
                      <a16:creationId xmlns:a16="http://schemas.microsoft.com/office/drawing/2014/main" id="{F5A8A129-22C1-AB4E-BE00-7F9D614415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72049" y="4536969"/>
                  <a:ext cx="13318" cy="11839"/>
                </a:xfrm>
                <a:custGeom>
                  <a:avLst/>
                  <a:gdLst>
                    <a:gd name="T0" fmla="*/ 2147483647 w 10"/>
                    <a:gd name="T1" fmla="*/ 2147483647 h 8"/>
                    <a:gd name="T2" fmla="*/ 2147483647 w 10"/>
                    <a:gd name="T3" fmla="*/ 2147483647 h 8"/>
                    <a:gd name="T4" fmla="*/ 2147483647 w 10"/>
                    <a:gd name="T5" fmla="*/ 2147483647 h 8"/>
                    <a:gd name="T6" fmla="*/ 2147483647 w 10"/>
                    <a:gd name="T7" fmla="*/ 2147483647 h 8"/>
                    <a:gd name="T8" fmla="*/ 2147483647 w 10"/>
                    <a:gd name="T9" fmla="*/ 2147483647 h 8"/>
                    <a:gd name="T10" fmla="*/ 2147483647 w 10"/>
                    <a:gd name="T11" fmla="*/ 2147483647 h 8"/>
                    <a:gd name="T12" fmla="*/ 2147483647 w 10"/>
                    <a:gd name="T13" fmla="*/ 2147483647 h 8"/>
                    <a:gd name="T14" fmla="*/ 0 w 10"/>
                    <a:gd name="T15" fmla="*/ 0 h 8"/>
                    <a:gd name="T16" fmla="*/ 2147483647 w 10"/>
                    <a:gd name="T17" fmla="*/ 2147483647 h 8"/>
                    <a:gd name="T18" fmla="*/ 2147483647 w 10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"/>
                    <a:gd name="T31" fmla="*/ 0 h 8"/>
                    <a:gd name="T32" fmla="*/ 10 w 10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" h="8">
                      <a:moveTo>
                        <a:pt x="6" y="4"/>
                      </a:move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9" y="8"/>
                      </a:lnTo>
                      <a:lnTo>
                        <a:pt x="6" y="8"/>
                      </a:lnTo>
                      <a:lnTo>
                        <a:pt x="4" y="7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6" name="Freeform 801">
                  <a:extLst>
                    <a:ext uri="{FF2B5EF4-FFF2-40B4-BE49-F238E27FC236}">
                      <a16:creationId xmlns:a16="http://schemas.microsoft.com/office/drawing/2014/main" id="{40A05FB8-84B2-3045-A24A-818B9877FD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71811" y="4792986"/>
                  <a:ext cx="13318" cy="10359"/>
                </a:xfrm>
                <a:custGeom>
                  <a:avLst/>
                  <a:gdLst>
                    <a:gd name="T0" fmla="*/ 2147483647 w 9"/>
                    <a:gd name="T1" fmla="*/ 2147483647 h 7"/>
                    <a:gd name="T2" fmla="*/ 2147483647 w 9"/>
                    <a:gd name="T3" fmla="*/ 2147483647 h 7"/>
                    <a:gd name="T4" fmla="*/ 2147483647 w 9"/>
                    <a:gd name="T5" fmla="*/ 2147483647 h 7"/>
                    <a:gd name="T6" fmla="*/ 2147483647 w 9"/>
                    <a:gd name="T7" fmla="*/ 2147483647 h 7"/>
                    <a:gd name="T8" fmla="*/ 0 w 9"/>
                    <a:gd name="T9" fmla="*/ 2147483647 h 7"/>
                    <a:gd name="T10" fmla="*/ 2147483647 w 9"/>
                    <a:gd name="T11" fmla="*/ 2147483647 h 7"/>
                    <a:gd name="T12" fmla="*/ 2147483647 w 9"/>
                    <a:gd name="T13" fmla="*/ 2147483647 h 7"/>
                    <a:gd name="T14" fmla="*/ 2147483647 w 9"/>
                    <a:gd name="T15" fmla="*/ 0 h 7"/>
                    <a:gd name="T16" fmla="*/ 2147483647 w 9"/>
                    <a:gd name="T17" fmla="*/ 2147483647 h 7"/>
                    <a:gd name="T18" fmla="*/ 2147483647 w 9"/>
                    <a:gd name="T19" fmla="*/ 2147483647 h 7"/>
                    <a:gd name="T20" fmla="*/ 2147483647 w 9"/>
                    <a:gd name="T21" fmla="*/ 2147483647 h 7"/>
                    <a:gd name="T22" fmla="*/ 2147483647 w 9"/>
                    <a:gd name="T23" fmla="*/ 2147483647 h 7"/>
                    <a:gd name="T24" fmla="*/ 2147483647 w 9"/>
                    <a:gd name="T25" fmla="*/ 2147483647 h 7"/>
                    <a:gd name="T26" fmla="*/ 2147483647 w 9"/>
                    <a:gd name="T27" fmla="*/ 2147483647 h 7"/>
                    <a:gd name="T28" fmla="*/ 2147483647 w 9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"/>
                    <a:gd name="T46" fmla="*/ 0 h 7"/>
                    <a:gd name="T47" fmla="*/ 9 w 9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" h="7">
                      <a:moveTo>
                        <a:pt x="6" y="7"/>
                      </a:move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9" y="3"/>
                      </a:lnTo>
                      <a:lnTo>
                        <a:pt x="9" y="5"/>
                      </a:lnTo>
                      <a:lnTo>
                        <a:pt x="9" y="7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" name="Freeform 802">
                  <a:extLst>
                    <a:ext uri="{FF2B5EF4-FFF2-40B4-BE49-F238E27FC236}">
                      <a16:creationId xmlns:a16="http://schemas.microsoft.com/office/drawing/2014/main" id="{4C929108-04E6-DC4D-BE73-6CE5D6D52A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70565" y="4535489"/>
                  <a:ext cx="13319" cy="11839"/>
                </a:xfrm>
                <a:custGeom>
                  <a:avLst/>
                  <a:gdLst>
                    <a:gd name="T0" fmla="*/ 2147483647 w 10"/>
                    <a:gd name="T1" fmla="*/ 2147483647 h 8"/>
                    <a:gd name="T2" fmla="*/ 2147483647 w 10"/>
                    <a:gd name="T3" fmla="*/ 2147483647 h 8"/>
                    <a:gd name="T4" fmla="*/ 2147483647 w 10"/>
                    <a:gd name="T5" fmla="*/ 2147483647 h 8"/>
                    <a:gd name="T6" fmla="*/ 2147483647 w 10"/>
                    <a:gd name="T7" fmla="*/ 2147483647 h 8"/>
                    <a:gd name="T8" fmla="*/ 2147483647 w 10"/>
                    <a:gd name="T9" fmla="*/ 2147483647 h 8"/>
                    <a:gd name="T10" fmla="*/ 2147483647 w 10"/>
                    <a:gd name="T11" fmla="*/ 2147483647 h 8"/>
                    <a:gd name="T12" fmla="*/ 2147483647 w 10"/>
                    <a:gd name="T13" fmla="*/ 2147483647 h 8"/>
                    <a:gd name="T14" fmla="*/ 2147483647 w 10"/>
                    <a:gd name="T15" fmla="*/ 2147483647 h 8"/>
                    <a:gd name="T16" fmla="*/ 2147483647 w 10"/>
                    <a:gd name="T17" fmla="*/ 2147483647 h 8"/>
                    <a:gd name="T18" fmla="*/ 0 w 10"/>
                    <a:gd name="T19" fmla="*/ 0 h 8"/>
                    <a:gd name="T20" fmla="*/ 0 w 10"/>
                    <a:gd name="T21" fmla="*/ 0 h 8"/>
                    <a:gd name="T22" fmla="*/ 2147483647 w 10"/>
                    <a:gd name="T23" fmla="*/ 2147483647 h 8"/>
                    <a:gd name="T24" fmla="*/ 2147483647 w 10"/>
                    <a:gd name="T25" fmla="*/ 2147483647 h 8"/>
                    <a:gd name="T26" fmla="*/ 2147483647 w 10"/>
                    <a:gd name="T27" fmla="*/ 2147483647 h 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"/>
                    <a:gd name="T43" fmla="*/ 0 h 8"/>
                    <a:gd name="T44" fmla="*/ 10 w 10"/>
                    <a:gd name="T45" fmla="*/ 8 h 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" h="8">
                      <a:moveTo>
                        <a:pt x="6" y="3"/>
                      </a:moveTo>
                      <a:lnTo>
                        <a:pt x="6" y="3"/>
                      </a:ln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8" y="8"/>
                      </a:lnTo>
                      <a:lnTo>
                        <a:pt x="6" y="8"/>
                      </a:lnTo>
                      <a:lnTo>
                        <a:pt x="3" y="7"/>
                      </a:lnTo>
                      <a:lnTo>
                        <a:pt x="1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" name="Freeform 803">
                  <a:extLst>
                    <a:ext uri="{FF2B5EF4-FFF2-40B4-BE49-F238E27FC236}">
                      <a16:creationId xmlns:a16="http://schemas.microsoft.com/office/drawing/2014/main" id="{8D6835EF-385F-3644-8E36-0448E2AC41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0524" y="4576927"/>
                  <a:ext cx="19238" cy="29598"/>
                </a:xfrm>
                <a:custGeom>
                  <a:avLst/>
                  <a:gdLst>
                    <a:gd name="T0" fmla="*/ 2147483647 w 14"/>
                    <a:gd name="T1" fmla="*/ 2147483647 h 20"/>
                    <a:gd name="T2" fmla="*/ 2147483647 w 14"/>
                    <a:gd name="T3" fmla="*/ 2147483647 h 20"/>
                    <a:gd name="T4" fmla="*/ 2147483647 w 14"/>
                    <a:gd name="T5" fmla="*/ 2147483647 h 20"/>
                    <a:gd name="T6" fmla="*/ 2147483647 w 14"/>
                    <a:gd name="T7" fmla="*/ 2147483647 h 20"/>
                    <a:gd name="T8" fmla="*/ 2147483647 w 14"/>
                    <a:gd name="T9" fmla="*/ 2147483647 h 20"/>
                    <a:gd name="T10" fmla="*/ 2147483647 w 14"/>
                    <a:gd name="T11" fmla="*/ 2147483647 h 20"/>
                    <a:gd name="T12" fmla="*/ 2147483647 w 14"/>
                    <a:gd name="T13" fmla="*/ 2147483647 h 20"/>
                    <a:gd name="T14" fmla="*/ 2147483647 w 14"/>
                    <a:gd name="T15" fmla="*/ 2147483647 h 20"/>
                    <a:gd name="T16" fmla="*/ 2147483647 w 14"/>
                    <a:gd name="T17" fmla="*/ 2147483647 h 20"/>
                    <a:gd name="T18" fmla="*/ 0 w 14"/>
                    <a:gd name="T19" fmla="*/ 2147483647 h 20"/>
                    <a:gd name="T20" fmla="*/ 2147483647 w 14"/>
                    <a:gd name="T21" fmla="*/ 2147483647 h 20"/>
                    <a:gd name="T22" fmla="*/ 2147483647 w 14"/>
                    <a:gd name="T23" fmla="*/ 0 h 20"/>
                    <a:gd name="T24" fmla="*/ 2147483647 w 14"/>
                    <a:gd name="T25" fmla="*/ 0 h 20"/>
                    <a:gd name="T26" fmla="*/ 2147483647 w 14"/>
                    <a:gd name="T27" fmla="*/ 2147483647 h 20"/>
                    <a:gd name="T28" fmla="*/ 2147483647 w 14"/>
                    <a:gd name="T29" fmla="*/ 2147483647 h 2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4"/>
                    <a:gd name="T46" fmla="*/ 0 h 20"/>
                    <a:gd name="T47" fmla="*/ 14 w 14"/>
                    <a:gd name="T48" fmla="*/ 20 h 2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4" h="20">
                      <a:moveTo>
                        <a:pt x="11" y="10"/>
                      </a:moveTo>
                      <a:lnTo>
                        <a:pt x="14" y="13"/>
                      </a:lnTo>
                      <a:lnTo>
                        <a:pt x="14" y="17"/>
                      </a:lnTo>
                      <a:lnTo>
                        <a:pt x="13" y="19"/>
                      </a:lnTo>
                      <a:lnTo>
                        <a:pt x="11" y="20"/>
                      </a:lnTo>
                      <a:lnTo>
                        <a:pt x="10" y="20"/>
                      </a:lnTo>
                      <a:lnTo>
                        <a:pt x="7" y="18"/>
                      </a:lnTo>
                      <a:lnTo>
                        <a:pt x="4" y="13"/>
                      </a:lnTo>
                      <a:lnTo>
                        <a:pt x="1" y="9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11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" name="Freeform 804">
                  <a:extLst>
                    <a:ext uri="{FF2B5EF4-FFF2-40B4-BE49-F238E27FC236}">
                      <a16:creationId xmlns:a16="http://schemas.microsoft.com/office/drawing/2014/main" id="{2F937319-A708-5849-A29D-00004F72F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9721" y="4695320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0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5" y="6"/>
                      </a:moveTo>
                      <a:lnTo>
                        <a:pt x="4" y="6"/>
                      </a:lnTo>
                      <a:lnTo>
                        <a:pt x="3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0" name="Freeform 805">
                  <a:extLst>
                    <a:ext uri="{FF2B5EF4-FFF2-40B4-BE49-F238E27FC236}">
                      <a16:creationId xmlns:a16="http://schemas.microsoft.com/office/drawing/2014/main" id="{E71A54A3-3CE2-9244-A427-E275A2F423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9042" y="4575447"/>
                  <a:ext cx="19239" cy="29598"/>
                </a:xfrm>
                <a:custGeom>
                  <a:avLst/>
                  <a:gdLst>
                    <a:gd name="T0" fmla="*/ 2147483647 w 14"/>
                    <a:gd name="T1" fmla="*/ 2147483647 h 20"/>
                    <a:gd name="T2" fmla="*/ 2147483647 w 14"/>
                    <a:gd name="T3" fmla="*/ 2147483647 h 20"/>
                    <a:gd name="T4" fmla="*/ 2147483647 w 14"/>
                    <a:gd name="T5" fmla="*/ 2147483647 h 20"/>
                    <a:gd name="T6" fmla="*/ 2147483647 w 14"/>
                    <a:gd name="T7" fmla="*/ 2147483647 h 20"/>
                    <a:gd name="T8" fmla="*/ 2147483647 w 14"/>
                    <a:gd name="T9" fmla="*/ 2147483647 h 20"/>
                    <a:gd name="T10" fmla="*/ 2147483647 w 14"/>
                    <a:gd name="T11" fmla="*/ 2147483647 h 20"/>
                    <a:gd name="T12" fmla="*/ 2147483647 w 14"/>
                    <a:gd name="T13" fmla="*/ 2147483647 h 20"/>
                    <a:gd name="T14" fmla="*/ 2147483647 w 14"/>
                    <a:gd name="T15" fmla="*/ 2147483647 h 20"/>
                    <a:gd name="T16" fmla="*/ 2147483647 w 14"/>
                    <a:gd name="T17" fmla="*/ 2147483647 h 20"/>
                    <a:gd name="T18" fmla="*/ 2147483647 w 14"/>
                    <a:gd name="T19" fmla="*/ 2147483647 h 20"/>
                    <a:gd name="T20" fmla="*/ 2147483647 w 14"/>
                    <a:gd name="T21" fmla="*/ 2147483647 h 20"/>
                    <a:gd name="T22" fmla="*/ 0 w 14"/>
                    <a:gd name="T23" fmla="*/ 2147483647 h 20"/>
                    <a:gd name="T24" fmla="*/ 0 w 14"/>
                    <a:gd name="T25" fmla="*/ 2147483647 h 20"/>
                    <a:gd name="T26" fmla="*/ 2147483647 w 14"/>
                    <a:gd name="T27" fmla="*/ 2147483647 h 20"/>
                    <a:gd name="T28" fmla="*/ 2147483647 w 14"/>
                    <a:gd name="T29" fmla="*/ 0 h 20"/>
                    <a:gd name="T30" fmla="*/ 2147483647 w 14"/>
                    <a:gd name="T31" fmla="*/ 0 h 20"/>
                    <a:gd name="T32" fmla="*/ 2147483647 w 14"/>
                    <a:gd name="T33" fmla="*/ 2147483647 h 20"/>
                    <a:gd name="T34" fmla="*/ 2147483647 w 14"/>
                    <a:gd name="T35" fmla="*/ 2147483647 h 20"/>
                    <a:gd name="T36" fmla="*/ 2147483647 w 14"/>
                    <a:gd name="T37" fmla="*/ 2147483647 h 2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"/>
                    <a:gd name="T58" fmla="*/ 0 h 20"/>
                    <a:gd name="T59" fmla="*/ 14 w 14"/>
                    <a:gd name="T60" fmla="*/ 20 h 2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" h="20">
                      <a:moveTo>
                        <a:pt x="11" y="10"/>
                      </a:moveTo>
                      <a:lnTo>
                        <a:pt x="11" y="10"/>
                      </a:lnTo>
                      <a:lnTo>
                        <a:pt x="14" y="13"/>
                      </a:lnTo>
                      <a:lnTo>
                        <a:pt x="14" y="17"/>
                      </a:lnTo>
                      <a:lnTo>
                        <a:pt x="12" y="19"/>
                      </a:lnTo>
                      <a:lnTo>
                        <a:pt x="11" y="20"/>
                      </a:lnTo>
                      <a:lnTo>
                        <a:pt x="10" y="20"/>
                      </a:lnTo>
                      <a:lnTo>
                        <a:pt x="7" y="18"/>
                      </a:lnTo>
                      <a:lnTo>
                        <a:pt x="3" y="13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11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1" name="Freeform 806">
                  <a:extLst>
                    <a:ext uri="{FF2B5EF4-FFF2-40B4-BE49-F238E27FC236}">
                      <a16:creationId xmlns:a16="http://schemas.microsoft.com/office/drawing/2014/main" id="{EF51121F-005E-5A47-A9D4-EF54E4E03E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8237" y="4693835"/>
                  <a:ext cx="7400" cy="7400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2147483647 h 5"/>
                    <a:gd name="T6" fmla="*/ 2147483647 w 5"/>
                    <a:gd name="T7" fmla="*/ 2147483647 h 5"/>
                    <a:gd name="T8" fmla="*/ 2147483647 w 5"/>
                    <a:gd name="T9" fmla="*/ 2147483647 h 5"/>
                    <a:gd name="T10" fmla="*/ 2147483647 w 5"/>
                    <a:gd name="T11" fmla="*/ 2147483647 h 5"/>
                    <a:gd name="T12" fmla="*/ 0 w 5"/>
                    <a:gd name="T13" fmla="*/ 2147483647 h 5"/>
                    <a:gd name="T14" fmla="*/ 0 w 5"/>
                    <a:gd name="T15" fmla="*/ 2147483647 h 5"/>
                    <a:gd name="T16" fmla="*/ 2147483647 w 5"/>
                    <a:gd name="T17" fmla="*/ 0 h 5"/>
                    <a:gd name="T18" fmla="*/ 2147483647 w 5"/>
                    <a:gd name="T19" fmla="*/ 0 h 5"/>
                    <a:gd name="T20" fmla="*/ 2147483647 w 5"/>
                    <a:gd name="T21" fmla="*/ 0 h 5"/>
                    <a:gd name="T22" fmla="*/ 2147483647 w 5"/>
                    <a:gd name="T23" fmla="*/ 2147483647 h 5"/>
                    <a:gd name="T24" fmla="*/ 2147483647 w 5"/>
                    <a:gd name="T25" fmla="*/ 2147483647 h 5"/>
                    <a:gd name="T26" fmla="*/ 2147483647 w 5"/>
                    <a:gd name="T27" fmla="*/ 2147483647 h 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5"/>
                    <a:gd name="T44" fmla="*/ 5 w 5"/>
                    <a:gd name="T45" fmla="*/ 5 h 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5">
                      <a:moveTo>
                        <a:pt x="5" y="5"/>
                      </a:move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" name="Freeform 807">
                  <a:extLst>
                    <a:ext uri="{FF2B5EF4-FFF2-40B4-BE49-F238E27FC236}">
                      <a16:creationId xmlns:a16="http://schemas.microsoft.com/office/drawing/2014/main" id="{FE7C38B7-26FD-C147-B9BC-375B6675C5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0078" y="4713076"/>
                  <a:ext cx="5919" cy="5919"/>
                </a:xfrm>
                <a:custGeom>
                  <a:avLst/>
                  <a:gdLst>
                    <a:gd name="T0" fmla="*/ 2147483647 w 5"/>
                    <a:gd name="T1" fmla="*/ 2147483647 h 4"/>
                    <a:gd name="T2" fmla="*/ 2147483647 w 5"/>
                    <a:gd name="T3" fmla="*/ 2147483647 h 4"/>
                    <a:gd name="T4" fmla="*/ 2147483647 w 5"/>
                    <a:gd name="T5" fmla="*/ 2147483647 h 4"/>
                    <a:gd name="T6" fmla="*/ 0 w 5"/>
                    <a:gd name="T7" fmla="*/ 2147483647 h 4"/>
                    <a:gd name="T8" fmla="*/ 0 w 5"/>
                    <a:gd name="T9" fmla="*/ 0 h 4"/>
                    <a:gd name="T10" fmla="*/ 2147483647 w 5"/>
                    <a:gd name="T11" fmla="*/ 0 h 4"/>
                    <a:gd name="T12" fmla="*/ 2147483647 w 5"/>
                    <a:gd name="T13" fmla="*/ 2147483647 h 4"/>
                    <a:gd name="T14" fmla="*/ 2147483647 w 5"/>
                    <a:gd name="T15" fmla="*/ 2147483647 h 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"/>
                    <a:gd name="T25" fmla="*/ 0 h 4"/>
                    <a:gd name="T26" fmla="*/ 5 w 5"/>
                    <a:gd name="T27" fmla="*/ 4 h 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" h="4">
                      <a:moveTo>
                        <a:pt x="5" y="3"/>
                      </a:moveTo>
                      <a:lnTo>
                        <a:pt x="2" y="4"/>
                      </a:lnTo>
                      <a:lnTo>
                        <a:pt x="1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3" name="Freeform 808">
                  <a:extLst>
                    <a:ext uri="{FF2B5EF4-FFF2-40B4-BE49-F238E27FC236}">
                      <a16:creationId xmlns:a16="http://schemas.microsoft.com/office/drawing/2014/main" id="{533F378B-9FEC-374E-92FB-6149F60FC2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4430" y="4633163"/>
                  <a:ext cx="8879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0 w 6"/>
                    <a:gd name="T9" fmla="*/ 2147483647 h 7"/>
                    <a:gd name="T10" fmla="*/ 0 w 6"/>
                    <a:gd name="T11" fmla="*/ 2147483647 h 7"/>
                    <a:gd name="T12" fmla="*/ 2147483647 w 6"/>
                    <a:gd name="T13" fmla="*/ 0 h 7"/>
                    <a:gd name="T14" fmla="*/ 2147483647 w 6"/>
                    <a:gd name="T15" fmla="*/ 0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7"/>
                    <a:gd name="T32" fmla="*/ 6 w 6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7">
                      <a:moveTo>
                        <a:pt x="6" y="4"/>
                      </a:move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4" name="Freeform 809">
                  <a:extLst>
                    <a:ext uri="{FF2B5EF4-FFF2-40B4-BE49-F238E27FC236}">
                      <a16:creationId xmlns:a16="http://schemas.microsoft.com/office/drawing/2014/main" id="{D26EDCC1-2466-684A-AE6F-68D227248F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7116" y="4710118"/>
                  <a:ext cx="7400" cy="7399"/>
                </a:xfrm>
                <a:custGeom>
                  <a:avLst/>
                  <a:gdLst>
                    <a:gd name="T0" fmla="*/ 2147483647 w 5"/>
                    <a:gd name="T1" fmla="*/ 2147483647 h 5"/>
                    <a:gd name="T2" fmla="*/ 2147483647 w 5"/>
                    <a:gd name="T3" fmla="*/ 2147483647 h 5"/>
                    <a:gd name="T4" fmla="*/ 2147483647 w 5"/>
                    <a:gd name="T5" fmla="*/ 2147483647 h 5"/>
                    <a:gd name="T6" fmla="*/ 2147483647 w 5"/>
                    <a:gd name="T7" fmla="*/ 2147483647 h 5"/>
                    <a:gd name="T8" fmla="*/ 0 w 5"/>
                    <a:gd name="T9" fmla="*/ 2147483647 h 5"/>
                    <a:gd name="T10" fmla="*/ 0 w 5"/>
                    <a:gd name="T11" fmla="*/ 2147483647 h 5"/>
                    <a:gd name="T12" fmla="*/ 0 w 5"/>
                    <a:gd name="T13" fmla="*/ 0 h 5"/>
                    <a:gd name="T14" fmla="*/ 0 w 5"/>
                    <a:gd name="T15" fmla="*/ 0 h 5"/>
                    <a:gd name="T16" fmla="*/ 2147483647 w 5"/>
                    <a:gd name="T17" fmla="*/ 0 h 5"/>
                    <a:gd name="T18" fmla="*/ 2147483647 w 5"/>
                    <a:gd name="T19" fmla="*/ 2147483647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"/>
                    <a:gd name="T37" fmla="*/ 0 h 5"/>
                    <a:gd name="T38" fmla="*/ 5 w 5"/>
                    <a:gd name="T39" fmla="*/ 5 h 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" h="5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3" y="5"/>
                      </a:ln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5" name="Freeform 810">
                  <a:extLst>
                    <a:ext uri="{FF2B5EF4-FFF2-40B4-BE49-F238E27FC236}">
                      <a16:creationId xmlns:a16="http://schemas.microsoft.com/office/drawing/2014/main" id="{0D6C71EB-085C-B540-9F5C-0B0BA740C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2950" y="4631683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2147483647 w 6"/>
                    <a:gd name="T9" fmla="*/ 2147483647 h 7"/>
                    <a:gd name="T10" fmla="*/ 2147483647 w 6"/>
                    <a:gd name="T11" fmla="*/ 2147483647 h 7"/>
                    <a:gd name="T12" fmla="*/ 0 w 6"/>
                    <a:gd name="T13" fmla="*/ 2147483647 h 7"/>
                    <a:gd name="T14" fmla="*/ 0 w 6"/>
                    <a:gd name="T15" fmla="*/ 2147483647 h 7"/>
                    <a:gd name="T16" fmla="*/ 2147483647 w 6"/>
                    <a:gd name="T17" fmla="*/ 0 h 7"/>
                    <a:gd name="T18" fmla="*/ 2147483647 w 6"/>
                    <a:gd name="T19" fmla="*/ 0 h 7"/>
                    <a:gd name="T20" fmla="*/ 2147483647 w 6"/>
                    <a:gd name="T21" fmla="*/ 0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"/>
                    <a:gd name="T43" fmla="*/ 0 h 7"/>
                    <a:gd name="T44" fmla="*/ 6 w 6"/>
                    <a:gd name="T45" fmla="*/ 7 h 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" h="7">
                      <a:moveTo>
                        <a:pt x="6" y="4"/>
                      </a:moveTo>
                      <a:lnTo>
                        <a:pt x="6" y="4"/>
                      </a:lnTo>
                      <a:lnTo>
                        <a:pt x="6" y="6"/>
                      </a:lnTo>
                      <a:lnTo>
                        <a:pt x="5" y="7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" name="Freeform 811">
                  <a:extLst>
                    <a:ext uri="{FF2B5EF4-FFF2-40B4-BE49-F238E27FC236}">
                      <a16:creationId xmlns:a16="http://schemas.microsoft.com/office/drawing/2014/main" id="{1C3FE309-8708-CC47-9509-ECE7928792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4429" y="4612446"/>
                  <a:ext cx="17758" cy="20718"/>
                </a:xfrm>
                <a:custGeom>
                  <a:avLst/>
                  <a:gdLst>
                    <a:gd name="T0" fmla="*/ 2147483647 w 13"/>
                    <a:gd name="T1" fmla="*/ 2147483647 h 14"/>
                    <a:gd name="T2" fmla="*/ 2147483647 w 13"/>
                    <a:gd name="T3" fmla="*/ 2147483647 h 14"/>
                    <a:gd name="T4" fmla="*/ 2147483647 w 13"/>
                    <a:gd name="T5" fmla="*/ 2147483647 h 14"/>
                    <a:gd name="T6" fmla="*/ 2147483647 w 13"/>
                    <a:gd name="T7" fmla="*/ 2147483647 h 14"/>
                    <a:gd name="T8" fmla="*/ 2147483647 w 13"/>
                    <a:gd name="T9" fmla="*/ 0 h 14"/>
                    <a:gd name="T10" fmla="*/ 2147483647 w 13"/>
                    <a:gd name="T11" fmla="*/ 0 h 14"/>
                    <a:gd name="T12" fmla="*/ 0 w 13"/>
                    <a:gd name="T13" fmla="*/ 2147483647 h 14"/>
                    <a:gd name="T14" fmla="*/ 0 w 13"/>
                    <a:gd name="T15" fmla="*/ 2147483647 h 14"/>
                    <a:gd name="T16" fmla="*/ 0 w 13"/>
                    <a:gd name="T17" fmla="*/ 2147483647 h 14"/>
                    <a:gd name="T18" fmla="*/ 2147483647 w 13"/>
                    <a:gd name="T19" fmla="*/ 2147483647 h 14"/>
                    <a:gd name="T20" fmla="*/ 2147483647 w 13"/>
                    <a:gd name="T21" fmla="*/ 2147483647 h 14"/>
                    <a:gd name="T22" fmla="*/ 2147483647 w 13"/>
                    <a:gd name="T23" fmla="*/ 2147483647 h 14"/>
                    <a:gd name="T24" fmla="*/ 2147483647 w 13"/>
                    <a:gd name="T25" fmla="*/ 2147483647 h 14"/>
                    <a:gd name="T26" fmla="*/ 2147483647 w 13"/>
                    <a:gd name="T27" fmla="*/ 2147483647 h 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14"/>
                    <a:gd name="T44" fmla="*/ 13 w 13"/>
                    <a:gd name="T45" fmla="*/ 14 h 1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14">
                      <a:moveTo>
                        <a:pt x="13" y="11"/>
                      </a:moveTo>
                      <a:lnTo>
                        <a:pt x="13" y="10"/>
                      </a:lnTo>
                      <a:lnTo>
                        <a:pt x="11" y="8"/>
                      </a:lnTo>
                      <a:lnTo>
                        <a:pt x="7" y="4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4" y="11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1" y="13"/>
                      </a:lnTo>
                      <a:lnTo>
                        <a:pt x="13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" name="Freeform 812">
                  <a:extLst>
                    <a:ext uri="{FF2B5EF4-FFF2-40B4-BE49-F238E27FC236}">
                      <a16:creationId xmlns:a16="http://schemas.microsoft.com/office/drawing/2014/main" id="{469EF2FA-2482-AE4D-9F97-509B3A8337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89590" y="4659798"/>
                  <a:ext cx="38477" cy="45876"/>
                </a:xfrm>
                <a:custGeom>
                  <a:avLst/>
                  <a:gdLst>
                    <a:gd name="T0" fmla="*/ 2147483647 w 28"/>
                    <a:gd name="T1" fmla="*/ 2147483647 h 31"/>
                    <a:gd name="T2" fmla="*/ 2147483647 w 28"/>
                    <a:gd name="T3" fmla="*/ 2147483647 h 31"/>
                    <a:gd name="T4" fmla="*/ 2147483647 w 28"/>
                    <a:gd name="T5" fmla="*/ 2147483647 h 31"/>
                    <a:gd name="T6" fmla="*/ 2147483647 w 28"/>
                    <a:gd name="T7" fmla="*/ 2147483647 h 31"/>
                    <a:gd name="T8" fmla="*/ 0 w 28"/>
                    <a:gd name="T9" fmla="*/ 2147483647 h 31"/>
                    <a:gd name="T10" fmla="*/ 0 w 28"/>
                    <a:gd name="T11" fmla="*/ 2147483647 h 31"/>
                    <a:gd name="T12" fmla="*/ 2147483647 w 28"/>
                    <a:gd name="T13" fmla="*/ 2147483647 h 31"/>
                    <a:gd name="T14" fmla="*/ 2147483647 w 28"/>
                    <a:gd name="T15" fmla="*/ 2147483647 h 31"/>
                    <a:gd name="T16" fmla="*/ 2147483647 w 28"/>
                    <a:gd name="T17" fmla="*/ 2147483647 h 31"/>
                    <a:gd name="T18" fmla="*/ 2147483647 w 28"/>
                    <a:gd name="T19" fmla="*/ 2147483647 h 31"/>
                    <a:gd name="T20" fmla="*/ 2147483647 w 28"/>
                    <a:gd name="T21" fmla="*/ 0 h 31"/>
                    <a:gd name="T22" fmla="*/ 2147483647 w 28"/>
                    <a:gd name="T23" fmla="*/ 2147483647 h 31"/>
                    <a:gd name="T24" fmla="*/ 2147483647 w 28"/>
                    <a:gd name="T25" fmla="*/ 2147483647 h 31"/>
                    <a:gd name="T26" fmla="*/ 2147483647 w 28"/>
                    <a:gd name="T27" fmla="*/ 2147483647 h 31"/>
                    <a:gd name="T28" fmla="*/ 2147483647 w 28"/>
                    <a:gd name="T29" fmla="*/ 2147483647 h 31"/>
                    <a:gd name="T30" fmla="*/ 2147483647 w 28"/>
                    <a:gd name="T31" fmla="*/ 2147483647 h 31"/>
                    <a:gd name="T32" fmla="*/ 2147483647 w 28"/>
                    <a:gd name="T33" fmla="*/ 2147483647 h 31"/>
                    <a:gd name="T34" fmla="*/ 2147483647 w 28"/>
                    <a:gd name="T35" fmla="*/ 2147483647 h 31"/>
                    <a:gd name="T36" fmla="*/ 2147483647 w 28"/>
                    <a:gd name="T37" fmla="*/ 2147483647 h 31"/>
                    <a:gd name="T38" fmla="*/ 2147483647 w 28"/>
                    <a:gd name="T39" fmla="*/ 2147483647 h 31"/>
                    <a:gd name="T40" fmla="*/ 2147483647 w 28"/>
                    <a:gd name="T41" fmla="*/ 2147483647 h 31"/>
                    <a:gd name="T42" fmla="*/ 2147483647 w 28"/>
                    <a:gd name="T43" fmla="*/ 2147483647 h 31"/>
                    <a:gd name="T44" fmla="*/ 2147483647 w 28"/>
                    <a:gd name="T45" fmla="*/ 2147483647 h 31"/>
                    <a:gd name="T46" fmla="*/ 2147483647 w 28"/>
                    <a:gd name="T47" fmla="*/ 2147483647 h 3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8"/>
                    <a:gd name="T73" fmla="*/ 0 h 31"/>
                    <a:gd name="T74" fmla="*/ 28 w 28"/>
                    <a:gd name="T75" fmla="*/ 31 h 3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8" h="31">
                      <a:moveTo>
                        <a:pt x="19" y="28"/>
                      </a:moveTo>
                      <a:lnTo>
                        <a:pt x="11" y="21"/>
                      </a:lnTo>
                      <a:lnTo>
                        <a:pt x="5" y="14"/>
                      </a:lnTo>
                      <a:lnTo>
                        <a:pt x="2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1" y="7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14" y="1"/>
                      </a:lnTo>
                      <a:lnTo>
                        <a:pt x="16" y="2"/>
                      </a:lnTo>
                      <a:lnTo>
                        <a:pt x="16" y="4"/>
                      </a:lnTo>
                      <a:lnTo>
                        <a:pt x="16" y="13"/>
                      </a:lnTo>
                      <a:lnTo>
                        <a:pt x="17" y="17"/>
                      </a:lnTo>
                      <a:lnTo>
                        <a:pt x="21" y="19"/>
                      </a:lnTo>
                      <a:lnTo>
                        <a:pt x="24" y="21"/>
                      </a:lnTo>
                      <a:lnTo>
                        <a:pt x="26" y="24"/>
                      </a:lnTo>
                      <a:lnTo>
                        <a:pt x="28" y="26"/>
                      </a:lnTo>
                      <a:lnTo>
                        <a:pt x="26" y="30"/>
                      </a:lnTo>
                      <a:lnTo>
                        <a:pt x="25" y="31"/>
                      </a:lnTo>
                      <a:lnTo>
                        <a:pt x="22" y="31"/>
                      </a:lnTo>
                      <a:lnTo>
                        <a:pt x="19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8" name="Freeform 813">
                  <a:extLst>
                    <a:ext uri="{FF2B5EF4-FFF2-40B4-BE49-F238E27FC236}">
                      <a16:creationId xmlns:a16="http://schemas.microsoft.com/office/drawing/2014/main" id="{48BE67AB-D412-E943-8A53-F950CEB66C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2952" y="4610965"/>
                  <a:ext cx="16279" cy="20718"/>
                </a:xfrm>
                <a:custGeom>
                  <a:avLst/>
                  <a:gdLst>
                    <a:gd name="T0" fmla="*/ 2147483647 w 12"/>
                    <a:gd name="T1" fmla="*/ 2147483647 h 14"/>
                    <a:gd name="T2" fmla="*/ 2147483647 w 12"/>
                    <a:gd name="T3" fmla="*/ 2147483647 h 14"/>
                    <a:gd name="T4" fmla="*/ 2147483647 w 12"/>
                    <a:gd name="T5" fmla="*/ 2147483647 h 14"/>
                    <a:gd name="T6" fmla="*/ 2147483647 w 12"/>
                    <a:gd name="T7" fmla="*/ 2147483647 h 14"/>
                    <a:gd name="T8" fmla="*/ 2147483647 w 12"/>
                    <a:gd name="T9" fmla="*/ 2147483647 h 14"/>
                    <a:gd name="T10" fmla="*/ 2147483647 w 12"/>
                    <a:gd name="T11" fmla="*/ 2147483647 h 14"/>
                    <a:gd name="T12" fmla="*/ 2147483647 w 12"/>
                    <a:gd name="T13" fmla="*/ 0 h 14"/>
                    <a:gd name="T14" fmla="*/ 2147483647 w 12"/>
                    <a:gd name="T15" fmla="*/ 0 h 14"/>
                    <a:gd name="T16" fmla="*/ 2147483647 w 12"/>
                    <a:gd name="T17" fmla="*/ 0 h 14"/>
                    <a:gd name="T18" fmla="*/ 0 w 12"/>
                    <a:gd name="T19" fmla="*/ 2147483647 h 14"/>
                    <a:gd name="T20" fmla="*/ 0 w 12"/>
                    <a:gd name="T21" fmla="*/ 2147483647 h 14"/>
                    <a:gd name="T22" fmla="*/ 0 w 12"/>
                    <a:gd name="T23" fmla="*/ 2147483647 h 14"/>
                    <a:gd name="T24" fmla="*/ 0 w 12"/>
                    <a:gd name="T25" fmla="*/ 2147483647 h 14"/>
                    <a:gd name="T26" fmla="*/ 2147483647 w 12"/>
                    <a:gd name="T27" fmla="*/ 2147483647 h 14"/>
                    <a:gd name="T28" fmla="*/ 2147483647 w 12"/>
                    <a:gd name="T29" fmla="*/ 2147483647 h 14"/>
                    <a:gd name="T30" fmla="*/ 2147483647 w 12"/>
                    <a:gd name="T31" fmla="*/ 2147483647 h 14"/>
                    <a:gd name="T32" fmla="*/ 2147483647 w 12"/>
                    <a:gd name="T33" fmla="*/ 2147483647 h 14"/>
                    <a:gd name="T34" fmla="*/ 2147483647 w 12"/>
                    <a:gd name="T35" fmla="*/ 2147483647 h 14"/>
                    <a:gd name="T36" fmla="*/ 2147483647 w 12"/>
                    <a:gd name="T37" fmla="*/ 2147483647 h 14"/>
                    <a:gd name="T38" fmla="*/ 2147483647 w 12"/>
                    <a:gd name="T39" fmla="*/ 2147483647 h 1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2"/>
                    <a:gd name="T61" fmla="*/ 0 h 14"/>
                    <a:gd name="T62" fmla="*/ 12 w 12"/>
                    <a:gd name="T63" fmla="*/ 14 h 1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2" h="14">
                      <a:moveTo>
                        <a:pt x="12" y="11"/>
                      </a:moveTo>
                      <a:lnTo>
                        <a:pt x="12" y="11"/>
                      </a:lnTo>
                      <a:lnTo>
                        <a:pt x="12" y="9"/>
                      </a:lnTo>
                      <a:lnTo>
                        <a:pt x="11" y="8"/>
                      </a:lnTo>
                      <a:lnTo>
                        <a:pt x="7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11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1" y="13"/>
                      </a:lnTo>
                      <a:lnTo>
                        <a:pt x="12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9" name="Freeform 814">
                  <a:extLst>
                    <a:ext uri="{FF2B5EF4-FFF2-40B4-BE49-F238E27FC236}">
                      <a16:creationId xmlns:a16="http://schemas.microsoft.com/office/drawing/2014/main" id="{2DF351B4-804A-064F-BE7C-84811A2DBF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86630" y="4658320"/>
                  <a:ext cx="38477" cy="45877"/>
                </a:xfrm>
                <a:custGeom>
                  <a:avLst/>
                  <a:gdLst>
                    <a:gd name="T0" fmla="*/ 2147483647 w 28"/>
                    <a:gd name="T1" fmla="*/ 2147483647 h 31"/>
                    <a:gd name="T2" fmla="*/ 2147483647 w 28"/>
                    <a:gd name="T3" fmla="*/ 2147483647 h 31"/>
                    <a:gd name="T4" fmla="*/ 2147483647 w 28"/>
                    <a:gd name="T5" fmla="*/ 2147483647 h 31"/>
                    <a:gd name="T6" fmla="*/ 2147483647 w 28"/>
                    <a:gd name="T7" fmla="*/ 2147483647 h 31"/>
                    <a:gd name="T8" fmla="*/ 2147483647 w 28"/>
                    <a:gd name="T9" fmla="*/ 2147483647 h 31"/>
                    <a:gd name="T10" fmla="*/ 2147483647 w 28"/>
                    <a:gd name="T11" fmla="*/ 2147483647 h 31"/>
                    <a:gd name="T12" fmla="*/ 0 w 28"/>
                    <a:gd name="T13" fmla="*/ 2147483647 h 31"/>
                    <a:gd name="T14" fmla="*/ 0 w 28"/>
                    <a:gd name="T15" fmla="*/ 2147483647 h 31"/>
                    <a:gd name="T16" fmla="*/ 0 w 28"/>
                    <a:gd name="T17" fmla="*/ 2147483647 h 31"/>
                    <a:gd name="T18" fmla="*/ 2147483647 w 28"/>
                    <a:gd name="T19" fmla="*/ 2147483647 h 31"/>
                    <a:gd name="T20" fmla="*/ 2147483647 w 28"/>
                    <a:gd name="T21" fmla="*/ 2147483647 h 31"/>
                    <a:gd name="T22" fmla="*/ 2147483647 w 28"/>
                    <a:gd name="T23" fmla="*/ 2147483647 h 31"/>
                    <a:gd name="T24" fmla="*/ 2147483647 w 28"/>
                    <a:gd name="T25" fmla="*/ 2147483647 h 31"/>
                    <a:gd name="T26" fmla="*/ 2147483647 w 28"/>
                    <a:gd name="T27" fmla="*/ 2147483647 h 31"/>
                    <a:gd name="T28" fmla="*/ 2147483647 w 28"/>
                    <a:gd name="T29" fmla="*/ 2147483647 h 31"/>
                    <a:gd name="T30" fmla="*/ 2147483647 w 28"/>
                    <a:gd name="T31" fmla="*/ 0 h 31"/>
                    <a:gd name="T32" fmla="*/ 2147483647 w 28"/>
                    <a:gd name="T33" fmla="*/ 2147483647 h 31"/>
                    <a:gd name="T34" fmla="*/ 2147483647 w 28"/>
                    <a:gd name="T35" fmla="*/ 2147483647 h 31"/>
                    <a:gd name="T36" fmla="*/ 2147483647 w 28"/>
                    <a:gd name="T37" fmla="*/ 2147483647 h 31"/>
                    <a:gd name="T38" fmla="*/ 2147483647 w 28"/>
                    <a:gd name="T39" fmla="*/ 2147483647 h 31"/>
                    <a:gd name="T40" fmla="*/ 2147483647 w 28"/>
                    <a:gd name="T41" fmla="*/ 2147483647 h 31"/>
                    <a:gd name="T42" fmla="*/ 2147483647 w 28"/>
                    <a:gd name="T43" fmla="*/ 2147483647 h 31"/>
                    <a:gd name="T44" fmla="*/ 2147483647 w 28"/>
                    <a:gd name="T45" fmla="*/ 2147483647 h 31"/>
                    <a:gd name="T46" fmla="*/ 2147483647 w 28"/>
                    <a:gd name="T47" fmla="*/ 2147483647 h 31"/>
                    <a:gd name="T48" fmla="*/ 2147483647 w 28"/>
                    <a:gd name="T49" fmla="*/ 2147483647 h 31"/>
                    <a:gd name="T50" fmla="*/ 2147483647 w 28"/>
                    <a:gd name="T51" fmla="*/ 2147483647 h 31"/>
                    <a:gd name="T52" fmla="*/ 2147483647 w 28"/>
                    <a:gd name="T53" fmla="*/ 2147483647 h 31"/>
                    <a:gd name="T54" fmla="*/ 2147483647 w 28"/>
                    <a:gd name="T55" fmla="*/ 2147483647 h 31"/>
                    <a:gd name="T56" fmla="*/ 2147483647 w 28"/>
                    <a:gd name="T57" fmla="*/ 2147483647 h 31"/>
                    <a:gd name="T58" fmla="*/ 2147483647 w 28"/>
                    <a:gd name="T59" fmla="*/ 2147483647 h 31"/>
                    <a:gd name="T60" fmla="*/ 2147483647 w 28"/>
                    <a:gd name="T61" fmla="*/ 2147483647 h 31"/>
                    <a:gd name="T62" fmla="*/ 2147483647 w 28"/>
                    <a:gd name="T63" fmla="*/ 2147483647 h 31"/>
                    <a:gd name="T64" fmla="*/ 2147483647 w 28"/>
                    <a:gd name="T65" fmla="*/ 2147483647 h 3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8"/>
                    <a:gd name="T100" fmla="*/ 0 h 31"/>
                    <a:gd name="T101" fmla="*/ 28 w 28"/>
                    <a:gd name="T102" fmla="*/ 31 h 3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8" h="31">
                      <a:moveTo>
                        <a:pt x="19" y="28"/>
                      </a:moveTo>
                      <a:lnTo>
                        <a:pt x="19" y="28"/>
                      </a:lnTo>
                      <a:lnTo>
                        <a:pt x="12" y="21"/>
                      </a:lnTo>
                      <a:lnTo>
                        <a:pt x="5" y="14"/>
                      </a:lnTo>
                      <a:lnTo>
                        <a:pt x="3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2" y="7"/>
                      </a:lnTo>
                      <a:lnTo>
                        <a:pt x="4" y="6"/>
                      </a:lnTo>
                      <a:lnTo>
                        <a:pt x="5" y="3"/>
                      </a:lnTo>
                      <a:lnTo>
                        <a:pt x="10" y="1"/>
                      </a:lnTo>
                      <a:lnTo>
                        <a:pt x="12" y="0"/>
                      </a:lnTo>
                      <a:lnTo>
                        <a:pt x="14" y="1"/>
                      </a:lnTo>
                      <a:lnTo>
                        <a:pt x="17" y="2"/>
                      </a:lnTo>
                      <a:lnTo>
                        <a:pt x="17" y="3"/>
                      </a:lnTo>
                      <a:lnTo>
                        <a:pt x="17" y="13"/>
                      </a:lnTo>
                      <a:lnTo>
                        <a:pt x="18" y="16"/>
                      </a:lnTo>
                      <a:lnTo>
                        <a:pt x="22" y="19"/>
                      </a:lnTo>
                      <a:lnTo>
                        <a:pt x="24" y="21"/>
                      </a:lnTo>
                      <a:lnTo>
                        <a:pt x="27" y="24"/>
                      </a:lnTo>
                      <a:lnTo>
                        <a:pt x="28" y="26"/>
                      </a:lnTo>
                      <a:lnTo>
                        <a:pt x="27" y="29"/>
                      </a:lnTo>
                      <a:lnTo>
                        <a:pt x="26" y="31"/>
                      </a:lnTo>
                      <a:lnTo>
                        <a:pt x="23" y="31"/>
                      </a:lnTo>
                      <a:lnTo>
                        <a:pt x="19" y="2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0" name="Freeform 815">
                  <a:extLst>
                    <a:ext uri="{FF2B5EF4-FFF2-40B4-BE49-F238E27FC236}">
                      <a16:creationId xmlns:a16="http://schemas.microsoft.com/office/drawing/2014/main" id="{C00A828C-5DDC-2041-A00F-84E2A7D5D3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1688" y="4457058"/>
                  <a:ext cx="242699" cy="332972"/>
                </a:xfrm>
                <a:custGeom>
                  <a:avLst/>
                  <a:gdLst>
                    <a:gd name="T0" fmla="*/ 2147483647 w 178"/>
                    <a:gd name="T1" fmla="*/ 2147483647 h 225"/>
                    <a:gd name="T2" fmla="*/ 2147483647 w 178"/>
                    <a:gd name="T3" fmla="*/ 2147483647 h 225"/>
                    <a:gd name="T4" fmla="*/ 2147483647 w 178"/>
                    <a:gd name="T5" fmla="*/ 2147483647 h 225"/>
                    <a:gd name="T6" fmla="*/ 2147483647 w 178"/>
                    <a:gd name="T7" fmla="*/ 2147483647 h 225"/>
                    <a:gd name="T8" fmla="*/ 2147483647 w 178"/>
                    <a:gd name="T9" fmla="*/ 2147483647 h 225"/>
                    <a:gd name="T10" fmla="*/ 2147483647 w 178"/>
                    <a:gd name="T11" fmla="*/ 2147483647 h 225"/>
                    <a:gd name="T12" fmla="*/ 2147483647 w 178"/>
                    <a:gd name="T13" fmla="*/ 2147483647 h 225"/>
                    <a:gd name="T14" fmla="*/ 2147483647 w 178"/>
                    <a:gd name="T15" fmla="*/ 2147483647 h 225"/>
                    <a:gd name="T16" fmla="*/ 2147483647 w 178"/>
                    <a:gd name="T17" fmla="*/ 2147483647 h 225"/>
                    <a:gd name="T18" fmla="*/ 2147483647 w 178"/>
                    <a:gd name="T19" fmla="*/ 2147483647 h 225"/>
                    <a:gd name="T20" fmla="*/ 2147483647 w 178"/>
                    <a:gd name="T21" fmla="*/ 2147483647 h 225"/>
                    <a:gd name="T22" fmla="*/ 2147483647 w 178"/>
                    <a:gd name="T23" fmla="*/ 2147483647 h 225"/>
                    <a:gd name="T24" fmla="*/ 2147483647 w 178"/>
                    <a:gd name="T25" fmla="*/ 2147483647 h 225"/>
                    <a:gd name="T26" fmla="*/ 2147483647 w 178"/>
                    <a:gd name="T27" fmla="*/ 2147483647 h 225"/>
                    <a:gd name="T28" fmla="*/ 2147483647 w 178"/>
                    <a:gd name="T29" fmla="*/ 2147483647 h 225"/>
                    <a:gd name="T30" fmla="*/ 2147483647 w 178"/>
                    <a:gd name="T31" fmla="*/ 2147483647 h 225"/>
                    <a:gd name="T32" fmla="*/ 2147483647 w 178"/>
                    <a:gd name="T33" fmla="*/ 2147483647 h 225"/>
                    <a:gd name="T34" fmla="*/ 2147483647 w 178"/>
                    <a:gd name="T35" fmla="*/ 2147483647 h 225"/>
                    <a:gd name="T36" fmla="*/ 0 w 178"/>
                    <a:gd name="T37" fmla="*/ 2147483647 h 225"/>
                    <a:gd name="T38" fmla="*/ 2147483647 w 178"/>
                    <a:gd name="T39" fmla="*/ 0 h 225"/>
                    <a:gd name="T40" fmla="*/ 2147483647 w 178"/>
                    <a:gd name="T41" fmla="*/ 2147483647 h 225"/>
                    <a:gd name="T42" fmla="*/ 2147483647 w 178"/>
                    <a:gd name="T43" fmla="*/ 2147483647 h 225"/>
                    <a:gd name="T44" fmla="*/ 2147483647 w 178"/>
                    <a:gd name="T45" fmla="*/ 2147483647 h 225"/>
                    <a:gd name="T46" fmla="*/ 2147483647 w 178"/>
                    <a:gd name="T47" fmla="*/ 2147483647 h 225"/>
                    <a:gd name="T48" fmla="*/ 2147483647 w 178"/>
                    <a:gd name="T49" fmla="*/ 2147483647 h 225"/>
                    <a:gd name="T50" fmla="*/ 2147483647 w 178"/>
                    <a:gd name="T51" fmla="*/ 2147483647 h 225"/>
                    <a:gd name="T52" fmla="*/ 2147483647 w 178"/>
                    <a:gd name="T53" fmla="*/ 2147483647 h 225"/>
                    <a:gd name="T54" fmla="*/ 2147483647 w 178"/>
                    <a:gd name="T55" fmla="*/ 2147483647 h 225"/>
                    <a:gd name="T56" fmla="*/ 2147483647 w 178"/>
                    <a:gd name="T57" fmla="*/ 2147483647 h 225"/>
                    <a:gd name="T58" fmla="*/ 2147483647 w 178"/>
                    <a:gd name="T59" fmla="*/ 2147483647 h 225"/>
                    <a:gd name="T60" fmla="*/ 2147483647 w 178"/>
                    <a:gd name="T61" fmla="*/ 2147483647 h 225"/>
                    <a:gd name="T62" fmla="*/ 2147483647 w 178"/>
                    <a:gd name="T63" fmla="*/ 2147483647 h 225"/>
                    <a:gd name="T64" fmla="*/ 2147483647 w 178"/>
                    <a:gd name="T65" fmla="*/ 2147483647 h 225"/>
                    <a:gd name="T66" fmla="*/ 2147483647 w 178"/>
                    <a:gd name="T67" fmla="*/ 2147483647 h 225"/>
                    <a:gd name="T68" fmla="*/ 2147483647 w 178"/>
                    <a:gd name="T69" fmla="*/ 2147483647 h 225"/>
                    <a:gd name="T70" fmla="*/ 2147483647 w 178"/>
                    <a:gd name="T71" fmla="*/ 2147483647 h 225"/>
                    <a:gd name="T72" fmla="*/ 2147483647 w 178"/>
                    <a:gd name="T73" fmla="*/ 2147483647 h 225"/>
                    <a:gd name="T74" fmla="*/ 2147483647 w 178"/>
                    <a:gd name="T75" fmla="*/ 2147483647 h 225"/>
                    <a:gd name="T76" fmla="*/ 2147483647 w 178"/>
                    <a:gd name="T77" fmla="*/ 2147483647 h 225"/>
                    <a:gd name="T78" fmla="*/ 2147483647 w 178"/>
                    <a:gd name="T79" fmla="*/ 2147483647 h 225"/>
                    <a:gd name="T80" fmla="*/ 2147483647 w 178"/>
                    <a:gd name="T81" fmla="*/ 2147483647 h 225"/>
                    <a:gd name="T82" fmla="*/ 2147483647 w 178"/>
                    <a:gd name="T83" fmla="*/ 2147483647 h 225"/>
                    <a:gd name="T84" fmla="*/ 2147483647 w 178"/>
                    <a:gd name="T85" fmla="*/ 2147483647 h 22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8"/>
                    <a:gd name="T130" fmla="*/ 0 h 225"/>
                    <a:gd name="T131" fmla="*/ 178 w 178"/>
                    <a:gd name="T132" fmla="*/ 225 h 22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8" h="225">
                      <a:moveTo>
                        <a:pt x="169" y="214"/>
                      </a:moveTo>
                      <a:lnTo>
                        <a:pt x="167" y="213"/>
                      </a:lnTo>
                      <a:lnTo>
                        <a:pt x="165" y="213"/>
                      </a:lnTo>
                      <a:lnTo>
                        <a:pt x="163" y="214"/>
                      </a:lnTo>
                      <a:lnTo>
                        <a:pt x="162" y="218"/>
                      </a:lnTo>
                      <a:lnTo>
                        <a:pt x="162" y="219"/>
                      </a:lnTo>
                      <a:lnTo>
                        <a:pt x="160" y="219"/>
                      </a:lnTo>
                      <a:lnTo>
                        <a:pt x="156" y="221"/>
                      </a:lnTo>
                      <a:lnTo>
                        <a:pt x="153" y="224"/>
                      </a:lnTo>
                      <a:lnTo>
                        <a:pt x="151" y="225"/>
                      </a:lnTo>
                      <a:lnTo>
                        <a:pt x="150" y="225"/>
                      </a:lnTo>
                      <a:lnTo>
                        <a:pt x="149" y="221"/>
                      </a:lnTo>
                      <a:lnTo>
                        <a:pt x="146" y="218"/>
                      </a:lnTo>
                      <a:lnTo>
                        <a:pt x="142" y="214"/>
                      </a:lnTo>
                      <a:lnTo>
                        <a:pt x="140" y="211"/>
                      </a:lnTo>
                      <a:lnTo>
                        <a:pt x="137" y="207"/>
                      </a:lnTo>
                      <a:lnTo>
                        <a:pt x="130" y="200"/>
                      </a:lnTo>
                      <a:lnTo>
                        <a:pt x="123" y="192"/>
                      </a:lnTo>
                      <a:lnTo>
                        <a:pt x="116" y="184"/>
                      </a:lnTo>
                      <a:lnTo>
                        <a:pt x="108" y="177"/>
                      </a:lnTo>
                      <a:lnTo>
                        <a:pt x="103" y="171"/>
                      </a:lnTo>
                      <a:lnTo>
                        <a:pt x="99" y="168"/>
                      </a:lnTo>
                      <a:lnTo>
                        <a:pt x="98" y="165"/>
                      </a:lnTo>
                      <a:lnTo>
                        <a:pt x="97" y="162"/>
                      </a:lnTo>
                      <a:lnTo>
                        <a:pt x="95" y="149"/>
                      </a:lnTo>
                      <a:lnTo>
                        <a:pt x="94" y="143"/>
                      </a:lnTo>
                      <a:lnTo>
                        <a:pt x="92" y="137"/>
                      </a:lnTo>
                      <a:lnTo>
                        <a:pt x="89" y="131"/>
                      </a:lnTo>
                      <a:lnTo>
                        <a:pt x="87" y="125"/>
                      </a:lnTo>
                      <a:lnTo>
                        <a:pt x="84" y="119"/>
                      </a:lnTo>
                      <a:lnTo>
                        <a:pt x="80" y="115"/>
                      </a:lnTo>
                      <a:lnTo>
                        <a:pt x="78" y="112"/>
                      </a:lnTo>
                      <a:lnTo>
                        <a:pt x="75" y="111"/>
                      </a:lnTo>
                      <a:lnTo>
                        <a:pt x="70" y="103"/>
                      </a:lnTo>
                      <a:lnTo>
                        <a:pt x="66" y="94"/>
                      </a:lnTo>
                      <a:lnTo>
                        <a:pt x="61" y="77"/>
                      </a:lnTo>
                      <a:lnTo>
                        <a:pt x="61" y="75"/>
                      </a:lnTo>
                      <a:lnTo>
                        <a:pt x="60" y="74"/>
                      </a:lnTo>
                      <a:lnTo>
                        <a:pt x="55" y="73"/>
                      </a:lnTo>
                      <a:lnTo>
                        <a:pt x="50" y="73"/>
                      </a:lnTo>
                      <a:lnTo>
                        <a:pt x="46" y="72"/>
                      </a:lnTo>
                      <a:lnTo>
                        <a:pt x="43" y="71"/>
                      </a:lnTo>
                      <a:lnTo>
                        <a:pt x="42" y="68"/>
                      </a:lnTo>
                      <a:lnTo>
                        <a:pt x="40" y="61"/>
                      </a:lnTo>
                      <a:lnTo>
                        <a:pt x="35" y="55"/>
                      </a:lnTo>
                      <a:lnTo>
                        <a:pt x="32" y="48"/>
                      </a:lnTo>
                      <a:lnTo>
                        <a:pt x="29" y="41"/>
                      </a:lnTo>
                      <a:lnTo>
                        <a:pt x="28" y="40"/>
                      </a:lnTo>
                      <a:lnTo>
                        <a:pt x="27" y="40"/>
                      </a:lnTo>
                      <a:lnTo>
                        <a:pt x="26" y="36"/>
                      </a:lnTo>
                      <a:lnTo>
                        <a:pt x="24" y="35"/>
                      </a:lnTo>
                      <a:lnTo>
                        <a:pt x="13" y="29"/>
                      </a:lnTo>
                      <a:lnTo>
                        <a:pt x="9" y="24"/>
                      </a:lnTo>
                      <a:lnTo>
                        <a:pt x="4" y="21"/>
                      </a:lnTo>
                      <a:lnTo>
                        <a:pt x="2" y="16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10" y="2"/>
                      </a:lnTo>
                      <a:lnTo>
                        <a:pt x="15" y="5"/>
                      </a:lnTo>
                      <a:lnTo>
                        <a:pt x="19" y="10"/>
                      </a:lnTo>
                      <a:lnTo>
                        <a:pt x="22" y="11"/>
                      </a:lnTo>
                      <a:lnTo>
                        <a:pt x="23" y="11"/>
                      </a:lnTo>
                      <a:lnTo>
                        <a:pt x="31" y="11"/>
                      </a:lnTo>
                      <a:lnTo>
                        <a:pt x="37" y="13"/>
                      </a:lnTo>
                      <a:lnTo>
                        <a:pt x="43" y="14"/>
                      </a:lnTo>
                      <a:lnTo>
                        <a:pt x="50" y="17"/>
                      </a:lnTo>
                      <a:lnTo>
                        <a:pt x="57" y="23"/>
                      </a:lnTo>
                      <a:lnTo>
                        <a:pt x="62" y="30"/>
                      </a:lnTo>
                      <a:lnTo>
                        <a:pt x="74" y="45"/>
                      </a:lnTo>
                      <a:lnTo>
                        <a:pt x="79" y="52"/>
                      </a:lnTo>
                      <a:lnTo>
                        <a:pt x="85" y="58"/>
                      </a:lnTo>
                      <a:lnTo>
                        <a:pt x="92" y="64"/>
                      </a:lnTo>
                      <a:lnTo>
                        <a:pt x="101" y="68"/>
                      </a:lnTo>
                      <a:lnTo>
                        <a:pt x="104" y="72"/>
                      </a:lnTo>
                      <a:lnTo>
                        <a:pt x="108" y="75"/>
                      </a:lnTo>
                      <a:lnTo>
                        <a:pt x="112" y="80"/>
                      </a:lnTo>
                      <a:lnTo>
                        <a:pt x="117" y="84"/>
                      </a:lnTo>
                      <a:lnTo>
                        <a:pt x="120" y="87"/>
                      </a:lnTo>
                      <a:lnTo>
                        <a:pt x="121" y="88"/>
                      </a:lnTo>
                      <a:lnTo>
                        <a:pt x="122" y="90"/>
                      </a:lnTo>
                      <a:lnTo>
                        <a:pt x="125" y="90"/>
                      </a:lnTo>
                      <a:lnTo>
                        <a:pt x="127" y="90"/>
                      </a:lnTo>
                      <a:lnTo>
                        <a:pt x="129" y="91"/>
                      </a:lnTo>
                      <a:lnTo>
                        <a:pt x="130" y="93"/>
                      </a:lnTo>
                      <a:lnTo>
                        <a:pt x="131" y="101"/>
                      </a:lnTo>
                      <a:lnTo>
                        <a:pt x="132" y="104"/>
                      </a:lnTo>
                      <a:lnTo>
                        <a:pt x="136" y="104"/>
                      </a:lnTo>
                      <a:lnTo>
                        <a:pt x="137" y="104"/>
                      </a:lnTo>
                      <a:lnTo>
                        <a:pt x="139" y="105"/>
                      </a:lnTo>
                      <a:lnTo>
                        <a:pt x="139" y="106"/>
                      </a:lnTo>
                      <a:lnTo>
                        <a:pt x="140" y="115"/>
                      </a:lnTo>
                      <a:lnTo>
                        <a:pt x="140" y="116"/>
                      </a:lnTo>
                      <a:lnTo>
                        <a:pt x="137" y="117"/>
                      </a:lnTo>
                      <a:lnTo>
                        <a:pt x="136" y="118"/>
                      </a:lnTo>
                      <a:lnTo>
                        <a:pt x="134" y="120"/>
                      </a:lnTo>
                      <a:lnTo>
                        <a:pt x="134" y="122"/>
                      </a:lnTo>
                      <a:lnTo>
                        <a:pt x="134" y="124"/>
                      </a:lnTo>
                      <a:lnTo>
                        <a:pt x="134" y="125"/>
                      </a:lnTo>
                      <a:lnTo>
                        <a:pt x="134" y="129"/>
                      </a:lnTo>
                      <a:lnTo>
                        <a:pt x="135" y="130"/>
                      </a:lnTo>
                      <a:lnTo>
                        <a:pt x="144" y="135"/>
                      </a:lnTo>
                      <a:lnTo>
                        <a:pt x="151" y="142"/>
                      </a:lnTo>
                      <a:lnTo>
                        <a:pt x="154" y="145"/>
                      </a:lnTo>
                      <a:lnTo>
                        <a:pt x="156" y="149"/>
                      </a:lnTo>
                      <a:lnTo>
                        <a:pt x="156" y="154"/>
                      </a:lnTo>
                      <a:lnTo>
                        <a:pt x="156" y="158"/>
                      </a:lnTo>
                      <a:lnTo>
                        <a:pt x="158" y="161"/>
                      </a:lnTo>
                      <a:lnTo>
                        <a:pt x="160" y="161"/>
                      </a:lnTo>
                      <a:lnTo>
                        <a:pt x="163" y="161"/>
                      </a:lnTo>
                      <a:lnTo>
                        <a:pt x="164" y="160"/>
                      </a:lnTo>
                      <a:lnTo>
                        <a:pt x="167" y="160"/>
                      </a:lnTo>
                      <a:lnTo>
                        <a:pt x="172" y="164"/>
                      </a:lnTo>
                      <a:lnTo>
                        <a:pt x="175" y="165"/>
                      </a:lnTo>
                      <a:lnTo>
                        <a:pt x="178" y="168"/>
                      </a:lnTo>
                      <a:lnTo>
                        <a:pt x="178" y="169"/>
                      </a:lnTo>
                      <a:lnTo>
                        <a:pt x="178" y="171"/>
                      </a:lnTo>
                      <a:lnTo>
                        <a:pt x="177" y="175"/>
                      </a:lnTo>
                      <a:lnTo>
                        <a:pt x="175" y="179"/>
                      </a:lnTo>
                      <a:lnTo>
                        <a:pt x="174" y="183"/>
                      </a:lnTo>
                      <a:lnTo>
                        <a:pt x="174" y="199"/>
                      </a:lnTo>
                      <a:lnTo>
                        <a:pt x="175" y="215"/>
                      </a:lnTo>
                      <a:lnTo>
                        <a:pt x="175" y="218"/>
                      </a:lnTo>
                      <a:lnTo>
                        <a:pt x="175" y="220"/>
                      </a:lnTo>
                      <a:lnTo>
                        <a:pt x="174" y="220"/>
                      </a:lnTo>
                      <a:lnTo>
                        <a:pt x="170" y="219"/>
                      </a:lnTo>
                      <a:lnTo>
                        <a:pt x="169" y="216"/>
                      </a:lnTo>
                      <a:lnTo>
                        <a:pt x="169" y="2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1" name="Freeform 816">
                  <a:extLst>
                    <a:ext uri="{FF2B5EF4-FFF2-40B4-BE49-F238E27FC236}">
                      <a16:creationId xmlns:a16="http://schemas.microsoft.com/office/drawing/2014/main" id="{3268153D-582B-C14A-BF92-075B266B8A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44560" y="4643523"/>
                  <a:ext cx="19239" cy="28118"/>
                </a:xfrm>
                <a:custGeom>
                  <a:avLst/>
                  <a:gdLst>
                    <a:gd name="T0" fmla="*/ 2147483647 w 14"/>
                    <a:gd name="T1" fmla="*/ 2147483647 h 19"/>
                    <a:gd name="T2" fmla="*/ 0 w 14"/>
                    <a:gd name="T3" fmla="*/ 2147483647 h 19"/>
                    <a:gd name="T4" fmla="*/ 0 w 14"/>
                    <a:gd name="T5" fmla="*/ 2147483647 h 19"/>
                    <a:gd name="T6" fmla="*/ 0 w 14"/>
                    <a:gd name="T7" fmla="*/ 2147483647 h 19"/>
                    <a:gd name="T8" fmla="*/ 2147483647 w 14"/>
                    <a:gd name="T9" fmla="*/ 0 h 19"/>
                    <a:gd name="T10" fmla="*/ 2147483647 w 14"/>
                    <a:gd name="T11" fmla="*/ 2147483647 h 19"/>
                    <a:gd name="T12" fmla="*/ 2147483647 w 14"/>
                    <a:gd name="T13" fmla="*/ 2147483647 h 19"/>
                    <a:gd name="T14" fmla="*/ 2147483647 w 14"/>
                    <a:gd name="T15" fmla="*/ 2147483647 h 19"/>
                    <a:gd name="T16" fmla="*/ 2147483647 w 14"/>
                    <a:gd name="T17" fmla="*/ 2147483647 h 19"/>
                    <a:gd name="T18" fmla="*/ 2147483647 w 14"/>
                    <a:gd name="T19" fmla="*/ 2147483647 h 19"/>
                    <a:gd name="T20" fmla="*/ 2147483647 w 14"/>
                    <a:gd name="T21" fmla="*/ 2147483647 h 19"/>
                    <a:gd name="T22" fmla="*/ 2147483647 w 14"/>
                    <a:gd name="T23" fmla="*/ 2147483647 h 19"/>
                    <a:gd name="T24" fmla="*/ 2147483647 w 14"/>
                    <a:gd name="T25" fmla="*/ 2147483647 h 19"/>
                    <a:gd name="T26" fmla="*/ 2147483647 w 14"/>
                    <a:gd name="T27" fmla="*/ 2147483647 h 19"/>
                    <a:gd name="T28" fmla="*/ 2147483647 w 14"/>
                    <a:gd name="T29" fmla="*/ 2147483647 h 1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4"/>
                    <a:gd name="T46" fmla="*/ 0 h 19"/>
                    <a:gd name="T47" fmla="*/ 14 w 14"/>
                    <a:gd name="T48" fmla="*/ 19 h 19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4" h="19">
                      <a:moveTo>
                        <a:pt x="4" y="12"/>
                      </a:move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8" y="3"/>
                      </a:lnTo>
                      <a:lnTo>
                        <a:pt x="12" y="7"/>
                      </a:lnTo>
                      <a:lnTo>
                        <a:pt x="14" y="13"/>
                      </a:lnTo>
                      <a:lnTo>
                        <a:pt x="14" y="17"/>
                      </a:lnTo>
                      <a:lnTo>
                        <a:pt x="13" y="18"/>
                      </a:lnTo>
                      <a:lnTo>
                        <a:pt x="12" y="19"/>
                      </a:lnTo>
                      <a:lnTo>
                        <a:pt x="10" y="19"/>
                      </a:lnTo>
                      <a:lnTo>
                        <a:pt x="8" y="17"/>
                      </a:lnTo>
                      <a:lnTo>
                        <a:pt x="4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" name="Freeform 817">
                  <a:extLst>
                    <a:ext uri="{FF2B5EF4-FFF2-40B4-BE49-F238E27FC236}">
                      <a16:creationId xmlns:a16="http://schemas.microsoft.com/office/drawing/2014/main" id="{1F69E1F6-844B-6C49-9276-F8A80ACB96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0207" y="4454099"/>
                  <a:ext cx="242699" cy="334451"/>
                </a:xfrm>
                <a:custGeom>
                  <a:avLst/>
                  <a:gdLst>
                    <a:gd name="T0" fmla="*/ 2147483647 w 178"/>
                    <a:gd name="T1" fmla="*/ 2147483647 h 226"/>
                    <a:gd name="T2" fmla="*/ 2147483647 w 178"/>
                    <a:gd name="T3" fmla="*/ 2147483647 h 226"/>
                    <a:gd name="T4" fmla="*/ 2147483647 w 178"/>
                    <a:gd name="T5" fmla="*/ 2147483647 h 226"/>
                    <a:gd name="T6" fmla="*/ 2147483647 w 178"/>
                    <a:gd name="T7" fmla="*/ 2147483647 h 226"/>
                    <a:gd name="T8" fmla="*/ 2147483647 w 178"/>
                    <a:gd name="T9" fmla="*/ 2147483647 h 226"/>
                    <a:gd name="T10" fmla="*/ 2147483647 w 178"/>
                    <a:gd name="T11" fmla="*/ 2147483647 h 226"/>
                    <a:gd name="T12" fmla="*/ 2147483647 w 178"/>
                    <a:gd name="T13" fmla="*/ 2147483647 h 226"/>
                    <a:gd name="T14" fmla="*/ 2147483647 w 178"/>
                    <a:gd name="T15" fmla="*/ 2147483647 h 226"/>
                    <a:gd name="T16" fmla="*/ 2147483647 w 178"/>
                    <a:gd name="T17" fmla="*/ 2147483647 h 226"/>
                    <a:gd name="T18" fmla="*/ 2147483647 w 178"/>
                    <a:gd name="T19" fmla="*/ 2147483647 h 226"/>
                    <a:gd name="T20" fmla="*/ 2147483647 w 178"/>
                    <a:gd name="T21" fmla="*/ 2147483647 h 226"/>
                    <a:gd name="T22" fmla="*/ 2147483647 w 178"/>
                    <a:gd name="T23" fmla="*/ 2147483647 h 226"/>
                    <a:gd name="T24" fmla="*/ 2147483647 w 178"/>
                    <a:gd name="T25" fmla="*/ 2147483647 h 226"/>
                    <a:gd name="T26" fmla="*/ 2147483647 w 178"/>
                    <a:gd name="T27" fmla="*/ 2147483647 h 226"/>
                    <a:gd name="T28" fmla="*/ 2147483647 w 178"/>
                    <a:gd name="T29" fmla="*/ 2147483647 h 226"/>
                    <a:gd name="T30" fmla="*/ 2147483647 w 178"/>
                    <a:gd name="T31" fmla="*/ 2147483647 h 226"/>
                    <a:gd name="T32" fmla="*/ 2147483647 w 178"/>
                    <a:gd name="T33" fmla="*/ 2147483647 h 226"/>
                    <a:gd name="T34" fmla="*/ 2147483647 w 178"/>
                    <a:gd name="T35" fmla="*/ 2147483647 h 226"/>
                    <a:gd name="T36" fmla="*/ 2147483647 w 178"/>
                    <a:gd name="T37" fmla="*/ 2147483647 h 226"/>
                    <a:gd name="T38" fmla="*/ 2147483647 w 178"/>
                    <a:gd name="T39" fmla="*/ 2147483647 h 226"/>
                    <a:gd name="T40" fmla="*/ 2147483647 w 178"/>
                    <a:gd name="T41" fmla="*/ 2147483647 h 226"/>
                    <a:gd name="T42" fmla="*/ 2147483647 w 178"/>
                    <a:gd name="T43" fmla="*/ 2147483647 h 226"/>
                    <a:gd name="T44" fmla="*/ 2147483647 w 178"/>
                    <a:gd name="T45" fmla="*/ 2147483647 h 226"/>
                    <a:gd name="T46" fmla="*/ 2147483647 w 178"/>
                    <a:gd name="T47" fmla="*/ 2147483647 h 226"/>
                    <a:gd name="T48" fmla="*/ 0 w 178"/>
                    <a:gd name="T49" fmla="*/ 2147483647 h 226"/>
                    <a:gd name="T50" fmla="*/ 2147483647 w 178"/>
                    <a:gd name="T51" fmla="*/ 2147483647 h 226"/>
                    <a:gd name="T52" fmla="*/ 2147483647 w 178"/>
                    <a:gd name="T53" fmla="*/ 2147483647 h 226"/>
                    <a:gd name="T54" fmla="*/ 2147483647 w 178"/>
                    <a:gd name="T55" fmla="*/ 2147483647 h 226"/>
                    <a:gd name="T56" fmla="*/ 2147483647 w 178"/>
                    <a:gd name="T57" fmla="*/ 2147483647 h 226"/>
                    <a:gd name="T58" fmla="*/ 2147483647 w 178"/>
                    <a:gd name="T59" fmla="*/ 2147483647 h 226"/>
                    <a:gd name="T60" fmla="*/ 2147483647 w 178"/>
                    <a:gd name="T61" fmla="*/ 2147483647 h 226"/>
                    <a:gd name="T62" fmla="*/ 2147483647 w 178"/>
                    <a:gd name="T63" fmla="*/ 2147483647 h 226"/>
                    <a:gd name="T64" fmla="*/ 2147483647 w 178"/>
                    <a:gd name="T65" fmla="*/ 2147483647 h 226"/>
                    <a:gd name="T66" fmla="*/ 2147483647 w 178"/>
                    <a:gd name="T67" fmla="*/ 2147483647 h 226"/>
                    <a:gd name="T68" fmla="*/ 2147483647 w 178"/>
                    <a:gd name="T69" fmla="*/ 2147483647 h 226"/>
                    <a:gd name="T70" fmla="*/ 2147483647 w 178"/>
                    <a:gd name="T71" fmla="*/ 2147483647 h 226"/>
                    <a:gd name="T72" fmla="*/ 2147483647 w 178"/>
                    <a:gd name="T73" fmla="*/ 2147483647 h 226"/>
                    <a:gd name="T74" fmla="*/ 2147483647 w 178"/>
                    <a:gd name="T75" fmla="*/ 2147483647 h 226"/>
                    <a:gd name="T76" fmla="*/ 2147483647 w 178"/>
                    <a:gd name="T77" fmla="*/ 2147483647 h 226"/>
                    <a:gd name="T78" fmla="*/ 2147483647 w 178"/>
                    <a:gd name="T79" fmla="*/ 2147483647 h 226"/>
                    <a:gd name="T80" fmla="*/ 2147483647 w 178"/>
                    <a:gd name="T81" fmla="*/ 2147483647 h 226"/>
                    <a:gd name="T82" fmla="*/ 2147483647 w 178"/>
                    <a:gd name="T83" fmla="*/ 2147483647 h 226"/>
                    <a:gd name="T84" fmla="*/ 2147483647 w 178"/>
                    <a:gd name="T85" fmla="*/ 2147483647 h 226"/>
                    <a:gd name="T86" fmla="*/ 2147483647 w 178"/>
                    <a:gd name="T87" fmla="*/ 2147483647 h 226"/>
                    <a:gd name="T88" fmla="*/ 2147483647 w 178"/>
                    <a:gd name="T89" fmla="*/ 2147483647 h 226"/>
                    <a:gd name="T90" fmla="*/ 2147483647 w 178"/>
                    <a:gd name="T91" fmla="*/ 2147483647 h 226"/>
                    <a:gd name="T92" fmla="*/ 2147483647 w 178"/>
                    <a:gd name="T93" fmla="*/ 2147483647 h 226"/>
                    <a:gd name="T94" fmla="*/ 2147483647 w 178"/>
                    <a:gd name="T95" fmla="*/ 2147483647 h 226"/>
                    <a:gd name="T96" fmla="*/ 2147483647 w 178"/>
                    <a:gd name="T97" fmla="*/ 2147483647 h 226"/>
                    <a:gd name="T98" fmla="*/ 2147483647 w 178"/>
                    <a:gd name="T99" fmla="*/ 2147483647 h 226"/>
                    <a:gd name="T100" fmla="*/ 2147483647 w 178"/>
                    <a:gd name="T101" fmla="*/ 2147483647 h 226"/>
                    <a:gd name="T102" fmla="*/ 2147483647 w 178"/>
                    <a:gd name="T103" fmla="*/ 2147483647 h 226"/>
                    <a:gd name="T104" fmla="*/ 2147483647 w 178"/>
                    <a:gd name="T105" fmla="*/ 2147483647 h 226"/>
                    <a:gd name="T106" fmla="*/ 2147483647 w 178"/>
                    <a:gd name="T107" fmla="*/ 2147483647 h 226"/>
                    <a:gd name="T108" fmla="*/ 2147483647 w 178"/>
                    <a:gd name="T109" fmla="*/ 2147483647 h 226"/>
                    <a:gd name="T110" fmla="*/ 2147483647 w 178"/>
                    <a:gd name="T111" fmla="*/ 2147483647 h 226"/>
                    <a:gd name="T112" fmla="*/ 2147483647 w 178"/>
                    <a:gd name="T113" fmla="*/ 2147483647 h 22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78"/>
                    <a:gd name="T172" fmla="*/ 0 h 226"/>
                    <a:gd name="T173" fmla="*/ 178 w 178"/>
                    <a:gd name="T174" fmla="*/ 226 h 22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78" h="226">
                      <a:moveTo>
                        <a:pt x="169" y="215"/>
                      </a:moveTo>
                      <a:lnTo>
                        <a:pt x="169" y="215"/>
                      </a:lnTo>
                      <a:lnTo>
                        <a:pt x="166" y="214"/>
                      </a:lnTo>
                      <a:lnTo>
                        <a:pt x="165" y="214"/>
                      </a:lnTo>
                      <a:lnTo>
                        <a:pt x="163" y="215"/>
                      </a:lnTo>
                      <a:lnTo>
                        <a:pt x="161" y="218"/>
                      </a:lnTo>
                      <a:lnTo>
                        <a:pt x="161" y="220"/>
                      </a:lnTo>
                      <a:lnTo>
                        <a:pt x="160" y="220"/>
                      </a:lnTo>
                      <a:lnTo>
                        <a:pt x="156" y="222"/>
                      </a:lnTo>
                      <a:lnTo>
                        <a:pt x="152" y="224"/>
                      </a:lnTo>
                      <a:lnTo>
                        <a:pt x="151" y="226"/>
                      </a:lnTo>
                      <a:lnTo>
                        <a:pt x="150" y="226"/>
                      </a:lnTo>
                      <a:lnTo>
                        <a:pt x="149" y="222"/>
                      </a:lnTo>
                      <a:lnTo>
                        <a:pt x="146" y="218"/>
                      </a:lnTo>
                      <a:lnTo>
                        <a:pt x="142" y="215"/>
                      </a:lnTo>
                      <a:lnTo>
                        <a:pt x="140" y="211"/>
                      </a:lnTo>
                      <a:lnTo>
                        <a:pt x="137" y="208"/>
                      </a:lnTo>
                      <a:lnTo>
                        <a:pt x="130" y="201"/>
                      </a:lnTo>
                      <a:lnTo>
                        <a:pt x="123" y="192"/>
                      </a:lnTo>
                      <a:lnTo>
                        <a:pt x="116" y="185"/>
                      </a:lnTo>
                      <a:lnTo>
                        <a:pt x="108" y="178"/>
                      </a:lnTo>
                      <a:lnTo>
                        <a:pt x="103" y="172"/>
                      </a:lnTo>
                      <a:lnTo>
                        <a:pt x="99" y="169"/>
                      </a:lnTo>
                      <a:lnTo>
                        <a:pt x="98" y="166"/>
                      </a:lnTo>
                      <a:lnTo>
                        <a:pt x="96" y="163"/>
                      </a:lnTo>
                      <a:lnTo>
                        <a:pt x="95" y="150"/>
                      </a:lnTo>
                      <a:lnTo>
                        <a:pt x="94" y="144"/>
                      </a:lnTo>
                      <a:lnTo>
                        <a:pt x="91" y="138"/>
                      </a:lnTo>
                      <a:lnTo>
                        <a:pt x="89" y="132"/>
                      </a:lnTo>
                      <a:lnTo>
                        <a:pt x="86" y="126"/>
                      </a:lnTo>
                      <a:lnTo>
                        <a:pt x="84" y="120"/>
                      </a:lnTo>
                      <a:lnTo>
                        <a:pt x="80" y="115"/>
                      </a:lnTo>
                      <a:lnTo>
                        <a:pt x="77" y="113"/>
                      </a:lnTo>
                      <a:lnTo>
                        <a:pt x="75" y="112"/>
                      </a:lnTo>
                      <a:lnTo>
                        <a:pt x="70" y="103"/>
                      </a:lnTo>
                      <a:lnTo>
                        <a:pt x="66" y="95"/>
                      </a:lnTo>
                      <a:lnTo>
                        <a:pt x="61" y="77"/>
                      </a:lnTo>
                      <a:lnTo>
                        <a:pt x="61" y="76"/>
                      </a:lnTo>
                      <a:lnTo>
                        <a:pt x="60" y="75"/>
                      </a:lnTo>
                      <a:lnTo>
                        <a:pt x="55" y="74"/>
                      </a:lnTo>
                      <a:lnTo>
                        <a:pt x="50" y="74"/>
                      </a:lnTo>
                      <a:lnTo>
                        <a:pt x="46" y="73"/>
                      </a:lnTo>
                      <a:lnTo>
                        <a:pt x="43" y="71"/>
                      </a:lnTo>
                      <a:lnTo>
                        <a:pt x="42" y="69"/>
                      </a:lnTo>
                      <a:lnTo>
                        <a:pt x="39" y="62"/>
                      </a:lnTo>
                      <a:lnTo>
                        <a:pt x="34" y="56"/>
                      </a:lnTo>
                      <a:lnTo>
                        <a:pt x="32" y="49"/>
                      </a:lnTo>
                      <a:lnTo>
                        <a:pt x="29" y="42"/>
                      </a:lnTo>
                      <a:lnTo>
                        <a:pt x="28" y="41"/>
                      </a:lnTo>
                      <a:lnTo>
                        <a:pt x="27" y="41"/>
                      </a:lnTo>
                      <a:lnTo>
                        <a:pt x="25" y="37"/>
                      </a:lnTo>
                      <a:lnTo>
                        <a:pt x="24" y="36"/>
                      </a:lnTo>
                      <a:lnTo>
                        <a:pt x="13" y="30"/>
                      </a:lnTo>
                      <a:lnTo>
                        <a:pt x="9" y="25"/>
                      </a:lnTo>
                      <a:lnTo>
                        <a:pt x="4" y="22"/>
                      </a:lnTo>
                      <a:lnTo>
                        <a:pt x="1" y="17"/>
                      </a:lnTo>
                      <a:lnTo>
                        <a:pt x="0" y="12"/>
                      </a:lnTo>
                      <a:lnTo>
                        <a:pt x="0" y="7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10" y="3"/>
                      </a:lnTo>
                      <a:lnTo>
                        <a:pt x="15" y="6"/>
                      </a:lnTo>
                      <a:lnTo>
                        <a:pt x="19" y="11"/>
                      </a:lnTo>
                      <a:lnTo>
                        <a:pt x="22" y="12"/>
                      </a:lnTo>
                      <a:lnTo>
                        <a:pt x="23" y="12"/>
                      </a:lnTo>
                      <a:lnTo>
                        <a:pt x="30" y="12"/>
                      </a:lnTo>
                      <a:lnTo>
                        <a:pt x="37" y="13"/>
                      </a:lnTo>
                      <a:lnTo>
                        <a:pt x="43" y="15"/>
                      </a:lnTo>
                      <a:lnTo>
                        <a:pt x="50" y="18"/>
                      </a:lnTo>
                      <a:lnTo>
                        <a:pt x="57" y="24"/>
                      </a:lnTo>
                      <a:lnTo>
                        <a:pt x="62" y="31"/>
                      </a:lnTo>
                      <a:lnTo>
                        <a:pt x="74" y="45"/>
                      </a:lnTo>
                      <a:lnTo>
                        <a:pt x="79" y="52"/>
                      </a:lnTo>
                      <a:lnTo>
                        <a:pt x="85" y="58"/>
                      </a:lnTo>
                      <a:lnTo>
                        <a:pt x="91" y="64"/>
                      </a:lnTo>
                      <a:lnTo>
                        <a:pt x="100" y="69"/>
                      </a:lnTo>
                      <a:lnTo>
                        <a:pt x="104" y="73"/>
                      </a:lnTo>
                      <a:lnTo>
                        <a:pt x="108" y="76"/>
                      </a:lnTo>
                      <a:lnTo>
                        <a:pt x="112" y="81"/>
                      </a:lnTo>
                      <a:lnTo>
                        <a:pt x="117" y="84"/>
                      </a:lnTo>
                      <a:lnTo>
                        <a:pt x="119" y="88"/>
                      </a:lnTo>
                      <a:lnTo>
                        <a:pt x="121" y="89"/>
                      </a:lnTo>
                      <a:lnTo>
                        <a:pt x="122" y="90"/>
                      </a:lnTo>
                      <a:lnTo>
                        <a:pt x="124" y="90"/>
                      </a:lnTo>
                      <a:lnTo>
                        <a:pt x="127" y="90"/>
                      </a:lnTo>
                      <a:lnTo>
                        <a:pt x="128" y="92"/>
                      </a:lnTo>
                      <a:lnTo>
                        <a:pt x="130" y="94"/>
                      </a:lnTo>
                      <a:lnTo>
                        <a:pt x="131" y="102"/>
                      </a:lnTo>
                      <a:lnTo>
                        <a:pt x="132" y="105"/>
                      </a:lnTo>
                      <a:lnTo>
                        <a:pt x="136" y="105"/>
                      </a:lnTo>
                      <a:lnTo>
                        <a:pt x="137" y="105"/>
                      </a:lnTo>
                      <a:lnTo>
                        <a:pt x="138" y="106"/>
                      </a:lnTo>
                      <a:lnTo>
                        <a:pt x="138" y="107"/>
                      </a:lnTo>
                      <a:lnTo>
                        <a:pt x="140" y="115"/>
                      </a:lnTo>
                      <a:lnTo>
                        <a:pt x="140" y="117"/>
                      </a:lnTo>
                      <a:lnTo>
                        <a:pt x="137" y="118"/>
                      </a:lnTo>
                      <a:lnTo>
                        <a:pt x="136" y="119"/>
                      </a:lnTo>
                      <a:lnTo>
                        <a:pt x="133" y="121"/>
                      </a:lnTo>
                      <a:lnTo>
                        <a:pt x="133" y="122"/>
                      </a:lnTo>
                      <a:lnTo>
                        <a:pt x="133" y="125"/>
                      </a:lnTo>
                      <a:lnTo>
                        <a:pt x="133" y="126"/>
                      </a:lnTo>
                      <a:lnTo>
                        <a:pt x="133" y="130"/>
                      </a:lnTo>
                      <a:lnTo>
                        <a:pt x="135" y="131"/>
                      </a:lnTo>
                      <a:lnTo>
                        <a:pt x="143" y="135"/>
                      </a:lnTo>
                      <a:lnTo>
                        <a:pt x="151" y="143"/>
                      </a:lnTo>
                      <a:lnTo>
                        <a:pt x="154" y="146"/>
                      </a:lnTo>
                      <a:lnTo>
                        <a:pt x="156" y="150"/>
                      </a:lnTo>
                      <a:lnTo>
                        <a:pt x="156" y="154"/>
                      </a:lnTo>
                      <a:lnTo>
                        <a:pt x="156" y="159"/>
                      </a:lnTo>
                      <a:lnTo>
                        <a:pt x="157" y="162"/>
                      </a:lnTo>
                      <a:lnTo>
                        <a:pt x="160" y="162"/>
                      </a:lnTo>
                      <a:lnTo>
                        <a:pt x="163" y="162"/>
                      </a:lnTo>
                      <a:lnTo>
                        <a:pt x="164" y="160"/>
                      </a:lnTo>
                      <a:lnTo>
                        <a:pt x="166" y="160"/>
                      </a:lnTo>
                      <a:lnTo>
                        <a:pt x="171" y="165"/>
                      </a:lnTo>
                      <a:lnTo>
                        <a:pt x="175" y="166"/>
                      </a:lnTo>
                      <a:lnTo>
                        <a:pt x="178" y="169"/>
                      </a:lnTo>
                      <a:lnTo>
                        <a:pt x="178" y="170"/>
                      </a:lnTo>
                      <a:lnTo>
                        <a:pt x="178" y="172"/>
                      </a:lnTo>
                      <a:lnTo>
                        <a:pt x="176" y="176"/>
                      </a:lnTo>
                      <a:lnTo>
                        <a:pt x="175" y="179"/>
                      </a:lnTo>
                      <a:lnTo>
                        <a:pt x="174" y="184"/>
                      </a:lnTo>
                      <a:lnTo>
                        <a:pt x="174" y="199"/>
                      </a:lnTo>
                      <a:lnTo>
                        <a:pt x="175" y="216"/>
                      </a:lnTo>
                      <a:lnTo>
                        <a:pt x="175" y="218"/>
                      </a:lnTo>
                      <a:lnTo>
                        <a:pt x="175" y="221"/>
                      </a:lnTo>
                      <a:lnTo>
                        <a:pt x="174" y="221"/>
                      </a:lnTo>
                      <a:lnTo>
                        <a:pt x="170" y="220"/>
                      </a:lnTo>
                      <a:lnTo>
                        <a:pt x="169" y="217"/>
                      </a:lnTo>
                      <a:lnTo>
                        <a:pt x="169" y="21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" name="Freeform 818">
                  <a:extLst>
                    <a:ext uri="{FF2B5EF4-FFF2-40B4-BE49-F238E27FC236}">
                      <a16:creationId xmlns:a16="http://schemas.microsoft.com/office/drawing/2014/main" id="{684EBCBB-777A-C54D-AB6A-E49AC26AFF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43081" y="4642039"/>
                  <a:ext cx="19238" cy="28117"/>
                </a:xfrm>
                <a:custGeom>
                  <a:avLst/>
                  <a:gdLst>
                    <a:gd name="T0" fmla="*/ 2147483647 w 14"/>
                    <a:gd name="T1" fmla="*/ 2147483647 h 19"/>
                    <a:gd name="T2" fmla="*/ 2147483647 w 14"/>
                    <a:gd name="T3" fmla="*/ 2147483647 h 19"/>
                    <a:gd name="T4" fmla="*/ 0 w 14"/>
                    <a:gd name="T5" fmla="*/ 2147483647 h 19"/>
                    <a:gd name="T6" fmla="*/ 0 w 14"/>
                    <a:gd name="T7" fmla="*/ 2147483647 h 19"/>
                    <a:gd name="T8" fmla="*/ 0 w 14"/>
                    <a:gd name="T9" fmla="*/ 2147483647 h 19"/>
                    <a:gd name="T10" fmla="*/ 2147483647 w 14"/>
                    <a:gd name="T11" fmla="*/ 0 h 19"/>
                    <a:gd name="T12" fmla="*/ 2147483647 w 14"/>
                    <a:gd name="T13" fmla="*/ 0 h 19"/>
                    <a:gd name="T14" fmla="*/ 2147483647 w 14"/>
                    <a:gd name="T15" fmla="*/ 2147483647 h 19"/>
                    <a:gd name="T16" fmla="*/ 2147483647 w 14"/>
                    <a:gd name="T17" fmla="*/ 2147483647 h 19"/>
                    <a:gd name="T18" fmla="*/ 2147483647 w 14"/>
                    <a:gd name="T19" fmla="*/ 2147483647 h 19"/>
                    <a:gd name="T20" fmla="*/ 2147483647 w 14"/>
                    <a:gd name="T21" fmla="*/ 2147483647 h 19"/>
                    <a:gd name="T22" fmla="*/ 2147483647 w 14"/>
                    <a:gd name="T23" fmla="*/ 2147483647 h 19"/>
                    <a:gd name="T24" fmla="*/ 2147483647 w 14"/>
                    <a:gd name="T25" fmla="*/ 2147483647 h 19"/>
                    <a:gd name="T26" fmla="*/ 2147483647 w 14"/>
                    <a:gd name="T27" fmla="*/ 2147483647 h 19"/>
                    <a:gd name="T28" fmla="*/ 2147483647 w 14"/>
                    <a:gd name="T29" fmla="*/ 2147483647 h 19"/>
                    <a:gd name="T30" fmla="*/ 2147483647 w 14"/>
                    <a:gd name="T31" fmla="*/ 2147483647 h 19"/>
                    <a:gd name="T32" fmla="*/ 2147483647 w 14"/>
                    <a:gd name="T33" fmla="*/ 2147483647 h 19"/>
                    <a:gd name="T34" fmla="*/ 2147483647 w 14"/>
                    <a:gd name="T35" fmla="*/ 2147483647 h 19"/>
                    <a:gd name="T36" fmla="*/ 2147483647 w 14"/>
                    <a:gd name="T37" fmla="*/ 2147483647 h 1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"/>
                    <a:gd name="T58" fmla="*/ 0 h 19"/>
                    <a:gd name="T59" fmla="*/ 14 w 14"/>
                    <a:gd name="T60" fmla="*/ 19 h 1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" h="19">
                      <a:moveTo>
                        <a:pt x="4" y="12"/>
                      </a:moveTo>
                      <a:lnTo>
                        <a:pt x="4" y="12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8" y="3"/>
                      </a:lnTo>
                      <a:lnTo>
                        <a:pt x="11" y="7"/>
                      </a:lnTo>
                      <a:lnTo>
                        <a:pt x="14" y="13"/>
                      </a:lnTo>
                      <a:lnTo>
                        <a:pt x="14" y="17"/>
                      </a:lnTo>
                      <a:lnTo>
                        <a:pt x="13" y="18"/>
                      </a:lnTo>
                      <a:lnTo>
                        <a:pt x="11" y="19"/>
                      </a:lnTo>
                      <a:lnTo>
                        <a:pt x="10" y="19"/>
                      </a:lnTo>
                      <a:lnTo>
                        <a:pt x="8" y="17"/>
                      </a:lnTo>
                      <a:lnTo>
                        <a:pt x="4" y="1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4" name="Freeform 820">
                  <a:extLst>
                    <a:ext uri="{FF2B5EF4-FFF2-40B4-BE49-F238E27FC236}">
                      <a16:creationId xmlns:a16="http://schemas.microsoft.com/office/drawing/2014/main" id="{BBD8726C-94D1-9248-BEB3-05AA6CF010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0948" y="4658321"/>
                  <a:ext cx="28117" cy="16279"/>
                </a:xfrm>
                <a:custGeom>
                  <a:avLst/>
                  <a:gdLst>
                    <a:gd name="T0" fmla="*/ 2147483647 w 20"/>
                    <a:gd name="T1" fmla="*/ 2147483647 h 11"/>
                    <a:gd name="T2" fmla="*/ 2147483647 w 20"/>
                    <a:gd name="T3" fmla="*/ 2147483647 h 11"/>
                    <a:gd name="T4" fmla="*/ 2147483647 w 20"/>
                    <a:gd name="T5" fmla="*/ 2147483647 h 11"/>
                    <a:gd name="T6" fmla="*/ 2147483647 w 20"/>
                    <a:gd name="T7" fmla="*/ 2147483647 h 11"/>
                    <a:gd name="T8" fmla="*/ 0 w 20"/>
                    <a:gd name="T9" fmla="*/ 2147483647 h 11"/>
                    <a:gd name="T10" fmla="*/ 2147483647 w 20"/>
                    <a:gd name="T11" fmla="*/ 2147483647 h 11"/>
                    <a:gd name="T12" fmla="*/ 2147483647 w 20"/>
                    <a:gd name="T13" fmla="*/ 2147483647 h 11"/>
                    <a:gd name="T14" fmla="*/ 2147483647 w 20"/>
                    <a:gd name="T15" fmla="*/ 0 h 11"/>
                    <a:gd name="T16" fmla="*/ 2147483647 w 20"/>
                    <a:gd name="T17" fmla="*/ 0 h 11"/>
                    <a:gd name="T18" fmla="*/ 2147483647 w 20"/>
                    <a:gd name="T19" fmla="*/ 2147483647 h 11"/>
                    <a:gd name="T20" fmla="*/ 2147483647 w 20"/>
                    <a:gd name="T21" fmla="*/ 2147483647 h 11"/>
                    <a:gd name="T22" fmla="*/ 2147483647 w 20"/>
                    <a:gd name="T23" fmla="*/ 2147483647 h 11"/>
                    <a:gd name="T24" fmla="*/ 2147483647 w 20"/>
                    <a:gd name="T25" fmla="*/ 2147483647 h 11"/>
                    <a:gd name="T26" fmla="*/ 2147483647 w 20"/>
                    <a:gd name="T27" fmla="*/ 2147483647 h 11"/>
                    <a:gd name="T28" fmla="*/ 2147483647 w 20"/>
                    <a:gd name="T29" fmla="*/ 2147483647 h 11"/>
                    <a:gd name="T30" fmla="*/ 2147483647 w 20"/>
                    <a:gd name="T31" fmla="*/ 2147483647 h 1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0"/>
                    <a:gd name="T49" fmla="*/ 0 h 11"/>
                    <a:gd name="T50" fmla="*/ 20 w 20"/>
                    <a:gd name="T51" fmla="*/ 11 h 1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0" h="11">
                      <a:moveTo>
                        <a:pt x="10" y="11"/>
                      </a:moveTo>
                      <a:lnTo>
                        <a:pt x="5" y="11"/>
                      </a:lnTo>
                      <a:lnTo>
                        <a:pt x="3" y="9"/>
                      </a:ln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9" y="3"/>
                      </a:lnTo>
                      <a:lnTo>
                        <a:pt x="20" y="6"/>
                      </a:lnTo>
                      <a:lnTo>
                        <a:pt x="20" y="8"/>
                      </a:lnTo>
                      <a:lnTo>
                        <a:pt x="19" y="9"/>
                      </a:lnTo>
                      <a:lnTo>
                        <a:pt x="17" y="11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5" name="Freeform 822">
                  <a:extLst>
                    <a:ext uri="{FF2B5EF4-FFF2-40B4-BE49-F238E27FC236}">
                      <a16:creationId xmlns:a16="http://schemas.microsoft.com/office/drawing/2014/main" id="{1F085EB1-3354-524F-8B42-AB55450B51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39471" y="4656839"/>
                  <a:ext cx="28118" cy="14799"/>
                </a:xfrm>
                <a:custGeom>
                  <a:avLst/>
                  <a:gdLst>
                    <a:gd name="T0" fmla="*/ 2147483647 w 20"/>
                    <a:gd name="T1" fmla="*/ 2147483647 h 10"/>
                    <a:gd name="T2" fmla="*/ 2147483647 w 20"/>
                    <a:gd name="T3" fmla="*/ 2147483647 h 10"/>
                    <a:gd name="T4" fmla="*/ 2147483647 w 20"/>
                    <a:gd name="T5" fmla="*/ 2147483647 h 10"/>
                    <a:gd name="T6" fmla="*/ 2147483647 w 20"/>
                    <a:gd name="T7" fmla="*/ 2147483647 h 10"/>
                    <a:gd name="T8" fmla="*/ 2147483647 w 20"/>
                    <a:gd name="T9" fmla="*/ 2147483647 h 10"/>
                    <a:gd name="T10" fmla="*/ 2147483647 w 20"/>
                    <a:gd name="T11" fmla="*/ 2147483647 h 10"/>
                    <a:gd name="T12" fmla="*/ 0 w 20"/>
                    <a:gd name="T13" fmla="*/ 2147483647 h 10"/>
                    <a:gd name="T14" fmla="*/ 2147483647 w 20"/>
                    <a:gd name="T15" fmla="*/ 2147483647 h 10"/>
                    <a:gd name="T16" fmla="*/ 2147483647 w 20"/>
                    <a:gd name="T17" fmla="*/ 2147483647 h 10"/>
                    <a:gd name="T18" fmla="*/ 2147483647 w 20"/>
                    <a:gd name="T19" fmla="*/ 0 h 10"/>
                    <a:gd name="T20" fmla="*/ 2147483647 w 20"/>
                    <a:gd name="T21" fmla="*/ 0 h 10"/>
                    <a:gd name="T22" fmla="*/ 2147483647 w 20"/>
                    <a:gd name="T23" fmla="*/ 0 h 10"/>
                    <a:gd name="T24" fmla="*/ 2147483647 w 20"/>
                    <a:gd name="T25" fmla="*/ 2147483647 h 10"/>
                    <a:gd name="T26" fmla="*/ 2147483647 w 20"/>
                    <a:gd name="T27" fmla="*/ 2147483647 h 10"/>
                    <a:gd name="T28" fmla="*/ 2147483647 w 20"/>
                    <a:gd name="T29" fmla="*/ 2147483647 h 10"/>
                    <a:gd name="T30" fmla="*/ 2147483647 w 20"/>
                    <a:gd name="T31" fmla="*/ 2147483647 h 10"/>
                    <a:gd name="T32" fmla="*/ 2147483647 w 20"/>
                    <a:gd name="T33" fmla="*/ 2147483647 h 10"/>
                    <a:gd name="T34" fmla="*/ 2147483647 w 20"/>
                    <a:gd name="T35" fmla="*/ 2147483647 h 10"/>
                    <a:gd name="T36" fmla="*/ 2147483647 w 20"/>
                    <a:gd name="T37" fmla="*/ 2147483647 h 10"/>
                    <a:gd name="T38" fmla="*/ 2147483647 w 20"/>
                    <a:gd name="T39" fmla="*/ 2147483647 h 10"/>
                    <a:gd name="T40" fmla="*/ 2147483647 w 20"/>
                    <a:gd name="T41" fmla="*/ 2147483647 h 1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"/>
                    <a:gd name="T64" fmla="*/ 0 h 10"/>
                    <a:gd name="T65" fmla="*/ 20 w 20"/>
                    <a:gd name="T66" fmla="*/ 10 h 1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" h="10">
                      <a:moveTo>
                        <a:pt x="10" y="10"/>
                      </a:moveTo>
                      <a:lnTo>
                        <a:pt x="10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9" y="3"/>
                      </a:lnTo>
                      <a:lnTo>
                        <a:pt x="20" y="6"/>
                      </a:lnTo>
                      <a:lnTo>
                        <a:pt x="20" y="8"/>
                      </a:lnTo>
                      <a:lnTo>
                        <a:pt x="19" y="9"/>
                      </a:lnTo>
                      <a:lnTo>
                        <a:pt x="16" y="10"/>
                      </a:lnTo>
                      <a:lnTo>
                        <a:pt x="10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6" name="Freeform 823">
                  <a:extLst>
                    <a:ext uri="{FF2B5EF4-FFF2-40B4-BE49-F238E27FC236}">
                      <a16:creationId xmlns:a16="http://schemas.microsoft.com/office/drawing/2014/main" id="{154007CA-B95A-AE46-996D-1F34070128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9870" y="4633164"/>
                  <a:ext cx="19239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0 h 10"/>
                    <a:gd name="T6" fmla="*/ 2147483647 w 14"/>
                    <a:gd name="T7" fmla="*/ 0 h 10"/>
                    <a:gd name="T8" fmla="*/ 2147483647 w 14"/>
                    <a:gd name="T9" fmla="*/ 0 h 10"/>
                    <a:gd name="T10" fmla="*/ 0 w 14"/>
                    <a:gd name="T11" fmla="*/ 2147483647 h 10"/>
                    <a:gd name="T12" fmla="*/ 0 w 14"/>
                    <a:gd name="T13" fmla="*/ 2147483647 h 10"/>
                    <a:gd name="T14" fmla="*/ 0 w 14"/>
                    <a:gd name="T15" fmla="*/ 2147483647 h 10"/>
                    <a:gd name="T16" fmla="*/ 2147483647 w 14"/>
                    <a:gd name="T17" fmla="*/ 2147483647 h 10"/>
                    <a:gd name="T18" fmla="*/ 2147483647 w 14"/>
                    <a:gd name="T19" fmla="*/ 2147483647 h 10"/>
                    <a:gd name="T20" fmla="*/ 2147483647 w 14"/>
                    <a:gd name="T21" fmla="*/ 2147483647 h 10"/>
                    <a:gd name="T22" fmla="*/ 2147483647 w 14"/>
                    <a:gd name="T23" fmla="*/ 2147483647 h 10"/>
                    <a:gd name="T24" fmla="*/ 2147483647 w 14"/>
                    <a:gd name="T25" fmla="*/ 2147483647 h 10"/>
                    <a:gd name="T26" fmla="*/ 2147483647 w 14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4"/>
                    <a:gd name="T43" fmla="*/ 0 h 10"/>
                    <a:gd name="T44" fmla="*/ 14 w 14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4" h="10">
                      <a:moveTo>
                        <a:pt x="13" y="5"/>
                      </a:moveTo>
                      <a:lnTo>
                        <a:pt x="10" y="3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9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4" y="7"/>
                      </a:lnTo>
                      <a:lnTo>
                        <a:pt x="14" y="6"/>
                      </a:lnTo>
                      <a:lnTo>
                        <a:pt x="1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7" name="Freeform 824">
                  <a:extLst>
                    <a:ext uri="{FF2B5EF4-FFF2-40B4-BE49-F238E27FC236}">
                      <a16:creationId xmlns:a16="http://schemas.microsoft.com/office/drawing/2014/main" id="{04135817-2A18-A347-B2BB-7900E14A92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8392" y="4652402"/>
                  <a:ext cx="22198" cy="22199"/>
                </a:xfrm>
                <a:custGeom>
                  <a:avLst/>
                  <a:gdLst>
                    <a:gd name="T0" fmla="*/ 2147483647 w 16"/>
                    <a:gd name="T1" fmla="*/ 2147483647 h 15"/>
                    <a:gd name="T2" fmla="*/ 2147483647 w 16"/>
                    <a:gd name="T3" fmla="*/ 2147483647 h 15"/>
                    <a:gd name="T4" fmla="*/ 2147483647 w 16"/>
                    <a:gd name="T5" fmla="*/ 2147483647 h 15"/>
                    <a:gd name="T6" fmla="*/ 2147483647 w 16"/>
                    <a:gd name="T7" fmla="*/ 2147483647 h 15"/>
                    <a:gd name="T8" fmla="*/ 2147483647 w 16"/>
                    <a:gd name="T9" fmla="*/ 2147483647 h 15"/>
                    <a:gd name="T10" fmla="*/ 2147483647 w 16"/>
                    <a:gd name="T11" fmla="*/ 2147483647 h 15"/>
                    <a:gd name="T12" fmla="*/ 2147483647 w 16"/>
                    <a:gd name="T13" fmla="*/ 2147483647 h 15"/>
                    <a:gd name="T14" fmla="*/ 2147483647 w 16"/>
                    <a:gd name="T15" fmla="*/ 0 h 15"/>
                    <a:gd name="T16" fmla="*/ 2147483647 w 16"/>
                    <a:gd name="T17" fmla="*/ 0 h 15"/>
                    <a:gd name="T18" fmla="*/ 0 w 16"/>
                    <a:gd name="T19" fmla="*/ 2147483647 h 15"/>
                    <a:gd name="T20" fmla="*/ 0 w 16"/>
                    <a:gd name="T21" fmla="*/ 2147483647 h 15"/>
                    <a:gd name="T22" fmla="*/ 0 w 16"/>
                    <a:gd name="T23" fmla="*/ 2147483647 h 15"/>
                    <a:gd name="T24" fmla="*/ 2147483647 w 16"/>
                    <a:gd name="T25" fmla="*/ 2147483647 h 15"/>
                    <a:gd name="T26" fmla="*/ 2147483647 w 16"/>
                    <a:gd name="T27" fmla="*/ 2147483647 h 15"/>
                    <a:gd name="T28" fmla="*/ 2147483647 w 16"/>
                    <a:gd name="T29" fmla="*/ 2147483647 h 15"/>
                    <a:gd name="T30" fmla="*/ 2147483647 w 16"/>
                    <a:gd name="T31" fmla="*/ 2147483647 h 15"/>
                    <a:gd name="T32" fmla="*/ 2147483647 w 16"/>
                    <a:gd name="T33" fmla="*/ 2147483647 h 15"/>
                    <a:gd name="T34" fmla="*/ 2147483647 w 16"/>
                    <a:gd name="T35" fmla="*/ 2147483647 h 15"/>
                    <a:gd name="T36" fmla="*/ 2147483647 w 16"/>
                    <a:gd name="T37" fmla="*/ 2147483647 h 15"/>
                    <a:gd name="T38" fmla="*/ 2147483647 w 16"/>
                    <a:gd name="T39" fmla="*/ 2147483647 h 1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6"/>
                    <a:gd name="T61" fmla="*/ 0 h 15"/>
                    <a:gd name="T62" fmla="*/ 16 w 16"/>
                    <a:gd name="T63" fmla="*/ 15 h 1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6" h="15">
                      <a:moveTo>
                        <a:pt x="14" y="6"/>
                      </a:moveTo>
                      <a:lnTo>
                        <a:pt x="16" y="5"/>
                      </a:lnTo>
                      <a:lnTo>
                        <a:pt x="16" y="4"/>
                      </a:lnTo>
                      <a:lnTo>
                        <a:pt x="15" y="3"/>
                      </a:lnTo>
                      <a:lnTo>
                        <a:pt x="13" y="1"/>
                      </a:lnTo>
                      <a:lnTo>
                        <a:pt x="9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4" y="9"/>
                      </a:lnTo>
                      <a:lnTo>
                        <a:pt x="6" y="15"/>
                      </a:lnTo>
                      <a:lnTo>
                        <a:pt x="8" y="15"/>
                      </a:lnTo>
                      <a:lnTo>
                        <a:pt x="10" y="13"/>
                      </a:lnTo>
                      <a:lnTo>
                        <a:pt x="11" y="10"/>
                      </a:lnTo>
                      <a:lnTo>
                        <a:pt x="13" y="7"/>
                      </a:lnTo>
                      <a:lnTo>
                        <a:pt x="1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8" name="Freeform 825">
                  <a:extLst>
                    <a:ext uri="{FF2B5EF4-FFF2-40B4-BE49-F238E27FC236}">
                      <a16:creationId xmlns:a16="http://schemas.microsoft.com/office/drawing/2014/main" id="{CB1BA80F-2CD2-064B-8C3D-DFD1E94C19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8391" y="4631684"/>
                  <a:ext cx="19238" cy="14799"/>
                </a:xfrm>
                <a:custGeom>
                  <a:avLst/>
                  <a:gdLst>
                    <a:gd name="T0" fmla="*/ 2147483647 w 14"/>
                    <a:gd name="T1" fmla="*/ 2147483647 h 10"/>
                    <a:gd name="T2" fmla="*/ 2147483647 w 14"/>
                    <a:gd name="T3" fmla="*/ 2147483647 h 10"/>
                    <a:gd name="T4" fmla="*/ 2147483647 w 14"/>
                    <a:gd name="T5" fmla="*/ 2147483647 h 10"/>
                    <a:gd name="T6" fmla="*/ 2147483647 w 14"/>
                    <a:gd name="T7" fmla="*/ 0 h 10"/>
                    <a:gd name="T8" fmla="*/ 2147483647 w 14"/>
                    <a:gd name="T9" fmla="*/ 0 h 10"/>
                    <a:gd name="T10" fmla="*/ 2147483647 w 14"/>
                    <a:gd name="T11" fmla="*/ 0 h 10"/>
                    <a:gd name="T12" fmla="*/ 2147483647 w 14"/>
                    <a:gd name="T13" fmla="*/ 0 h 10"/>
                    <a:gd name="T14" fmla="*/ 0 w 14"/>
                    <a:gd name="T15" fmla="*/ 2147483647 h 10"/>
                    <a:gd name="T16" fmla="*/ 0 w 14"/>
                    <a:gd name="T17" fmla="*/ 2147483647 h 10"/>
                    <a:gd name="T18" fmla="*/ 0 w 14"/>
                    <a:gd name="T19" fmla="*/ 2147483647 h 10"/>
                    <a:gd name="T20" fmla="*/ 2147483647 w 14"/>
                    <a:gd name="T21" fmla="*/ 2147483647 h 10"/>
                    <a:gd name="T22" fmla="*/ 2147483647 w 14"/>
                    <a:gd name="T23" fmla="*/ 2147483647 h 10"/>
                    <a:gd name="T24" fmla="*/ 2147483647 w 14"/>
                    <a:gd name="T25" fmla="*/ 2147483647 h 10"/>
                    <a:gd name="T26" fmla="*/ 2147483647 w 14"/>
                    <a:gd name="T27" fmla="*/ 2147483647 h 10"/>
                    <a:gd name="T28" fmla="*/ 2147483647 w 14"/>
                    <a:gd name="T29" fmla="*/ 2147483647 h 10"/>
                    <a:gd name="T30" fmla="*/ 2147483647 w 14"/>
                    <a:gd name="T31" fmla="*/ 2147483647 h 10"/>
                    <a:gd name="T32" fmla="*/ 2147483647 w 14"/>
                    <a:gd name="T33" fmla="*/ 2147483647 h 10"/>
                    <a:gd name="T34" fmla="*/ 2147483647 w 14"/>
                    <a:gd name="T35" fmla="*/ 2147483647 h 10"/>
                    <a:gd name="T36" fmla="*/ 2147483647 w 14"/>
                    <a:gd name="T37" fmla="*/ 2147483647 h 1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"/>
                    <a:gd name="T58" fmla="*/ 0 h 10"/>
                    <a:gd name="T59" fmla="*/ 14 w 14"/>
                    <a:gd name="T60" fmla="*/ 10 h 1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" h="10">
                      <a:moveTo>
                        <a:pt x="13" y="5"/>
                      </a:moveTo>
                      <a:lnTo>
                        <a:pt x="13" y="5"/>
                      </a:lnTo>
                      <a:lnTo>
                        <a:pt x="10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9" y="10"/>
                      </a:lnTo>
                      <a:lnTo>
                        <a:pt x="11" y="8"/>
                      </a:lnTo>
                      <a:lnTo>
                        <a:pt x="14" y="7"/>
                      </a:lnTo>
                      <a:lnTo>
                        <a:pt x="14" y="6"/>
                      </a:lnTo>
                      <a:lnTo>
                        <a:pt x="1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9" name="Freeform 826">
                  <a:extLst>
                    <a:ext uri="{FF2B5EF4-FFF2-40B4-BE49-F238E27FC236}">
                      <a16:creationId xmlns:a16="http://schemas.microsoft.com/office/drawing/2014/main" id="{159D2FC8-ABBA-FA4D-A302-8AC1151C7A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6911" y="4650922"/>
                  <a:ext cx="22199" cy="20718"/>
                </a:xfrm>
                <a:custGeom>
                  <a:avLst/>
                  <a:gdLst>
                    <a:gd name="T0" fmla="*/ 2147483647 w 16"/>
                    <a:gd name="T1" fmla="*/ 2147483647 h 14"/>
                    <a:gd name="T2" fmla="*/ 2147483647 w 16"/>
                    <a:gd name="T3" fmla="*/ 2147483647 h 14"/>
                    <a:gd name="T4" fmla="*/ 2147483647 w 16"/>
                    <a:gd name="T5" fmla="*/ 2147483647 h 14"/>
                    <a:gd name="T6" fmla="*/ 2147483647 w 16"/>
                    <a:gd name="T7" fmla="*/ 2147483647 h 14"/>
                    <a:gd name="T8" fmla="*/ 2147483647 w 16"/>
                    <a:gd name="T9" fmla="*/ 2147483647 h 14"/>
                    <a:gd name="T10" fmla="*/ 2147483647 w 16"/>
                    <a:gd name="T11" fmla="*/ 2147483647 h 14"/>
                    <a:gd name="T12" fmla="*/ 2147483647 w 16"/>
                    <a:gd name="T13" fmla="*/ 2147483647 h 14"/>
                    <a:gd name="T14" fmla="*/ 2147483647 w 16"/>
                    <a:gd name="T15" fmla="*/ 2147483647 h 14"/>
                    <a:gd name="T16" fmla="*/ 2147483647 w 16"/>
                    <a:gd name="T17" fmla="*/ 2147483647 h 14"/>
                    <a:gd name="T18" fmla="*/ 2147483647 w 16"/>
                    <a:gd name="T19" fmla="*/ 0 h 14"/>
                    <a:gd name="T20" fmla="*/ 2147483647 w 16"/>
                    <a:gd name="T21" fmla="*/ 0 h 14"/>
                    <a:gd name="T22" fmla="*/ 2147483647 w 16"/>
                    <a:gd name="T23" fmla="*/ 0 h 14"/>
                    <a:gd name="T24" fmla="*/ 0 w 16"/>
                    <a:gd name="T25" fmla="*/ 2147483647 h 14"/>
                    <a:gd name="T26" fmla="*/ 0 w 16"/>
                    <a:gd name="T27" fmla="*/ 2147483647 h 14"/>
                    <a:gd name="T28" fmla="*/ 0 w 16"/>
                    <a:gd name="T29" fmla="*/ 2147483647 h 14"/>
                    <a:gd name="T30" fmla="*/ 0 w 16"/>
                    <a:gd name="T31" fmla="*/ 2147483647 h 14"/>
                    <a:gd name="T32" fmla="*/ 2147483647 w 16"/>
                    <a:gd name="T33" fmla="*/ 2147483647 h 14"/>
                    <a:gd name="T34" fmla="*/ 2147483647 w 16"/>
                    <a:gd name="T35" fmla="*/ 2147483647 h 14"/>
                    <a:gd name="T36" fmla="*/ 2147483647 w 16"/>
                    <a:gd name="T37" fmla="*/ 2147483647 h 14"/>
                    <a:gd name="T38" fmla="*/ 2147483647 w 16"/>
                    <a:gd name="T39" fmla="*/ 2147483647 h 14"/>
                    <a:gd name="T40" fmla="*/ 2147483647 w 16"/>
                    <a:gd name="T41" fmla="*/ 2147483647 h 14"/>
                    <a:gd name="T42" fmla="*/ 2147483647 w 16"/>
                    <a:gd name="T43" fmla="*/ 2147483647 h 14"/>
                    <a:gd name="T44" fmla="*/ 2147483647 w 16"/>
                    <a:gd name="T45" fmla="*/ 2147483647 h 14"/>
                    <a:gd name="T46" fmla="*/ 2147483647 w 16"/>
                    <a:gd name="T47" fmla="*/ 2147483647 h 14"/>
                    <a:gd name="T48" fmla="*/ 2147483647 w 16"/>
                    <a:gd name="T49" fmla="*/ 2147483647 h 14"/>
                    <a:gd name="T50" fmla="*/ 2147483647 w 16"/>
                    <a:gd name="T51" fmla="*/ 2147483647 h 14"/>
                    <a:gd name="T52" fmla="*/ 2147483647 w 16"/>
                    <a:gd name="T53" fmla="*/ 2147483647 h 1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6"/>
                    <a:gd name="T82" fmla="*/ 0 h 14"/>
                    <a:gd name="T83" fmla="*/ 16 w 16"/>
                    <a:gd name="T84" fmla="*/ 14 h 1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6" h="14">
                      <a:moveTo>
                        <a:pt x="14" y="6"/>
                      </a:moveTo>
                      <a:lnTo>
                        <a:pt x="14" y="6"/>
                      </a:lnTo>
                      <a:lnTo>
                        <a:pt x="16" y="5"/>
                      </a:lnTo>
                      <a:lnTo>
                        <a:pt x="16" y="4"/>
                      </a:lnTo>
                      <a:lnTo>
                        <a:pt x="15" y="2"/>
                      </a:lnTo>
                      <a:lnTo>
                        <a:pt x="12" y="1"/>
                      </a:lnTo>
                      <a:lnTo>
                        <a:pt x="9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3" y="8"/>
                      </a:lnTo>
                      <a:lnTo>
                        <a:pt x="6" y="14"/>
                      </a:lnTo>
                      <a:lnTo>
                        <a:pt x="7" y="14"/>
                      </a:lnTo>
                      <a:lnTo>
                        <a:pt x="10" y="13"/>
                      </a:lnTo>
                      <a:lnTo>
                        <a:pt x="11" y="10"/>
                      </a:lnTo>
                      <a:lnTo>
                        <a:pt x="12" y="7"/>
                      </a:lnTo>
                      <a:lnTo>
                        <a:pt x="14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0" name="Freeform 827">
                  <a:extLst>
                    <a:ext uri="{FF2B5EF4-FFF2-40B4-BE49-F238E27FC236}">
                      <a16:creationId xmlns:a16="http://schemas.microsoft.com/office/drawing/2014/main" id="{FEDD1F3D-0D3B-5D47-A42E-5FE0BCFA4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60621" y="4483693"/>
                  <a:ext cx="253059" cy="254538"/>
                </a:xfrm>
                <a:custGeom>
                  <a:avLst/>
                  <a:gdLst>
                    <a:gd name="T0" fmla="*/ 2147483647 w 186"/>
                    <a:gd name="T1" fmla="*/ 0 h 172"/>
                    <a:gd name="T2" fmla="*/ 2147483647 w 186"/>
                    <a:gd name="T3" fmla="*/ 2147483647 h 172"/>
                    <a:gd name="T4" fmla="*/ 2147483647 w 186"/>
                    <a:gd name="T5" fmla="*/ 2147483647 h 172"/>
                    <a:gd name="T6" fmla="*/ 2147483647 w 186"/>
                    <a:gd name="T7" fmla="*/ 2147483647 h 172"/>
                    <a:gd name="T8" fmla="*/ 2147483647 w 186"/>
                    <a:gd name="T9" fmla="*/ 2147483647 h 172"/>
                    <a:gd name="T10" fmla="*/ 2147483647 w 186"/>
                    <a:gd name="T11" fmla="*/ 2147483647 h 172"/>
                    <a:gd name="T12" fmla="*/ 2147483647 w 186"/>
                    <a:gd name="T13" fmla="*/ 2147483647 h 172"/>
                    <a:gd name="T14" fmla="*/ 2147483647 w 186"/>
                    <a:gd name="T15" fmla="*/ 2147483647 h 172"/>
                    <a:gd name="T16" fmla="*/ 2147483647 w 186"/>
                    <a:gd name="T17" fmla="*/ 2147483647 h 172"/>
                    <a:gd name="T18" fmla="*/ 2147483647 w 186"/>
                    <a:gd name="T19" fmla="*/ 2147483647 h 172"/>
                    <a:gd name="T20" fmla="*/ 2147483647 w 186"/>
                    <a:gd name="T21" fmla="*/ 2147483647 h 172"/>
                    <a:gd name="T22" fmla="*/ 0 w 186"/>
                    <a:gd name="T23" fmla="*/ 2147483647 h 172"/>
                    <a:gd name="T24" fmla="*/ 2147483647 w 186"/>
                    <a:gd name="T25" fmla="*/ 2147483647 h 172"/>
                    <a:gd name="T26" fmla="*/ 2147483647 w 186"/>
                    <a:gd name="T27" fmla="*/ 2147483647 h 172"/>
                    <a:gd name="T28" fmla="*/ 2147483647 w 186"/>
                    <a:gd name="T29" fmla="*/ 2147483647 h 172"/>
                    <a:gd name="T30" fmla="*/ 2147483647 w 186"/>
                    <a:gd name="T31" fmla="*/ 2147483647 h 172"/>
                    <a:gd name="T32" fmla="*/ 2147483647 w 186"/>
                    <a:gd name="T33" fmla="*/ 2147483647 h 172"/>
                    <a:gd name="T34" fmla="*/ 2147483647 w 186"/>
                    <a:gd name="T35" fmla="*/ 2147483647 h 172"/>
                    <a:gd name="T36" fmla="*/ 2147483647 w 186"/>
                    <a:gd name="T37" fmla="*/ 2147483647 h 172"/>
                    <a:gd name="T38" fmla="*/ 2147483647 w 186"/>
                    <a:gd name="T39" fmla="*/ 2147483647 h 172"/>
                    <a:gd name="T40" fmla="*/ 2147483647 w 186"/>
                    <a:gd name="T41" fmla="*/ 2147483647 h 172"/>
                    <a:gd name="T42" fmla="*/ 2147483647 w 186"/>
                    <a:gd name="T43" fmla="*/ 2147483647 h 172"/>
                    <a:gd name="T44" fmla="*/ 2147483647 w 186"/>
                    <a:gd name="T45" fmla="*/ 2147483647 h 172"/>
                    <a:gd name="T46" fmla="*/ 2147483647 w 186"/>
                    <a:gd name="T47" fmla="*/ 2147483647 h 172"/>
                    <a:gd name="T48" fmla="*/ 2147483647 w 186"/>
                    <a:gd name="T49" fmla="*/ 2147483647 h 172"/>
                    <a:gd name="T50" fmla="*/ 2147483647 w 186"/>
                    <a:gd name="T51" fmla="*/ 2147483647 h 172"/>
                    <a:gd name="T52" fmla="*/ 2147483647 w 186"/>
                    <a:gd name="T53" fmla="*/ 2147483647 h 172"/>
                    <a:gd name="T54" fmla="*/ 2147483647 w 186"/>
                    <a:gd name="T55" fmla="*/ 2147483647 h 172"/>
                    <a:gd name="T56" fmla="*/ 2147483647 w 186"/>
                    <a:gd name="T57" fmla="*/ 2147483647 h 172"/>
                    <a:gd name="T58" fmla="*/ 2147483647 w 186"/>
                    <a:gd name="T59" fmla="*/ 2147483647 h 172"/>
                    <a:gd name="T60" fmla="*/ 2147483647 w 186"/>
                    <a:gd name="T61" fmla="*/ 2147483647 h 172"/>
                    <a:gd name="T62" fmla="*/ 2147483647 w 186"/>
                    <a:gd name="T63" fmla="*/ 2147483647 h 172"/>
                    <a:gd name="T64" fmla="*/ 2147483647 w 186"/>
                    <a:gd name="T65" fmla="*/ 2147483647 h 172"/>
                    <a:gd name="T66" fmla="*/ 2147483647 w 186"/>
                    <a:gd name="T67" fmla="*/ 2147483647 h 172"/>
                    <a:gd name="T68" fmla="*/ 2147483647 w 186"/>
                    <a:gd name="T69" fmla="*/ 2147483647 h 172"/>
                    <a:gd name="T70" fmla="*/ 2147483647 w 186"/>
                    <a:gd name="T71" fmla="*/ 2147483647 h 172"/>
                    <a:gd name="T72" fmla="*/ 2147483647 w 186"/>
                    <a:gd name="T73" fmla="*/ 2147483647 h 172"/>
                    <a:gd name="T74" fmla="*/ 2147483647 w 186"/>
                    <a:gd name="T75" fmla="*/ 2147483647 h 172"/>
                    <a:gd name="T76" fmla="*/ 2147483647 w 186"/>
                    <a:gd name="T77" fmla="*/ 2147483647 h 172"/>
                    <a:gd name="T78" fmla="*/ 2147483647 w 186"/>
                    <a:gd name="T79" fmla="*/ 2147483647 h 172"/>
                    <a:gd name="T80" fmla="*/ 2147483647 w 186"/>
                    <a:gd name="T81" fmla="*/ 2147483647 h 172"/>
                    <a:gd name="T82" fmla="*/ 2147483647 w 186"/>
                    <a:gd name="T83" fmla="*/ 2147483647 h 172"/>
                    <a:gd name="T84" fmla="*/ 2147483647 w 186"/>
                    <a:gd name="T85" fmla="*/ 2147483647 h 172"/>
                    <a:gd name="T86" fmla="*/ 2147483647 w 186"/>
                    <a:gd name="T87" fmla="*/ 2147483647 h 172"/>
                    <a:gd name="T88" fmla="*/ 2147483647 w 186"/>
                    <a:gd name="T89" fmla="*/ 2147483647 h 172"/>
                    <a:gd name="T90" fmla="*/ 2147483647 w 186"/>
                    <a:gd name="T91" fmla="*/ 2147483647 h 172"/>
                    <a:gd name="T92" fmla="*/ 2147483647 w 186"/>
                    <a:gd name="T93" fmla="*/ 2147483647 h 172"/>
                    <a:gd name="T94" fmla="*/ 2147483647 w 186"/>
                    <a:gd name="T95" fmla="*/ 2147483647 h 172"/>
                    <a:gd name="T96" fmla="*/ 2147483647 w 186"/>
                    <a:gd name="T97" fmla="*/ 2147483647 h 172"/>
                    <a:gd name="T98" fmla="*/ 2147483647 w 186"/>
                    <a:gd name="T99" fmla="*/ 2147483647 h 172"/>
                    <a:gd name="T100" fmla="*/ 2147483647 w 186"/>
                    <a:gd name="T101" fmla="*/ 2147483647 h 172"/>
                    <a:gd name="T102" fmla="*/ 2147483647 w 186"/>
                    <a:gd name="T103" fmla="*/ 2147483647 h 17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86"/>
                    <a:gd name="T157" fmla="*/ 0 h 172"/>
                    <a:gd name="T158" fmla="*/ 186 w 186"/>
                    <a:gd name="T159" fmla="*/ 172 h 17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86" h="172">
                      <a:moveTo>
                        <a:pt x="153" y="3"/>
                      </a:moveTo>
                      <a:lnTo>
                        <a:pt x="146" y="0"/>
                      </a:lnTo>
                      <a:lnTo>
                        <a:pt x="138" y="0"/>
                      </a:lnTo>
                      <a:lnTo>
                        <a:pt x="136" y="0"/>
                      </a:lnTo>
                      <a:lnTo>
                        <a:pt x="132" y="2"/>
                      </a:lnTo>
                      <a:lnTo>
                        <a:pt x="129" y="3"/>
                      </a:lnTo>
                      <a:lnTo>
                        <a:pt x="127" y="6"/>
                      </a:lnTo>
                      <a:lnTo>
                        <a:pt x="123" y="12"/>
                      </a:lnTo>
                      <a:lnTo>
                        <a:pt x="120" y="21"/>
                      </a:lnTo>
                      <a:lnTo>
                        <a:pt x="115" y="27"/>
                      </a:lnTo>
                      <a:lnTo>
                        <a:pt x="113" y="30"/>
                      </a:lnTo>
                      <a:lnTo>
                        <a:pt x="110" y="32"/>
                      </a:lnTo>
                      <a:lnTo>
                        <a:pt x="103" y="42"/>
                      </a:lnTo>
                      <a:lnTo>
                        <a:pt x="96" y="49"/>
                      </a:lnTo>
                      <a:lnTo>
                        <a:pt x="94" y="50"/>
                      </a:lnTo>
                      <a:lnTo>
                        <a:pt x="91" y="51"/>
                      </a:lnTo>
                      <a:lnTo>
                        <a:pt x="76" y="51"/>
                      </a:lnTo>
                      <a:lnTo>
                        <a:pt x="72" y="53"/>
                      </a:lnTo>
                      <a:lnTo>
                        <a:pt x="70" y="53"/>
                      </a:lnTo>
                      <a:lnTo>
                        <a:pt x="63" y="57"/>
                      </a:lnTo>
                      <a:lnTo>
                        <a:pt x="52" y="64"/>
                      </a:lnTo>
                      <a:lnTo>
                        <a:pt x="43" y="69"/>
                      </a:lnTo>
                      <a:lnTo>
                        <a:pt x="39" y="70"/>
                      </a:lnTo>
                      <a:lnTo>
                        <a:pt x="35" y="70"/>
                      </a:lnTo>
                      <a:lnTo>
                        <a:pt x="33" y="69"/>
                      </a:lnTo>
                      <a:lnTo>
                        <a:pt x="29" y="68"/>
                      </a:lnTo>
                      <a:lnTo>
                        <a:pt x="25" y="63"/>
                      </a:lnTo>
                      <a:lnTo>
                        <a:pt x="19" y="53"/>
                      </a:lnTo>
                      <a:lnTo>
                        <a:pt x="16" y="54"/>
                      </a:lnTo>
                      <a:lnTo>
                        <a:pt x="12" y="55"/>
                      </a:lnTo>
                      <a:lnTo>
                        <a:pt x="10" y="56"/>
                      </a:lnTo>
                      <a:lnTo>
                        <a:pt x="9" y="59"/>
                      </a:lnTo>
                      <a:lnTo>
                        <a:pt x="6" y="72"/>
                      </a:lnTo>
                      <a:lnTo>
                        <a:pt x="3" y="78"/>
                      </a:lnTo>
                      <a:lnTo>
                        <a:pt x="0" y="83"/>
                      </a:lnTo>
                      <a:lnTo>
                        <a:pt x="0" y="85"/>
                      </a:lnTo>
                      <a:lnTo>
                        <a:pt x="0" y="87"/>
                      </a:lnTo>
                      <a:lnTo>
                        <a:pt x="3" y="91"/>
                      </a:lnTo>
                      <a:lnTo>
                        <a:pt x="6" y="95"/>
                      </a:lnTo>
                      <a:lnTo>
                        <a:pt x="12" y="105"/>
                      </a:lnTo>
                      <a:lnTo>
                        <a:pt x="14" y="106"/>
                      </a:lnTo>
                      <a:lnTo>
                        <a:pt x="16" y="106"/>
                      </a:lnTo>
                      <a:lnTo>
                        <a:pt x="19" y="107"/>
                      </a:lnTo>
                      <a:lnTo>
                        <a:pt x="20" y="110"/>
                      </a:lnTo>
                      <a:lnTo>
                        <a:pt x="21" y="114"/>
                      </a:lnTo>
                      <a:lnTo>
                        <a:pt x="21" y="118"/>
                      </a:lnTo>
                      <a:lnTo>
                        <a:pt x="24" y="121"/>
                      </a:lnTo>
                      <a:lnTo>
                        <a:pt x="28" y="125"/>
                      </a:lnTo>
                      <a:lnTo>
                        <a:pt x="28" y="126"/>
                      </a:lnTo>
                      <a:lnTo>
                        <a:pt x="28" y="129"/>
                      </a:lnTo>
                      <a:lnTo>
                        <a:pt x="28" y="133"/>
                      </a:lnTo>
                      <a:lnTo>
                        <a:pt x="29" y="140"/>
                      </a:lnTo>
                      <a:lnTo>
                        <a:pt x="33" y="149"/>
                      </a:lnTo>
                      <a:lnTo>
                        <a:pt x="36" y="150"/>
                      </a:lnTo>
                      <a:lnTo>
                        <a:pt x="40" y="151"/>
                      </a:lnTo>
                      <a:lnTo>
                        <a:pt x="43" y="153"/>
                      </a:lnTo>
                      <a:lnTo>
                        <a:pt x="45" y="155"/>
                      </a:lnTo>
                      <a:lnTo>
                        <a:pt x="48" y="156"/>
                      </a:lnTo>
                      <a:lnTo>
                        <a:pt x="49" y="157"/>
                      </a:lnTo>
                      <a:lnTo>
                        <a:pt x="54" y="156"/>
                      </a:lnTo>
                      <a:lnTo>
                        <a:pt x="59" y="153"/>
                      </a:lnTo>
                      <a:lnTo>
                        <a:pt x="64" y="153"/>
                      </a:lnTo>
                      <a:lnTo>
                        <a:pt x="64" y="155"/>
                      </a:lnTo>
                      <a:lnTo>
                        <a:pt x="64" y="157"/>
                      </a:lnTo>
                      <a:lnTo>
                        <a:pt x="61" y="164"/>
                      </a:lnTo>
                      <a:lnTo>
                        <a:pt x="61" y="168"/>
                      </a:lnTo>
                      <a:lnTo>
                        <a:pt x="62" y="168"/>
                      </a:lnTo>
                      <a:lnTo>
                        <a:pt x="64" y="168"/>
                      </a:lnTo>
                      <a:lnTo>
                        <a:pt x="68" y="166"/>
                      </a:lnTo>
                      <a:lnTo>
                        <a:pt x="73" y="164"/>
                      </a:lnTo>
                      <a:lnTo>
                        <a:pt x="75" y="163"/>
                      </a:lnTo>
                      <a:lnTo>
                        <a:pt x="77" y="163"/>
                      </a:lnTo>
                      <a:lnTo>
                        <a:pt x="80" y="163"/>
                      </a:lnTo>
                      <a:lnTo>
                        <a:pt x="81" y="165"/>
                      </a:lnTo>
                      <a:lnTo>
                        <a:pt x="82" y="164"/>
                      </a:lnTo>
                      <a:lnTo>
                        <a:pt x="86" y="164"/>
                      </a:lnTo>
                      <a:lnTo>
                        <a:pt x="90" y="164"/>
                      </a:lnTo>
                      <a:lnTo>
                        <a:pt x="92" y="162"/>
                      </a:lnTo>
                      <a:lnTo>
                        <a:pt x="94" y="159"/>
                      </a:lnTo>
                      <a:lnTo>
                        <a:pt x="96" y="158"/>
                      </a:lnTo>
                      <a:lnTo>
                        <a:pt x="97" y="158"/>
                      </a:lnTo>
                      <a:lnTo>
                        <a:pt x="100" y="161"/>
                      </a:lnTo>
                      <a:lnTo>
                        <a:pt x="105" y="166"/>
                      </a:lnTo>
                      <a:lnTo>
                        <a:pt x="110" y="171"/>
                      </a:lnTo>
                      <a:lnTo>
                        <a:pt x="111" y="172"/>
                      </a:lnTo>
                      <a:lnTo>
                        <a:pt x="113" y="172"/>
                      </a:lnTo>
                      <a:lnTo>
                        <a:pt x="115" y="170"/>
                      </a:lnTo>
                      <a:lnTo>
                        <a:pt x="116" y="169"/>
                      </a:lnTo>
                      <a:lnTo>
                        <a:pt x="119" y="166"/>
                      </a:lnTo>
                      <a:lnTo>
                        <a:pt x="120" y="164"/>
                      </a:lnTo>
                      <a:lnTo>
                        <a:pt x="124" y="157"/>
                      </a:lnTo>
                      <a:lnTo>
                        <a:pt x="128" y="151"/>
                      </a:lnTo>
                      <a:lnTo>
                        <a:pt x="134" y="146"/>
                      </a:lnTo>
                      <a:lnTo>
                        <a:pt x="142" y="142"/>
                      </a:lnTo>
                      <a:lnTo>
                        <a:pt x="143" y="139"/>
                      </a:lnTo>
                      <a:lnTo>
                        <a:pt x="144" y="137"/>
                      </a:lnTo>
                      <a:lnTo>
                        <a:pt x="142" y="130"/>
                      </a:lnTo>
                      <a:lnTo>
                        <a:pt x="142" y="126"/>
                      </a:lnTo>
                      <a:lnTo>
                        <a:pt x="143" y="123"/>
                      </a:lnTo>
                      <a:lnTo>
                        <a:pt x="148" y="118"/>
                      </a:lnTo>
                      <a:lnTo>
                        <a:pt x="153" y="114"/>
                      </a:lnTo>
                      <a:lnTo>
                        <a:pt x="158" y="111"/>
                      </a:lnTo>
                      <a:lnTo>
                        <a:pt x="160" y="107"/>
                      </a:lnTo>
                      <a:lnTo>
                        <a:pt x="161" y="105"/>
                      </a:lnTo>
                      <a:lnTo>
                        <a:pt x="161" y="101"/>
                      </a:lnTo>
                      <a:lnTo>
                        <a:pt x="160" y="100"/>
                      </a:lnTo>
                      <a:lnTo>
                        <a:pt x="156" y="97"/>
                      </a:lnTo>
                      <a:lnTo>
                        <a:pt x="156" y="95"/>
                      </a:lnTo>
                      <a:lnTo>
                        <a:pt x="156" y="94"/>
                      </a:lnTo>
                      <a:lnTo>
                        <a:pt x="157" y="88"/>
                      </a:lnTo>
                      <a:lnTo>
                        <a:pt x="160" y="83"/>
                      </a:lnTo>
                      <a:lnTo>
                        <a:pt x="162" y="80"/>
                      </a:lnTo>
                      <a:lnTo>
                        <a:pt x="163" y="75"/>
                      </a:lnTo>
                      <a:lnTo>
                        <a:pt x="163" y="73"/>
                      </a:lnTo>
                      <a:lnTo>
                        <a:pt x="165" y="70"/>
                      </a:lnTo>
                      <a:lnTo>
                        <a:pt x="166" y="69"/>
                      </a:lnTo>
                      <a:lnTo>
                        <a:pt x="169" y="70"/>
                      </a:lnTo>
                      <a:lnTo>
                        <a:pt x="171" y="73"/>
                      </a:lnTo>
                      <a:lnTo>
                        <a:pt x="175" y="73"/>
                      </a:lnTo>
                      <a:lnTo>
                        <a:pt x="176" y="72"/>
                      </a:lnTo>
                      <a:lnTo>
                        <a:pt x="179" y="73"/>
                      </a:lnTo>
                      <a:lnTo>
                        <a:pt x="181" y="74"/>
                      </a:lnTo>
                      <a:lnTo>
                        <a:pt x="185" y="74"/>
                      </a:lnTo>
                      <a:lnTo>
                        <a:pt x="186" y="73"/>
                      </a:lnTo>
                      <a:lnTo>
                        <a:pt x="186" y="70"/>
                      </a:lnTo>
                      <a:lnTo>
                        <a:pt x="183" y="66"/>
                      </a:lnTo>
                      <a:lnTo>
                        <a:pt x="179" y="63"/>
                      </a:lnTo>
                      <a:lnTo>
                        <a:pt x="174" y="60"/>
                      </a:lnTo>
                      <a:lnTo>
                        <a:pt x="170" y="57"/>
                      </a:lnTo>
                      <a:lnTo>
                        <a:pt x="169" y="56"/>
                      </a:lnTo>
                      <a:lnTo>
                        <a:pt x="169" y="55"/>
                      </a:lnTo>
                      <a:lnTo>
                        <a:pt x="169" y="54"/>
                      </a:lnTo>
                      <a:lnTo>
                        <a:pt x="170" y="51"/>
                      </a:lnTo>
                      <a:lnTo>
                        <a:pt x="171" y="50"/>
                      </a:lnTo>
                      <a:lnTo>
                        <a:pt x="172" y="48"/>
                      </a:lnTo>
                      <a:lnTo>
                        <a:pt x="171" y="44"/>
                      </a:lnTo>
                      <a:lnTo>
                        <a:pt x="169" y="42"/>
                      </a:lnTo>
                      <a:lnTo>
                        <a:pt x="163" y="37"/>
                      </a:lnTo>
                      <a:lnTo>
                        <a:pt x="162" y="36"/>
                      </a:lnTo>
                      <a:lnTo>
                        <a:pt x="160" y="37"/>
                      </a:lnTo>
                      <a:lnTo>
                        <a:pt x="158" y="37"/>
                      </a:lnTo>
                      <a:lnTo>
                        <a:pt x="157" y="37"/>
                      </a:lnTo>
                      <a:lnTo>
                        <a:pt x="156" y="35"/>
                      </a:lnTo>
                      <a:lnTo>
                        <a:pt x="156" y="31"/>
                      </a:lnTo>
                      <a:lnTo>
                        <a:pt x="158" y="27"/>
                      </a:lnTo>
                      <a:lnTo>
                        <a:pt x="160" y="24"/>
                      </a:lnTo>
                      <a:lnTo>
                        <a:pt x="158" y="23"/>
                      </a:lnTo>
                      <a:lnTo>
                        <a:pt x="156" y="21"/>
                      </a:lnTo>
                      <a:lnTo>
                        <a:pt x="156" y="19"/>
                      </a:lnTo>
                      <a:lnTo>
                        <a:pt x="156" y="18"/>
                      </a:lnTo>
                      <a:lnTo>
                        <a:pt x="158" y="17"/>
                      </a:lnTo>
                      <a:lnTo>
                        <a:pt x="158" y="15"/>
                      </a:lnTo>
                      <a:lnTo>
                        <a:pt x="158" y="14"/>
                      </a:lnTo>
                      <a:lnTo>
                        <a:pt x="157" y="10"/>
                      </a:lnTo>
                      <a:lnTo>
                        <a:pt x="155" y="6"/>
                      </a:lnTo>
                      <a:lnTo>
                        <a:pt x="153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1" name="Freeform 828">
                  <a:extLst>
                    <a:ext uri="{FF2B5EF4-FFF2-40B4-BE49-F238E27FC236}">
                      <a16:creationId xmlns:a16="http://schemas.microsoft.com/office/drawing/2014/main" id="{986041A6-0B86-624E-92F3-029C52CE18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9947" y="4791508"/>
                  <a:ext cx="198303" cy="79913"/>
                </a:xfrm>
                <a:custGeom>
                  <a:avLst/>
                  <a:gdLst>
                    <a:gd name="T0" fmla="*/ 2147483647 w 145"/>
                    <a:gd name="T1" fmla="*/ 2147483647 h 54"/>
                    <a:gd name="T2" fmla="*/ 2147483647 w 145"/>
                    <a:gd name="T3" fmla="*/ 2147483647 h 54"/>
                    <a:gd name="T4" fmla="*/ 2147483647 w 145"/>
                    <a:gd name="T5" fmla="*/ 2147483647 h 54"/>
                    <a:gd name="T6" fmla="*/ 2147483647 w 145"/>
                    <a:gd name="T7" fmla="*/ 2147483647 h 54"/>
                    <a:gd name="T8" fmla="*/ 2147483647 w 145"/>
                    <a:gd name="T9" fmla="*/ 2147483647 h 54"/>
                    <a:gd name="T10" fmla="*/ 2147483647 w 145"/>
                    <a:gd name="T11" fmla="*/ 2147483647 h 54"/>
                    <a:gd name="T12" fmla="*/ 2147483647 w 145"/>
                    <a:gd name="T13" fmla="*/ 2147483647 h 54"/>
                    <a:gd name="T14" fmla="*/ 2147483647 w 145"/>
                    <a:gd name="T15" fmla="*/ 2147483647 h 54"/>
                    <a:gd name="T16" fmla="*/ 2147483647 w 145"/>
                    <a:gd name="T17" fmla="*/ 2147483647 h 54"/>
                    <a:gd name="T18" fmla="*/ 2147483647 w 145"/>
                    <a:gd name="T19" fmla="*/ 2147483647 h 54"/>
                    <a:gd name="T20" fmla="*/ 2147483647 w 145"/>
                    <a:gd name="T21" fmla="*/ 2147483647 h 54"/>
                    <a:gd name="T22" fmla="*/ 2147483647 w 145"/>
                    <a:gd name="T23" fmla="*/ 2147483647 h 54"/>
                    <a:gd name="T24" fmla="*/ 2147483647 w 145"/>
                    <a:gd name="T25" fmla="*/ 2147483647 h 54"/>
                    <a:gd name="T26" fmla="*/ 2147483647 w 145"/>
                    <a:gd name="T27" fmla="*/ 2147483647 h 54"/>
                    <a:gd name="T28" fmla="*/ 2147483647 w 145"/>
                    <a:gd name="T29" fmla="*/ 2147483647 h 54"/>
                    <a:gd name="T30" fmla="*/ 2147483647 w 145"/>
                    <a:gd name="T31" fmla="*/ 0 h 54"/>
                    <a:gd name="T32" fmla="*/ 2147483647 w 145"/>
                    <a:gd name="T33" fmla="*/ 2147483647 h 54"/>
                    <a:gd name="T34" fmla="*/ 2147483647 w 145"/>
                    <a:gd name="T35" fmla="*/ 2147483647 h 54"/>
                    <a:gd name="T36" fmla="*/ 2147483647 w 145"/>
                    <a:gd name="T37" fmla="*/ 0 h 54"/>
                    <a:gd name="T38" fmla="*/ 2147483647 w 145"/>
                    <a:gd name="T39" fmla="*/ 2147483647 h 54"/>
                    <a:gd name="T40" fmla="*/ 0 w 145"/>
                    <a:gd name="T41" fmla="*/ 2147483647 h 54"/>
                    <a:gd name="T42" fmla="*/ 2147483647 w 145"/>
                    <a:gd name="T43" fmla="*/ 2147483647 h 54"/>
                    <a:gd name="T44" fmla="*/ 2147483647 w 145"/>
                    <a:gd name="T45" fmla="*/ 2147483647 h 54"/>
                    <a:gd name="T46" fmla="*/ 2147483647 w 145"/>
                    <a:gd name="T47" fmla="*/ 2147483647 h 54"/>
                    <a:gd name="T48" fmla="*/ 2147483647 w 145"/>
                    <a:gd name="T49" fmla="*/ 2147483647 h 54"/>
                    <a:gd name="T50" fmla="*/ 2147483647 w 145"/>
                    <a:gd name="T51" fmla="*/ 2147483647 h 54"/>
                    <a:gd name="T52" fmla="*/ 2147483647 w 145"/>
                    <a:gd name="T53" fmla="*/ 2147483647 h 54"/>
                    <a:gd name="T54" fmla="*/ 2147483647 w 145"/>
                    <a:gd name="T55" fmla="*/ 2147483647 h 54"/>
                    <a:gd name="T56" fmla="*/ 2147483647 w 145"/>
                    <a:gd name="T57" fmla="*/ 2147483647 h 54"/>
                    <a:gd name="T58" fmla="*/ 2147483647 w 145"/>
                    <a:gd name="T59" fmla="*/ 2147483647 h 54"/>
                    <a:gd name="T60" fmla="*/ 2147483647 w 145"/>
                    <a:gd name="T61" fmla="*/ 2147483647 h 54"/>
                    <a:gd name="T62" fmla="*/ 2147483647 w 145"/>
                    <a:gd name="T63" fmla="*/ 2147483647 h 54"/>
                    <a:gd name="T64" fmla="*/ 2147483647 w 145"/>
                    <a:gd name="T65" fmla="*/ 2147483647 h 5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45"/>
                    <a:gd name="T100" fmla="*/ 0 h 54"/>
                    <a:gd name="T101" fmla="*/ 145 w 145"/>
                    <a:gd name="T102" fmla="*/ 54 h 5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45" h="54">
                      <a:moveTo>
                        <a:pt x="144" y="51"/>
                      </a:moveTo>
                      <a:lnTo>
                        <a:pt x="143" y="49"/>
                      </a:lnTo>
                      <a:lnTo>
                        <a:pt x="143" y="47"/>
                      </a:lnTo>
                      <a:lnTo>
                        <a:pt x="145" y="41"/>
                      </a:lnTo>
                      <a:lnTo>
                        <a:pt x="145" y="39"/>
                      </a:lnTo>
                      <a:lnTo>
                        <a:pt x="144" y="38"/>
                      </a:lnTo>
                      <a:lnTo>
                        <a:pt x="141" y="37"/>
                      </a:lnTo>
                      <a:lnTo>
                        <a:pt x="139" y="37"/>
                      </a:lnTo>
                      <a:lnTo>
                        <a:pt x="134" y="37"/>
                      </a:lnTo>
                      <a:lnTo>
                        <a:pt x="129" y="36"/>
                      </a:lnTo>
                      <a:lnTo>
                        <a:pt x="126" y="34"/>
                      </a:lnTo>
                      <a:lnTo>
                        <a:pt x="124" y="32"/>
                      </a:lnTo>
                      <a:lnTo>
                        <a:pt x="121" y="31"/>
                      </a:lnTo>
                      <a:lnTo>
                        <a:pt x="120" y="31"/>
                      </a:lnTo>
                      <a:lnTo>
                        <a:pt x="117" y="31"/>
                      </a:lnTo>
                      <a:lnTo>
                        <a:pt x="116" y="31"/>
                      </a:lnTo>
                      <a:lnTo>
                        <a:pt x="110" y="24"/>
                      </a:lnTo>
                      <a:lnTo>
                        <a:pt x="102" y="19"/>
                      </a:lnTo>
                      <a:lnTo>
                        <a:pt x="93" y="17"/>
                      </a:lnTo>
                      <a:lnTo>
                        <a:pt x="89" y="17"/>
                      </a:lnTo>
                      <a:lnTo>
                        <a:pt x="86" y="17"/>
                      </a:lnTo>
                      <a:lnTo>
                        <a:pt x="70" y="19"/>
                      </a:lnTo>
                      <a:lnTo>
                        <a:pt x="64" y="19"/>
                      </a:lnTo>
                      <a:lnTo>
                        <a:pt x="56" y="18"/>
                      </a:lnTo>
                      <a:lnTo>
                        <a:pt x="54" y="15"/>
                      </a:lnTo>
                      <a:lnTo>
                        <a:pt x="53" y="13"/>
                      </a:lnTo>
                      <a:lnTo>
                        <a:pt x="51" y="11"/>
                      </a:lnTo>
                      <a:lnTo>
                        <a:pt x="49" y="9"/>
                      </a:lnTo>
                      <a:lnTo>
                        <a:pt x="42" y="7"/>
                      </a:lnTo>
                      <a:lnTo>
                        <a:pt x="37" y="5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5" y="1"/>
                      </a:lnTo>
                      <a:lnTo>
                        <a:pt x="21" y="2"/>
                      </a:lnTo>
                      <a:lnTo>
                        <a:pt x="18" y="2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6" y="6"/>
                      </a:lnTo>
                      <a:lnTo>
                        <a:pt x="0" y="17"/>
                      </a:lnTo>
                      <a:lnTo>
                        <a:pt x="6" y="20"/>
                      </a:lnTo>
                      <a:lnTo>
                        <a:pt x="9" y="25"/>
                      </a:lnTo>
                      <a:lnTo>
                        <a:pt x="12" y="27"/>
                      </a:lnTo>
                      <a:lnTo>
                        <a:pt x="16" y="30"/>
                      </a:lnTo>
                      <a:lnTo>
                        <a:pt x="21" y="31"/>
                      </a:lnTo>
                      <a:lnTo>
                        <a:pt x="25" y="32"/>
                      </a:lnTo>
                      <a:lnTo>
                        <a:pt x="27" y="32"/>
                      </a:lnTo>
                      <a:lnTo>
                        <a:pt x="30" y="32"/>
                      </a:lnTo>
                      <a:lnTo>
                        <a:pt x="36" y="34"/>
                      </a:lnTo>
                      <a:lnTo>
                        <a:pt x="40" y="37"/>
                      </a:lnTo>
                      <a:lnTo>
                        <a:pt x="44" y="38"/>
                      </a:lnTo>
                      <a:lnTo>
                        <a:pt x="46" y="38"/>
                      </a:lnTo>
                      <a:lnTo>
                        <a:pt x="49" y="36"/>
                      </a:lnTo>
                      <a:lnTo>
                        <a:pt x="50" y="36"/>
                      </a:lnTo>
                      <a:lnTo>
                        <a:pt x="51" y="36"/>
                      </a:lnTo>
                      <a:lnTo>
                        <a:pt x="70" y="41"/>
                      </a:lnTo>
                      <a:lnTo>
                        <a:pt x="89" y="45"/>
                      </a:lnTo>
                      <a:lnTo>
                        <a:pt x="110" y="49"/>
                      </a:lnTo>
                      <a:lnTo>
                        <a:pt x="130" y="50"/>
                      </a:lnTo>
                      <a:lnTo>
                        <a:pt x="133" y="52"/>
                      </a:lnTo>
                      <a:lnTo>
                        <a:pt x="136" y="54"/>
                      </a:lnTo>
                      <a:lnTo>
                        <a:pt x="139" y="54"/>
                      </a:lnTo>
                      <a:lnTo>
                        <a:pt x="140" y="53"/>
                      </a:lnTo>
                      <a:lnTo>
                        <a:pt x="141" y="51"/>
                      </a:lnTo>
                      <a:lnTo>
                        <a:pt x="144" y="5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2" name="Freeform 830">
                  <a:extLst>
                    <a:ext uri="{FF2B5EF4-FFF2-40B4-BE49-F238E27FC236}">
                      <a16:creationId xmlns:a16="http://schemas.microsoft.com/office/drawing/2014/main" id="{B0E098C2-83C5-1E46-A48B-BBF54C90D1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8466" y="4790027"/>
                  <a:ext cx="198303" cy="79913"/>
                </a:xfrm>
                <a:custGeom>
                  <a:avLst/>
                  <a:gdLst>
                    <a:gd name="T0" fmla="*/ 2147483647 w 145"/>
                    <a:gd name="T1" fmla="*/ 2147483647 h 54"/>
                    <a:gd name="T2" fmla="*/ 2147483647 w 145"/>
                    <a:gd name="T3" fmla="*/ 2147483647 h 54"/>
                    <a:gd name="T4" fmla="*/ 2147483647 w 145"/>
                    <a:gd name="T5" fmla="*/ 2147483647 h 54"/>
                    <a:gd name="T6" fmla="*/ 2147483647 w 145"/>
                    <a:gd name="T7" fmla="*/ 2147483647 h 54"/>
                    <a:gd name="T8" fmla="*/ 2147483647 w 145"/>
                    <a:gd name="T9" fmla="*/ 2147483647 h 54"/>
                    <a:gd name="T10" fmla="*/ 2147483647 w 145"/>
                    <a:gd name="T11" fmla="*/ 2147483647 h 54"/>
                    <a:gd name="T12" fmla="*/ 2147483647 w 145"/>
                    <a:gd name="T13" fmla="*/ 2147483647 h 54"/>
                    <a:gd name="T14" fmla="*/ 2147483647 w 145"/>
                    <a:gd name="T15" fmla="*/ 2147483647 h 54"/>
                    <a:gd name="T16" fmla="*/ 2147483647 w 145"/>
                    <a:gd name="T17" fmla="*/ 2147483647 h 54"/>
                    <a:gd name="T18" fmla="*/ 2147483647 w 145"/>
                    <a:gd name="T19" fmla="*/ 2147483647 h 54"/>
                    <a:gd name="T20" fmla="*/ 2147483647 w 145"/>
                    <a:gd name="T21" fmla="*/ 2147483647 h 54"/>
                    <a:gd name="T22" fmla="*/ 2147483647 w 145"/>
                    <a:gd name="T23" fmla="*/ 2147483647 h 54"/>
                    <a:gd name="T24" fmla="*/ 2147483647 w 145"/>
                    <a:gd name="T25" fmla="*/ 2147483647 h 54"/>
                    <a:gd name="T26" fmla="*/ 2147483647 w 145"/>
                    <a:gd name="T27" fmla="*/ 2147483647 h 54"/>
                    <a:gd name="T28" fmla="*/ 2147483647 w 145"/>
                    <a:gd name="T29" fmla="*/ 2147483647 h 54"/>
                    <a:gd name="T30" fmla="*/ 2147483647 w 145"/>
                    <a:gd name="T31" fmla="*/ 2147483647 h 54"/>
                    <a:gd name="T32" fmla="*/ 2147483647 w 145"/>
                    <a:gd name="T33" fmla="*/ 2147483647 h 54"/>
                    <a:gd name="T34" fmla="*/ 2147483647 w 145"/>
                    <a:gd name="T35" fmla="*/ 2147483647 h 54"/>
                    <a:gd name="T36" fmla="*/ 2147483647 w 145"/>
                    <a:gd name="T37" fmla="*/ 2147483647 h 54"/>
                    <a:gd name="T38" fmla="*/ 2147483647 w 145"/>
                    <a:gd name="T39" fmla="*/ 0 h 54"/>
                    <a:gd name="T40" fmla="*/ 2147483647 w 145"/>
                    <a:gd name="T41" fmla="*/ 2147483647 h 54"/>
                    <a:gd name="T42" fmla="*/ 2147483647 w 145"/>
                    <a:gd name="T43" fmla="*/ 2147483647 h 54"/>
                    <a:gd name="T44" fmla="*/ 2147483647 w 145"/>
                    <a:gd name="T45" fmla="*/ 2147483647 h 54"/>
                    <a:gd name="T46" fmla="*/ 2147483647 w 145"/>
                    <a:gd name="T47" fmla="*/ 0 h 54"/>
                    <a:gd name="T48" fmla="*/ 2147483647 w 145"/>
                    <a:gd name="T49" fmla="*/ 2147483647 h 54"/>
                    <a:gd name="T50" fmla="*/ 2147483647 w 145"/>
                    <a:gd name="T51" fmla="*/ 2147483647 h 54"/>
                    <a:gd name="T52" fmla="*/ 0 w 145"/>
                    <a:gd name="T53" fmla="*/ 2147483647 h 54"/>
                    <a:gd name="T54" fmla="*/ 2147483647 w 145"/>
                    <a:gd name="T55" fmla="*/ 2147483647 h 54"/>
                    <a:gd name="T56" fmla="*/ 2147483647 w 145"/>
                    <a:gd name="T57" fmla="*/ 2147483647 h 54"/>
                    <a:gd name="T58" fmla="*/ 2147483647 w 145"/>
                    <a:gd name="T59" fmla="*/ 2147483647 h 54"/>
                    <a:gd name="T60" fmla="*/ 2147483647 w 145"/>
                    <a:gd name="T61" fmla="*/ 2147483647 h 54"/>
                    <a:gd name="T62" fmla="*/ 2147483647 w 145"/>
                    <a:gd name="T63" fmla="*/ 2147483647 h 54"/>
                    <a:gd name="T64" fmla="*/ 2147483647 w 145"/>
                    <a:gd name="T65" fmla="*/ 2147483647 h 54"/>
                    <a:gd name="T66" fmla="*/ 2147483647 w 145"/>
                    <a:gd name="T67" fmla="*/ 2147483647 h 54"/>
                    <a:gd name="T68" fmla="*/ 2147483647 w 145"/>
                    <a:gd name="T69" fmla="*/ 2147483647 h 54"/>
                    <a:gd name="T70" fmla="*/ 2147483647 w 145"/>
                    <a:gd name="T71" fmla="*/ 2147483647 h 54"/>
                    <a:gd name="T72" fmla="*/ 2147483647 w 145"/>
                    <a:gd name="T73" fmla="*/ 2147483647 h 54"/>
                    <a:gd name="T74" fmla="*/ 2147483647 w 145"/>
                    <a:gd name="T75" fmla="*/ 2147483647 h 54"/>
                    <a:gd name="T76" fmla="*/ 2147483647 w 145"/>
                    <a:gd name="T77" fmla="*/ 2147483647 h 54"/>
                    <a:gd name="T78" fmla="*/ 2147483647 w 145"/>
                    <a:gd name="T79" fmla="*/ 2147483647 h 54"/>
                    <a:gd name="T80" fmla="*/ 2147483647 w 145"/>
                    <a:gd name="T81" fmla="*/ 2147483647 h 54"/>
                    <a:gd name="T82" fmla="*/ 2147483647 w 145"/>
                    <a:gd name="T83" fmla="*/ 2147483647 h 54"/>
                    <a:gd name="T84" fmla="*/ 2147483647 w 145"/>
                    <a:gd name="T85" fmla="*/ 2147483647 h 5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45"/>
                    <a:gd name="T130" fmla="*/ 0 h 54"/>
                    <a:gd name="T131" fmla="*/ 145 w 145"/>
                    <a:gd name="T132" fmla="*/ 54 h 5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45" h="54">
                      <a:moveTo>
                        <a:pt x="144" y="51"/>
                      </a:moveTo>
                      <a:lnTo>
                        <a:pt x="144" y="51"/>
                      </a:lnTo>
                      <a:lnTo>
                        <a:pt x="142" y="48"/>
                      </a:lnTo>
                      <a:lnTo>
                        <a:pt x="142" y="47"/>
                      </a:lnTo>
                      <a:lnTo>
                        <a:pt x="145" y="41"/>
                      </a:lnTo>
                      <a:lnTo>
                        <a:pt x="145" y="39"/>
                      </a:lnTo>
                      <a:lnTo>
                        <a:pt x="144" y="38"/>
                      </a:lnTo>
                      <a:lnTo>
                        <a:pt x="141" y="37"/>
                      </a:lnTo>
                      <a:lnTo>
                        <a:pt x="139" y="37"/>
                      </a:lnTo>
                      <a:lnTo>
                        <a:pt x="134" y="37"/>
                      </a:lnTo>
                      <a:lnTo>
                        <a:pt x="128" y="35"/>
                      </a:lnTo>
                      <a:lnTo>
                        <a:pt x="126" y="34"/>
                      </a:lnTo>
                      <a:lnTo>
                        <a:pt x="123" y="32"/>
                      </a:lnTo>
                      <a:lnTo>
                        <a:pt x="121" y="31"/>
                      </a:lnTo>
                      <a:lnTo>
                        <a:pt x="120" y="31"/>
                      </a:lnTo>
                      <a:lnTo>
                        <a:pt x="117" y="31"/>
                      </a:lnTo>
                      <a:lnTo>
                        <a:pt x="116" y="31"/>
                      </a:lnTo>
                      <a:lnTo>
                        <a:pt x="109" y="23"/>
                      </a:lnTo>
                      <a:lnTo>
                        <a:pt x="102" y="19"/>
                      </a:lnTo>
                      <a:lnTo>
                        <a:pt x="93" y="16"/>
                      </a:lnTo>
                      <a:lnTo>
                        <a:pt x="89" y="16"/>
                      </a:lnTo>
                      <a:lnTo>
                        <a:pt x="85" y="16"/>
                      </a:lnTo>
                      <a:lnTo>
                        <a:pt x="70" y="19"/>
                      </a:lnTo>
                      <a:lnTo>
                        <a:pt x="64" y="19"/>
                      </a:lnTo>
                      <a:lnTo>
                        <a:pt x="56" y="18"/>
                      </a:lnTo>
                      <a:lnTo>
                        <a:pt x="54" y="15"/>
                      </a:lnTo>
                      <a:lnTo>
                        <a:pt x="52" y="13"/>
                      </a:lnTo>
                      <a:lnTo>
                        <a:pt x="51" y="10"/>
                      </a:lnTo>
                      <a:lnTo>
                        <a:pt x="48" y="9"/>
                      </a:lnTo>
                      <a:lnTo>
                        <a:pt x="42" y="7"/>
                      </a:lnTo>
                      <a:lnTo>
                        <a:pt x="37" y="5"/>
                      </a:lnTo>
                      <a:lnTo>
                        <a:pt x="28" y="0"/>
                      </a:lnTo>
                      <a:lnTo>
                        <a:pt x="27" y="0"/>
                      </a:lnTo>
                      <a:lnTo>
                        <a:pt x="24" y="1"/>
                      </a:lnTo>
                      <a:lnTo>
                        <a:pt x="21" y="2"/>
                      </a:lnTo>
                      <a:lnTo>
                        <a:pt x="18" y="2"/>
                      </a:lnTo>
                      <a:lnTo>
                        <a:pt x="17" y="2"/>
                      </a:lnTo>
                      <a:lnTo>
                        <a:pt x="15" y="1"/>
                      </a:ln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5" y="6"/>
                      </a:lnTo>
                      <a:lnTo>
                        <a:pt x="0" y="16"/>
                      </a:lnTo>
                      <a:lnTo>
                        <a:pt x="5" y="20"/>
                      </a:lnTo>
                      <a:lnTo>
                        <a:pt x="9" y="25"/>
                      </a:lnTo>
                      <a:lnTo>
                        <a:pt x="12" y="27"/>
                      </a:lnTo>
                      <a:lnTo>
                        <a:pt x="15" y="29"/>
                      </a:lnTo>
                      <a:lnTo>
                        <a:pt x="21" y="31"/>
                      </a:lnTo>
                      <a:lnTo>
                        <a:pt x="24" y="32"/>
                      </a:lnTo>
                      <a:lnTo>
                        <a:pt x="27" y="32"/>
                      </a:lnTo>
                      <a:lnTo>
                        <a:pt x="29" y="32"/>
                      </a:lnTo>
                      <a:lnTo>
                        <a:pt x="36" y="34"/>
                      </a:lnTo>
                      <a:lnTo>
                        <a:pt x="40" y="37"/>
                      </a:lnTo>
                      <a:lnTo>
                        <a:pt x="43" y="38"/>
                      </a:lnTo>
                      <a:lnTo>
                        <a:pt x="46" y="38"/>
                      </a:lnTo>
                      <a:lnTo>
                        <a:pt x="48" y="35"/>
                      </a:lnTo>
                      <a:lnTo>
                        <a:pt x="50" y="35"/>
                      </a:lnTo>
                      <a:lnTo>
                        <a:pt x="51" y="35"/>
                      </a:lnTo>
                      <a:lnTo>
                        <a:pt x="70" y="41"/>
                      </a:lnTo>
                      <a:lnTo>
                        <a:pt x="89" y="45"/>
                      </a:lnTo>
                      <a:lnTo>
                        <a:pt x="109" y="48"/>
                      </a:lnTo>
                      <a:lnTo>
                        <a:pt x="130" y="50"/>
                      </a:lnTo>
                      <a:lnTo>
                        <a:pt x="132" y="52"/>
                      </a:lnTo>
                      <a:lnTo>
                        <a:pt x="136" y="54"/>
                      </a:lnTo>
                      <a:lnTo>
                        <a:pt x="139" y="54"/>
                      </a:lnTo>
                      <a:lnTo>
                        <a:pt x="140" y="53"/>
                      </a:lnTo>
                      <a:lnTo>
                        <a:pt x="141" y="51"/>
                      </a:lnTo>
                      <a:lnTo>
                        <a:pt x="144" y="5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3" name="Freeform 835">
                  <a:extLst>
                    <a:ext uri="{FF2B5EF4-FFF2-40B4-BE49-F238E27FC236}">
                      <a16:creationId xmlns:a16="http://schemas.microsoft.com/office/drawing/2014/main" id="{73E5B638-1699-F649-9EA9-18064B609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06282" y="4889179"/>
                  <a:ext cx="44396" cy="25158"/>
                </a:xfrm>
                <a:custGeom>
                  <a:avLst/>
                  <a:gdLst>
                    <a:gd name="T0" fmla="*/ 2147483647 w 33"/>
                    <a:gd name="T1" fmla="*/ 2147483647 h 17"/>
                    <a:gd name="T2" fmla="*/ 2147483647 w 33"/>
                    <a:gd name="T3" fmla="*/ 2147483647 h 17"/>
                    <a:gd name="T4" fmla="*/ 2147483647 w 33"/>
                    <a:gd name="T5" fmla="*/ 2147483647 h 17"/>
                    <a:gd name="T6" fmla="*/ 2147483647 w 33"/>
                    <a:gd name="T7" fmla="*/ 2147483647 h 17"/>
                    <a:gd name="T8" fmla="*/ 2147483647 w 33"/>
                    <a:gd name="T9" fmla="*/ 2147483647 h 17"/>
                    <a:gd name="T10" fmla="*/ 2147483647 w 33"/>
                    <a:gd name="T11" fmla="*/ 2147483647 h 17"/>
                    <a:gd name="T12" fmla="*/ 0 w 33"/>
                    <a:gd name="T13" fmla="*/ 2147483647 h 17"/>
                    <a:gd name="T14" fmla="*/ 0 w 33"/>
                    <a:gd name="T15" fmla="*/ 2147483647 h 17"/>
                    <a:gd name="T16" fmla="*/ 2147483647 w 33"/>
                    <a:gd name="T17" fmla="*/ 2147483647 h 17"/>
                    <a:gd name="T18" fmla="*/ 2147483647 w 33"/>
                    <a:gd name="T19" fmla="*/ 2147483647 h 17"/>
                    <a:gd name="T20" fmla="*/ 2147483647 w 33"/>
                    <a:gd name="T21" fmla="*/ 0 h 17"/>
                    <a:gd name="T22" fmla="*/ 2147483647 w 33"/>
                    <a:gd name="T23" fmla="*/ 0 h 17"/>
                    <a:gd name="T24" fmla="*/ 2147483647 w 33"/>
                    <a:gd name="T25" fmla="*/ 0 h 17"/>
                    <a:gd name="T26" fmla="*/ 2147483647 w 33"/>
                    <a:gd name="T27" fmla="*/ 2147483647 h 17"/>
                    <a:gd name="T28" fmla="*/ 2147483647 w 33"/>
                    <a:gd name="T29" fmla="*/ 2147483647 h 17"/>
                    <a:gd name="T30" fmla="*/ 2147483647 w 33"/>
                    <a:gd name="T31" fmla="*/ 2147483647 h 17"/>
                    <a:gd name="T32" fmla="*/ 2147483647 w 33"/>
                    <a:gd name="T33" fmla="*/ 2147483647 h 17"/>
                    <a:gd name="T34" fmla="*/ 2147483647 w 33"/>
                    <a:gd name="T35" fmla="*/ 2147483647 h 17"/>
                    <a:gd name="T36" fmla="*/ 2147483647 w 33"/>
                    <a:gd name="T37" fmla="*/ 2147483647 h 17"/>
                    <a:gd name="T38" fmla="*/ 2147483647 w 33"/>
                    <a:gd name="T39" fmla="*/ 2147483647 h 17"/>
                    <a:gd name="T40" fmla="*/ 2147483647 w 33"/>
                    <a:gd name="T41" fmla="*/ 2147483647 h 1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3"/>
                    <a:gd name="T64" fmla="*/ 0 h 17"/>
                    <a:gd name="T65" fmla="*/ 33 w 33"/>
                    <a:gd name="T66" fmla="*/ 17 h 17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3" h="17">
                      <a:moveTo>
                        <a:pt x="23" y="16"/>
                      </a:moveTo>
                      <a:lnTo>
                        <a:pt x="18" y="11"/>
                      </a:lnTo>
                      <a:lnTo>
                        <a:pt x="16" y="11"/>
                      </a:lnTo>
                      <a:lnTo>
                        <a:pt x="11" y="11"/>
                      </a:lnTo>
                      <a:lnTo>
                        <a:pt x="3" y="11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1" y="4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13" y="0"/>
                      </a:lnTo>
                      <a:lnTo>
                        <a:pt x="19" y="0"/>
                      </a:lnTo>
                      <a:lnTo>
                        <a:pt x="24" y="2"/>
                      </a:lnTo>
                      <a:lnTo>
                        <a:pt x="29" y="4"/>
                      </a:lnTo>
                      <a:lnTo>
                        <a:pt x="32" y="7"/>
                      </a:lnTo>
                      <a:lnTo>
                        <a:pt x="33" y="12"/>
                      </a:lnTo>
                      <a:lnTo>
                        <a:pt x="32" y="16"/>
                      </a:lnTo>
                      <a:lnTo>
                        <a:pt x="29" y="17"/>
                      </a:lnTo>
                      <a:lnTo>
                        <a:pt x="25" y="17"/>
                      </a:lnTo>
                      <a:lnTo>
                        <a:pt x="23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Freeform 836">
                  <a:extLst>
                    <a:ext uri="{FF2B5EF4-FFF2-40B4-BE49-F238E27FC236}">
                      <a16:creationId xmlns:a16="http://schemas.microsoft.com/office/drawing/2014/main" id="{6EBA28C7-448C-4A4D-ACDD-A5F64D03FB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49198" y="4792986"/>
                  <a:ext cx="5919" cy="16278"/>
                </a:xfrm>
                <a:custGeom>
                  <a:avLst/>
                  <a:gdLst>
                    <a:gd name="T0" fmla="*/ 2147483647 w 4"/>
                    <a:gd name="T1" fmla="*/ 2147483647 h 11"/>
                    <a:gd name="T2" fmla="*/ 2147483647 w 4"/>
                    <a:gd name="T3" fmla="*/ 2147483647 h 11"/>
                    <a:gd name="T4" fmla="*/ 2147483647 w 4"/>
                    <a:gd name="T5" fmla="*/ 2147483647 h 11"/>
                    <a:gd name="T6" fmla="*/ 0 w 4"/>
                    <a:gd name="T7" fmla="*/ 2147483647 h 11"/>
                    <a:gd name="T8" fmla="*/ 0 w 4"/>
                    <a:gd name="T9" fmla="*/ 2147483647 h 11"/>
                    <a:gd name="T10" fmla="*/ 0 w 4"/>
                    <a:gd name="T11" fmla="*/ 2147483647 h 11"/>
                    <a:gd name="T12" fmla="*/ 2147483647 w 4"/>
                    <a:gd name="T13" fmla="*/ 0 h 11"/>
                    <a:gd name="T14" fmla="*/ 2147483647 w 4"/>
                    <a:gd name="T15" fmla="*/ 2147483647 h 11"/>
                    <a:gd name="T16" fmla="*/ 2147483647 w 4"/>
                    <a:gd name="T17" fmla="*/ 2147483647 h 1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11"/>
                    <a:gd name="T29" fmla="*/ 4 w 4"/>
                    <a:gd name="T30" fmla="*/ 11 h 1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11">
                      <a:moveTo>
                        <a:pt x="4" y="7"/>
                      </a:moveTo>
                      <a:lnTo>
                        <a:pt x="2" y="8"/>
                      </a:lnTo>
                      <a:lnTo>
                        <a:pt x="2" y="11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Freeform 837">
                  <a:extLst>
                    <a:ext uri="{FF2B5EF4-FFF2-40B4-BE49-F238E27FC236}">
                      <a16:creationId xmlns:a16="http://schemas.microsoft.com/office/drawing/2014/main" id="{0F3C8EAC-21A9-1A44-997D-58734B805F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04803" y="4887701"/>
                  <a:ext cx="44396" cy="25157"/>
                </a:xfrm>
                <a:custGeom>
                  <a:avLst/>
                  <a:gdLst>
                    <a:gd name="T0" fmla="*/ 2147483647 w 33"/>
                    <a:gd name="T1" fmla="*/ 2147483647 h 17"/>
                    <a:gd name="T2" fmla="*/ 2147483647 w 33"/>
                    <a:gd name="T3" fmla="*/ 2147483647 h 17"/>
                    <a:gd name="T4" fmla="*/ 2147483647 w 33"/>
                    <a:gd name="T5" fmla="*/ 2147483647 h 17"/>
                    <a:gd name="T6" fmla="*/ 2147483647 w 33"/>
                    <a:gd name="T7" fmla="*/ 2147483647 h 17"/>
                    <a:gd name="T8" fmla="*/ 2147483647 w 33"/>
                    <a:gd name="T9" fmla="*/ 2147483647 h 17"/>
                    <a:gd name="T10" fmla="*/ 2147483647 w 33"/>
                    <a:gd name="T11" fmla="*/ 2147483647 h 17"/>
                    <a:gd name="T12" fmla="*/ 2147483647 w 33"/>
                    <a:gd name="T13" fmla="*/ 2147483647 h 17"/>
                    <a:gd name="T14" fmla="*/ 2147483647 w 33"/>
                    <a:gd name="T15" fmla="*/ 2147483647 h 17"/>
                    <a:gd name="T16" fmla="*/ 0 w 33"/>
                    <a:gd name="T17" fmla="*/ 2147483647 h 17"/>
                    <a:gd name="T18" fmla="*/ 0 w 33"/>
                    <a:gd name="T19" fmla="*/ 2147483647 h 17"/>
                    <a:gd name="T20" fmla="*/ 2147483647 w 33"/>
                    <a:gd name="T21" fmla="*/ 2147483647 h 17"/>
                    <a:gd name="T22" fmla="*/ 2147483647 w 33"/>
                    <a:gd name="T23" fmla="*/ 2147483647 h 17"/>
                    <a:gd name="T24" fmla="*/ 2147483647 w 33"/>
                    <a:gd name="T25" fmla="*/ 2147483647 h 17"/>
                    <a:gd name="T26" fmla="*/ 2147483647 w 33"/>
                    <a:gd name="T27" fmla="*/ 0 h 17"/>
                    <a:gd name="T28" fmla="*/ 2147483647 w 33"/>
                    <a:gd name="T29" fmla="*/ 0 h 17"/>
                    <a:gd name="T30" fmla="*/ 2147483647 w 33"/>
                    <a:gd name="T31" fmla="*/ 0 h 17"/>
                    <a:gd name="T32" fmla="*/ 2147483647 w 33"/>
                    <a:gd name="T33" fmla="*/ 2147483647 h 17"/>
                    <a:gd name="T34" fmla="*/ 2147483647 w 33"/>
                    <a:gd name="T35" fmla="*/ 2147483647 h 17"/>
                    <a:gd name="T36" fmla="*/ 2147483647 w 33"/>
                    <a:gd name="T37" fmla="*/ 2147483647 h 17"/>
                    <a:gd name="T38" fmla="*/ 2147483647 w 33"/>
                    <a:gd name="T39" fmla="*/ 2147483647 h 17"/>
                    <a:gd name="T40" fmla="*/ 2147483647 w 33"/>
                    <a:gd name="T41" fmla="*/ 2147483647 h 17"/>
                    <a:gd name="T42" fmla="*/ 2147483647 w 33"/>
                    <a:gd name="T43" fmla="*/ 2147483647 h 17"/>
                    <a:gd name="T44" fmla="*/ 2147483647 w 33"/>
                    <a:gd name="T45" fmla="*/ 2147483647 h 17"/>
                    <a:gd name="T46" fmla="*/ 2147483647 w 33"/>
                    <a:gd name="T47" fmla="*/ 2147483647 h 17"/>
                    <a:gd name="T48" fmla="*/ 2147483647 w 33"/>
                    <a:gd name="T49" fmla="*/ 2147483647 h 17"/>
                    <a:gd name="T50" fmla="*/ 2147483647 w 33"/>
                    <a:gd name="T51" fmla="*/ 2147483647 h 17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33"/>
                    <a:gd name="T79" fmla="*/ 0 h 17"/>
                    <a:gd name="T80" fmla="*/ 33 w 33"/>
                    <a:gd name="T81" fmla="*/ 17 h 17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33" h="17">
                      <a:moveTo>
                        <a:pt x="23" y="16"/>
                      </a:moveTo>
                      <a:lnTo>
                        <a:pt x="23" y="16"/>
                      </a:lnTo>
                      <a:lnTo>
                        <a:pt x="17" y="11"/>
                      </a:lnTo>
                      <a:lnTo>
                        <a:pt x="16" y="11"/>
                      </a:lnTo>
                      <a:lnTo>
                        <a:pt x="11" y="11"/>
                      </a:lnTo>
                      <a:lnTo>
                        <a:pt x="2" y="11"/>
                      </a:lnTo>
                      <a:lnTo>
                        <a:pt x="1" y="11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1" y="4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2" y="0"/>
                      </a:lnTo>
                      <a:lnTo>
                        <a:pt x="19" y="0"/>
                      </a:lnTo>
                      <a:lnTo>
                        <a:pt x="24" y="1"/>
                      </a:lnTo>
                      <a:lnTo>
                        <a:pt x="29" y="4"/>
                      </a:lnTo>
                      <a:lnTo>
                        <a:pt x="31" y="7"/>
                      </a:lnTo>
                      <a:lnTo>
                        <a:pt x="33" y="12"/>
                      </a:lnTo>
                      <a:lnTo>
                        <a:pt x="31" y="16"/>
                      </a:lnTo>
                      <a:lnTo>
                        <a:pt x="29" y="17"/>
                      </a:lnTo>
                      <a:lnTo>
                        <a:pt x="25" y="17"/>
                      </a:lnTo>
                      <a:lnTo>
                        <a:pt x="23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6" name="Freeform 838">
                  <a:extLst>
                    <a:ext uri="{FF2B5EF4-FFF2-40B4-BE49-F238E27FC236}">
                      <a16:creationId xmlns:a16="http://schemas.microsoft.com/office/drawing/2014/main" id="{CD090A27-43CF-E146-8D5F-00BD1CFA4A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47717" y="4791511"/>
                  <a:ext cx="4440" cy="16279"/>
                </a:xfrm>
                <a:custGeom>
                  <a:avLst/>
                  <a:gdLst>
                    <a:gd name="T0" fmla="*/ 2147483647 w 4"/>
                    <a:gd name="T1" fmla="*/ 2147483647 h 11"/>
                    <a:gd name="T2" fmla="*/ 2147483647 w 4"/>
                    <a:gd name="T3" fmla="*/ 2147483647 h 11"/>
                    <a:gd name="T4" fmla="*/ 2147483647 w 4"/>
                    <a:gd name="T5" fmla="*/ 2147483647 h 11"/>
                    <a:gd name="T6" fmla="*/ 2147483647 w 4"/>
                    <a:gd name="T7" fmla="*/ 2147483647 h 11"/>
                    <a:gd name="T8" fmla="*/ 2147483647 w 4"/>
                    <a:gd name="T9" fmla="*/ 2147483647 h 11"/>
                    <a:gd name="T10" fmla="*/ 0 w 4"/>
                    <a:gd name="T11" fmla="*/ 2147483647 h 11"/>
                    <a:gd name="T12" fmla="*/ 0 w 4"/>
                    <a:gd name="T13" fmla="*/ 2147483647 h 11"/>
                    <a:gd name="T14" fmla="*/ 0 w 4"/>
                    <a:gd name="T15" fmla="*/ 2147483647 h 11"/>
                    <a:gd name="T16" fmla="*/ 2147483647 w 4"/>
                    <a:gd name="T17" fmla="*/ 0 h 11"/>
                    <a:gd name="T18" fmla="*/ 2147483647 w 4"/>
                    <a:gd name="T19" fmla="*/ 0 h 11"/>
                    <a:gd name="T20" fmla="*/ 2147483647 w 4"/>
                    <a:gd name="T21" fmla="*/ 2147483647 h 11"/>
                    <a:gd name="T22" fmla="*/ 2147483647 w 4"/>
                    <a:gd name="T23" fmla="*/ 2147483647 h 11"/>
                    <a:gd name="T24" fmla="*/ 2147483647 w 4"/>
                    <a:gd name="T25" fmla="*/ 2147483647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"/>
                    <a:gd name="T40" fmla="*/ 0 h 11"/>
                    <a:gd name="T41" fmla="*/ 4 w 4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" h="11">
                      <a:moveTo>
                        <a:pt x="4" y="7"/>
                      </a:move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3" y="11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4" y="4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7" name="Freeform 840">
                  <a:extLst>
                    <a:ext uri="{FF2B5EF4-FFF2-40B4-BE49-F238E27FC236}">
                      <a16:creationId xmlns:a16="http://schemas.microsoft.com/office/drawing/2014/main" id="{0E072D9C-53BA-2544-ACFD-AFE55E40CF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4843" y="4866981"/>
                  <a:ext cx="26637" cy="13319"/>
                </a:xfrm>
                <a:custGeom>
                  <a:avLst/>
                  <a:gdLst>
                    <a:gd name="T0" fmla="*/ 2147483647 w 19"/>
                    <a:gd name="T1" fmla="*/ 2147483647 h 9"/>
                    <a:gd name="T2" fmla="*/ 2147483647 w 19"/>
                    <a:gd name="T3" fmla="*/ 2147483647 h 9"/>
                    <a:gd name="T4" fmla="*/ 2147483647 w 19"/>
                    <a:gd name="T5" fmla="*/ 0 h 9"/>
                    <a:gd name="T6" fmla="*/ 2147483647 w 19"/>
                    <a:gd name="T7" fmla="*/ 2147483647 h 9"/>
                    <a:gd name="T8" fmla="*/ 2147483647 w 19"/>
                    <a:gd name="T9" fmla="*/ 2147483647 h 9"/>
                    <a:gd name="T10" fmla="*/ 0 w 19"/>
                    <a:gd name="T11" fmla="*/ 2147483647 h 9"/>
                    <a:gd name="T12" fmla="*/ 0 w 19"/>
                    <a:gd name="T13" fmla="*/ 2147483647 h 9"/>
                    <a:gd name="T14" fmla="*/ 2147483647 w 19"/>
                    <a:gd name="T15" fmla="*/ 2147483647 h 9"/>
                    <a:gd name="T16" fmla="*/ 2147483647 w 19"/>
                    <a:gd name="T17" fmla="*/ 2147483647 h 9"/>
                    <a:gd name="T18" fmla="*/ 2147483647 w 19"/>
                    <a:gd name="T19" fmla="*/ 2147483647 h 9"/>
                    <a:gd name="T20" fmla="*/ 2147483647 w 19"/>
                    <a:gd name="T21" fmla="*/ 2147483647 h 9"/>
                    <a:gd name="T22" fmla="*/ 2147483647 w 19"/>
                    <a:gd name="T23" fmla="*/ 2147483647 h 9"/>
                    <a:gd name="T24" fmla="*/ 2147483647 w 19"/>
                    <a:gd name="T25" fmla="*/ 2147483647 h 9"/>
                    <a:gd name="T26" fmla="*/ 2147483647 w 19"/>
                    <a:gd name="T27" fmla="*/ 2147483647 h 9"/>
                    <a:gd name="T28" fmla="*/ 2147483647 w 19"/>
                    <a:gd name="T29" fmla="*/ 2147483647 h 9"/>
                    <a:gd name="T30" fmla="*/ 2147483647 w 19"/>
                    <a:gd name="T31" fmla="*/ 2147483647 h 9"/>
                    <a:gd name="T32" fmla="*/ 2147483647 w 19"/>
                    <a:gd name="T33" fmla="*/ 2147483647 h 9"/>
                    <a:gd name="T34" fmla="*/ 2147483647 w 19"/>
                    <a:gd name="T35" fmla="*/ 2147483647 h 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9"/>
                    <a:gd name="T55" fmla="*/ 0 h 9"/>
                    <a:gd name="T56" fmla="*/ 19 w 19"/>
                    <a:gd name="T57" fmla="*/ 9 h 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9" h="9">
                      <a:moveTo>
                        <a:pt x="16" y="2"/>
                      </a:move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6" y="7"/>
                      </a:lnTo>
                      <a:lnTo>
                        <a:pt x="8" y="7"/>
                      </a:lnTo>
                      <a:lnTo>
                        <a:pt x="12" y="8"/>
                      </a:lnTo>
                      <a:lnTo>
                        <a:pt x="15" y="9"/>
                      </a:lnTo>
                      <a:lnTo>
                        <a:pt x="16" y="9"/>
                      </a:lnTo>
                      <a:lnTo>
                        <a:pt x="17" y="8"/>
                      </a:ln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17" y="3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8" name="Freeform 842">
                  <a:extLst>
                    <a:ext uri="{FF2B5EF4-FFF2-40B4-BE49-F238E27FC236}">
                      <a16:creationId xmlns:a16="http://schemas.microsoft.com/office/drawing/2014/main" id="{70A1ABC2-35A0-DF4A-9605-DDFCCE99BE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61886" y="4865500"/>
                  <a:ext cx="26637" cy="13319"/>
                </a:xfrm>
                <a:custGeom>
                  <a:avLst/>
                  <a:gdLst>
                    <a:gd name="T0" fmla="*/ 2147483647 w 19"/>
                    <a:gd name="T1" fmla="*/ 2147483647 h 9"/>
                    <a:gd name="T2" fmla="*/ 2147483647 w 19"/>
                    <a:gd name="T3" fmla="*/ 2147483647 h 9"/>
                    <a:gd name="T4" fmla="*/ 2147483647 w 19"/>
                    <a:gd name="T5" fmla="*/ 2147483647 h 9"/>
                    <a:gd name="T6" fmla="*/ 2147483647 w 19"/>
                    <a:gd name="T7" fmla="*/ 0 h 9"/>
                    <a:gd name="T8" fmla="*/ 2147483647 w 19"/>
                    <a:gd name="T9" fmla="*/ 0 h 9"/>
                    <a:gd name="T10" fmla="*/ 2147483647 w 19"/>
                    <a:gd name="T11" fmla="*/ 2147483647 h 9"/>
                    <a:gd name="T12" fmla="*/ 2147483647 w 19"/>
                    <a:gd name="T13" fmla="*/ 2147483647 h 9"/>
                    <a:gd name="T14" fmla="*/ 0 w 19"/>
                    <a:gd name="T15" fmla="*/ 2147483647 h 9"/>
                    <a:gd name="T16" fmla="*/ 0 w 19"/>
                    <a:gd name="T17" fmla="*/ 2147483647 h 9"/>
                    <a:gd name="T18" fmla="*/ 0 w 19"/>
                    <a:gd name="T19" fmla="*/ 2147483647 h 9"/>
                    <a:gd name="T20" fmla="*/ 2147483647 w 19"/>
                    <a:gd name="T21" fmla="*/ 2147483647 h 9"/>
                    <a:gd name="T22" fmla="*/ 2147483647 w 19"/>
                    <a:gd name="T23" fmla="*/ 2147483647 h 9"/>
                    <a:gd name="T24" fmla="*/ 2147483647 w 19"/>
                    <a:gd name="T25" fmla="*/ 2147483647 h 9"/>
                    <a:gd name="T26" fmla="*/ 2147483647 w 19"/>
                    <a:gd name="T27" fmla="*/ 2147483647 h 9"/>
                    <a:gd name="T28" fmla="*/ 2147483647 w 19"/>
                    <a:gd name="T29" fmla="*/ 2147483647 h 9"/>
                    <a:gd name="T30" fmla="*/ 2147483647 w 19"/>
                    <a:gd name="T31" fmla="*/ 2147483647 h 9"/>
                    <a:gd name="T32" fmla="*/ 2147483647 w 19"/>
                    <a:gd name="T33" fmla="*/ 2147483647 h 9"/>
                    <a:gd name="T34" fmla="*/ 2147483647 w 19"/>
                    <a:gd name="T35" fmla="*/ 2147483647 h 9"/>
                    <a:gd name="T36" fmla="*/ 2147483647 w 19"/>
                    <a:gd name="T37" fmla="*/ 2147483647 h 9"/>
                    <a:gd name="T38" fmla="*/ 2147483647 w 19"/>
                    <a:gd name="T39" fmla="*/ 2147483647 h 9"/>
                    <a:gd name="T40" fmla="*/ 2147483647 w 19"/>
                    <a:gd name="T41" fmla="*/ 2147483647 h 9"/>
                    <a:gd name="T42" fmla="*/ 2147483647 w 19"/>
                    <a:gd name="T43" fmla="*/ 2147483647 h 9"/>
                    <a:gd name="T44" fmla="*/ 2147483647 w 19"/>
                    <a:gd name="T45" fmla="*/ 2147483647 h 9"/>
                    <a:gd name="T46" fmla="*/ 2147483647 w 19"/>
                    <a:gd name="T47" fmla="*/ 2147483647 h 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9"/>
                    <a:gd name="T73" fmla="*/ 0 h 9"/>
                    <a:gd name="T74" fmla="*/ 19 w 19"/>
                    <a:gd name="T75" fmla="*/ 9 h 9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9" h="9">
                      <a:moveTo>
                        <a:pt x="17" y="2"/>
                      </a:moveTo>
                      <a:lnTo>
                        <a:pt x="17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4" y="1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9" y="7"/>
                      </a:lnTo>
                      <a:lnTo>
                        <a:pt x="13" y="8"/>
                      </a:lnTo>
                      <a:lnTo>
                        <a:pt x="15" y="9"/>
                      </a:lnTo>
                      <a:lnTo>
                        <a:pt x="17" y="9"/>
                      </a:lnTo>
                      <a:lnTo>
                        <a:pt x="18" y="8"/>
                      </a:lnTo>
                      <a:lnTo>
                        <a:pt x="19" y="6"/>
                      </a:lnTo>
                      <a:lnTo>
                        <a:pt x="19" y="4"/>
                      </a:lnTo>
                      <a:lnTo>
                        <a:pt x="18" y="3"/>
                      </a:lnTo>
                      <a:lnTo>
                        <a:pt x="17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9" name="Freeform 843">
                  <a:extLst>
                    <a:ext uri="{FF2B5EF4-FFF2-40B4-BE49-F238E27FC236}">
                      <a16:creationId xmlns:a16="http://schemas.microsoft.com/office/drawing/2014/main" id="{2002151E-5DA8-0E42-A29D-F864777F2A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92961" y="4858101"/>
                  <a:ext cx="35517" cy="16278"/>
                </a:xfrm>
                <a:custGeom>
                  <a:avLst/>
                  <a:gdLst>
                    <a:gd name="T0" fmla="*/ 2147483647 w 26"/>
                    <a:gd name="T1" fmla="*/ 2147483647 h 11"/>
                    <a:gd name="T2" fmla="*/ 2147483647 w 26"/>
                    <a:gd name="T3" fmla="*/ 2147483647 h 11"/>
                    <a:gd name="T4" fmla="*/ 2147483647 w 26"/>
                    <a:gd name="T5" fmla="*/ 2147483647 h 11"/>
                    <a:gd name="T6" fmla="*/ 2147483647 w 26"/>
                    <a:gd name="T7" fmla="*/ 2147483647 h 11"/>
                    <a:gd name="T8" fmla="*/ 2147483647 w 26"/>
                    <a:gd name="T9" fmla="*/ 2147483647 h 11"/>
                    <a:gd name="T10" fmla="*/ 2147483647 w 26"/>
                    <a:gd name="T11" fmla="*/ 2147483647 h 11"/>
                    <a:gd name="T12" fmla="*/ 2147483647 w 26"/>
                    <a:gd name="T13" fmla="*/ 2147483647 h 11"/>
                    <a:gd name="T14" fmla="*/ 2147483647 w 26"/>
                    <a:gd name="T15" fmla="*/ 0 h 11"/>
                    <a:gd name="T16" fmla="*/ 2147483647 w 26"/>
                    <a:gd name="T17" fmla="*/ 0 h 11"/>
                    <a:gd name="T18" fmla="*/ 0 w 26"/>
                    <a:gd name="T19" fmla="*/ 0 h 11"/>
                    <a:gd name="T20" fmla="*/ 0 w 26"/>
                    <a:gd name="T21" fmla="*/ 2147483647 h 11"/>
                    <a:gd name="T22" fmla="*/ 0 w 26"/>
                    <a:gd name="T23" fmla="*/ 2147483647 h 11"/>
                    <a:gd name="T24" fmla="*/ 2147483647 w 26"/>
                    <a:gd name="T25" fmla="*/ 2147483647 h 11"/>
                    <a:gd name="T26" fmla="*/ 2147483647 w 26"/>
                    <a:gd name="T27" fmla="*/ 2147483647 h 11"/>
                    <a:gd name="T28" fmla="*/ 2147483647 w 26"/>
                    <a:gd name="T29" fmla="*/ 2147483647 h 11"/>
                    <a:gd name="T30" fmla="*/ 2147483647 w 26"/>
                    <a:gd name="T31" fmla="*/ 2147483647 h 11"/>
                    <a:gd name="T32" fmla="*/ 2147483647 w 26"/>
                    <a:gd name="T33" fmla="*/ 2147483647 h 11"/>
                    <a:gd name="T34" fmla="*/ 2147483647 w 26"/>
                    <a:gd name="T35" fmla="*/ 2147483647 h 11"/>
                    <a:gd name="T36" fmla="*/ 2147483647 w 26"/>
                    <a:gd name="T37" fmla="*/ 2147483647 h 11"/>
                    <a:gd name="T38" fmla="*/ 2147483647 w 26"/>
                    <a:gd name="T39" fmla="*/ 2147483647 h 11"/>
                    <a:gd name="T40" fmla="*/ 2147483647 w 26"/>
                    <a:gd name="T41" fmla="*/ 2147483647 h 11"/>
                    <a:gd name="T42" fmla="*/ 2147483647 w 26"/>
                    <a:gd name="T43" fmla="*/ 2147483647 h 11"/>
                    <a:gd name="T44" fmla="*/ 2147483647 w 26"/>
                    <a:gd name="T45" fmla="*/ 2147483647 h 1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"/>
                    <a:gd name="T70" fmla="*/ 0 h 11"/>
                    <a:gd name="T71" fmla="*/ 26 w 26"/>
                    <a:gd name="T72" fmla="*/ 11 h 1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" h="11">
                      <a:moveTo>
                        <a:pt x="18" y="1"/>
                      </a:moveTo>
                      <a:lnTo>
                        <a:pt x="15" y="1"/>
                      </a:lnTo>
                      <a:lnTo>
                        <a:pt x="13" y="1"/>
                      </a:lnTo>
                      <a:lnTo>
                        <a:pt x="11" y="2"/>
                      </a:lnTo>
                      <a:lnTo>
                        <a:pt x="9" y="2"/>
                      </a:lnTo>
                      <a:lnTo>
                        <a:pt x="6" y="2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5" y="8"/>
                      </a:lnTo>
                      <a:lnTo>
                        <a:pt x="7" y="11"/>
                      </a:lnTo>
                      <a:lnTo>
                        <a:pt x="11" y="11"/>
                      </a:lnTo>
                      <a:lnTo>
                        <a:pt x="14" y="9"/>
                      </a:lnTo>
                      <a:lnTo>
                        <a:pt x="21" y="8"/>
                      </a:lnTo>
                      <a:lnTo>
                        <a:pt x="24" y="7"/>
                      </a:lnTo>
                      <a:lnTo>
                        <a:pt x="26" y="5"/>
                      </a:lnTo>
                      <a:lnTo>
                        <a:pt x="26" y="4"/>
                      </a:lnTo>
                      <a:lnTo>
                        <a:pt x="25" y="2"/>
                      </a:lnTo>
                      <a:lnTo>
                        <a:pt x="21" y="2"/>
                      </a:lnTo>
                      <a:lnTo>
                        <a:pt x="18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0" name="Freeform 844">
                  <a:extLst>
                    <a:ext uri="{FF2B5EF4-FFF2-40B4-BE49-F238E27FC236}">
                      <a16:creationId xmlns:a16="http://schemas.microsoft.com/office/drawing/2014/main" id="{35A23CE8-27B7-ED4C-8B92-581002E201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1440" y="4856620"/>
                  <a:ext cx="72513" cy="19239"/>
                </a:xfrm>
                <a:custGeom>
                  <a:avLst/>
                  <a:gdLst>
                    <a:gd name="T0" fmla="*/ 2147483647 w 53"/>
                    <a:gd name="T1" fmla="*/ 2147483647 h 13"/>
                    <a:gd name="T2" fmla="*/ 2147483647 w 53"/>
                    <a:gd name="T3" fmla="*/ 2147483647 h 13"/>
                    <a:gd name="T4" fmla="*/ 2147483647 w 53"/>
                    <a:gd name="T5" fmla="*/ 2147483647 h 13"/>
                    <a:gd name="T6" fmla="*/ 2147483647 w 53"/>
                    <a:gd name="T7" fmla="*/ 2147483647 h 13"/>
                    <a:gd name="T8" fmla="*/ 0 w 53"/>
                    <a:gd name="T9" fmla="*/ 2147483647 h 13"/>
                    <a:gd name="T10" fmla="*/ 2147483647 w 53"/>
                    <a:gd name="T11" fmla="*/ 2147483647 h 13"/>
                    <a:gd name="T12" fmla="*/ 2147483647 w 53"/>
                    <a:gd name="T13" fmla="*/ 2147483647 h 13"/>
                    <a:gd name="T14" fmla="*/ 2147483647 w 53"/>
                    <a:gd name="T15" fmla="*/ 2147483647 h 13"/>
                    <a:gd name="T16" fmla="*/ 2147483647 w 53"/>
                    <a:gd name="T17" fmla="*/ 2147483647 h 13"/>
                    <a:gd name="T18" fmla="*/ 2147483647 w 53"/>
                    <a:gd name="T19" fmla="*/ 2147483647 h 13"/>
                    <a:gd name="T20" fmla="*/ 2147483647 w 53"/>
                    <a:gd name="T21" fmla="*/ 2147483647 h 13"/>
                    <a:gd name="T22" fmla="*/ 2147483647 w 53"/>
                    <a:gd name="T23" fmla="*/ 2147483647 h 13"/>
                    <a:gd name="T24" fmla="*/ 2147483647 w 53"/>
                    <a:gd name="T25" fmla="*/ 2147483647 h 13"/>
                    <a:gd name="T26" fmla="*/ 2147483647 w 53"/>
                    <a:gd name="T27" fmla="*/ 2147483647 h 13"/>
                    <a:gd name="T28" fmla="*/ 2147483647 w 53"/>
                    <a:gd name="T29" fmla="*/ 2147483647 h 13"/>
                    <a:gd name="T30" fmla="*/ 2147483647 w 53"/>
                    <a:gd name="T31" fmla="*/ 2147483647 h 13"/>
                    <a:gd name="T32" fmla="*/ 2147483647 w 53"/>
                    <a:gd name="T33" fmla="*/ 0 h 13"/>
                    <a:gd name="T34" fmla="*/ 2147483647 w 53"/>
                    <a:gd name="T35" fmla="*/ 0 h 13"/>
                    <a:gd name="T36" fmla="*/ 2147483647 w 53"/>
                    <a:gd name="T37" fmla="*/ 2147483647 h 13"/>
                    <a:gd name="T38" fmla="*/ 2147483647 w 53"/>
                    <a:gd name="T39" fmla="*/ 2147483647 h 13"/>
                    <a:gd name="T40" fmla="*/ 2147483647 w 53"/>
                    <a:gd name="T41" fmla="*/ 2147483647 h 13"/>
                    <a:gd name="T42" fmla="*/ 2147483647 w 53"/>
                    <a:gd name="T43" fmla="*/ 2147483647 h 13"/>
                    <a:gd name="T44" fmla="*/ 2147483647 w 53"/>
                    <a:gd name="T45" fmla="*/ 2147483647 h 1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53"/>
                    <a:gd name="T70" fmla="*/ 0 h 13"/>
                    <a:gd name="T71" fmla="*/ 53 w 53"/>
                    <a:gd name="T72" fmla="*/ 13 h 1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53" h="13">
                      <a:moveTo>
                        <a:pt x="48" y="9"/>
                      </a:moveTo>
                      <a:lnTo>
                        <a:pt x="36" y="12"/>
                      </a:lnTo>
                      <a:lnTo>
                        <a:pt x="24" y="13"/>
                      </a:lnTo>
                      <a:lnTo>
                        <a:pt x="1" y="12"/>
                      </a:lnTo>
                      <a:lnTo>
                        <a:pt x="0" y="10"/>
                      </a:lnTo>
                      <a:lnTo>
                        <a:pt x="3" y="8"/>
                      </a:lnTo>
                      <a:lnTo>
                        <a:pt x="8" y="2"/>
                      </a:lnTo>
                      <a:lnTo>
                        <a:pt x="10" y="1"/>
                      </a:lnTo>
                      <a:lnTo>
                        <a:pt x="11" y="1"/>
                      </a:lnTo>
                      <a:lnTo>
                        <a:pt x="18" y="2"/>
                      </a:lnTo>
                      <a:lnTo>
                        <a:pt x="23" y="3"/>
                      </a:lnTo>
                      <a:lnTo>
                        <a:pt x="28" y="5"/>
                      </a:lnTo>
                      <a:lnTo>
                        <a:pt x="37" y="5"/>
                      </a:lnTo>
                      <a:lnTo>
                        <a:pt x="47" y="3"/>
                      </a:lnTo>
                      <a:lnTo>
                        <a:pt x="48" y="2"/>
                      </a:lnTo>
                      <a:lnTo>
                        <a:pt x="50" y="1"/>
                      </a:lnTo>
                      <a:lnTo>
                        <a:pt x="51" y="0"/>
                      </a:lnTo>
                      <a:lnTo>
                        <a:pt x="52" y="0"/>
                      </a:lnTo>
                      <a:lnTo>
                        <a:pt x="52" y="1"/>
                      </a:lnTo>
                      <a:lnTo>
                        <a:pt x="52" y="2"/>
                      </a:lnTo>
                      <a:lnTo>
                        <a:pt x="53" y="7"/>
                      </a:lnTo>
                      <a:lnTo>
                        <a:pt x="52" y="8"/>
                      </a:lnTo>
                      <a:lnTo>
                        <a:pt x="48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1" name="Freeform 845">
                  <a:extLst>
                    <a:ext uri="{FF2B5EF4-FFF2-40B4-BE49-F238E27FC236}">
                      <a16:creationId xmlns:a16="http://schemas.microsoft.com/office/drawing/2014/main" id="{A7D11919-80C8-064C-A901-6BE858C249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91483" y="4856623"/>
                  <a:ext cx="35517" cy="14799"/>
                </a:xfrm>
                <a:custGeom>
                  <a:avLst/>
                  <a:gdLst>
                    <a:gd name="T0" fmla="*/ 2147483647 w 26"/>
                    <a:gd name="T1" fmla="*/ 2147483647 h 10"/>
                    <a:gd name="T2" fmla="*/ 2147483647 w 26"/>
                    <a:gd name="T3" fmla="*/ 2147483647 h 10"/>
                    <a:gd name="T4" fmla="*/ 2147483647 w 26"/>
                    <a:gd name="T5" fmla="*/ 2147483647 h 10"/>
                    <a:gd name="T6" fmla="*/ 2147483647 w 26"/>
                    <a:gd name="T7" fmla="*/ 2147483647 h 10"/>
                    <a:gd name="T8" fmla="*/ 2147483647 w 26"/>
                    <a:gd name="T9" fmla="*/ 2147483647 h 10"/>
                    <a:gd name="T10" fmla="*/ 2147483647 w 26"/>
                    <a:gd name="T11" fmla="*/ 2147483647 h 10"/>
                    <a:gd name="T12" fmla="*/ 2147483647 w 26"/>
                    <a:gd name="T13" fmla="*/ 2147483647 h 10"/>
                    <a:gd name="T14" fmla="*/ 2147483647 w 26"/>
                    <a:gd name="T15" fmla="*/ 2147483647 h 10"/>
                    <a:gd name="T16" fmla="*/ 2147483647 w 26"/>
                    <a:gd name="T17" fmla="*/ 2147483647 h 10"/>
                    <a:gd name="T18" fmla="*/ 2147483647 w 26"/>
                    <a:gd name="T19" fmla="*/ 0 h 10"/>
                    <a:gd name="T20" fmla="*/ 2147483647 w 26"/>
                    <a:gd name="T21" fmla="*/ 0 h 10"/>
                    <a:gd name="T22" fmla="*/ 2147483647 w 26"/>
                    <a:gd name="T23" fmla="*/ 0 h 10"/>
                    <a:gd name="T24" fmla="*/ 0 w 26"/>
                    <a:gd name="T25" fmla="*/ 0 h 10"/>
                    <a:gd name="T26" fmla="*/ 0 w 26"/>
                    <a:gd name="T27" fmla="*/ 2147483647 h 10"/>
                    <a:gd name="T28" fmla="*/ 0 w 26"/>
                    <a:gd name="T29" fmla="*/ 2147483647 h 10"/>
                    <a:gd name="T30" fmla="*/ 0 w 26"/>
                    <a:gd name="T31" fmla="*/ 2147483647 h 10"/>
                    <a:gd name="T32" fmla="*/ 2147483647 w 26"/>
                    <a:gd name="T33" fmla="*/ 2147483647 h 10"/>
                    <a:gd name="T34" fmla="*/ 2147483647 w 26"/>
                    <a:gd name="T35" fmla="*/ 2147483647 h 10"/>
                    <a:gd name="T36" fmla="*/ 2147483647 w 26"/>
                    <a:gd name="T37" fmla="*/ 2147483647 h 10"/>
                    <a:gd name="T38" fmla="*/ 2147483647 w 26"/>
                    <a:gd name="T39" fmla="*/ 2147483647 h 10"/>
                    <a:gd name="T40" fmla="*/ 2147483647 w 26"/>
                    <a:gd name="T41" fmla="*/ 2147483647 h 10"/>
                    <a:gd name="T42" fmla="*/ 2147483647 w 26"/>
                    <a:gd name="T43" fmla="*/ 2147483647 h 10"/>
                    <a:gd name="T44" fmla="*/ 2147483647 w 26"/>
                    <a:gd name="T45" fmla="*/ 2147483647 h 10"/>
                    <a:gd name="T46" fmla="*/ 2147483647 w 26"/>
                    <a:gd name="T47" fmla="*/ 2147483647 h 10"/>
                    <a:gd name="T48" fmla="*/ 2147483647 w 26"/>
                    <a:gd name="T49" fmla="*/ 2147483647 h 10"/>
                    <a:gd name="T50" fmla="*/ 2147483647 w 26"/>
                    <a:gd name="T51" fmla="*/ 2147483647 h 10"/>
                    <a:gd name="T52" fmla="*/ 2147483647 w 26"/>
                    <a:gd name="T53" fmla="*/ 2147483647 h 10"/>
                    <a:gd name="T54" fmla="*/ 2147483647 w 26"/>
                    <a:gd name="T55" fmla="*/ 2147483647 h 10"/>
                    <a:gd name="T56" fmla="*/ 2147483647 w 26"/>
                    <a:gd name="T57" fmla="*/ 2147483647 h 10"/>
                    <a:gd name="T58" fmla="*/ 2147483647 w 26"/>
                    <a:gd name="T59" fmla="*/ 2147483647 h 10"/>
                    <a:gd name="T60" fmla="*/ 2147483647 w 26"/>
                    <a:gd name="T61" fmla="*/ 2147483647 h 10"/>
                    <a:gd name="T62" fmla="*/ 2147483647 w 26"/>
                    <a:gd name="T63" fmla="*/ 2147483647 h 1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6"/>
                    <a:gd name="T97" fmla="*/ 0 h 10"/>
                    <a:gd name="T98" fmla="*/ 26 w 26"/>
                    <a:gd name="T99" fmla="*/ 10 h 1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6" h="10">
                      <a:moveTo>
                        <a:pt x="17" y="1"/>
                      </a:moveTo>
                      <a:lnTo>
                        <a:pt x="17" y="1"/>
                      </a:lnTo>
                      <a:lnTo>
                        <a:pt x="15" y="1"/>
                      </a:lnTo>
                      <a:lnTo>
                        <a:pt x="12" y="1"/>
                      </a:lnTo>
                      <a:lnTo>
                        <a:pt x="11" y="2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5" y="8"/>
                      </a:lnTo>
                      <a:lnTo>
                        <a:pt x="7" y="10"/>
                      </a:lnTo>
                      <a:lnTo>
                        <a:pt x="11" y="10"/>
                      </a:lnTo>
                      <a:lnTo>
                        <a:pt x="14" y="9"/>
                      </a:lnTo>
                      <a:lnTo>
                        <a:pt x="21" y="8"/>
                      </a:lnTo>
                      <a:lnTo>
                        <a:pt x="24" y="7"/>
                      </a:lnTo>
                      <a:lnTo>
                        <a:pt x="26" y="5"/>
                      </a:lnTo>
                      <a:lnTo>
                        <a:pt x="26" y="3"/>
                      </a:lnTo>
                      <a:lnTo>
                        <a:pt x="25" y="2"/>
                      </a:lnTo>
                      <a:lnTo>
                        <a:pt x="21" y="2"/>
                      </a:lnTo>
                      <a:lnTo>
                        <a:pt x="17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2" name="Freeform 846">
                  <a:extLst>
                    <a:ext uri="{FF2B5EF4-FFF2-40B4-BE49-F238E27FC236}">
                      <a16:creationId xmlns:a16="http://schemas.microsoft.com/office/drawing/2014/main" id="{AA6B03AD-D69C-B944-976D-47EFBD8226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29958" y="4855142"/>
                  <a:ext cx="72514" cy="19238"/>
                </a:xfrm>
                <a:custGeom>
                  <a:avLst/>
                  <a:gdLst>
                    <a:gd name="T0" fmla="*/ 2147483647 w 53"/>
                    <a:gd name="T1" fmla="*/ 2147483647 h 13"/>
                    <a:gd name="T2" fmla="*/ 2147483647 w 53"/>
                    <a:gd name="T3" fmla="*/ 2147483647 h 13"/>
                    <a:gd name="T4" fmla="*/ 2147483647 w 53"/>
                    <a:gd name="T5" fmla="*/ 2147483647 h 13"/>
                    <a:gd name="T6" fmla="*/ 2147483647 w 53"/>
                    <a:gd name="T7" fmla="*/ 2147483647 h 13"/>
                    <a:gd name="T8" fmla="*/ 2147483647 w 53"/>
                    <a:gd name="T9" fmla="*/ 2147483647 h 13"/>
                    <a:gd name="T10" fmla="*/ 2147483647 w 53"/>
                    <a:gd name="T11" fmla="*/ 2147483647 h 13"/>
                    <a:gd name="T12" fmla="*/ 2147483647 w 53"/>
                    <a:gd name="T13" fmla="*/ 2147483647 h 13"/>
                    <a:gd name="T14" fmla="*/ 0 w 53"/>
                    <a:gd name="T15" fmla="*/ 2147483647 h 13"/>
                    <a:gd name="T16" fmla="*/ 2147483647 w 53"/>
                    <a:gd name="T17" fmla="*/ 2147483647 h 13"/>
                    <a:gd name="T18" fmla="*/ 2147483647 w 53"/>
                    <a:gd name="T19" fmla="*/ 2147483647 h 13"/>
                    <a:gd name="T20" fmla="*/ 2147483647 w 53"/>
                    <a:gd name="T21" fmla="*/ 2147483647 h 13"/>
                    <a:gd name="T22" fmla="*/ 2147483647 w 53"/>
                    <a:gd name="T23" fmla="*/ 2147483647 h 13"/>
                    <a:gd name="T24" fmla="*/ 2147483647 w 53"/>
                    <a:gd name="T25" fmla="*/ 2147483647 h 13"/>
                    <a:gd name="T26" fmla="*/ 2147483647 w 53"/>
                    <a:gd name="T27" fmla="*/ 2147483647 h 13"/>
                    <a:gd name="T28" fmla="*/ 2147483647 w 53"/>
                    <a:gd name="T29" fmla="*/ 2147483647 h 13"/>
                    <a:gd name="T30" fmla="*/ 2147483647 w 53"/>
                    <a:gd name="T31" fmla="*/ 2147483647 h 13"/>
                    <a:gd name="T32" fmla="*/ 2147483647 w 53"/>
                    <a:gd name="T33" fmla="*/ 2147483647 h 13"/>
                    <a:gd name="T34" fmla="*/ 2147483647 w 53"/>
                    <a:gd name="T35" fmla="*/ 2147483647 h 13"/>
                    <a:gd name="T36" fmla="*/ 2147483647 w 53"/>
                    <a:gd name="T37" fmla="*/ 2147483647 h 13"/>
                    <a:gd name="T38" fmla="*/ 2147483647 w 53"/>
                    <a:gd name="T39" fmla="*/ 2147483647 h 13"/>
                    <a:gd name="T40" fmla="*/ 2147483647 w 53"/>
                    <a:gd name="T41" fmla="*/ 2147483647 h 13"/>
                    <a:gd name="T42" fmla="*/ 2147483647 w 53"/>
                    <a:gd name="T43" fmla="*/ 2147483647 h 13"/>
                    <a:gd name="T44" fmla="*/ 2147483647 w 53"/>
                    <a:gd name="T45" fmla="*/ 0 h 13"/>
                    <a:gd name="T46" fmla="*/ 2147483647 w 53"/>
                    <a:gd name="T47" fmla="*/ 0 h 13"/>
                    <a:gd name="T48" fmla="*/ 2147483647 w 53"/>
                    <a:gd name="T49" fmla="*/ 0 h 13"/>
                    <a:gd name="T50" fmla="*/ 2147483647 w 53"/>
                    <a:gd name="T51" fmla="*/ 2147483647 h 13"/>
                    <a:gd name="T52" fmla="*/ 2147483647 w 53"/>
                    <a:gd name="T53" fmla="*/ 2147483647 h 13"/>
                    <a:gd name="T54" fmla="*/ 2147483647 w 53"/>
                    <a:gd name="T55" fmla="*/ 2147483647 h 13"/>
                    <a:gd name="T56" fmla="*/ 2147483647 w 53"/>
                    <a:gd name="T57" fmla="*/ 2147483647 h 13"/>
                    <a:gd name="T58" fmla="*/ 2147483647 w 53"/>
                    <a:gd name="T59" fmla="*/ 2147483647 h 13"/>
                    <a:gd name="T60" fmla="*/ 2147483647 w 53"/>
                    <a:gd name="T61" fmla="*/ 2147483647 h 13"/>
                    <a:gd name="T62" fmla="*/ 2147483647 w 53"/>
                    <a:gd name="T63" fmla="*/ 2147483647 h 13"/>
                    <a:gd name="T64" fmla="*/ 2147483647 w 53"/>
                    <a:gd name="T65" fmla="*/ 2147483647 h 1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3"/>
                    <a:gd name="T100" fmla="*/ 0 h 13"/>
                    <a:gd name="T101" fmla="*/ 53 w 53"/>
                    <a:gd name="T102" fmla="*/ 13 h 1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3" h="13">
                      <a:moveTo>
                        <a:pt x="48" y="9"/>
                      </a:moveTo>
                      <a:lnTo>
                        <a:pt x="48" y="9"/>
                      </a:lnTo>
                      <a:lnTo>
                        <a:pt x="35" y="11"/>
                      </a:lnTo>
                      <a:lnTo>
                        <a:pt x="24" y="13"/>
                      </a:lnTo>
                      <a:lnTo>
                        <a:pt x="1" y="11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7" y="2"/>
                      </a:lnTo>
                      <a:lnTo>
                        <a:pt x="10" y="1"/>
                      </a:lnTo>
                      <a:lnTo>
                        <a:pt x="11" y="1"/>
                      </a:lnTo>
                      <a:lnTo>
                        <a:pt x="18" y="2"/>
                      </a:lnTo>
                      <a:lnTo>
                        <a:pt x="23" y="3"/>
                      </a:lnTo>
                      <a:lnTo>
                        <a:pt x="28" y="4"/>
                      </a:lnTo>
                      <a:lnTo>
                        <a:pt x="37" y="4"/>
                      </a:lnTo>
                      <a:lnTo>
                        <a:pt x="47" y="3"/>
                      </a:lnTo>
                      <a:lnTo>
                        <a:pt x="48" y="2"/>
                      </a:lnTo>
                      <a:lnTo>
                        <a:pt x="49" y="1"/>
                      </a:lnTo>
                      <a:lnTo>
                        <a:pt x="51" y="0"/>
                      </a:lnTo>
                      <a:lnTo>
                        <a:pt x="52" y="0"/>
                      </a:lnTo>
                      <a:lnTo>
                        <a:pt x="52" y="1"/>
                      </a:lnTo>
                      <a:lnTo>
                        <a:pt x="52" y="2"/>
                      </a:lnTo>
                      <a:lnTo>
                        <a:pt x="53" y="7"/>
                      </a:lnTo>
                      <a:lnTo>
                        <a:pt x="52" y="8"/>
                      </a:lnTo>
                      <a:lnTo>
                        <a:pt x="48" y="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3" name="Freeform 847">
                  <a:extLst>
                    <a:ext uri="{FF2B5EF4-FFF2-40B4-BE49-F238E27FC236}">
                      <a16:creationId xmlns:a16="http://schemas.microsoft.com/office/drawing/2014/main" id="{F72270F5-8961-014D-B08D-DFB3BBD206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5390" y="4856620"/>
                  <a:ext cx="14799" cy="7400"/>
                </a:xfrm>
                <a:custGeom>
                  <a:avLst/>
                  <a:gdLst>
                    <a:gd name="T0" fmla="*/ 2147483647 w 11"/>
                    <a:gd name="T1" fmla="*/ 2147483647 h 5"/>
                    <a:gd name="T2" fmla="*/ 2147483647 w 11"/>
                    <a:gd name="T3" fmla="*/ 2147483647 h 5"/>
                    <a:gd name="T4" fmla="*/ 0 w 11"/>
                    <a:gd name="T5" fmla="*/ 2147483647 h 5"/>
                    <a:gd name="T6" fmla="*/ 2147483647 w 11"/>
                    <a:gd name="T7" fmla="*/ 2147483647 h 5"/>
                    <a:gd name="T8" fmla="*/ 2147483647 w 11"/>
                    <a:gd name="T9" fmla="*/ 2147483647 h 5"/>
                    <a:gd name="T10" fmla="*/ 2147483647 w 11"/>
                    <a:gd name="T11" fmla="*/ 2147483647 h 5"/>
                    <a:gd name="T12" fmla="*/ 2147483647 w 11"/>
                    <a:gd name="T13" fmla="*/ 2147483647 h 5"/>
                    <a:gd name="T14" fmla="*/ 2147483647 w 11"/>
                    <a:gd name="T15" fmla="*/ 2147483647 h 5"/>
                    <a:gd name="T16" fmla="*/ 2147483647 w 11"/>
                    <a:gd name="T17" fmla="*/ 2147483647 h 5"/>
                    <a:gd name="T18" fmla="*/ 2147483647 w 11"/>
                    <a:gd name="T19" fmla="*/ 2147483647 h 5"/>
                    <a:gd name="T20" fmla="*/ 2147483647 w 11"/>
                    <a:gd name="T21" fmla="*/ 2147483647 h 5"/>
                    <a:gd name="T22" fmla="*/ 2147483647 w 11"/>
                    <a:gd name="T23" fmla="*/ 0 h 5"/>
                    <a:gd name="T24" fmla="*/ 2147483647 w 11"/>
                    <a:gd name="T25" fmla="*/ 0 h 5"/>
                    <a:gd name="T26" fmla="*/ 2147483647 w 11"/>
                    <a:gd name="T27" fmla="*/ 2147483647 h 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"/>
                    <a:gd name="T43" fmla="*/ 0 h 5"/>
                    <a:gd name="T44" fmla="*/ 11 w 11"/>
                    <a:gd name="T45" fmla="*/ 5 h 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" h="5">
                      <a:moveTo>
                        <a:pt x="2" y="1"/>
                      </a:move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4" name="Freeform 848">
                  <a:extLst>
                    <a:ext uri="{FF2B5EF4-FFF2-40B4-BE49-F238E27FC236}">
                      <a16:creationId xmlns:a16="http://schemas.microsoft.com/office/drawing/2014/main" id="{1F8F462F-A19B-6C4A-B1DA-DC6FA73F95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5791" y="4861063"/>
                  <a:ext cx="91752" cy="56235"/>
                </a:xfrm>
                <a:custGeom>
                  <a:avLst/>
                  <a:gdLst>
                    <a:gd name="T0" fmla="*/ 2147483647 w 67"/>
                    <a:gd name="T1" fmla="*/ 2147483647 h 38"/>
                    <a:gd name="T2" fmla="*/ 2147483647 w 67"/>
                    <a:gd name="T3" fmla="*/ 2147483647 h 38"/>
                    <a:gd name="T4" fmla="*/ 2147483647 w 67"/>
                    <a:gd name="T5" fmla="*/ 2147483647 h 38"/>
                    <a:gd name="T6" fmla="*/ 2147483647 w 67"/>
                    <a:gd name="T7" fmla="*/ 2147483647 h 38"/>
                    <a:gd name="T8" fmla="*/ 2147483647 w 67"/>
                    <a:gd name="T9" fmla="*/ 2147483647 h 38"/>
                    <a:gd name="T10" fmla="*/ 2147483647 w 67"/>
                    <a:gd name="T11" fmla="*/ 2147483647 h 38"/>
                    <a:gd name="T12" fmla="*/ 2147483647 w 67"/>
                    <a:gd name="T13" fmla="*/ 2147483647 h 38"/>
                    <a:gd name="T14" fmla="*/ 2147483647 w 67"/>
                    <a:gd name="T15" fmla="*/ 2147483647 h 38"/>
                    <a:gd name="T16" fmla="*/ 2147483647 w 67"/>
                    <a:gd name="T17" fmla="*/ 2147483647 h 38"/>
                    <a:gd name="T18" fmla="*/ 2147483647 w 67"/>
                    <a:gd name="T19" fmla="*/ 2147483647 h 38"/>
                    <a:gd name="T20" fmla="*/ 0 w 67"/>
                    <a:gd name="T21" fmla="*/ 2147483647 h 38"/>
                    <a:gd name="T22" fmla="*/ 2147483647 w 67"/>
                    <a:gd name="T23" fmla="*/ 2147483647 h 38"/>
                    <a:gd name="T24" fmla="*/ 2147483647 w 67"/>
                    <a:gd name="T25" fmla="*/ 2147483647 h 38"/>
                    <a:gd name="T26" fmla="*/ 2147483647 w 67"/>
                    <a:gd name="T27" fmla="*/ 2147483647 h 38"/>
                    <a:gd name="T28" fmla="*/ 2147483647 w 67"/>
                    <a:gd name="T29" fmla="*/ 2147483647 h 38"/>
                    <a:gd name="T30" fmla="*/ 2147483647 w 67"/>
                    <a:gd name="T31" fmla="*/ 2147483647 h 38"/>
                    <a:gd name="T32" fmla="*/ 2147483647 w 67"/>
                    <a:gd name="T33" fmla="*/ 2147483647 h 38"/>
                    <a:gd name="T34" fmla="*/ 2147483647 w 67"/>
                    <a:gd name="T35" fmla="*/ 2147483647 h 38"/>
                    <a:gd name="T36" fmla="*/ 2147483647 w 67"/>
                    <a:gd name="T37" fmla="*/ 2147483647 h 38"/>
                    <a:gd name="T38" fmla="*/ 2147483647 w 67"/>
                    <a:gd name="T39" fmla="*/ 2147483647 h 38"/>
                    <a:gd name="T40" fmla="*/ 2147483647 w 67"/>
                    <a:gd name="T41" fmla="*/ 2147483647 h 38"/>
                    <a:gd name="T42" fmla="*/ 2147483647 w 67"/>
                    <a:gd name="T43" fmla="*/ 2147483647 h 38"/>
                    <a:gd name="T44" fmla="*/ 2147483647 w 67"/>
                    <a:gd name="T45" fmla="*/ 2147483647 h 38"/>
                    <a:gd name="T46" fmla="*/ 2147483647 w 67"/>
                    <a:gd name="T47" fmla="*/ 2147483647 h 38"/>
                    <a:gd name="T48" fmla="*/ 2147483647 w 67"/>
                    <a:gd name="T49" fmla="*/ 2147483647 h 38"/>
                    <a:gd name="T50" fmla="*/ 2147483647 w 67"/>
                    <a:gd name="T51" fmla="*/ 2147483647 h 38"/>
                    <a:gd name="T52" fmla="*/ 2147483647 w 67"/>
                    <a:gd name="T53" fmla="*/ 2147483647 h 38"/>
                    <a:gd name="T54" fmla="*/ 2147483647 w 67"/>
                    <a:gd name="T55" fmla="*/ 2147483647 h 38"/>
                    <a:gd name="T56" fmla="*/ 2147483647 w 67"/>
                    <a:gd name="T57" fmla="*/ 0 h 38"/>
                    <a:gd name="T58" fmla="*/ 2147483647 w 67"/>
                    <a:gd name="T59" fmla="*/ 2147483647 h 38"/>
                    <a:gd name="T60" fmla="*/ 2147483647 w 67"/>
                    <a:gd name="T61" fmla="*/ 2147483647 h 38"/>
                    <a:gd name="T62" fmla="*/ 2147483647 w 67"/>
                    <a:gd name="T63" fmla="*/ 2147483647 h 38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67"/>
                    <a:gd name="T97" fmla="*/ 0 h 38"/>
                    <a:gd name="T98" fmla="*/ 67 w 67"/>
                    <a:gd name="T99" fmla="*/ 38 h 38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67" h="38">
                      <a:moveTo>
                        <a:pt x="34" y="4"/>
                      </a:moveTo>
                      <a:lnTo>
                        <a:pt x="33" y="5"/>
                      </a:lnTo>
                      <a:lnTo>
                        <a:pt x="30" y="7"/>
                      </a:lnTo>
                      <a:lnTo>
                        <a:pt x="27" y="10"/>
                      </a:lnTo>
                      <a:lnTo>
                        <a:pt x="22" y="11"/>
                      </a:lnTo>
                      <a:lnTo>
                        <a:pt x="16" y="12"/>
                      </a:lnTo>
                      <a:lnTo>
                        <a:pt x="13" y="16"/>
                      </a:lnTo>
                      <a:lnTo>
                        <a:pt x="8" y="21"/>
                      </a:lnTo>
                      <a:lnTo>
                        <a:pt x="4" y="26"/>
                      </a:lnTo>
                      <a:lnTo>
                        <a:pt x="1" y="31"/>
                      </a:lnTo>
                      <a:lnTo>
                        <a:pt x="0" y="34"/>
                      </a:lnTo>
                      <a:lnTo>
                        <a:pt x="1" y="36"/>
                      </a:lnTo>
                      <a:lnTo>
                        <a:pt x="3" y="38"/>
                      </a:lnTo>
                      <a:lnTo>
                        <a:pt x="5" y="38"/>
                      </a:lnTo>
                      <a:lnTo>
                        <a:pt x="10" y="37"/>
                      </a:lnTo>
                      <a:lnTo>
                        <a:pt x="18" y="34"/>
                      </a:lnTo>
                      <a:lnTo>
                        <a:pt x="24" y="31"/>
                      </a:lnTo>
                      <a:lnTo>
                        <a:pt x="25" y="30"/>
                      </a:lnTo>
                      <a:lnTo>
                        <a:pt x="25" y="29"/>
                      </a:lnTo>
                      <a:lnTo>
                        <a:pt x="27" y="26"/>
                      </a:lnTo>
                      <a:lnTo>
                        <a:pt x="30" y="22"/>
                      </a:lnTo>
                      <a:lnTo>
                        <a:pt x="33" y="19"/>
                      </a:lnTo>
                      <a:lnTo>
                        <a:pt x="36" y="18"/>
                      </a:lnTo>
                      <a:lnTo>
                        <a:pt x="39" y="16"/>
                      </a:lnTo>
                      <a:lnTo>
                        <a:pt x="44" y="16"/>
                      </a:lnTo>
                      <a:lnTo>
                        <a:pt x="48" y="15"/>
                      </a:lnTo>
                      <a:lnTo>
                        <a:pt x="53" y="12"/>
                      </a:lnTo>
                      <a:lnTo>
                        <a:pt x="67" y="3"/>
                      </a:lnTo>
                      <a:lnTo>
                        <a:pt x="67" y="0"/>
                      </a:lnTo>
                      <a:lnTo>
                        <a:pt x="51" y="3"/>
                      </a:lnTo>
                      <a:lnTo>
                        <a:pt x="42" y="4"/>
                      </a:lnTo>
                      <a:lnTo>
                        <a:pt x="3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5" name="Freeform 849">
                  <a:extLst>
                    <a:ext uri="{FF2B5EF4-FFF2-40B4-BE49-F238E27FC236}">
                      <a16:creationId xmlns:a16="http://schemas.microsoft.com/office/drawing/2014/main" id="{1375AE9E-D380-404F-BAA2-2532BEDD04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42430" y="4855141"/>
                  <a:ext cx="16279" cy="5919"/>
                </a:xfrm>
                <a:custGeom>
                  <a:avLst/>
                  <a:gdLst>
                    <a:gd name="T0" fmla="*/ 2147483647 w 12"/>
                    <a:gd name="T1" fmla="*/ 2147483647 h 4"/>
                    <a:gd name="T2" fmla="*/ 2147483647 w 12"/>
                    <a:gd name="T3" fmla="*/ 2147483647 h 4"/>
                    <a:gd name="T4" fmla="*/ 2147483647 w 12"/>
                    <a:gd name="T5" fmla="*/ 2147483647 h 4"/>
                    <a:gd name="T6" fmla="*/ 0 w 12"/>
                    <a:gd name="T7" fmla="*/ 2147483647 h 4"/>
                    <a:gd name="T8" fmla="*/ 2147483647 w 12"/>
                    <a:gd name="T9" fmla="*/ 2147483647 h 4"/>
                    <a:gd name="T10" fmla="*/ 2147483647 w 12"/>
                    <a:gd name="T11" fmla="*/ 2147483647 h 4"/>
                    <a:gd name="T12" fmla="*/ 2147483647 w 12"/>
                    <a:gd name="T13" fmla="*/ 2147483647 h 4"/>
                    <a:gd name="T14" fmla="*/ 2147483647 w 12"/>
                    <a:gd name="T15" fmla="*/ 2147483647 h 4"/>
                    <a:gd name="T16" fmla="*/ 2147483647 w 12"/>
                    <a:gd name="T17" fmla="*/ 2147483647 h 4"/>
                    <a:gd name="T18" fmla="*/ 2147483647 w 12"/>
                    <a:gd name="T19" fmla="*/ 2147483647 h 4"/>
                    <a:gd name="T20" fmla="*/ 2147483647 w 12"/>
                    <a:gd name="T21" fmla="*/ 2147483647 h 4"/>
                    <a:gd name="T22" fmla="*/ 2147483647 w 12"/>
                    <a:gd name="T23" fmla="*/ 2147483647 h 4"/>
                    <a:gd name="T24" fmla="*/ 2147483647 w 12"/>
                    <a:gd name="T25" fmla="*/ 2147483647 h 4"/>
                    <a:gd name="T26" fmla="*/ 2147483647 w 12"/>
                    <a:gd name="T27" fmla="*/ 2147483647 h 4"/>
                    <a:gd name="T28" fmla="*/ 2147483647 w 12"/>
                    <a:gd name="T29" fmla="*/ 2147483647 h 4"/>
                    <a:gd name="T30" fmla="*/ 2147483647 w 12"/>
                    <a:gd name="T31" fmla="*/ 0 h 4"/>
                    <a:gd name="T32" fmla="*/ 2147483647 w 12"/>
                    <a:gd name="T33" fmla="*/ 0 h 4"/>
                    <a:gd name="T34" fmla="*/ 2147483647 w 12"/>
                    <a:gd name="T35" fmla="*/ 0 h 4"/>
                    <a:gd name="T36" fmla="*/ 2147483647 w 12"/>
                    <a:gd name="T37" fmla="*/ 2147483647 h 4"/>
                    <a:gd name="T38" fmla="*/ 2147483647 w 12"/>
                    <a:gd name="T39" fmla="*/ 2147483647 h 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2"/>
                    <a:gd name="T61" fmla="*/ 0 h 4"/>
                    <a:gd name="T62" fmla="*/ 12 w 12"/>
                    <a:gd name="T63" fmla="*/ 4 h 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2" h="4">
                      <a:moveTo>
                        <a:pt x="3" y="1"/>
                      </a:moveTo>
                      <a:lnTo>
                        <a:pt x="3" y="1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7" y="2"/>
                      </a:lnTo>
                      <a:lnTo>
                        <a:pt x="9" y="3"/>
                      </a:lnTo>
                      <a:lnTo>
                        <a:pt x="10" y="3"/>
                      </a:lnTo>
                      <a:lnTo>
                        <a:pt x="12" y="3"/>
                      </a:lnTo>
                      <a:lnTo>
                        <a:pt x="12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6" name="Freeform 850">
                  <a:extLst>
                    <a:ext uri="{FF2B5EF4-FFF2-40B4-BE49-F238E27FC236}">
                      <a16:creationId xmlns:a16="http://schemas.microsoft.com/office/drawing/2014/main" id="{ED9EB65C-46F1-154A-8F42-66E351DE89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4311" y="4859585"/>
                  <a:ext cx="91752" cy="56235"/>
                </a:xfrm>
                <a:custGeom>
                  <a:avLst/>
                  <a:gdLst>
                    <a:gd name="T0" fmla="*/ 2147483647 w 67"/>
                    <a:gd name="T1" fmla="*/ 2147483647 h 38"/>
                    <a:gd name="T2" fmla="*/ 2147483647 w 67"/>
                    <a:gd name="T3" fmla="*/ 2147483647 h 38"/>
                    <a:gd name="T4" fmla="*/ 2147483647 w 67"/>
                    <a:gd name="T5" fmla="*/ 2147483647 h 38"/>
                    <a:gd name="T6" fmla="*/ 2147483647 w 67"/>
                    <a:gd name="T7" fmla="*/ 2147483647 h 38"/>
                    <a:gd name="T8" fmla="*/ 2147483647 w 67"/>
                    <a:gd name="T9" fmla="*/ 2147483647 h 38"/>
                    <a:gd name="T10" fmla="*/ 2147483647 w 67"/>
                    <a:gd name="T11" fmla="*/ 2147483647 h 38"/>
                    <a:gd name="T12" fmla="*/ 2147483647 w 67"/>
                    <a:gd name="T13" fmla="*/ 2147483647 h 38"/>
                    <a:gd name="T14" fmla="*/ 2147483647 w 67"/>
                    <a:gd name="T15" fmla="*/ 2147483647 h 38"/>
                    <a:gd name="T16" fmla="*/ 2147483647 w 67"/>
                    <a:gd name="T17" fmla="*/ 2147483647 h 38"/>
                    <a:gd name="T18" fmla="*/ 2147483647 w 67"/>
                    <a:gd name="T19" fmla="*/ 2147483647 h 38"/>
                    <a:gd name="T20" fmla="*/ 2147483647 w 67"/>
                    <a:gd name="T21" fmla="*/ 2147483647 h 38"/>
                    <a:gd name="T22" fmla="*/ 2147483647 w 67"/>
                    <a:gd name="T23" fmla="*/ 2147483647 h 38"/>
                    <a:gd name="T24" fmla="*/ 2147483647 w 67"/>
                    <a:gd name="T25" fmla="*/ 2147483647 h 38"/>
                    <a:gd name="T26" fmla="*/ 2147483647 w 67"/>
                    <a:gd name="T27" fmla="*/ 2147483647 h 38"/>
                    <a:gd name="T28" fmla="*/ 0 w 67"/>
                    <a:gd name="T29" fmla="*/ 2147483647 h 38"/>
                    <a:gd name="T30" fmla="*/ 2147483647 w 67"/>
                    <a:gd name="T31" fmla="*/ 2147483647 h 38"/>
                    <a:gd name="T32" fmla="*/ 2147483647 w 67"/>
                    <a:gd name="T33" fmla="*/ 2147483647 h 38"/>
                    <a:gd name="T34" fmla="*/ 2147483647 w 67"/>
                    <a:gd name="T35" fmla="*/ 2147483647 h 38"/>
                    <a:gd name="T36" fmla="*/ 2147483647 w 67"/>
                    <a:gd name="T37" fmla="*/ 2147483647 h 38"/>
                    <a:gd name="T38" fmla="*/ 2147483647 w 67"/>
                    <a:gd name="T39" fmla="*/ 2147483647 h 38"/>
                    <a:gd name="T40" fmla="*/ 2147483647 w 67"/>
                    <a:gd name="T41" fmla="*/ 2147483647 h 38"/>
                    <a:gd name="T42" fmla="*/ 2147483647 w 67"/>
                    <a:gd name="T43" fmla="*/ 2147483647 h 38"/>
                    <a:gd name="T44" fmla="*/ 2147483647 w 67"/>
                    <a:gd name="T45" fmla="*/ 2147483647 h 38"/>
                    <a:gd name="T46" fmla="*/ 2147483647 w 67"/>
                    <a:gd name="T47" fmla="*/ 2147483647 h 38"/>
                    <a:gd name="T48" fmla="*/ 2147483647 w 67"/>
                    <a:gd name="T49" fmla="*/ 2147483647 h 38"/>
                    <a:gd name="T50" fmla="*/ 2147483647 w 67"/>
                    <a:gd name="T51" fmla="*/ 2147483647 h 38"/>
                    <a:gd name="T52" fmla="*/ 2147483647 w 67"/>
                    <a:gd name="T53" fmla="*/ 2147483647 h 38"/>
                    <a:gd name="T54" fmla="*/ 2147483647 w 67"/>
                    <a:gd name="T55" fmla="*/ 2147483647 h 38"/>
                    <a:gd name="T56" fmla="*/ 2147483647 w 67"/>
                    <a:gd name="T57" fmla="*/ 2147483647 h 38"/>
                    <a:gd name="T58" fmla="*/ 2147483647 w 67"/>
                    <a:gd name="T59" fmla="*/ 2147483647 h 38"/>
                    <a:gd name="T60" fmla="*/ 2147483647 w 67"/>
                    <a:gd name="T61" fmla="*/ 2147483647 h 38"/>
                    <a:gd name="T62" fmla="*/ 2147483647 w 67"/>
                    <a:gd name="T63" fmla="*/ 2147483647 h 38"/>
                    <a:gd name="T64" fmla="*/ 2147483647 w 67"/>
                    <a:gd name="T65" fmla="*/ 2147483647 h 38"/>
                    <a:gd name="T66" fmla="*/ 2147483647 w 67"/>
                    <a:gd name="T67" fmla="*/ 2147483647 h 38"/>
                    <a:gd name="T68" fmla="*/ 2147483647 w 67"/>
                    <a:gd name="T69" fmla="*/ 2147483647 h 38"/>
                    <a:gd name="T70" fmla="*/ 2147483647 w 67"/>
                    <a:gd name="T71" fmla="*/ 2147483647 h 38"/>
                    <a:gd name="T72" fmla="*/ 2147483647 w 67"/>
                    <a:gd name="T73" fmla="*/ 2147483647 h 38"/>
                    <a:gd name="T74" fmla="*/ 2147483647 w 67"/>
                    <a:gd name="T75" fmla="*/ 2147483647 h 38"/>
                    <a:gd name="T76" fmla="*/ 2147483647 w 67"/>
                    <a:gd name="T77" fmla="*/ 0 h 38"/>
                    <a:gd name="T78" fmla="*/ 2147483647 w 67"/>
                    <a:gd name="T79" fmla="*/ 0 h 38"/>
                    <a:gd name="T80" fmla="*/ 2147483647 w 67"/>
                    <a:gd name="T81" fmla="*/ 2147483647 h 38"/>
                    <a:gd name="T82" fmla="*/ 2147483647 w 67"/>
                    <a:gd name="T83" fmla="*/ 2147483647 h 38"/>
                    <a:gd name="T84" fmla="*/ 2147483647 w 67"/>
                    <a:gd name="T85" fmla="*/ 2147483647 h 38"/>
                    <a:gd name="T86" fmla="*/ 2147483647 w 67"/>
                    <a:gd name="T87" fmla="*/ 2147483647 h 3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7"/>
                    <a:gd name="T133" fmla="*/ 0 h 38"/>
                    <a:gd name="T134" fmla="*/ 67 w 67"/>
                    <a:gd name="T135" fmla="*/ 38 h 3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7" h="38">
                      <a:moveTo>
                        <a:pt x="34" y="4"/>
                      </a:moveTo>
                      <a:lnTo>
                        <a:pt x="34" y="4"/>
                      </a:lnTo>
                      <a:lnTo>
                        <a:pt x="33" y="5"/>
                      </a:lnTo>
                      <a:lnTo>
                        <a:pt x="30" y="7"/>
                      </a:lnTo>
                      <a:lnTo>
                        <a:pt x="26" y="10"/>
                      </a:lnTo>
                      <a:lnTo>
                        <a:pt x="21" y="11"/>
                      </a:lnTo>
                      <a:lnTo>
                        <a:pt x="16" y="12"/>
                      </a:lnTo>
                      <a:lnTo>
                        <a:pt x="12" y="16"/>
                      </a:lnTo>
                      <a:lnTo>
                        <a:pt x="7" y="20"/>
                      </a:lnTo>
                      <a:lnTo>
                        <a:pt x="4" y="26"/>
                      </a:lnTo>
                      <a:lnTo>
                        <a:pt x="1" y="31"/>
                      </a:lnTo>
                      <a:lnTo>
                        <a:pt x="0" y="33"/>
                      </a:lnTo>
                      <a:lnTo>
                        <a:pt x="1" y="36"/>
                      </a:lnTo>
                      <a:lnTo>
                        <a:pt x="2" y="38"/>
                      </a:lnTo>
                      <a:lnTo>
                        <a:pt x="5" y="38"/>
                      </a:lnTo>
                      <a:lnTo>
                        <a:pt x="10" y="37"/>
                      </a:lnTo>
                      <a:lnTo>
                        <a:pt x="17" y="33"/>
                      </a:lnTo>
                      <a:lnTo>
                        <a:pt x="24" y="31"/>
                      </a:lnTo>
                      <a:lnTo>
                        <a:pt x="25" y="30"/>
                      </a:lnTo>
                      <a:lnTo>
                        <a:pt x="25" y="29"/>
                      </a:lnTo>
                      <a:lnTo>
                        <a:pt x="26" y="26"/>
                      </a:lnTo>
                      <a:lnTo>
                        <a:pt x="30" y="22"/>
                      </a:lnTo>
                      <a:lnTo>
                        <a:pt x="33" y="19"/>
                      </a:lnTo>
                      <a:lnTo>
                        <a:pt x="35" y="18"/>
                      </a:lnTo>
                      <a:lnTo>
                        <a:pt x="39" y="16"/>
                      </a:lnTo>
                      <a:lnTo>
                        <a:pt x="44" y="16"/>
                      </a:lnTo>
                      <a:lnTo>
                        <a:pt x="48" y="14"/>
                      </a:lnTo>
                      <a:lnTo>
                        <a:pt x="53" y="12"/>
                      </a:lnTo>
                      <a:lnTo>
                        <a:pt x="67" y="3"/>
                      </a:lnTo>
                      <a:lnTo>
                        <a:pt x="67" y="0"/>
                      </a:lnTo>
                      <a:lnTo>
                        <a:pt x="51" y="3"/>
                      </a:lnTo>
                      <a:lnTo>
                        <a:pt x="42" y="4"/>
                      </a:lnTo>
                      <a:lnTo>
                        <a:pt x="34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7" name="Freeform 851">
                  <a:extLst>
                    <a:ext uri="{FF2B5EF4-FFF2-40B4-BE49-F238E27FC236}">
                      <a16:creationId xmlns:a16="http://schemas.microsoft.com/office/drawing/2014/main" id="{82FFDCBB-6D3D-9E4F-976F-247B20FC10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07759" y="4553250"/>
                  <a:ext cx="153907" cy="230860"/>
                </a:xfrm>
                <a:custGeom>
                  <a:avLst/>
                  <a:gdLst>
                    <a:gd name="T0" fmla="*/ 2147483647 w 113"/>
                    <a:gd name="T1" fmla="*/ 2147483647 h 156"/>
                    <a:gd name="T2" fmla="*/ 2147483647 w 113"/>
                    <a:gd name="T3" fmla="*/ 2147483647 h 156"/>
                    <a:gd name="T4" fmla="*/ 2147483647 w 113"/>
                    <a:gd name="T5" fmla="*/ 2147483647 h 156"/>
                    <a:gd name="T6" fmla="*/ 2147483647 w 113"/>
                    <a:gd name="T7" fmla="*/ 2147483647 h 156"/>
                    <a:gd name="T8" fmla="*/ 2147483647 w 113"/>
                    <a:gd name="T9" fmla="*/ 2147483647 h 156"/>
                    <a:gd name="T10" fmla="*/ 0 w 113"/>
                    <a:gd name="T11" fmla="*/ 2147483647 h 156"/>
                    <a:gd name="T12" fmla="*/ 2147483647 w 113"/>
                    <a:gd name="T13" fmla="*/ 2147483647 h 156"/>
                    <a:gd name="T14" fmla="*/ 2147483647 w 113"/>
                    <a:gd name="T15" fmla="*/ 2147483647 h 156"/>
                    <a:gd name="T16" fmla="*/ 2147483647 w 113"/>
                    <a:gd name="T17" fmla="*/ 2147483647 h 156"/>
                    <a:gd name="T18" fmla="*/ 2147483647 w 113"/>
                    <a:gd name="T19" fmla="*/ 2147483647 h 156"/>
                    <a:gd name="T20" fmla="*/ 2147483647 w 113"/>
                    <a:gd name="T21" fmla="*/ 2147483647 h 156"/>
                    <a:gd name="T22" fmla="*/ 2147483647 w 113"/>
                    <a:gd name="T23" fmla="*/ 2147483647 h 156"/>
                    <a:gd name="T24" fmla="*/ 2147483647 w 113"/>
                    <a:gd name="T25" fmla="*/ 2147483647 h 156"/>
                    <a:gd name="T26" fmla="*/ 2147483647 w 113"/>
                    <a:gd name="T27" fmla="*/ 2147483647 h 156"/>
                    <a:gd name="T28" fmla="*/ 2147483647 w 113"/>
                    <a:gd name="T29" fmla="*/ 2147483647 h 156"/>
                    <a:gd name="T30" fmla="*/ 2147483647 w 113"/>
                    <a:gd name="T31" fmla="*/ 2147483647 h 156"/>
                    <a:gd name="T32" fmla="*/ 2147483647 w 113"/>
                    <a:gd name="T33" fmla="*/ 2147483647 h 156"/>
                    <a:gd name="T34" fmla="*/ 2147483647 w 113"/>
                    <a:gd name="T35" fmla="*/ 2147483647 h 156"/>
                    <a:gd name="T36" fmla="*/ 2147483647 w 113"/>
                    <a:gd name="T37" fmla="*/ 2147483647 h 156"/>
                    <a:gd name="T38" fmla="*/ 2147483647 w 113"/>
                    <a:gd name="T39" fmla="*/ 2147483647 h 156"/>
                    <a:gd name="T40" fmla="*/ 2147483647 w 113"/>
                    <a:gd name="T41" fmla="*/ 0 h 156"/>
                    <a:gd name="T42" fmla="*/ 2147483647 w 113"/>
                    <a:gd name="T43" fmla="*/ 2147483647 h 156"/>
                    <a:gd name="T44" fmla="*/ 2147483647 w 113"/>
                    <a:gd name="T45" fmla="*/ 2147483647 h 156"/>
                    <a:gd name="T46" fmla="*/ 2147483647 w 113"/>
                    <a:gd name="T47" fmla="*/ 2147483647 h 156"/>
                    <a:gd name="T48" fmla="*/ 2147483647 w 113"/>
                    <a:gd name="T49" fmla="*/ 2147483647 h 156"/>
                    <a:gd name="T50" fmla="*/ 2147483647 w 113"/>
                    <a:gd name="T51" fmla="*/ 2147483647 h 156"/>
                    <a:gd name="T52" fmla="*/ 2147483647 w 113"/>
                    <a:gd name="T53" fmla="*/ 2147483647 h 156"/>
                    <a:gd name="T54" fmla="*/ 2147483647 w 113"/>
                    <a:gd name="T55" fmla="*/ 2147483647 h 156"/>
                    <a:gd name="T56" fmla="*/ 2147483647 w 113"/>
                    <a:gd name="T57" fmla="*/ 2147483647 h 156"/>
                    <a:gd name="T58" fmla="*/ 2147483647 w 113"/>
                    <a:gd name="T59" fmla="*/ 2147483647 h 156"/>
                    <a:gd name="T60" fmla="*/ 2147483647 w 113"/>
                    <a:gd name="T61" fmla="*/ 2147483647 h 156"/>
                    <a:gd name="T62" fmla="*/ 2147483647 w 113"/>
                    <a:gd name="T63" fmla="*/ 2147483647 h 156"/>
                    <a:gd name="T64" fmla="*/ 2147483647 w 113"/>
                    <a:gd name="T65" fmla="*/ 2147483647 h 156"/>
                    <a:gd name="T66" fmla="*/ 2147483647 w 113"/>
                    <a:gd name="T67" fmla="*/ 2147483647 h 156"/>
                    <a:gd name="T68" fmla="*/ 2147483647 w 113"/>
                    <a:gd name="T69" fmla="*/ 2147483647 h 156"/>
                    <a:gd name="T70" fmla="*/ 2147483647 w 113"/>
                    <a:gd name="T71" fmla="*/ 2147483647 h 156"/>
                    <a:gd name="T72" fmla="*/ 2147483647 w 113"/>
                    <a:gd name="T73" fmla="*/ 2147483647 h 156"/>
                    <a:gd name="T74" fmla="*/ 2147483647 w 113"/>
                    <a:gd name="T75" fmla="*/ 2147483647 h 156"/>
                    <a:gd name="T76" fmla="*/ 2147483647 w 113"/>
                    <a:gd name="T77" fmla="*/ 2147483647 h 156"/>
                    <a:gd name="T78" fmla="*/ 2147483647 w 113"/>
                    <a:gd name="T79" fmla="*/ 2147483647 h 156"/>
                    <a:gd name="T80" fmla="*/ 2147483647 w 113"/>
                    <a:gd name="T81" fmla="*/ 2147483647 h 156"/>
                    <a:gd name="T82" fmla="*/ 2147483647 w 113"/>
                    <a:gd name="T83" fmla="*/ 2147483647 h 156"/>
                    <a:gd name="T84" fmla="*/ 2147483647 w 113"/>
                    <a:gd name="T85" fmla="*/ 2147483647 h 156"/>
                    <a:gd name="T86" fmla="*/ 2147483647 w 113"/>
                    <a:gd name="T87" fmla="*/ 2147483647 h 156"/>
                    <a:gd name="T88" fmla="*/ 2147483647 w 113"/>
                    <a:gd name="T89" fmla="*/ 2147483647 h 156"/>
                    <a:gd name="T90" fmla="*/ 2147483647 w 113"/>
                    <a:gd name="T91" fmla="*/ 2147483647 h 156"/>
                    <a:gd name="T92" fmla="*/ 2147483647 w 113"/>
                    <a:gd name="T93" fmla="*/ 2147483647 h 156"/>
                    <a:gd name="T94" fmla="*/ 2147483647 w 113"/>
                    <a:gd name="T95" fmla="*/ 2147483647 h 156"/>
                    <a:gd name="T96" fmla="*/ 2147483647 w 113"/>
                    <a:gd name="T97" fmla="*/ 2147483647 h 156"/>
                    <a:gd name="T98" fmla="*/ 2147483647 w 113"/>
                    <a:gd name="T99" fmla="*/ 2147483647 h 156"/>
                    <a:gd name="T100" fmla="*/ 2147483647 w 113"/>
                    <a:gd name="T101" fmla="*/ 2147483647 h 156"/>
                    <a:gd name="T102" fmla="*/ 2147483647 w 113"/>
                    <a:gd name="T103" fmla="*/ 2147483647 h 156"/>
                    <a:gd name="T104" fmla="*/ 2147483647 w 113"/>
                    <a:gd name="T105" fmla="*/ 2147483647 h 156"/>
                    <a:gd name="T106" fmla="*/ 2147483647 w 113"/>
                    <a:gd name="T107" fmla="*/ 2147483647 h 156"/>
                    <a:gd name="T108" fmla="*/ 2147483647 w 113"/>
                    <a:gd name="T109" fmla="*/ 2147483647 h 156"/>
                    <a:gd name="T110" fmla="*/ 2147483647 w 113"/>
                    <a:gd name="T111" fmla="*/ 2147483647 h 15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13"/>
                    <a:gd name="T169" fmla="*/ 0 h 156"/>
                    <a:gd name="T170" fmla="*/ 113 w 113"/>
                    <a:gd name="T171" fmla="*/ 156 h 15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13" h="156">
                      <a:moveTo>
                        <a:pt x="36" y="149"/>
                      </a:moveTo>
                      <a:lnTo>
                        <a:pt x="36" y="151"/>
                      </a:lnTo>
                      <a:lnTo>
                        <a:pt x="35" y="154"/>
                      </a:lnTo>
                      <a:lnTo>
                        <a:pt x="32" y="155"/>
                      </a:lnTo>
                      <a:lnTo>
                        <a:pt x="29" y="156"/>
                      </a:lnTo>
                      <a:lnTo>
                        <a:pt x="26" y="156"/>
                      </a:lnTo>
                      <a:lnTo>
                        <a:pt x="21" y="155"/>
                      </a:lnTo>
                      <a:lnTo>
                        <a:pt x="18" y="153"/>
                      </a:lnTo>
                      <a:lnTo>
                        <a:pt x="14" y="149"/>
                      </a:lnTo>
                      <a:lnTo>
                        <a:pt x="14" y="142"/>
                      </a:lnTo>
                      <a:lnTo>
                        <a:pt x="14" y="135"/>
                      </a:lnTo>
                      <a:lnTo>
                        <a:pt x="14" y="128"/>
                      </a:lnTo>
                      <a:lnTo>
                        <a:pt x="12" y="121"/>
                      </a:lnTo>
                      <a:lnTo>
                        <a:pt x="8" y="116"/>
                      </a:lnTo>
                      <a:lnTo>
                        <a:pt x="4" y="111"/>
                      </a:lnTo>
                      <a:lnTo>
                        <a:pt x="0" y="105"/>
                      </a:lnTo>
                      <a:lnTo>
                        <a:pt x="0" y="103"/>
                      </a:lnTo>
                      <a:lnTo>
                        <a:pt x="0" y="99"/>
                      </a:lnTo>
                      <a:lnTo>
                        <a:pt x="3" y="90"/>
                      </a:lnTo>
                      <a:lnTo>
                        <a:pt x="5" y="82"/>
                      </a:lnTo>
                      <a:lnTo>
                        <a:pt x="8" y="72"/>
                      </a:lnTo>
                      <a:lnTo>
                        <a:pt x="10" y="67"/>
                      </a:lnTo>
                      <a:lnTo>
                        <a:pt x="13" y="63"/>
                      </a:lnTo>
                      <a:lnTo>
                        <a:pt x="14" y="60"/>
                      </a:lnTo>
                      <a:lnTo>
                        <a:pt x="15" y="57"/>
                      </a:lnTo>
                      <a:lnTo>
                        <a:pt x="15" y="51"/>
                      </a:lnTo>
                      <a:lnTo>
                        <a:pt x="14" y="44"/>
                      </a:lnTo>
                      <a:lnTo>
                        <a:pt x="14" y="40"/>
                      </a:lnTo>
                      <a:lnTo>
                        <a:pt x="15" y="38"/>
                      </a:lnTo>
                      <a:lnTo>
                        <a:pt x="19" y="32"/>
                      </a:lnTo>
                      <a:lnTo>
                        <a:pt x="22" y="28"/>
                      </a:lnTo>
                      <a:lnTo>
                        <a:pt x="23" y="25"/>
                      </a:lnTo>
                      <a:lnTo>
                        <a:pt x="23" y="23"/>
                      </a:lnTo>
                      <a:lnTo>
                        <a:pt x="24" y="23"/>
                      </a:lnTo>
                      <a:lnTo>
                        <a:pt x="28" y="22"/>
                      </a:lnTo>
                      <a:lnTo>
                        <a:pt x="32" y="22"/>
                      </a:lnTo>
                      <a:lnTo>
                        <a:pt x="35" y="21"/>
                      </a:lnTo>
                      <a:lnTo>
                        <a:pt x="36" y="20"/>
                      </a:lnTo>
                      <a:lnTo>
                        <a:pt x="36" y="19"/>
                      </a:lnTo>
                      <a:lnTo>
                        <a:pt x="35" y="16"/>
                      </a:lnTo>
                      <a:lnTo>
                        <a:pt x="33" y="15"/>
                      </a:lnTo>
                      <a:lnTo>
                        <a:pt x="33" y="14"/>
                      </a:lnTo>
                      <a:lnTo>
                        <a:pt x="35" y="14"/>
                      </a:lnTo>
                      <a:lnTo>
                        <a:pt x="42" y="15"/>
                      </a:lnTo>
                      <a:lnTo>
                        <a:pt x="50" y="17"/>
                      </a:lnTo>
                      <a:lnTo>
                        <a:pt x="54" y="20"/>
                      </a:lnTo>
                      <a:lnTo>
                        <a:pt x="56" y="22"/>
                      </a:lnTo>
                      <a:lnTo>
                        <a:pt x="57" y="23"/>
                      </a:lnTo>
                      <a:lnTo>
                        <a:pt x="59" y="23"/>
                      </a:lnTo>
                      <a:lnTo>
                        <a:pt x="62" y="22"/>
                      </a:lnTo>
                      <a:lnTo>
                        <a:pt x="66" y="22"/>
                      </a:lnTo>
                      <a:lnTo>
                        <a:pt x="70" y="22"/>
                      </a:lnTo>
                      <a:lnTo>
                        <a:pt x="74" y="23"/>
                      </a:lnTo>
                      <a:lnTo>
                        <a:pt x="78" y="23"/>
                      </a:lnTo>
                      <a:lnTo>
                        <a:pt x="90" y="22"/>
                      </a:lnTo>
                      <a:lnTo>
                        <a:pt x="101" y="19"/>
                      </a:lnTo>
                      <a:lnTo>
                        <a:pt x="103" y="17"/>
                      </a:lnTo>
                      <a:lnTo>
                        <a:pt x="104" y="16"/>
                      </a:lnTo>
                      <a:lnTo>
                        <a:pt x="106" y="12"/>
                      </a:lnTo>
                      <a:lnTo>
                        <a:pt x="107" y="2"/>
                      </a:lnTo>
                      <a:lnTo>
                        <a:pt x="107" y="1"/>
                      </a:lnTo>
                      <a:lnTo>
                        <a:pt x="108" y="0"/>
                      </a:lnTo>
                      <a:lnTo>
                        <a:pt x="113" y="0"/>
                      </a:lnTo>
                      <a:lnTo>
                        <a:pt x="113" y="6"/>
                      </a:lnTo>
                      <a:lnTo>
                        <a:pt x="113" y="13"/>
                      </a:lnTo>
                      <a:lnTo>
                        <a:pt x="113" y="15"/>
                      </a:lnTo>
                      <a:lnTo>
                        <a:pt x="113" y="17"/>
                      </a:lnTo>
                      <a:lnTo>
                        <a:pt x="111" y="20"/>
                      </a:lnTo>
                      <a:lnTo>
                        <a:pt x="108" y="21"/>
                      </a:lnTo>
                      <a:lnTo>
                        <a:pt x="106" y="23"/>
                      </a:lnTo>
                      <a:lnTo>
                        <a:pt x="103" y="26"/>
                      </a:lnTo>
                      <a:lnTo>
                        <a:pt x="103" y="31"/>
                      </a:lnTo>
                      <a:lnTo>
                        <a:pt x="102" y="33"/>
                      </a:lnTo>
                      <a:lnTo>
                        <a:pt x="99" y="33"/>
                      </a:lnTo>
                      <a:lnTo>
                        <a:pt x="90" y="33"/>
                      </a:lnTo>
                      <a:lnTo>
                        <a:pt x="82" y="32"/>
                      </a:lnTo>
                      <a:lnTo>
                        <a:pt x="73" y="31"/>
                      </a:lnTo>
                      <a:lnTo>
                        <a:pt x="64" y="32"/>
                      </a:lnTo>
                      <a:lnTo>
                        <a:pt x="54" y="33"/>
                      </a:lnTo>
                      <a:lnTo>
                        <a:pt x="45" y="33"/>
                      </a:lnTo>
                      <a:lnTo>
                        <a:pt x="37" y="32"/>
                      </a:lnTo>
                      <a:lnTo>
                        <a:pt x="28" y="33"/>
                      </a:lnTo>
                      <a:lnTo>
                        <a:pt x="26" y="35"/>
                      </a:lnTo>
                      <a:lnTo>
                        <a:pt x="23" y="38"/>
                      </a:lnTo>
                      <a:lnTo>
                        <a:pt x="22" y="40"/>
                      </a:lnTo>
                      <a:lnTo>
                        <a:pt x="22" y="44"/>
                      </a:lnTo>
                      <a:lnTo>
                        <a:pt x="24" y="51"/>
                      </a:lnTo>
                      <a:lnTo>
                        <a:pt x="27" y="55"/>
                      </a:lnTo>
                      <a:lnTo>
                        <a:pt x="32" y="60"/>
                      </a:lnTo>
                      <a:lnTo>
                        <a:pt x="33" y="64"/>
                      </a:lnTo>
                      <a:lnTo>
                        <a:pt x="35" y="66"/>
                      </a:lnTo>
                      <a:lnTo>
                        <a:pt x="36" y="67"/>
                      </a:lnTo>
                      <a:lnTo>
                        <a:pt x="37" y="68"/>
                      </a:lnTo>
                      <a:lnTo>
                        <a:pt x="41" y="68"/>
                      </a:lnTo>
                      <a:lnTo>
                        <a:pt x="45" y="66"/>
                      </a:lnTo>
                      <a:lnTo>
                        <a:pt x="51" y="60"/>
                      </a:lnTo>
                      <a:lnTo>
                        <a:pt x="59" y="59"/>
                      </a:lnTo>
                      <a:lnTo>
                        <a:pt x="66" y="59"/>
                      </a:lnTo>
                      <a:lnTo>
                        <a:pt x="70" y="59"/>
                      </a:lnTo>
                      <a:lnTo>
                        <a:pt x="71" y="60"/>
                      </a:lnTo>
                      <a:lnTo>
                        <a:pt x="71" y="63"/>
                      </a:lnTo>
                      <a:lnTo>
                        <a:pt x="66" y="68"/>
                      </a:lnTo>
                      <a:lnTo>
                        <a:pt x="61" y="74"/>
                      </a:lnTo>
                      <a:lnTo>
                        <a:pt x="56" y="78"/>
                      </a:lnTo>
                      <a:lnTo>
                        <a:pt x="47" y="82"/>
                      </a:lnTo>
                      <a:lnTo>
                        <a:pt x="46" y="82"/>
                      </a:lnTo>
                      <a:lnTo>
                        <a:pt x="45" y="83"/>
                      </a:lnTo>
                      <a:lnTo>
                        <a:pt x="43" y="85"/>
                      </a:lnTo>
                      <a:lnTo>
                        <a:pt x="45" y="86"/>
                      </a:lnTo>
                      <a:lnTo>
                        <a:pt x="46" y="89"/>
                      </a:lnTo>
                      <a:lnTo>
                        <a:pt x="49" y="89"/>
                      </a:lnTo>
                      <a:lnTo>
                        <a:pt x="51" y="90"/>
                      </a:lnTo>
                      <a:lnTo>
                        <a:pt x="54" y="91"/>
                      </a:lnTo>
                      <a:lnTo>
                        <a:pt x="59" y="97"/>
                      </a:lnTo>
                      <a:lnTo>
                        <a:pt x="65" y="105"/>
                      </a:lnTo>
                      <a:lnTo>
                        <a:pt x="66" y="109"/>
                      </a:lnTo>
                      <a:lnTo>
                        <a:pt x="66" y="112"/>
                      </a:lnTo>
                      <a:lnTo>
                        <a:pt x="65" y="117"/>
                      </a:lnTo>
                      <a:lnTo>
                        <a:pt x="62" y="121"/>
                      </a:lnTo>
                      <a:lnTo>
                        <a:pt x="61" y="122"/>
                      </a:lnTo>
                      <a:lnTo>
                        <a:pt x="61" y="123"/>
                      </a:lnTo>
                      <a:lnTo>
                        <a:pt x="64" y="125"/>
                      </a:lnTo>
                      <a:lnTo>
                        <a:pt x="68" y="128"/>
                      </a:lnTo>
                      <a:lnTo>
                        <a:pt x="69" y="129"/>
                      </a:lnTo>
                      <a:lnTo>
                        <a:pt x="69" y="130"/>
                      </a:lnTo>
                      <a:lnTo>
                        <a:pt x="69" y="131"/>
                      </a:lnTo>
                      <a:lnTo>
                        <a:pt x="68" y="132"/>
                      </a:lnTo>
                      <a:lnTo>
                        <a:pt x="65" y="131"/>
                      </a:lnTo>
                      <a:lnTo>
                        <a:pt x="61" y="131"/>
                      </a:lnTo>
                      <a:lnTo>
                        <a:pt x="59" y="132"/>
                      </a:lnTo>
                      <a:lnTo>
                        <a:pt x="56" y="136"/>
                      </a:lnTo>
                      <a:lnTo>
                        <a:pt x="56" y="137"/>
                      </a:lnTo>
                      <a:lnTo>
                        <a:pt x="57" y="140"/>
                      </a:lnTo>
                      <a:lnTo>
                        <a:pt x="60" y="141"/>
                      </a:lnTo>
                      <a:lnTo>
                        <a:pt x="62" y="143"/>
                      </a:lnTo>
                      <a:lnTo>
                        <a:pt x="62" y="146"/>
                      </a:lnTo>
                      <a:lnTo>
                        <a:pt x="61" y="148"/>
                      </a:lnTo>
                      <a:lnTo>
                        <a:pt x="60" y="149"/>
                      </a:lnTo>
                      <a:lnTo>
                        <a:pt x="59" y="148"/>
                      </a:lnTo>
                      <a:lnTo>
                        <a:pt x="55" y="142"/>
                      </a:lnTo>
                      <a:lnTo>
                        <a:pt x="52" y="138"/>
                      </a:lnTo>
                      <a:lnTo>
                        <a:pt x="49" y="137"/>
                      </a:lnTo>
                      <a:lnTo>
                        <a:pt x="47" y="136"/>
                      </a:lnTo>
                      <a:lnTo>
                        <a:pt x="47" y="135"/>
                      </a:lnTo>
                      <a:lnTo>
                        <a:pt x="47" y="129"/>
                      </a:lnTo>
                      <a:lnTo>
                        <a:pt x="46" y="125"/>
                      </a:lnTo>
                      <a:lnTo>
                        <a:pt x="41" y="117"/>
                      </a:lnTo>
                      <a:lnTo>
                        <a:pt x="40" y="115"/>
                      </a:lnTo>
                      <a:lnTo>
                        <a:pt x="41" y="112"/>
                      </a:lnTo>
                      <a:lnTo>
                        <a:pt x="42" y="108"/>
                      </a:lnTo>
                      <a:lnTo>
                        <a:pt x="42" y="105"/>
                      </a:lnTo>
                      <a:lnTo>
                        <a:pt x="42" y="103"/>
                      </a:lnTo>
                      <a:lnTo>
                        <a:pt x="40" y="100"/>
                      </a:lnTo>
                      <a:lnTo>
                        <a:pt x="37" y="99"/>
                      </a:lnTo>
                      <a:lnTo>
                        <a:pt x="33" y="99"/>
                      </a:lnTo>
                      <a:lnTo>
                        <a:pt x="31" y="100"/>
                      </a:lnTo>
                      <a:lnTo>
                        <a:pt x="28" y="103"/>
                      </a:lnTo>
                      <a:lnTo>
                        <a:pt x="27" y="105"/>
                      </a:lnTo>
                      <a:lnTo>
                        <a:pt x="27" y="109"/>
                      </a:lnTo>
                      <a:lnTo>
                        <a:pt x="28" y="112"/>
                      </a:lnTo>
                      <a:lnTo>
                        <a:pt x="31" y="116"/>
                      </a:lnTo>
                      <a:lnTo>
                        <a:pt x="31" y="119"/>
                      </a:lnTo>
                      <a:lnTo>
                        <a:pt x="29" y="127"/>
                      </a:lnTo>
                      <a:lnTo>
                        <a:pt x="28" y="136"/>
                      </a:lnTo>
                      <a:lnTo>
                        <a:pt x="28" y="138"/>
                      </a:lnTo>
                      <a:lnTo>
                        <a:pt x="28" y="141"/>
                      </a:lnTo>
                      <a:lnTo>
                        <a:pt x="31" y="146"/>
                      </a:lnTo>
                      <a:lnTo>
                        <a:pt x="33" y="148"/>
                      </a:lnTo>
                      <a:lnTo>
                        <a:pt x="36" y="1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852">
                  <a:extLst>
                    <a:ext uri="{FF2B5EF4-FFF2-40B4-BE49-F238E27FC236}">
                      <a16:creationId xmlns:a16="http://schemas.microsoft.com/office/drawing/2014/main" id="{9F3293EB-5FF2-7B40-BE10-FCF8253D77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95072" y="4751553"/>
                  <a:ext cx="19239" cy="34037"/>
                </a:xfrm>
                <a:custGeom>
                  <a:avLst/>
                  <a:gdLst>
                    <a:gd name="T0" fmla="*/ 2147483647 w 14"/>
                    <a:gd name="T1" fmla="*/ 2147483647 h 23"/>
                    <a:gd name="T2" fmla="*/ 2147483647 w 14"/>
                    <a:gd name="T3" fmla="*/ 2147483647 h 23"/>
                    <a:gd name="T4" fmla="*/ 2147483647 w 14"/>
                    <a:gd name="T5" fmla="*/ 2147483647 h 23"/>
                    <a:gd name="T6" fmla="*/ 2147483647 w 14"/>
                    <a:gd name="T7" fmla="*/ 2147483647 h 23"/>
                    <a:gd name="T8" fmla="*/ 0 w 14"/>
                    <a:gd name="T9" fmla="*/ 2147483647 h 23"/>
                    <a:gd name="T10" fmla="*/ 0 w 14"/>
                    <a:gd name="T11" fmla="*/ 2147483647 h 23"/>
                    <a:gd name="T12" fmla="*/ 2147483647 w 14"/>
                    <a:gd name="T13" fmla="*/ 2147483647 h 23"/>
                    <a:gd name="T14" fmla="*/ 2147483647 w 14"/>
                    <a:gd name="T15" fmla="*/ 2147483647 h 23"/>
                    <a:gd name="T16" fmla="*/ 2147483647 w 14"/>
                    <a:gd name="T17" fmla="*/ 2147483647 h 23"/>
                    <a:gd name="T18" fmla="*/ 2147483647 w 14"/>
                    <a:gd name="T19" fmla="*/ 0 h 23"/>
                    <a:gd name="T20" fmla="*/ 2147483647 w 14"/>
                    <a:gd name="T21" fmla="*/ 0 h 23"/>
                    <a:gd name="T22" fmla="*/ 2147483647 w 14"/>
                    <a:gd name="T23" fmla="*/ 2147483647 h 23"/>
                    <a:gd name="T24" fmla="*/ 2147483647 w 14"/>
                    <a:gd name="T25" fmla="*/ 2147483647 h 23"/>
                    <a:gd name="T26" fmla="*/ 2147483647 w 14"/>
                    <a:gd name="T27" fmla="*/ 2147483647 h 23"/>
                    <a:gd name="T28" fmla="*/ 2147483647 w 14"/>
                    <a:gd name="T29" fmla="*/ 2147483647 h 23"/>
                    <a:gd name="T30" fmla="*/ 2147483647 w 14"/>
                    <a:gd name="T31" fmla="*/ 2147483647 h 23"/>
                    <a:gd name="T32" fmla="*/ 2147483647 w 14"/>
                    <a:gd name="T33" fmla="*/ 2147483647 h 2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4"/>
                    <a:gd name="T52" fmla="*/ 0 h 23"/>
                    <a:gd name="T53" fmla="*/ 14 w 14"/>
                    <a:gd name="T54" fmla="*/ 23 h 2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4" h="23">
                      <a:moveTo>
                        <a:pt x="12" y="15"/>
                      </a:moveTo>
                      <a:lnTo>
                        <a:pt x="7" y="20"/>
                      </a:lnTo>
                      <a:lnTo>
                        <a:pt x="2" y="23"/>
                      </a:lnTo>
                      <a:lnTo>
                        <a:pt x="1" y="23"/>
                      </a:lnTo>
                      <a:lnTo>
                        <a:pt x="0" y="23"/>
                      </a:lnTo>
                      <a:lnTo>
                        <a:pt x="0" y="21"/>
                      </a:lnTo>
                      <a:lnTo>
                        <a:pt x="2" y="15"/>
                      </a:lnTo>
                      <a:lnTo>
                        <a:pt x="6" y="7"/>
                      </a:lnTo>
                      <a:lnTo>
                        <a:pt x="9" y="2"/>
                      </a:lnTo>
                      <a:lnTo>
                        <a:pt x="11" y="0"/>
                      </a:lnTo>
                      <a:lnTo>
                        <a:pt x="14" y="0"/>
                      </a:lnTo>
                      <a:lnTo>
                        <a:pt x="14" y="2"/>
                      </a:lnTo>
                      <a:lnTo>
                        <a:pt x="12" y="7"/>
                      </a:lnTo>
                      <a:lnTo>
                        <a:pt x="12" y="9"/>
                      </a:lnTo>
                      <a:lnTo>
                        <a:pt x="14" y="13"/>
                      </a:lnTo>
                      <a:lnTo>
                        <a:pt x="14" y="14"/>
                      </a:lnTo>
                      <a:lnTo>
                        <a:pt x="12" y="1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9" name="Freeform 853">
                  <a:extLst>
                    <a:ext uri="{FF2B5EF4-FFF2-40B4-BE49-F238E27FC236}">
                      <a16:creationId xmlns:a16="http://schemas.microsoft.com/office/drawing/2014/main" id="{2B1B9EFD-55AA-7040-A22D-78AE1E3808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06279" y="4551768"/>
                  <a:ext cx="153907" cy="230860"/>
                </a:xfrm>
                <a:custGeom>
                  <a:avLst/>
                  <a:gdLst>
                    <a:gd name="T0" fmla="*/ 2147483647 w 113"/>
                    <a:gd name="T1" fmla="*/ 2147483647 h 156"/>
                    <a:gd name="T2" fmla="*/ 2147483647 w 113"/>
                    <a:gd name="T3" fmla="*/ 2147483647 h 156"/>
                    <a:gd name="T4" fmla="*/ 2147483647 w 113"/>
                    <a:gd name="T5" fmla="*/ 2147483647 h 156"/>
                    <a:gd name="T6" fmla="*/ 2147483647 w 113"/>
                    <a:gd name="T7" fmla="*/ 2147483647 h 156"/>
                    <a:gd name="T8" fmla="*/ 0 w 113"/>
                    <a:gd name="T9" fmla="*/ 2147483647 h 156"/>
                    <a:gd name="T10" fmla="*/ 2147483647 w 113"/>
                    <a:gd name="T11" fmla="*/ 2147483647 h 156"/>
                    <a:gd name="T12" fmla="*/ 2147483647 w 113"/>
                    <a:gd name="T13" fmla="*/ 2147483647 h 156"/>
                    <a:gd name="T14" fmla="*/ 2147483647 w 113"/>
                    <a:gd name="T15" fmla="*/ 2147483647 h 156"/>
                    <a:gd name="T16" fmla="*/ 2147483647 w 113"/>
                    <a:gd name="T17" fmla="*/ 2147483647 h 156"/>
                    <a:gd name="T18" fmla="*/ 2147483647 w 113"/>
                    <a:gd name="T19" fmla="*/ 2147483647 h 156"/>
                    <a:gd name="T20" fmla="*/ 2147483647 w 113"/>
                    <a:gd name="T21" fmla="*/ 2147483647 h 156"/>
                    <a:gd name="T22" fmla="*/ 2147483647 w 113"/>
                    <a:gd name="T23" fmla="*/ 2147483647 h 156"/>
                    <a:gd name="T24" fmla="*/ 2147483647 w 113"/>
                    <a:gd name="T25" fmla="*/ 2147483647 h 156"/>
                    <a:gd name="T26" fmla="*/ 2147483647 w 113"/>
                    <a:gd name="T27" fmla="*/ 2147483647 h 156"/>
                    <a:gd name="T28" fmla="*/ 2147483647 w 113"/>
                    <a:gd name="T29" fmla="*/ 2147483647 h 156"/>
                    <a:gd name="T30" fmla="*/ 2147483647 w 113"/>
                    <a:gd name="T31" fmla="*/ 2147483647 h 156"/>
                    <a:gd name="T32" fmla="*/ 2147483647 w 113"/>
                    <a:gd name="T33" fmla="*/ 2147483647 h 156"/>
                    <a:gd name="T34" fmla="*/ 2147483647 w 113"/>
                    <a:gd name="T35" fmla="*/ 2147483647 h 156"/>
                    <a:gd name="T36" fmla="*/ 2147483647 w 113"/>
                    <a:gd name="T37" fmla="*/ 2147483647 h 156"/>
                    <a:gd name="T38" fmla="*/ 2147483647 w 113"/>
                    <a:gd name="T39" fmla="*/ 0 h 156"/>
                    <a:gd name="T40" fmla="*/ 2147483647 w 113"/>
                    <a:gd name="T41" fmla="*/ 2147483647 h 156"/>
                    <a:gd name="T42" fmla="*/ 2147483647 w 113"/>
                    <a:gd name="T43" fmla="*/ 2147483647 h 156"/>
                    <a:gd name="T44" fmla="*/ 2147483647 w 113"/>
                    <a:gd name="T45" fmla="*/ 2147483647 h 156"/>
                    <a:gd name="T46" fmla="*/ 2147483647 w 113"/>
                    <a:gd name="T47" fmla="*/ 2147483647 h 156"/>
                    <a:gd name="T48" fmla="*/ 2147483647 w 113"/>
                    <a:gd name="T49" fmla="*/ 2147483647 h 156"/>
                    <a:gd name="T50" fmla="*/ 2147483647 w 113"/>
                    <a:gd name="T51" fmla="*/ 2147483647 h 156"/>
                    <a:gd name="T52" fmla="*/ 2147483647 w 113"/>
                    <a:gd name="T53" fmla="*/ 2147483647 h 156"/>
                    <a:gd name="T54" fmla="*/ 2147483647 w 113"/>
                    <a:gd name="T55" fmla="*/ 2147483647 h 156"/>
                    <a:gd name="T56" fmla="*/ 2147483647 w 113"/>
                    <a:gd name="T57" fmla="*/ 2147483647 h 156"/>
                    <a:gd name="T58" fmla="*/ 2147483647 w 113"/>
                    <a:gd name="T59" fmla="*/ 2147483647 h 156"/>
                    <a:gd name="T60" fmla="*/ 2147483647 w 113"/>
                    <a:gd name="T61" fmla="*/ 2147483647 h 156"/>
                    <a:gd name="T62" fmla="*/ 2147483647 w 113"/>
                    <a:gd name="T63" fmla="*/ 2147483647 h 156"/>
                    <a:gd name="T64" fmla="*/ 2147483647 w 113"/>
                    <a:gd name="T65" fmla="*/ 2147483647 h 156"/>
                    <a:gd name="T66" fmla="*/ 2147483647 w 113"/>
                    <a:gd name="T67" fmla="*/ 2147483647 h 156"/>
                    <a:gd name="T68" fmla="*/ 2147483647 w 113"/>
                    <a:gd name="T69" fmla="*/ 2147483647 h 156"/>
                    <a:gd name="T70" fmla="*/ 2147483647 w 113"/>
                    <a:gd name="T71" fmla="*/ 2147483647 h 156"/>
                    <a:gd name="T72" fmla="*/ 2147483647 w 113"/>
                    <a:gd name="T73" fmla="*/ 2147483647 h 156"/>
                    <a:gd name="T74" fmla="*/ 2147483647 w 113"/>
                    <a:gd name="T75" fmla="*/ 2147483647 h 156"/>
                    <a:gd name="T76" fmla="*/ 2147483647 w 113"/>
                    <a:gd name="T77" fmla="*/ 2147483647 h 156"/>
                    <a:gd name="T78" fmla="*/ 2147483647 w 113"/>
                    <a:gd name="T79" fmla="*/ 2147483647 h 156"/>
                    <a:gd name="T80" fmla="*/ 2147483647 w 113"/>
                    <a:gd name="T81" fmla="*/ 2147483647 h 156"/>
                    <a:gd name="T82" fmla="*/ 2147483647 w 113"/>
                    <a:gd name="T83" fmla="*/ 2147483647 h 156"/>
                    <a:gd name="T84" fmla="*/ 2147483647 w 113"/>
                    <a:gd name="T85" fmla="*/ 2147483647 h 156"/>
                    <a:gd name="T86" fmla="*/ 2147483647 w 113"/>
                    <a:gd name="T87" fmla="*/ 2147483647 h 156"/>
                    <a:gd name="T88" fmla="*/ 2147483647 w 113"/>
                    <a:gd name="T89" fmla="*/ 2147483647 h 156"/>
                    <a:gd name="T90" fmla="*/ 2147483647 w 113"/>
                    <a:gd name="T91" fmla="*/ 2147483647 h 156"/>
                    <a:gd name="T92" fmla="*/ 2147483647 w 113"/>
                    <a:gd name="T93" fmla="*/ 2147483647 h 156"/>
                    <a:gd name="T94" fmla="*/ 2147483647 w 113"/>
                    <a:gd name="T95" fmla="*/ 2147483647 h 156"/>
                    <a:gd name="T96" fmla="*/ 2147483647 w 113"/>
                    <a:gd name="T97" fmla="*/ 2147483647 h 156"/>
                    <a:gd name="T98" fmla="*/ 2147483647 w 113"/>
                    <a:gd name="T99" fmla="*/ 2147483647 h 156"/>
                    <a:gd name="T100" fmla="*/ 2147483647 w 113"/>
                    <a:gd name="T101" fmla="*/ 2147483647 h 156"/>
                    <a:gd name="T102" fmla="*/ 2147483647 w 113"/>
                    <a:gd name="T103" fmla="*/ 2147483647 h 156"/>
                    <a:gd name="T104" fmla="*/ 2147483647 w 113"/>
                    <a:gd name="T105" fmla="*/ 2147483647 h 156"/>
                    <a:gd name="T106" fmla="*/ 2147483647 w 113"/>
                    <a:gd name="T107" fmla="*/ 2147483647 h 15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13"/>
                    <a:gd name="T163" fmla="*/ 0 h 156"/>
                    <a:gd name="T164" fmla="*/ 113 w 113"/>
                    <a:gd name="T165" fmla="*/ 156 h 15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13" h="156">
                      <a:moveTo>
                        <a:pt x="36" y="149"/>
                      </a:moveTo>
                      <a:lnTo>
                        <a:pt x="36" y="149"/>
                      </a:lnTo>
                      <a:lnTo>
                        <a:pt x="36" y="151"/>
                      </a:lnTo>
                      <a:lnTo>
                        <a:pt x="34" y="154"/>
                      </a:lnTo>
                      <a:lnTo>
                        <a:pt x="32" y="155"/>
                      </a:lnTo>
                      <a:lnTo>
                        <a:pt x="29" y="156"/>
                      </a:lnTo>
                      <a:lnTo>
                        <a:pt x="25" y="156"/>
                      </a:lnTo>
                      <a:lnTo>
                        <a:pt x="20" y="155"/>
                      </a:lnTo>
                      <a:lnTo>
                        <a:pt x="18" y="152"/>
                      </a:lnTo>
                      <a:lnTo>
                        <a:pt x="14" y="149"/>
                      </a:lnTo>
                      <a:lnTo>
                        <a:pt x="14" y="142"/>
                      </a:lnTo>
                      <a:lnTo>
                        <a:pt x="14" y="135"/>
                      </a:lnTo>
                      <a:lnTo>
                        <a:pt x="14" y="128"/>
                      </a:lnTo>
                      <a:lnTo>
                        <a:pt x="11" y="120"/>
                      </a:lnTo>
                      <a:lnTo>
                        <a:pt x="8" y="116"/>
                      </a:lnTo>
                      <a:lnTo>
                        <a:pt x="4" y="111"/>
                      </a:lnTo>
                      <a:lnTo>
                        <a:pt x="0" y="105"/>
                      </a:lnTo>
                      <a:lnTo>
                        <a:pt x="0" y="103"/>
                      </a:lnTo>
                      <a:lnTo>
                        <a:pt x="0" y="99"/>
                      </a:lnTo>
                      <a:lnTo>
                        <a:pt x="3" y="90"/>
                      </a:lnTo>
                      <a:lnTo>
                        <a:pt x="5" y="81"/>
                      </a:lnTo>
                      <a:lnTo>
                        <a:pt x="8" y="72"/>
                      </a:lnTo>
                      <a:lnTo>
                        <a:pt x="10" y="67"/>
                      </a:lnTo>
                      <a:lnTo>
                        <a:pt x="13" y="62"/>
                      </a:lnTo>
                      <a:lnTo>
                        <a:pt x="14" y="60"/>
                      </a:lnTo>
                      <a:lnTo>
                        <a:pt x="15" y="56"/>
                      </a:lnTo>
                      <a:lnTo>
                        <a:pt x="15" y="51"/>
                      </a:lnTo>
                      <a:lnTo>
                        <a:pt x="14" y="43"/>
                      </a:lnTo>
                      <a:lnTo>
                        <a:pt x="14" y="40"/>
                      </a:lnTo>
                      <a:lnTo>
                        <a:pt x="15" y="37"/>
                      </a:lnTo>
                      <a:lnTo>
                        <a:pt x="19" y="32"/>
                      </a:lnTo>
                      <a:lnTo>
                        <a:pt x="22" y="28"/>
                      </a:lnTo>
                      <a:lnTo>
                        <a:pt x="23" y="24"/>
                      </a:lnTo>
                      <a:lnTo>
                        <a:pt x="23" y="23"/>
                      </a:lnTo>
                      <a:lnTo>
                        <a:pt x="24" y="23"/>
                      </a:lnTo>
                      <a:lnTo>
                        <a:pt x="28" y="22"/>
                      </a:lnTo>
                      <a:lnTo>
                        <a:pt x="32" y="22"/>
                      </a:lnTo>
                      <a:lnTo>
                        <a:pt x="34" y="21"/>
                      </a:lnTo>
                      <a:lnTo>
                        <a:pt x="36" y="20"/>
                      </a:lnTo>
                      <a:lnTo>
                        <a:pt x="36" y="18"/>
                      </a:lnTo>
                      <a:lnTo>
                        <a:pt x="34" y="16"/>
                      </a:lnTo>
                      <a:lnTo>
                        <a:pt x="33" y="15"/>
                      </a:lnTo>
                      <a:lnTo>
                        <a:pt x="33" y="14"/>
                      </a:lnTo>
                      <a:lnTo>
                        <a:pt x="34" y="14"/>
                      </a:lnTo>
                      <a:lnTo>
                        <a:pt x="42" y="15"/>
                      </a:lnTo>
                      <a:lnTo>
                        <a:pt x="50" y="17"/>
                      </a:lnTo>
                      <a:lnTo>
                        <a:pt x="53" y="20"/>
                      </a:lnTo>
                      <a:lnTo>
                        <a:pt x="56" y="22"/>
                      </a:lnTo>
                      <a:lnTo>
                        <a:pt x="57" y="23"/>
                      </a:lnTo>
                      <a:lnTo>
                        <a:pt x="58" y="23"/>
                      </a:lnTo>
                      <a:lnTo>
                        <a:pt x="62" y="22"/>
                      </a:lnTo>
                      <a:lnTo>
                        <a:pt x="66" y="22"/>
                      </a:lnTo>
                      <a:lnTo>
                        <a:pt x="70" y="22"/>
                      </a:lnTo>
                      <a:lnTo>
                        <a:pt x="74" y="23"/>
                      </a:lnTo>
                      <a:lnTo>
                        <a:pt x="77" y="23"/>
                      </a:lnTo>
                      <a:lnTo>
                        <a:pt x="90" y="22"/>
                      </a:lnTo>
                      <a:lnTo>
                        <a:pt x="100" y="18"/>
                      </a:lnTo>
                      <a:lnTo>
                        <a:pt x="103" y="17"/>
                      </a:lnTo>
                      <a:lnTo>
                        <a:pt x="104" y="16"/>
                      </a:lnTo>
                      <a:lnTo>
                        <a:pt x="105" y="11"/>
                      </a:lnTo>
                      <a:lnTo>
                        <a:pt x="107" y="2"/>
                      </a:lnTo>
                      <a:lnTo>
                        <a:pt x="107" y="1"/>
                      </a:lnTo>
                      <a:lnTo>
                        <a:pt x="108" y="0"/>
                      </a:lnTo>
                      <a:lnTo>
                        <a:pt x="113" y="0"/>
                      </a:lnTo>
                      <a:lnTo>
                        <a:pt x="113" y="5"/>
                      </a:lnTo>
                      <a:lnTo>
                        <a:pt x="113" y="13"/>
                      </a:lnTo>
                      <a:lnTo>
                        <a:pt x="113" y="15"/>
                      </a:lnTo>
                      <a:lnTo>
                        <a:pt x="113" y="17"/>
                      </a:lnTo>
                      <a:lnTo>
                        <a:pt x="110" y="20"/>
                      </a:lnTo>
                      <a:lnTo>
                        <a:pt x="108" y="21"/>
                      </a:lnTo>
                      <a:lnTo>
                        <a:pt x="105" y="23"/>
                      </a:lnTo>
                      <a:lnTo>
                        <a:pt x="103" y="26"/>
                      </a:lnTo>
                      <a:lnTo>
                        <a:pt x="103" y="30"/>
                      </a:lnTo>
                      <a:lnTo>
                        <a:pt x="102" y="33"/>
                      </a:lnTo>
                      <a:lnTo>
                        <a:pt x="99" y="33"/>
                      </a:lnTo>
                      <a:lnTo>
                        <a:pt x="90" y="33"/>
                      </a:lnTo>
                      <a:lnTo>
                        <a:pt x="81" y="32"/>
                      </a:lnTo>
                      <a:lnTo>
                        <a:pt x="72" y="30"/>
                      </a:lnTo>
                      <a:lnTo>
                        <a:pt x="63" y="32"/>
                      </a:lnTo>
                      <a:lnTo>
                        <a:pt x="53" y="33"/>
                      </a:lnTo>
                      <a:lnTo>
                        <a:pt x="44" y="33"/>
                      </a:lnTo>
                      <a:lnTo>
                        <a:pt x="37" y="32"/>
                      </a:lnTo>
                      <a:lnTo>
                        <a:pt x="28" y="33"/>
                      </a:lnTo>
                      <a:lnTo>
                        <a:pt x="25" y="35"/>
                      </a:lnTo>
                      <a:lnTo>
                        <a:pt x="23" y="37"/>
                      </a:lnTo>
                      <a:lnTo>
                        <a:pt x="22" y="40"/>
                      </a:lnTo>
                      <a:lnTo>
                        <a:pt x="22" y="43"/>
                      </a:lnTo>
                      <a:lnTo>
                        <a:pt x="24" y="51"/>
                      </a:lnTo>
                      <a:lnTo>
                        <a:pt x="27" y="55"/>
                      </a:lnTo>
                      <a:lnTo>
                        <a:pt x="32" y="60"/>
                      </a:lnTo>
                      <a:lnTo>
                        <a:pt x="33" y="64"/>
                      </a:lnTo>
                      <a:lnTo>
                        <a:pt x="34" y="66"/>
                      </a:lnTo>
                      <a:lnTo>
                        <a:pt x="36" y="67"/>
                      </a:lnTo>
                      <a:lnTo>
                        <a:pt x="37" y="68"/>
                      </a:lnTo>
                      <a:lnTo>
                        <a:pt x="41" y="68"/>
                      </a:lnTo>
                      <a:lnTo>
                        <a:pt x="44" y="66"/>
                      </a:lnTo>
                      <a:lnTo>
                        <a:pt x="51" y="60"/>
                      </a:lnTo>
                      <a:lnTo>
                        <a:pt x="58" y="59"/>
                      </a:lnTo>
                      <a:lnTo>
                        <a:pt x="66" y="59"/>
                      </a:lnTo>
                      <a:lnTo>
                        <a:pt x="70" y="59"/>
                      </a:lnTo>
                      <a:lnTo>
                        <a:pt x="71" y="60"/>
                      </a:lnTo>
                      <a:lnTo>
                        <a:pt x="71" y="62"/>
                      </a:lnTo>
                      <a:lnTo>
                        <a:pt x="66" y="68"/>
                      </a:lnTo>
                      <a:lnTo>
                        <a:pt x="61" y="74"/>
                      </a:lnTo>
                      <a:lnTo>
                        <a:pt x="56" y="78"/>
                      </a:lnTo>
                      <a:lnTo>
                        <a:pt x="47" y="81"/>
                      </a:lnTo>
                      <a:lnTo>
                        <a:pt x="46" y="81"/>
                      </a:lnTo>
                      <a:lnTo>
                        <a:pt x="44" y="83"/>
                      </a:lnTo>
                      <a:lnTo>
                        <a:pt x="43" y="85"/>
                      </a:lnTo>
                      <a:lnTo>
                        <a:pt x="44" y="86"/>
                      </a:lnTo>
                      <a:lnTo>
                        <a:pt x="46" y="88"/>
                      </a:lnTo>
                      <a:lnTo>
                        <a:pt x="48" y="88"/>
                      </a:lnTo>
                      <a:lnTo>
                        <a:pt x="51" y="90"/>
                      </a:lnTo>
                      <a:lnTo>
                        <a:pt x="53" y="91"/>
                      </a:lnTo>
                      <a:lnTo>
                        <a:pt x="58" y="97"/>
                      </a:lnTo>
                      <a:lnTo>
                        <a:pt x="65" y="105"/>
                      </a:lnTo>
                      <a:lnTo>
                        <a:pt x="66" y="109"/>
                      </a:lnTo>
                      <a:lnTo>
                        <a:pt x="66" y="112"/>
                      </a:lnTo>
                      <a:lnTo>
                        <a:pt x="65" y="117"/>
                      </a:lnTo>
                      <a:lnTo>
                        <a:pt x="62" y="120"/>
                      </a:lnTo>
                      <a:lnTo>
                        <a:pt x="61" y="122"/>
                      </a:lnTo>
                      <a:lnTo>
                        <a:pt x="61" y="123"/>
                      </a:lnTo>
                      <a:lnTo>
                        <a:pt x="63" y="125"/>
                      </a:lnTo>
                      <a:lnTo>
                        <a:pt x="67" y="128"/>
                      </a:lnTo>
                      <a:lnTo>
                        <a:pt x="69" y="129"/>
                      </a:lnTo>
                      <a:lnTo>
                        <a:pt x="69" y="130"/>
                      </a:lnTo>
                      <a:lnTo>
                        <a:pt x="69" y="131"/>
                      </a:lnTo>
                      <a:lnTo>
                        <a:pt x="67" y="132"/>
                      </a:lnTo>
                      <a:lnTo>
                        <a:pt x="65" y="131"/>
                      </a:lnTo>
                      <a:lnTo>
                        <a:pt x="61" y="131"/>
                      </a:lnTo>
                      <a:lnTo>
                        <a:pt x="58" y="132"/>
                      </a:lnTo>
                      <a:lnTo>
                        <a:pt x="56" y="136"/>
                      </a:lnTo>
                      <a:lnTo>
                        <a:pt x="56" y="137"/>
                      </a:lnTo>
                      <a:lnTo>
                        <a:pt x="57" y="139"/>
                      </a:lnTo>
                      <a:lnTo>
                        <a:pt x="60" y="141"/>
                      </a:lnTo>
                      <a:lnTo>
                        <a:pt x="62" y="143"/>
                      </a:lnTo>
                      <a:lnTo>
                        <a:pt x="62" y="145"/>
                      </a:lnTo>
                      <a:lnTo>
                        <a:pt x="61" y="148"/>
                      </a:lnTo>
                      <a:lnTo>
                        <a:pt x="60" y="149"/>
                      </a:lnTo>
                      <a:lnTo>
                        <a:pt x="58" y="148"/>
                      </a:lnTo>
                      <a:lnTo>
                        <a:pt x="55" y="142"/>
                      </a:lnTo>
                      <a:lnTo>
                        <a:pt x="52" y="138"/>
                      </a:lnTo>
                      <a:lnTo>
                        <a:pt x="48" y="137"/>
                      </a:lnTo>
                      <a:lnTo>
                        <a:pt x="47" y="136"/>
                      </a:lnTo>
                      <a:lnTo>
                        <a:pt x="47" y="135"/>
                      </a:lnTo>
                      <a:lnTo>
                        <a:pt x="47" y="129"/>
                      </a:lnTo>
                      <a:lnTo>
                        <a:pt x="46" y="125"/>
                      </a:lnTo>
                      <a:lnTo>
                        <a:pt x="41" y="117"/>
                      </a:lnTo>
                      <a:lnTo>
                        <a:pt x="39" y="115"/>
                      </a:lnTo>
                      <a:lnTo>
                        <a:pt x="41" y="112"/>
                      </a:lnTo>
                      <a:lnTo>
                        <a:pt x="42" y="107"/>
                      </a:lnTo>
                      <a:lnTo>
                        <a:pt x="42" y="105"/>
                      </a:lnTo>
                      <a:lnTo>
                        <a:pt x="42" y="103"/>
                      </a:lnTo>
                      <a:lnTo>
                        <a:pt x="39" y="100"/>
                      </a:lnTo>
                      <a:lnTo>
                        <a:pt x="37" y="99"/>
                      </a:lnTo>
                      <a:lnTo>
                        <a:pt x="33" y="99"/>
                      </a:lnTo>
                      <a:lnTo>
                        <a:pt x="30" y="100"/>
                      </a:lnTo>
                      <a:lnTo>
                        <a:pt x="28" y="103"/>
                      </a:lnTo>
                      <a:lnTo>
                        <a:pt x="27" y="105"/>
                      </a:lnTo>
                      <a:lnTo>
                        <a:pt x="27" y="109"/>
                      </a:lnTo>
                      <a:lnTo>
                        <a:pt x="28" y="112"/>
                      </a:lnTo>
                      <a:lnTo>
                        <a:pt x="30" y="116"/>
                      </a:lnTo>
                      <a:lnTo>
                        <a:pt x="30" y="119"/>
                      </a:lnTo>
                      <a:lnTo>
                        <a:pt x="29" y="126"/>
                      </a:lnTo>
                      <a:lnTo>
                        <a:pt x="28" y="136"/>
                      </a:lnTo>
                      <a:lnTo>
                        <a:pt x="28" y="138"/>
                      </a:lnTo>
                      <a:lnTo>
                        <a:pt x="28" y="141"/>
                      </a:lnTo>
                      <a:lnTo>
                        <a:pt x="30" y="145"/>
                      </a:lnTo>
                      <a:lnTo>
                        <a:pt x="33" y="148"/>
                      </a:lnTo>
                      <a:lnTo>
                        <a:pt x="36" y="149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854">
                  <a:extLst>
                    <a:ext uri="{FF2B5EF4-FFF2-40B4-BE49-F238E27FC236}">
                      <a16:creationId xmlns:a16="http://schemas.microsoft.com/office/drawing/2014/main" id="{BCB33516-CE02-4242-9971-62B608DF9F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92111" y="4748593"/>
                  <a:ext cx="19239" cy="35517"/>
                </a:xfrm>
                <a:custGeom>
                  <a:avLst/>
                  <a:gdLst>
                    <a:gd name="T0" fmla="*/ 2147483647 w 14"/>
                    <a:gd name="T1" fmla="*/ 2147483647 h 24"/>
                    <a:gd name="T2" fmla="*/ 2147483647 w 14"/>
                    <a:gd name="T3" fmla="*/ 2147483647 h 24"/>
                    <a:gd name="T4" fmla="*/ 2147483647 w 14"/>
                    <a:gd name="T5" fmla="*/ 2147483647 h 24"/>
                    <a:gd name="T6" fmla="*/ 2147483647 w 14"/>
                    <a:gd name="T7" fmla="*/ 2147483647 h 24"/>
                    <a:gd name="T8" fmla="*/ 2147483647 w 14"/>
                    <a:gd name="T9" fmla="*/ 2147483647 h 24"/>
                    <a:gd name="T10" fmla="*/ 2147483647 w 14"/>
                    <a:gd name="T11" fmla="*/ 2147483647 h 24"/>
                    <a:gd name="T12" fmla="*/ 0 w 14"/>
                    <a:gd name="T13" fmla="*/ 2147483647 h 24"/>
                    <a:gd name="T14" fmla="*/ 0 w 14"/>
                    <a:gd name="T15" fmla="*/ 2147483647 h 24"/>
                    <a:gd name="T16" fmla="*/ 2147483647 w 14"/>
                    <a:gd name="T17" fmla="*/ 2147483647 h 24"/>
                    <a:gd name="T18" fmla="*/ 2147483647 w 14"/>
                    <a:gd name="T19" fmla="*/ 2147483647 h 24"/>
                    <a:gd name="T20" fmla="*/ 2147483647 w 14"/>
                    <a:gd name="T21" fmla="*/ 2147483647 h 24"/>
                    <a:gd name="T22" fmla="*/ 2147483647 w 14"/>
                    <a:gd name="T23" fmla="*/ 2147483647 h 24"/>
                    <a:gd name="T24" fmla="*/ 2147483647 w 14"/>
                    <a:gd name="T25" fmla="*/ 0 h 24"/>
                    <a:gd name="T26" fmla="*/ 2147483647 w 14"/>
                    <a:gd name="T27" fmla="*/ 0 h 24"/>
                    <a:gd name="T28" fmla="*/ 2147483647 w 14"/>
                    <a:gd name="T29" fmla="*/ 0 h 24"/>
                    <a:gd name="T30" fmla="*/ 2147483647 w 14"/>
                    <a:gd name="T31" fmla="*/ 0 h 24"/>
                    <a:gd name="T32" fmla="*/ 2147483647 w 14"/>
                    <a:gd name="T33" fmla="*/ 2147483647 h 24"/>
                    <a:gd name="T34" fmla="*/ 2147483647 w 14"/>
                    <a:gd name="T35" fmla="*/ 2147483647 h 24"/>
                    <a:gd name="T36" fmla="*/ 2147483647 w 14"/>
                    <a:gd name="T37" fmla="*/ 2147483647 h 24"/>
                    <a:gd name="T38" fmla="*/ 2147483647 w 14"/>
                    <a:gd name="T39" fmla="*/ 2147483647 h 24"/>
                    <a:gd name="T40" fmla="*/ 2147483647 w 14"/>
                    <a:gd name="T41" fmla="*/ 2147483647 h 24"/>
                    <a:gd name="T42" fmla="*/ 2147483647 w 14"/>
                    <a:gd name="T43" fmla="*/ 2147483647 h 24"/>
                    <a:gd name="T44" fmla="*/ 2147483647 w 14"/>
                    <a:gd name="T45" fmla="*/ 2147483647 h 24"/>
                    <a:gd name="T46" fmla="*/ 2147483647 w 14"/>
                    <a:gd name="T47" fmla="*/ 2147483647 h 2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4"/>
                    <a:gd name="T73" fmla="*/ 0 h 24"/>
                    <a:gd name="T74" fmla="*/ 14 w 14"/>
                    <a:gd name="T75" fmla="*/ 24 h 24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4" h="24">
                      <a:moveTo>
                        <a:pt x="13" y="16"/>
                      </a:moveTo>
                      <a:lnTo>
                        <a:pt x="13" y="16"/>
                      </a:lnTo>
                      <a:lnTo>
                        <a:pt x="8" y="21"/>
                      </a:lnTo>
                      <a:lnTo>
                        <a:pt x="3" y="24"/>
                      </a:lnTo>
                      <a:lnTo>
                        <a:pt x="2" y="24"/>
                      </a:lnTo>
                      <a:lnTo>
                        <a:pt x="0" y="24"/>
                      </a:lnTo>
                      <a:lnTo>
                        <a:pt x="0" y="22"/>
                      </a:lnTo>
                      <a:lnTo>
                        <a:pt x="3" y="16"/>
                      </a:lnTo>
                      <a:lnTo>
                        <a:pt x="7" y="8"/>
                      </a:lnTo>
                      <a:lnTo>
                        <a:pt x="9" y="3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4" y="3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14" y="14"/>
                      </a:lnTo>
                      <a:lnTo>
                        <a:pt x="14" y="15"/>
                      </a:lnTo>
                      <a:lnTo>
                        <a:pt x="13" y="1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855">
                  <a:extLst>
                    <a:ext uri="{FF2B5EF4-FFF2-40B4-BE49-F238E27FC236}">
                      <a16:creationId xmlns:a16="http://schemas.microsoft.com/office/drawing/2014/main" id="{17257BA0-8694-1D48-9659-4155335ABB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3734" y="4633164"/>
                  <a:ext cx="229380" cy="245659"/>
                </a:xfrm>
                <a:custGeom>
                  <a:avLst/>
                  <a:gdLst>
                    <a:gd name="T0" fmla="*/ 2147483647 w 168"/>
                    <a:gd name="T1" fmla="*/ 2147483647 h 166"/>
                    <a:gd name="T2" fmla="*/ 2147483647 w 168"/>
                    <a:gd name="T3" fmla="*/ 2147483647 h 166"/>
                    <a:gd name="T4" fmla="*/ 2147483647 w 168"/>
                    <a:gd name="T5" fmla="*/ 2147483647 h 166"/>
                    <a:gd name="T6" fmla="*/ 2147483647 w 168"/>
                    <a:gd name="T7" fmla="*/ 2147483647 h 166"/>
                    <a:gd name="T8" fmla="*/ 2147483647 w 168"/>
                    <a:gd name="T9" fmla="*/ 2147483647 h 166"/>
                    <a:gd name="T10" fmla="*/ 2147483647 w 168"/>
                    <a:gd name="T11" fmla="*/ 2147483647 h 166"/>
                    <a:gd name="T12" fmla="*/ 2147483647 w 168"/>
                    <a:gd name="T13" fmla="*/ 2147483647 h 166"/>
                    <a:gd name="T14" fmla="*/ 2147483647 w 168"/>
                    <a:gd name="T15" fmla="*/ 2147483647 h 166"/>
                    <a:gd name="T16" fmla="*/ 2147483647 w 168"/>
                    <a:gd name="T17" fmla="*/ 2147483647 h 166"/>
                    <a:gd name="T18" fmla="*/ 2147483647 w 168"/>
                    <a:gd name="T19" fmla="*/ 2147483647 h 166"/>
                    <a:gd name="T20" fmla="*/ 2147483647 w 168"/>
                    <a:gd name="T21" fmla="*/ 2147483647 h 166"/>
                    <a:gd name="T22" fmla="*/ 2147483647 w 168"/>
                    <a:gd name="T23" fmla="*/ 2147483647 h 166"/>
                    <a:gd name="T24" fmla="*/ 2147483647 w 168"/>
                    <a:gd name="T25" fmla="*/ 2147483647 h 166"/>
                    <a:gd name="T26" fmla="*/ 2147483647 w 168"/>
                    <a:gd name="T27" fmla="*/ 2147483647 h 166"/>
                    <a:gd name="T28" fmla="*/ 2147483647 w 168"/>
                    <a:gd name="T29" fmla="*/ 2147483647 h 166"/>
                    <a:gd name="T30" fmla="*/ 2147483647 w 168"/>
                    <a:gd name="T31" fmla="*/ 2147483647 h 166"/>
                    <a:gd name="T32" fmla="*/ 2147483647 w 168"/>
                    <a:gd name="T33" fmla="*/ 2147483647 h 166"/>
                    <a:gd name="T34" fmla="*/ 2147483647 w 168"/>
                    <a:gd name="T35" fmla="*/ 2147483647 h 166"/>
                    <a:gd name="T36" fmla="*/ 2147483647 w 168"/>
                    <a:gd name="T37" fmla="*/ 2147483647 h 166"/>
                    <a:gd name="T38" fmla="*/ 2147483647 w 168"/>
                    <a:gd name="T39" fmla="*/ 2147483647 h 166"/>
                    <a:gd name="T40" fmla="*/ 2147483647 w 168"/>
                    <a:gd name="T41" fmla="*/ 2147483647 h 166"/>
                    <a:gd name="T42" fmla="*/ 2147483647 w 168"/>
                    <a:gd name="T43" fmla="*/ 0 h 166"/>
                    <a:gd name="T44" fmla="*/ 2147483647 w 168"/>
                    <a:gd name="T45" fmla="*/ 0 h 166"/>
                    <a:gd name="T46" fmla="*/ 2147483647 w 168"/>
                    <a:gd name="T47" fmla="*/ 2147483647 h 166"/>
                    <a:gd name="T48" fmla="*/ 2147483647 w 168"/>
                    <a:gd name="T49" fmla="*/ 2147483647 h 166"/>
                    <a:gd name="T50" fmla="*/ 0 w 168"/>
                    <a:gd name="T51" fmla="*/ 2147483647 h 166"/>
                    <a:gd name="T52" fmla="*/ 2147483647 w 168"/>
                    <a:gd name="T53" fmla="*/ 2147483647 h 166"/>
                    <a:gd name="T54" fmla="*/ 2147483647 w 168"/>
                    <a:gd name="T55" fmla="*/ 2147483647 h 166"/>
                    <a:gd name="T56" fmla="*/ 2147483647 w 168"/>
                    <a:gd name="T57" fmla="*/ 2147483647 h 166"/>
                    <a:gd name="T58" fmla="*/ 2147483647 w 168"/>
                    <a:gd name="T59" fmla="*/ 2147483647 h 166"/>
                    <a:gd name="T60" fmla="*/ 2147483647 w 168"/>
                    <a:gd name="T61" fmla="*/ 2147483647 h 166"/>
                    <a:gd name="T62" fmla="*/ 2147483647 w 168"/>
                    <a:gd name="T63" fmla="*/ 2147483647 h 166"/>
                    <a:gd name="T64" fmla="*/ 2147483647 w 168"/>
                    <a:gd name="T65" fmla="*/ 2147483647 h 166"/>
                    <a:gd name="T66" fmla="*/ 2147483647 w 168"/>
                    <a:gd name="T67" fmla="*/ 2147483647 h 166"/>
                    <a:gd name="T68" fmla="*/ 2147483647 w 168"/>
                    <a:gd name="T69" fmla="*/ 2147483647 h 166"/>
                    <a:gd name="T70" fmla="*/ 2147483647 w 168"/>
                    <a:gd name="T71" fmla="*/ 2147483647 h 166"/>
                    <a:gd name="T72" fmla="*/ 2147483647 w 168"/>
                    <a:gd name="T73" fmla="*/ 2147483647 h 166"/>
                    <a:gd name="T74" fmla="*/ 2147483647 w 168"/>
                    <a:gd name="T75" fmla="*/ 2147483647 h 166"/>
                    <a:gd name="T76" fmla="*/ 2147483647 w 168"/>
                    <a:gd name="T77" fmla="*/ 2147483647 h 166"/>
                    <a:gd name="T78" fmla="*/ 2147483647 w 168"/>
                    <a:gd name="T79" fmla="*/ 2147483647 h 166"/>
                    <a:gd name="T80" fmla="*/ 2147483647 w 168"/>
                    <a:gd name="T81" fmla="*/ 2147483647 h 166"/>
                    <a:gd name="T82" fmla="*/ 2147483647 w 168"/>
                    <a:gd name="T83" fmla="*/ 2147483647 h 166"/>
                    <a:gd name="T84" fmla="*/ 2147483647 w 168"/>
                    <a:gd name="T85" fmla="*/ 2147483647 h 166"/>
                    <a:gd name="T86" fmla="*/ 2147483647 w 168"/>
                    <a:gd name="T87" fmla="*/ 2147483647 h 166"/>
                    <a:gd name="T88" fmla="*/ 2147483647 w 168"/>
                    <a:gd name="T89" fmla="*/ 2147483647 h 166"/>
                    <a:gd name="T90" fmla="*/ 2147483647 w 168"/>
                    <a:gd name="T91" fmla="*/ 2147483647 h 166"/>
                    <a:gd name="T92" fmla="*/ 2147483647 w 168"/>
                    <a:gd name="T93" fmla="*/ 2147483647 h 166"/>
                    <a:gd name="T94" fmla="*/ 2147483647 w 168"/>
                    <a:gd name="T95" fmla="*/ 2147483647 h 166"/>
                    <a:gd name="T96" fmla="*/ 2147483647 w 168"/>
                    <a:gd name="T97" fmla="*/ 2147483647 h 166"/>
                    <a:gd name="T98" fmla="*/ 2147483647 w 168"/>
                    <a:gd name="T99" fmla="*/ 2147483647 h 166"/>
                    <a:gd name="T100" fmla="*/ 2147483647 w 168"/>
                    <a:gd name="T101" fmla="*/ 2147483647 h 166"/>
                    <a:gd name="T102" fmla="*/ 2147483647 w 168"/>
                    <a:gd name="T103" fmla="*/ 2147483647 h 166"/>
                    <a:gd name="T104" fmla="*/ 2147483647 w 168"/>
                    <a:gd name="T105" fmla="*/ 2147483647 h 166"/>
                    <a:gd name="T106" fmla="*/ 2147483647 w 168"/>
                    <a:gd name="T107" fmla="*/ 2147483647 h 166"/>
                    <a:gd name="T108" fmla="*/ 2147483647 w 168"/>
                    <a:gd name="T109" fmla="*/ 2147483647 h 166"/>
                    <a:gd name="T110" fmla="*/ 2147483647 w 168"/>
                    <a:gd name="T111" fmla="*/ 2147483647 h 166"/>
                    <a:gd name="T112" fmla="*/ 2147483647 w 168"/>
                    <a:gd name="T113" fmla="*/ 2147483647 h 166"/>
                    <a:gd name="T114" fmla="*/ 2147483647 w 168"/>
                    <a:gd name="T115" fmla="*/ 2147483647 h 166"/>
                    <a:gd name="T116" fmla="*/ 2147483647 w 168"/>
                    <a:gd name="T117" fmla="*/ 2147483647 h 166"/>
                    <a:gd name="T118" fmla="*/ 2147483647 w 168"/>
                    <a:gd name="T119" fmla="*/ 2147483647 h 166"/>
                    <a:gd name="T120" fmla="*/ 2147483647 w 168"/>
                    <a:gd name="T121" fmla="*/ 2147483647 h 166"/>
                    <a:gd name="T122" fmla="*/ 2147483647 w 168"/>
                    <a:gd name="T123" fmla="*/ 2147483647 h 16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8"/>
                    <a:gd name="T187" fmla="*/ 0 h 166"/>
                    <a:gd name="T188" fmla="*/ 168 w 168"/>
                    <a:gd name="T189" fmla="*/ 166 h 16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8" h="166">
                      <a:moveTo>
                        <a:pt x="168" y="166"/>
                      </a:moveTo>
                      <a:lnTo>
                        <a:pt x="165" y="139"/>
                      </a:lnTo>
                      <a:lnTo>
                        <a:pt x="165" y="125"/>
                      </a:lnTo>
                      <a:lnTo>
                        <a:pt x="167" y="111"/>
                      </a:lnTo>
                      <a:lnTo>
                        <a:pt x="165" y="37"/>
                      </a:lnTo>
                      <a:lnTo>
                        <a:pt x="154" y="35"/>
                      </a:lnTo>
                      <a:lnTo>
                        <a:pt x="143" y="35"/>
                      </a:lnTo>
                      <a:lnTo>
                        <a:pt x="138" y="33"/>
                      </a:lnTo>
                      <a:lnTo>
                        <a:pt x="135" y="33"/>
                      </a:lnTo>
                      <a:lnTo>
                        <a:pt x="132" y="32"/>
                      </a:lnTo>
                      <a:lnTo>
                        <a:pt x="120" y="23"/>
                      </a:lnTo>
                      <a:lnTo>
                        <a:pt x="113" y="19"/>
                      </a:lnTo>
                      <a:lnTo>
                        <a:pt x="111" y="19"/>
                      </a:lnTo>
                      <a:lnTo>
                        <a:pt x="107" y="19"/>
                      </a:lnTo>
                      <a:lnTo>
                        <a:pt x="106" y="19"/>
                      </a:lnTo>
                      <a:lnTo>
                        <a:pt x="105" y="20"/>
                      </a:lnTo>
                      <a:lnTo>
                        <a:pt x="103" y="24"/>
                      </a:lnTo>
                      <a:lnTo>
                        <a:pt x="103" y="28"/>
                      </a:lnTo>
                      <a:lnTo>
                        <a:pt x="103" y="29"/>
                      </a:lnTo>
                      <a:lnTo>
                        <a:pt x="102" y="30"/>
                      </a:lnTo>
                      <a:lnTo>
                        <a:pt x="97" y="31"/>
                      </a:lnTo>
                      <a:lnTo>
                        <a:pt x="93" y="32"/>
                      </a:lnTo>
                      <a:lnTo>
                        <a:pt x="85" y="38"/>
                      </a:lnTo>
                      <a:lnTo>
                        <a:pt x="79" y="44"/>
                      </a:lnTo>
                      <a:lnTo>
                        <a:pt x="72" y="49"/>
                      </a:lnTo>
                      <a:lnTo>
                        <a:pt x="69" y="49"/>
                      </a:lnTo>
                      <a:lnTo>
                        <a:pt x="66" y="49"/>
                      </a:lnTo>
                      <a:lnTo>
                        <a:pt x="65" y="48"/>
                      </a:lnTo>
                      <a:lnTo>
                        <a:pt x="64" y="45"/>
                      </a:lnTo>
                      <a:lnTo>
                        <a:pt x="63" y="39"/>
                      </a:lnTo>
                      <a:lnTo>
                        <a:pt x="61" y="33"/>
                      </a:lnTo>
                      <a:lnTo>
                        <a:pt x="60" y="31"/>
                      </a:lnTo>
                      <a:lnTo>
                        <a:pt x="60" y="30"/>
                      </a:lnTo>
                      <a:lnTo>
                        <a:pt x="58" y="30"/>
                      </a:lnTo>
                      <a:lnTo>
                        <a:pt x="56" y="33"/>
                      </a:lnTo>
                      <a:lnTo>
                        <a:pt x="54" y="37"/>
                      </a:lnTo>
                      <a:lnTo>
                        <a:pt x="52" y="38"/>
                      </a:lnTo>
                      <a:lnTo>
                        <a:pt x="50" y="30"/>
                      </a:lnTo>
                      <a:lnTo>
                        <a:pt x="49" y="22"/>
                      </a:lnTo>
                      <a:lnTo>
                        <a:pt x="47" y="13"/>
                      </a:lnTo>
                      <a:lnTo>
                        <a:pt x="45" y="5"/>
                      </a:lnTo>
                      <a:lnTo>
                        <a:pt x="44" y="3"/>
                      </a:lnTo>
                      <a:lnTo>
                        <a:pt x="41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  <a:lnTo>
                        <a:pt x="16" y="1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2" y="10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2" y="18"/>
                      </a:lnTo>
                      <a:lnTo>
                        <a:pt x="4" y="19"/>
                      </a:lnTo>
                      <a:lnTo>
                        <a:pt x="8" y="20"/>
                      </a:lnTo>
                      <a:lnTo>
                        <a:pt x="12" y="22"/>
                      </a:lnTo>
                      <a:lnTo>
                        <a:pt x="14" y="23"/>
                      </a:lnTo>
                      <a:lnTo>
                        <a:pt x="16" y="26"/>
                      </a:lnTo>
                      <a:lnTo>
                        <a:pt x="18" y="29"/>
                      </a:lnTo>
                      <a:lnTo>
                        <a:pt x="21" y="31"/>
                      </a:lnTo>
                      <a:lnTo>
                        <a:pt x="25" y="31"/>
                      </a:lnTo>
                      <a:lnTo>
                        <a:pt x="31" y="32"/>
                      </a:lnTo>
                      <a:lnTo>
                        <a:pt x="37" y="33"/>
                      </a:lnTo>
                      <a:lnTo>
                        <a:pt x="38" y="35"/>
                      </a:lnTo>
                      <a:lnTo>
                        <a:pt x="40" y="37"/>
                      </a:lnTo>
                      <a:lnTo>
                        <a:pt x="38" y="41"/>
                      </a:lnTo>
                      <a:lnTo>
                        <a:pt x="37" y="43"/>
                      </a:lnTo>
                      <a:lnTo>
                        <a:pt x="36" y="44"/>
                      </a:lnTo>
                      <a:lnTo>
                        <a:pt x="33" y="45"/>
                      </a:lnTo>
                      <a:lnTo>
                        <a:pt x="31" y="44"/>
                      </a:lnTo>
                      <a:lnTo>
                        <a:pt x="22" y="42"/>
                      </a:lnTo>
                      <a:lnTo>
                        <a:pt x="17" y="41"/>
                      </a:lnTo>
                      <a:lnTo>
                        <a:pt x="12" y="39"/>
                      </a:lnTo>
                      <a:lnTo>
                        <a:pt x="11" y="41"/>
                      </a:lnTo>
                      <a:lnTo>
                        <a:pt x="7" y="42"/>
                      </a:lnTo>
                      <a:lnTo>
                        <a:pt x="5" y="43"/>
                      </a:lnTo>
                      <a:lnTo>
                        <a:pt x="5" y="44"/>
                      </a:lnTo>
                      <a:lnTo>
                        <a:pt x="8" y="45"/>
                      </a:lnTo>
                      <a:lnTo>
                        <a:pt x="12" y="48"/>
                      </a:lnTo>
                      <a:lnTo>
                        <a:pt x="16" y="50"/>
                      </a:lnTo>
                      <a:lnTo>
                        <a:pt x="19" y="57"/>
                      </a:lnTo>
                      <a:lnTo>
                        <a:pt x="23" y="64"/>
                      </a:lnTo>
                      <a:lnTo>
                        <a:pt x="27" y="70"/>
                      </a:lnTo>
                      <a:lnTo>
                        <a:pt x="28" y="71"/>
                      </a:lnTo>
                      <a:lnTo>
                        <a:pt x="30" y="70"/>
                      </a:lnTo>
                      <a:lnTo>
                        <a:pt x="33" y="65"/>
                      </a:lnTo>
                      <a:lnTo>
                        <a:pt x="36" y="58"/>
                      </a:lnTo>
                      <a:lnTo>
                        <a:pt x="40" y="52"/>
                      </a:lnTo>
                      <a:lnTo>
                        <a:pt x="41" y="51"/>
                      </a:lnTo>
                      <a:lnTo>
                        <a:pt x="44" y="52"/>
                      </a:lnTo>
                      <a:lnTo>
                        <a:pt x="45" y="54"/>
                      </a:lnTo>
                      <a:lnTo>
                        <a:pt x="46" y="56"/>
                      </a:lnTo>
                      <a:lnTo>
                        <a:pt x="46" y="65"/>
                      </a:lnTo>
                      <a:lnTo>
                        <a:pt x="49" y="69"/>
                      </a:lnTo>
                      <a:lnTo>
                        <a:pt x="51" y="71"/>
                      </a:lnTo>
                      <a:lnTo>
                        <a:pt x="65" y="77"/>
                      </a:lnTo>
                      <a:lnTo>
                        <a:pt x="73" y="81"/>
                      </a:lnTo>
                      <a:lnTo>
                        <a:pt x="79" y="86"/>
                      </a:lnTo>
                      <a:lnTo>
                        <a:pt x="82" y="87"/>
                      </a:lnTo>
                      <a:lnTo>
                        <a:pt x="85" y="87"/>
                      </a:lnTo>
                      <a:lnTo>
                        <a:pt x="89" y="87"/>
                      </a:lnTo>
                      <a:lnTo>
                        <a:pt x="93" y="88"/>
                      </a:lnTo>
                      <a:lnTo>
                        <a:pt x="101" y="93"/>
                      </a:lnTo>
                      <a:lnTo>
                        <a:pt x="106" y="99"/>
                      </a:lnTo>
                      <a:lnTo>
                        <a:pt x="112" y="105"/>
                      </a:lnTo>
                      <a:lnTo>
                        <a:pt x="116" y="111"/>
                      </a:lnTo>
                      <a:lnTo>
                        <a:pt x="121" y="118"/>
                      </a:lnTo>
                      <a:lnTo>
                        <a:pt x="125" y="126"/>
                      </a:lnTo>
                      <a:lnTo>
                        <a:pt x="129" y="134"/>
                      </a:lnTo>
                      <a:lnTo>
                        <a:pt x="134" y="141"/>
                      </a:lnTo>
                      <a:lnTo>
                        <a:pt x="134" y="143"/>
                      </a:lnTo>
                      <a:lnTo>
                        <a:pt x="134" y="145"/>
                      </a:lnTo>
                      <a:lnTo>
                        <a:pt x="132" y="147"/>
                      </a:lnTo>
                      <a:lnTo>
                        <a:pt x="131" y="151"/>
                      </a:lnTo>
                      <a:lnTo>
                        <a:pt x="131" y="152"/>
                      </a:lnTo>
                      <a:lnTo>
                        <a:pt x="135" y="154"/>
                      </a:lnTo>
                      <a:lnTo>
                        <a:pt x="139" y="156"/>
                      </a:lnTo>
                      <a:lnTo>
                        <a:pt x="144" y="156"/>
                      </a:lnTo>
                      <a:lnTo>
                        <a:pt x="149" y="154"/>
                      </a:lnTo>
                      <a:lnTo>
                        <a:pt x="150" y="154"/>
                      </a:lnTo>
                      <a:lnTo>
                        <a:pt x="152" y="156"/>
                      </a:lnTo>
                      <a:lnTo>
                        <a:pt x="155" y="158"/>
                      </a:lnTo>
                      <a:lnTo>
                        <a:pt x="160" y="163"/>
                      </a:lnTo>
                      <a:lnTo>
                        <a:pt x="168" y="1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857">
                  <a:extLst>
                    <a:ext uri="{FF2B5EF4-FFF2-40B4-BE49-F238E27FC236}">
                      <a16:creationId xmlns:a16="http://schemas.microsoft.com/office/drawing/2014/main" id="{DD1FBC43-7EC1-4442-A291-177985413A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2254" y="4631684"/>
                  <a:ext cx="229381" cy="245659"/>
                </a:xfrm>
                <a:custGeom>
                  <a:avLst/>
                  <a:gdLst>
                    <a:gd name="T0" fmla="*/ 2147483647 w 168"/>
                    <a:gd name="T1" fmla="*/ 2147483647 h 166"/>
                    <a:gd name="T2" fmla="*/ 2147483647 w 168"/>
                    <a:gd name="T3" fmla="*/ 2147483647 h 166"/>
                    <a:gd name="T4" fmla="*/ 2147483647 w 168"/>
                    <a:gd name="T5" fmla="*/ 2147483647 h 166"/>
                    <a:gd name="T6" fmla="*/ 2147483647 w 168"/>
                    <a:gd name="T7" fmla="*/ 2147483647 h 166"/>
                    <a:gd name="T8" fmla="*/ 2147483647 w 168"/>
                    <a:gd name="T9" fmla="*/ 2147483647 h 166"/>
                    <a:gd name="T10" fmla="*/ 2147483647 w 168"/>
                    <a:gd name="T11" fmla="*/ 2147483647 h 166"/>
                    <a:gd name="T12" fmla="*/ 2147483647 w 168"/>
                    <a:gd name="T13" fmla="*/ 2147483647 h 166"/>
                    <a:gd name="T14" fmla="*/ 2147483647 w 168"/>
                    <a:gd name="T15" fmla="*/ 2147483647 h 166"/>
                    <a:gd name="T16" fmla="*/ 2147483647 w 168"/>
                    <a:gd name="T17" fmla="*/ 2147483647 h 166"/>
                    <a:gd name="T18" fmla="*/ 2147483647 w 168"/>
                    <a:gd name="T19" fmla="*/ 2147483647 h 166"/>
                    <a:gd name="T20" fmla="*/ 2147483647 w 168"/>
                    <a:gd name="T21" fmla="*/ 2147483647 h 166"/>
                    <a:gd name="T22" fmla="*/ 2147483647 w 168"/>
                    <a:gd name="T23" fmla="*/ 2147483647 h 166"/>
                    <a:gd name="T24" fmla="*/ 2147483647 w 168"/>
                    <a:gd name="T25" fmla="*/ 2147483647 h 166"/>
                    <a:gd name="T26" fmla="*/ 2147483647 w 168"/>
                    <a:gd name="T27" fmla="*/ 2147483647 h 166"/>
                    <a:gd name="T28" fmla="*/ 2147483647 w 168"/>
                    <a:gd name="T29" fmla="*/ 2147483647 h 166"/>
                    <a:gd name="T30" fmla="*/ 2147483647 w 168"/>
                    <a:gd name="T31" fmla="*/ 2147483647 h 166"/>
                    <a:gd name="T32" fmla="*/ 2147483647 w 168"/>
                    <a:gd name="T33" fmla="*/ 2147483647 h 166"/>
                    <a:gd name="T34" fmla="*/ 2147483647 w 168"/>
                    <a:gd name="T35" fmla="*/ 2147483647 h 166"/>
                    <a:gd name="T36" fmla="*/ 2147483647 w 168"/>
                    <a:gd name="T37" fmla="*/ 0 h 166"/>
                    <a:gd name="T38" fmla="*/ 2147483647 w 168"/>
                    <a:gd name="T39" fmla="*/ 0 h 166"/>
                    <a:gd name="T40" fmla="*/ 2147483647 w 168"/>
                    <a:gd name="T41" fmla="*/ 2147483647 h 166"/>
                    <a:gd name="T42" fmla="*/ 0 w 168"/>
                    <a:gd name="T43" fmla="*/ 2147483647 h 166"/>
                    <a:gd name="T44" fmla="*/ 2147483647 w 168"/>
                    <a:gd name="T45" fmla="*/ 2147483647 h 166"/>
                    <a:gd name="T46" fmla="*/ 2147483647 w 168"/>
                    <a:gd name="T47" fmla="*/ 2147483647 h 166"/>
                    <a:gd name="T48" fmla="*/ 2147483647 w 168"/>
                    <a:gd name="T49" fmla="*/ 2147483647 h 166"/>
                    <a:gd name="T50" fmla="*/ 2147483647 w 168"/>
                    <a:gd name="T51" fmla="*/ 2147483647 h 166"/>
                    <a:gd name="T52" fmla="*/ 2147483647 w 168"/>
                    <a:gd name="T53" fmla="*/ 2147483647 h 166"/>
                    <a:gd name="T54" fmla="*/ 2147483647 w 168"/>
                    <a:gd name="T55" fmla="*/ 2147483647 h 166"/>
                    <a:gd name="T56" fmla="*/ 2147483647 w 168"/>
                    <a:gd name="T57" fmla="*/ 2147483647 h 166"/>
                    <a:gd name="T58" fmla="*/ 2147483647 w 168"/>
                    <a:gd name="T59" fmla="*/ 2147483647 h 166"/>
                    <a:gd name="T60" fmla="*/ 2147483647 w 168"/>
                    <a:gd name="T61" fmla="*/ 2147483647 h 166"/>
                    <a:gd name="T62" fmla="*/ 2147483647 w 168"/>
                    <a:gd name="T63" fmla="*/ 2147483647 h 166"/>
                    <a:gd name="T64" fmla="*/ 2147483647 w 168"/>
                    <a:gd name="T65" fmla="*/ 2147483647 h 166"/>
                    <a:gd name="T66" fmla="*/ 2147483647 w 168"/>
                    <a:gd name="T67" fmla="*/ 2147483647 h 166"/>
                    <a:gd name="T68" fmla="*/ 2147483647 w 168"/>
                    <a:gd name="T69" fmla="*/ 2147483647 h 166"/>
                    <a:gd name="T70" fmla="*/ 2147483647 w 168"/>
                    <a:gd name="T71" fmla="*/ 2147483647 h 166"/>
                    <a:gd name="T72" fmla="*/ 2147483647 w 168"/>
                    <a:gd name="T73" fmla="*/ 2147483647 h 166"/>
                    <a:gd name="T74" fmla="*/ 2147483647 w 168"/>
                    <a:gd name="T75" fmla="*/ 2147483647 h 166"/>
                    <a:gd name="T76" fmla="*/ 2147483647 w 168"/>
                    <a:gd name="T77" fmla="*/ 2147483647 h 166"/>
                    <a:gd name="T78" fmla="*/ 2147483647 w 168"/>
                    <a:gd name="T79" fmla="*/ 2147483647 h 166"/>
                    <a:gd name="T80" fmla="*/ 2147483647 w 168"/>
                    <a:gd name="T81" fmla="*/ 2147483647 h 166"/>
                    <a:gd name="T82" fmla="*/ 2147483647 w 168"/>
                    <a:gd name="T83" fmla="*/ 2147483647 h 166"/>
                    <a:gd name="T84" fmla="*/ 2147483647 w 168"/>
                    <a:gd name="T85" fmla="*/ 2147483647 h 166"/>
                    <a:gd name="T86" fmla="*/ 2147483647 w 168"/>
                    <a:gd name="T87" fmla="*/ 2147483647 h 166"/>
                    <a:gd name="T88" fmla="*/ 2147483647 w 168"/>
                    <a:gd name="T89" fmla="*/ 2147483647 h 166"/>
                    <a:gd name="T90" fmla="*/ 2147483647 w 168"/>
                    <a:gd name="T91" fmla="*/ 2147483647 h 166"/>
                    <a:gd name="T92" fmla="*/ 2147483647 w 168"/>
                    <a:gd name="T93" fmla="*/ 2147483647 h 166"/>
                    <a:gd name="T94" fmla="*/ 2147483647 w 168"/>
                    <a:gd name="T95" fmla="*/ 2147483647 h 166"/>
                    <a:gd name="T96" fmla="*/ 2147483647 w 168"/>
                    <a:gd name="T97" fmla="*/ 2147483647 h 166"/>
                    <a:gd name="T98" fmla="*/ 2147483647 w 168"/>
                    <a:gd name="T99" fmla="*/ 2147483647 h 166"/>
                    <a:gd name="T100" fmla="*/ 2147483647 w 168"/>
                    <a:gd name="T101" fmla="*/ 2147483647 h 166"/>
                    <a:gd name="T102" fmla="*/ 2147483647 w 168"/>
                    <a:gd name="T103" fmla="*/ 2147483647 h 166"/>
                    <a:gd name="T104" fmla="*/ 2147483647 w 168"/>
                    <a:gd name="T105" fmla="*/ 2147483647 h 16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68"/>
                    <a:gd name="T160" fmla="*/ 0 h 166"/>
                    <a:gd name="T161" fmla="*/ 168 w 168"/>
                    <a:gd name="T162" fmla="*/ 166 h 16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68" h="166">
                      <a:moveTo>
                        <a:pt x="168" y="166"/>
                      </a:moveTo>
                      <a:lnTo>
                        <a:pt x="168" y="166"/>
                      </a:lnTo>
                      <a:lnTo>
                        <a:pt x="165" y="139"/>
                      </a:lnTo>
                      <a:lnTo>
                        <a:pt x="165" y="125"/>
                      </a:lnTo>
                      <a:lnTo>
                        <a:pt x="166" y="110"/>
                      </a:lnTo>
                      <a:lnTo>
                        <a:pt x="165" y="37"/>
                      </a:lnTo>
                      <a:lnTo>
                        <a:pt x="154" y="34"/>
                      </a:lnTo>
                      <a:lnTo>
                        <a:pt x="142" y="34"/>
                      </a:lnTo>
                      <a:lnTo>
                        <a:pt x="137" y="33"/>
                      </a:lnTo>
                      <a:lnTo>
                        <a:pt x="135" y="33"/>
                      </a:lnTo>
                      <a:lnTo>
                        <a:pt x="132" y="32"/>
                      </a:lnTo>
                      <a:lnTo>
                        <a:pt x="119" y="23"/>
                      </a:lnTo>
                      <a:lnTo>
                        <a:pt x="113" y="19"/>
                      </a:lnTo>
                      <a:lnTo>
                        <a:pt x="111" y="19"/>
                      </a:lnTo>
                      <a:lnTo>
                        <a:pt x="107" y="19"/>
                      </a:lnTo>
                      <a:lnTo>
                        <a:pt x="106" y="19"/>
                      </a:lnTo>
                      <a:lnTo>
                        <a:pt x="104" y="20"/>
                      </a:lnTo>
                      <a:lnTo>
                        <a:pt x="103" y="24"/>
                      </a:lnTo>
                      <a:lnTo>
                        <a:pt x="103" y="27"/>
                      </a:lnTo>
                      <a:lnTo>
                        <a:pt x="103" y="29"/>
                      </a:lnTo>
                      <a:lnTo>
                        <a:pt x="102" y="30"/>
                      </a:lnTo>
                      <a:lnTo>
                        <a:pt x="97" y="31"/>
                      </a:lnTo>
                      <a:lnTo>
                        <a:pt x="93" y="32"/>
                      </a:lnTo>
                      <a:lnTo>
                        <a:pt x="85" y="38"/>
                      </a:lnTo>
                      <a:lnTo>
                        <a:pt x="79" y="44"/>
                      </a:lnTo>
                      <a:lnTo>
                        <a:pt x="71" y="49"/>
                      </a:lnTo>
                      <a:lnTo>
                        <a:pt x="69" y="49"/>
                      </a:lnTo>
                      <a:lnTo>
                        <a:pt x="66" y="49"/>
                      </a:lnTo>
                      <a:lnTo>
                        <a:pt x="65" y="47"/>
                      </a:lnTo>
                      <a:lnTo>
                        <a:pt x="64" y="45"/>
                      </a:lnTo>
                      <a:lnTo>
                        <a:pt x="62" y="39"/>
                      </a:lnTo>
                      <a:lnTo>
                        <a:pt x="61" y="33"/>
                      </a:lnTo>
                      <a:lnTo>
                        <a:pt x="60" y="31"/>
                      </a:lnTo>
                      <a:lnTo>
                        <a:pt x="60" y="30"/>
                      </a:lnTo>
                      <a:lnTo>
                        <a:pt x="57" y="30"/>
                      </a:lnTo>
                      <a:lnTo>
                        <a:pt x="56" y="33"/>
                      </a:lnTo>
                      <a:lnTo>
                        <a:pt x="53" y="37"/>
                      </a:lnTo>
                      <a:lnTo>
                        <a:pt x="52" y="38"/>
                      </a:lnTo>
                      <a:lnTo>
                        <a:pt x="50" y="30"/>
                      </a:lnTo>
                      <a:lnTo>
                        <a:pt x="48" y="21"/>
                      </a:lnTo>
                      <a:lnTo>
                        <a:pt x="47" y="13"/>
                      </a:lnTo>
                      <a:lnTo>
                        <a:pt x="45" y="5"/>
                      </a:lnTo>
                      <a:lnTo>
                        <a:pt x="43" y="2"/>
                      </a:lnTo>
                      <a:lnTo>
                        <a:pt x="41" y="1"/>
                      </a:ln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3" y="0"/>
                      </a:lnTo>
                      <a:lnTo>
                        <a:pt x="15" y="1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1" y="10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1" y="18"/>
                      </a:lnTo>
                      <a:lnTo>
                        <a:pt x="4" y="19"/>
                      </a:lnTo>
                      <a:lnTo>
                        <a:pt x="8" y="20"/>
                      </a:lnTo>
                      <a:lnTo>
                        <a:pt x="12" y="21"/>
                      </a:lnTo>
                      <a:lnTo>
                        <a:pt x="14" y="23"/>
                      </a:lnTo>
                      <a:lnTo>
                        <a:pt x="15" y="26"/>
                      </a:lnTo>
                      <a:lnTo>
                        <a:pt x="18" y="29"/>
                      </a:lnTo>
                      <a:lnTo>
                        <a:pt x="20" y="31"/>
                      </a:lnTo>
                      <a:lnTo>
                        <a:pt x="24" y="31"/>
                      </a:lnTo>
                      <a:lnTo>
                        <a:pt x="31" y="32"/>
                      </a:lnTo>
                      <a:lnTo>
                        <a:pt x="37" y="33"/>
                      </a:lnTo>
                      <a:lnTo>
                        <a:pt x="38" y="34"/>
                      </a:lnTo>
                      <a:lnTo>
                        <a:pt x="39" y="37"/>
                      </a:lnTo>
                      <a:lnTo>
                        <a:pt x="38" y="40"/>
                      </a:lnTo>
                      <a:lnTo>
                        <a:pt x="37" y="43"/>
                      </a:lnTo>
                      <a:lnTo>
                        <a:pt x="36" y="44"/>
                      </a:lnTo>
                      <a:lnTo>
                        <a:pt x="33" y="45"/>
                      </a:lnTo>
                      <a:lnTo>
                        <a:pt x="31" y="44"/>
                      </a:lnTo>
                      <a:lnTo>
                        <a:pt x="22" y="42"/>
                      </a:lnTo>
                      <a:lnTo>
                        <a:pt x="17" y="40"/>
                      </a:lnTo>
                      <a:lnTo>
                        <a:pt x="12" y="39"/>
                      </a:lnTo>
                      <a:lnTo>
                        <a:pt x="10" y="40"/>
                      </a:lnTo>
                      <a:lnTo>
                        <a:pt x="6" y="42"/>
                      </a:lnTo>
                      <a:lnTo>
                        <a:pt x="5" y="43"/>
                      </a:lnTo>
                      <a:lnTo>
                        <a:pt x="5" y="44"/>
                      </a:lnTo>
                      <a:lnTo>
                        <a:pt x="8" y="45"/>
                      </a:lnTo>
                      <a:lnTo>
                        <a:pt x="12" y="47"/>
                      </a:lnTo>
                      <a:lnTo>
                        <a:pt x="15" y="50"/>
                      </a:lnTo>
                      <a:lnTo>
                        <a:pt x="19" y="57"/>
                      </a:lnTo>
                      <a:lnTo>
                        <a:pt x="23" y="64"/>
                      </a:lnTo>
                      <a:lnTo>
                        <a:pt x="27" y="70"/>
                      </a:lnTo>
                      <a:lnTo>
                        <a:pt x="28" y="71"/>
                      </a:lnTo>
                      <a:lnTo>
                        <a:pt x="29" y="70"/>
                      </a:lnTo>
                      <a:lnTo>
                        <a:pt x="33" y="65"/>
                      </a:lnTo>
                      <a:lnTo>
                        <a:pt x="36" y="58"/>
                      </a:lnTo>
                      <a:lnTo>
                        <a:pt x="39" y="52"/>
                      </a:lnTo>
                      <a:lnTo>
                        <a:pt x="41" y="51"/>
                      </a:lnTo>
                      <a:lnTo>
                        <a:pt x="43" y="52"/>
                      </a:lnTo>
                      <a:lnTo>
                        <a:pt x="45" y="53"/>
                      </a:lnTo>
                      <a:lnTo>
                        <a:pt x="46" y="56"/>
                      </a:lnTo>
                      <a:lnTo>
                        <a:pt x="46" y="65"/>
                      </a:lnTo>
                      <a:lnTo>
                        <a:pt x="48" y="69"/>
                      </a:lnTo>
                      <a:lnTo>
                        <a:pt x="51" y="71"/>
                      </a:lnTo>
                      <a:lnTo>
                        <a:pt x="65" y="77"/>
                      </a:lnTo>
                      <a:lnTo>
                        <a:pt x="73" y="81"/>
                      </a:lnTo>
                      <a:lnTo>
                        <a:pt x="79" y="85"/>
                      </a:lnTo>
                      <a:lnTo>
                        <a:pt x="81" y="87"/>
                      </a:lnTo>
                      <a:lnTo>
                        <a:pt x="85" y="87"/>
                      </a:lnTo>
                      <a:lnTo>
                        <a:pt x="89" y="87"/>
                      </a:lnTo>
                      <a:lnTo>
                        <a:pt x="93" y="88"/>
                      </a:lnTo>
                      <a:lnTo>
                        <a:pt x="100" y="93"/>
                      </a:lnTo>
                      <a:lnTo>
                        <a:pt x="106" y="98"/>
                      </a:lnTo>
                      <a:lnTo>
                        <a:pt x="112" y="104"/>
                      </a:lnTo>
                      <a:lnTo>
                        <a:pt x="116" y="110"/>
                      </a:lnTo>
                      <a:lnTo>
                        <a:pt x="121" y="117"/>
                      </a:lnTo>
                      <a:lnTo>
                        <a:pt x="125" y="126"/>
                      </a:lnTo>
                      <a:lnTo>
                        <a:pt x="128" y="134"/>
                      </a:lnTo>
                      <a:lnTo>
                        <a:pt x="133" y="141"/>
                      </a:lnTo>
                      <a:lnTo>
                        <a:pt x="133" y="142"/>
                      </a:lnTo>
                      <a:lnTo>
                        <a:pt x="133" y="145"/>
                      </a:lnTo>
                      <a:lnTo>
                        <a:pt x="132" y="147"/>
                      </a:lnTo>
                      <a:lnTo>
                        <a:pt x="131" y="151"/>
                      </a:lnTo>
                      <a:lnTo>
                        <a:pt x="131" y="152"/>
                      </a:lnTo>
                      <a:lnTo>
                        <a:pt x="135" y="154"/>
                      </a:lnTo>
                      <a:lnTo>
                        <a:pt x="139" y="155"/>
                      </a:lnTo>
                      <a:lnTo>
                        <a:pt x="144" y="155"/>
                      </a:lnTo>
                      <a:lnTo>
                        <a:pt x="149" y="154"/>
                      </a:lnTo>
                      <a:lnTo>
                        <a:pt x="150" y="154"/>
                      </a:lnTo>
                      <a:lnTo>
                        <a:pt x="151" y="155"/>
                      </a:lnTo>
                      <a:lnTo>
                        <a:pt x="155" y="158"/>
                      </a:lnTo>
                      <a:lnTo>
                        <a:pt x="160" y="162"/>
                      </a:lnTo>
                      <a:lnTo>
                        <a:pt x="168" y="16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Freeform 1099">
                  <a:extLst>
                    <a:ext uri="{FF2B5EF4-FFF2-40B4-BE49-F238E27FC236}">
                      <a16:creationId xmlns:a16="http://schemas.microsoft.com/office/drawing/2014/main" id="{2BA5D550-7A57-8F48-A3A2-71E7F3E1A5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5024" y="3323475"/>
                  <a:ext cx="22198" cy="51796"/>
                </a:xfrm>
                <a:custGeom>
                  <a:avLst/>
                  <a:gdLst>
                    <a:gd name="T0" fmla="*/ 2147483647 w 16"/>
                    <a:gd name="T1" fmla="*/ 2147483647 h 35"/>
                    <a:gd name="T2" fmla="*/ 2147483647 w 16"/>
                    <a:gd name="T3" fmla="*/ 2147483647 h 35"/>
                    <a:gd name="T4" fmla="*/ 2147483647 w 16"/>
                    <a:gd name="T5" fmla="*/ 2147483647 h 35"/>
                    <a:gd name="T6" fmla="*/ 2147483647 w 16"/>
                    <a:gd name="T7" fmla="*/ 2147483647 h 35"/>
                    <a:gd name="T8" fmla="*/ 2147483647 w 16"/>
                    <a:gd name="T9" fmla="*/ 2147483647 h 35"/>
                    <a:gd name="T10" fmla="*/ 2147483647 w 16"/>
                    <a:gd name="T11" fmla="*/ 2147483647 h 35"/>
                    <a:gd name="T12" fmla="*/ 2147483647 w 16"/>
                    <a:gd name="T13" fmla="*/ 2147483647 h 35"/>
                    <a:gd name="T14" fmla="*/ 2147483647 w 16"/>
                    <a:gd name="T15" fmla="*/ 0 h 35"/>
                    <a:gd name="T16" fmla="*/ 2147483647 w 16"/>
                    <a:gd name="T17" fmla="*/ 0 h 35"/>
                    <a:gd name="T18" fmla="*/ 2147483647 w 16"/>
                    <a:gd name="T19" fmla="*/ 0 h 35"/>
                    <a:gd name="T20" fmla="*/ 2147483647 w 16"/>
                    <a:gd name="T21" fmla="*/ 2147483647 h 35"/>
                    <a:gd name="T22" fmla="*/ 2147483647 w 16"/>
                    <a:gd name="T23" fmla="*/ 2147483647 h 35"/>
                    <a:gd name="T24" fmla="*/ 2147483647 w 16"/>
                    <a:gd name="T25" fmla="*/ 2147483647 h 35"/>
                    <a:gd name="T26" fmla="*/ 2147483647 w 16"/>
                    <a:gd name="T27" fmla="*/ 2147483647 h 35"/>
                    <a:gd name="T28" fmla="*/ 2147483647 w 16"/>
                    <a:gd name="T29" fmla="*/ 2147483647 h 35"/>
                    <a:gd name="T30" fmla="*/ 2147483647 w 16"/>
                    <a:gd name="T31" fmla="*/ 2147483647 h 35"/>
                    <a:gd name="T32" fmla="*/ 2147483647 w 16"/>
                    <a:gd name="T33" fmla="*/ 2147483647 h 35"/>
                    <a:gd name="T34" fmla="*/ 0 w 16"/>
                    <a:gd name="T35" fmla="*/ 2147483647 h 35"/>
                    <a:gd name="T36" fmla="*/ 0 w 16"/>
                    <a:gd name="T37" fmla="*/ 2147483647 h 35"/>
                    <a:gd name="T38" fmla="*/ 0 w 16"/>
                    <a:gd name="T39" fmla="*/ 2147483647 h 35"/>
                    <a:gd name="T40" fmla="*/ 2147483647 w 16"/>
                    <a:gd name="T41" fmla="*/ 2147483647 h 35"/>
                    <a:gd name="T42" fmla="*/ 2147483647 w 16"/>
                    <a:gd name="T43" fmla="*/ 2147483647 h 35"/>
                    <a:gd name="T44" fmla="*/ 2147483647 w 16"/>
                    <a:gd name="T45" fmla="*/ 2147483647 h 35"/>
                    <a:gd name="T46" fmla="*/ 2147483647 w 16"/>
                    <a:gd name="T47" fmla="*/ 2147483647 h 35"/>
                    <a:gd name="T48" fmla="*/ 2147483647 w 16"/>
                    <a:gd name="T49" fmla="*/ 2147483647 h 35"/>
                    <a:gd name="T50" fmla="*/ 2147483647 w 16"/>
                    <a:gd name="T51" fmla="*/ 2147483647 h 35"/>
                    <a:gd name="T52" fmla="*/ 2147483647 w 16"/>
                    <a:gd name="T53" fmla="*/ 2147483647 h 35"/>
                    <a:gd name="T54" fmla="*/ 2147483647 w 16"/>
                    <a:gd name="T55" fmla="*/ 2147483647 h 35"/>
                    <a:gd name="T56" fmla="*/ 2147483647 w 16"/>
                    <a:gd name="T57" fmla="*/ 2147483647 h 35"/>
                    <a:gd name="T58" fmla="*/ 2147483647 w 16"/>
                    <a:gd name="T59" fmla="*/ 2147483647 h 35"/>
                    <a:gd name="T60" fmla="*/ 2147483647 w 16"/>
                    <a:gd name="T61" fmla="*/ 2147483647 h 35"/>
                    <a:gd name="T62" fmla="*/ 2147483647 w 16"/>
                    <a:gd name="T63" fmla="*/ 2147483647 h 3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6"/>
                    <a:gd name="T97" fmla="*/ 0 h 35"/>
                    <a:gd name="T98" fmla="*/ 16 w 16"/>
                    <a:gd name="T99" fmla="*/ 35 h 35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6" h="35">
                      <a:moveTo>
                        <a:pt x="14" y="10"/>
                      </a:moveTo>
                      <a:lnTo>
                        <a:pt x="14" y="10"/>
                      </a:lnTo>
                      <a:lnTo>
                        <a:pt x="13" y="9"/>
                      </a:lnTo>
                      <a:lnTo>
                        <a:pt x="14" y="7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1" y="3"/>
                      </a:lnTo>
                      <a:lnTo>
                        <a:pt x="9" y="3"/>
                      </a:lnTo>
                      <a:lnTo>
                        <a:pt x="6" y="4"/>
                      </a:lnTo>
                      <a:lnTo>
                        <a:pt x="4" y="6"/>
                      </a:lnTo>
                      <a:lnTo>
                        <a:pt x="1" y="8"/>
                      </a:lnTo>
                      <a:lnTo>
                        <a:pt x="0" y="10"/>
                      </a:lnTo>
                      <a:lnTo>
                        <a:pt x="0" y="17"/>
                      </a:lnTo>
                      <a:lnTo>
                        <a:pt x="1" y="25"/>
                      </a:lnTo>
                      <a:lnTo>
                        <a:pt x="5" y="32"/>
                      </a:lnTo>
                      <a:lnTo>
                        <a:pt x="7" y="34"/>
                      </a:lnTo>
                      <a:lnTo>
                        <a:pt x="10" y="35"/>
                      </a:lnTo>
                      <a:lnTo>
                        <a:pt x="13" y="29"/>
                      </a:lnTo>
                      <a:lnTo>
                        <a:pt x="15" y="23"/>
                      </a:lnTo>
                      <a:lnTo>
                        <a:pt x="15" y="21"/>
                      </a:lnTo>
                      <a:lnTo>
                        <a:pt x="15" y="17"/>
                      </a:lnTo>
                      <a:lnTo>
                        <a:pt x="14" y="14"/>
                      </a:lnTo>
                      <a:lnTo>
                        <a:pt x="14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101">
                  <a:extLst>
                    <a:ext uri="{FF2B5EF4-FFF2-40B4-BE49-F238E27FC236}">
                      <a16:creationId xmlns:a16="http://schemas.microsoft.com/office/drawing/2014/main" id="{45BE1681-119C-F84C-AE02-5876F2DF50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0615" y="2614616"/>
                  <a:ext cx="7400" cy="13319"/>
                </a:xfrm>
                <a:custGeom>
                  <a:avLst/>
                  <a:gdLst>
                    <a:gd name="T0" fmla="*/ 0 w 6"/>
                    <a:gd name="T1" fmla="*/ 2147483647 h 9"/>
                    <a:gd name="T2" fmla="*/ 0 w 6"/>
                    <a:gd name="T3" fmla="*/ 2147483647 h 9"/>
                    <a:gd name="T4" fmla="*/ 0 w 6"/>
                    <a:gd name="T5" fmla="*/ 2147483647 h 9"/>
                    <a:gd name="T6" fmla="*/ 2147483647 w 6"/>
                    <a:gd name="T7" fmla="*/ 0 h 9"/>
                    <a:gd name="T8" fmla="*/ 2147483647 w 6"/>
                    <a:gd name="T9" fmla="*/ 0 h 9"/>
                    <a:gd name="T10" fmla="*/ 2147483647 w 6"/>
                    <a:gd name="T11" fmla="*/ 2147483647 h 9"/>
                    <a:gd name="T12" fmla="*/ 2147483647 w 6"/>
                    <a:gd name="T13" fmla="*/ 2147483647 h 9"/>
                    <a:gd name="T14" fmla="*/ 2147483647 w 6"/>
                    <a:gd name="T15" fmla="*/ 2147483647 h 9"/>
                    <a:gd name="T16" fmla="*/ 2147483647 w 6"/>
                    <a:gd name="T17" fmla="*/ 2147483647 h 9"/>
                    <a:gd name="T18" fmla="*/ 2147483647 w 6"/>
                    <a:gd name="T19" fmla="*/ 2147483647 h 9"/>
                    <a:gd name="T20" fmla="*/ 2147483647 w 6"/>
                    <a:gd name="T21" fmla="*/ 2147483647 h 9"/>
                    <a:gd name="T22" fmla="*/ 2147483647 w 6"/>
                    <a:gd name="T23" fmla="*/ 2147483647 h 9"/>
                    <a:gd name="T24" fmla="*/ 0 w 6"/>
                    <a:gd name="T25" fmla="*/ 2147483647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9"/>
                    <a:gd name="T41" fmla="*/ 6 w 6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9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5" y="2"/>
                      </a:lnTo>
                      <a:lnTo>
                        <a:pt x="6" y="4"/>
                      </a:lnTo>
                      <a:lnTo>
                        <a:pt x="6" y="7"/>
                      </a:lnTo>
                      <a:lnTo>
                        <a:pt x="3" y="8"/>
                      </a:lnTo>
                      <a:lnTo>
                        <a:pt x="2" y="9"/>
                      </a:lnTo>
                      <a:lnTo>
                        <a:pt x="1" y="7"/>
                      </a:lnTo>
                      <a:lnTo>
                        <a:pt x="1" y="6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103">
                  <a:extLst>
                    <a:ext uri="{FF2B5EF4-FFF2-40B4-BE49-F238E27FC236}">
                      <a16:creationId xmlns:a16="http://schemas.microsoft.com/office/drawing/2014/main" id="{1371BDA5-B48F-C041-95DD-1098687CBE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7656" y="2611659"/>
                  <a:ext cx="8879" cy="14799"/>
                </a:xfrm>
                <a:custGeom>
                  <a:avLst/>
                  <a:gdLst>
                    <a:gd name="T0" fmla="*/ 0 w 7"/>
                    <a:gd name="T1" fmla="*/ 2147483647 h 10"/>
                    <a:gd name="T2" fmla="*/ 0 w 7"/>
                    <a:gd name="T3" fmla="*/ 2147483647 h 10"/>
                    <a:gd name="T4" fmla="*/ 0 w 7"/>
                    <a:gd name="T5" fmla="*/ 2147483647 h 10"/>
                    <a:gd name="T6" fmla="*/ 0 w 7"/>
                    <a:gd name="T7" fmla="*/ 2147483647 h 10"/>
                    <a:gd name="T8" fmla="*/ 2147483647 w 7"/>
                    <a:gd name="T9" fmla="*/ 0 h 10"/>
                    <a:gd name="T10" fmla="*/ 2147483647 w 7"/>
                    <a:gd name="T11" fmla="*/ 0 h 10"/>
                    <a:gd name="T12" fmla="*/ 2147483647 w 7"/>
                    <a:gd name="T13" fmla="*/ 0 h 10"/>
                    <a:gd name="T14" fmla="*/ 2147483647 w 7"/>
                    <a:gd name="T15" fmla="*/ 2147483647 h 10"/>
                    <a:gd name="T16" fmla="*/ 2147483647 w 7"/>
                    <a:gd name="T17" fmla="*/ 2147483647 h 10"/>
                    <a:gd name="T18" fmla="*/ 2147483647 w 7"/>
                    <a:gd name="T19" fmla="*/ 2147483647 h 10"/>
                    <a:gd name="T20" fmla="*/ 2147483647 w 7"/>
                    <a:gd name="T21" fmla="*/ 2147483647 h 10"/>
                    <a:gd name="T22" fmla="*/ 2147483647 w 7"/>
                    <a:gd name="T23" fmla="*/ 2147483647 h 10"/>
                    <a:gd name="T24" fmla="*/ 2147483647 w 7"/>
                    <a:gd name="T25" fmla="*/ 2147483647 h 10"/>
                    <a:gd name="T26" fmla="*/ 2147483647 w 7"/>
                    <a:gd name="T27" fmla="*/ 2147483647 h 10"/>
                    <a:gd name="T28" fmla="*/ 2147483647 w 7"/>
                    <a:gd name="T29" fmla="*/ 2147483647 h 10"/>
                    <a:gd name="T30" fmla="*/ 0 w 7"/>
                    <a:gd name="T31" fmla="*/ 2147483647 h 10"/>
                    <a:gd name="T32" fmla="*/ 0 w 7"/>
                    <a:gd name="T33" fmla="*/ 2147483647 h 1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"/>
                    <a:gd name="T52" fmla="*/ 0 h 10"/>
                    <a:gd name="T53" fmla="*/ 7 w 7"/>
                    <a:gd name="T54" fmla="*/ 10 h 1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" h="10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7" y="5"/>
                      </a:lnTo>
                      <a:lnTo>
                        <a:pt x="7" y="8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2" y="8"/>
                      </a:lnTo>
                      <a:lnTo>
                        <a:pt x="2" y="6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1108">
                  <a:extLst>
                    <a:ext uri="{FF2B5EF4-FFF2-40B4-BE49-F238E27FC236}">
                      <a16:creationId xmlns:a16="http://schemas.microsoft.com/office/drawing/2014/main" id="{7E94D51D-E59C-254A-8F89-CE450C84CD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4013" y="2439994"/>
                  <a:ext cx="257498" cy="133188"/>
                </a:xfrm>
                <a:custGeom>
                  <a:avLst/>
                  <a:gdLst>
                    <a:gd name="T0" fmla="*/ 2147483647 w 188"/>
                    <a:gd name="T1" fmla="*/ 2147483647 h 90"/>
                    <a:gd name="T2" fmla="*/ 2147483647 w 188"/>
                    <a:gd name="T3" fmla="*/ 2147483647 h 90"/>
                    <a:gd name="T4" fmla="*/ 2147483647 w 188"/>
                    <a:gd name="T5" fmla="*/ 2147483647 h 90"/>
                    <a:gd name="T6" fmla="*/ 2147483647 w 188"/>
                    <a:gd name="T7" fmla="*/ 2147483647 h 90"/>
                    <a:gd name="T8" fmla="*/ 2147483647 w 188"/>
                    <a:gd name="T9" fmla="*/ 2147483647 h 90"/>
                    <a:gd name="T10" fmla="*/ 2147483647 w 188"/>
                    <a:gd name="T11" fmla="*/ 2147483647 h 90"/>
                    <a:gd name="T12" fmla="*/ 2147483647 w 188"/>
                    <a:gd name="T13" fmla="*/ 2147483647 h 90"/>
                    <a:gd name="T14" fmla="*/ 2147483647 w 188"/>
                    <a:gd name="T15" fmla="*/ 2147483647 h 90"/>
                    <a:gd name="T16" fmla="*/ 2147483647 w 188"/>
                    <a:gd name="T17" fmla="*/ 2147483647 h 90"/>
                    <a:gd name="T18" fmla="*/ 2147483647 w 188"/>
                    <a:gd name="T19" fmla="*/ 2147483647 h 90"/>
                    <a:gd name="T20" fmla="*/ 2147483647 w 188"/>
                    <a:gd name="T21" fmla="*/ 2147483647 h 90"/>
                    <a:gd name="T22" fmla="*/ 2147483647 w 188"/>
                    <a:gd name="T23" fmla="*/ 2147483647 h 90"/>
                    <a:gd name="T24" fmla="*/ 2147483647 w 188"/>
                    <a:gd name="T25" fmla="*/ 2147483647 h 90"/>
                    <a:gd name="T26" fmla="*/ 2147483647 w 188"/>
                    <a:gd name="T27" fmla="*/ 2147483647 h 90"/>
                    <a:gd name="T28" fmla="*/ 2147483647 w 188"/>
                    <a:gd name="T29" fmla="*/ 2147483647 h 90"/>
                    <a:gd name="T30" fmla="*/ 2147483647 w 188"/>
                    <a:gd name="T31" fmla="*/ 2147483647 h 90"/>
                    <a:gd name="T32" fmla="*/ 2147483647 w 188"/>
                    <a:gd name="T33" fmla="*/ 2147483647 h 90"/>
                    <a:gd name="T34" fmla="*/ 2147483647 w 188"/>
                    <a:gd name="T35" fmla="*/ 2147483647 h 90"/>
                    <a:gd name="T36" fmla="*/ 2147483647 w 188"/>
                    <a:gd name="T37" fmla="*/ 2147483647 h 90"/>
                    <a:gd name="T38" fmla="*/ 2147483647 w 188"/>
                    <a:gd name="T39" fmla="*/ 2147483647 h 90"/>
                    <a:gd name="T40" fmla="*/ 2147483647 w 188"/>
                    <a:gd name="T41" fmla="*/ 2147483647 h 90"/>
                    <a:gd name="T42" fmla="*/ 2147483647 w 188"/>
                    <a:gd name="T43" fmla="*/ 2147483647 h 90"/>
                    <a:gd name="T44" fmla="*/ 2147483647 w 188"/>
                    <a:gd name="T45" fmla="*/ 2147483647 h 90"/>
                    <a:gd name="T46" fmla="*/ 2147483647 w 188"/>
                    <a:gd name="T47" fmla="*/ 2147483647 h 90"/>
                    <a:gd name="T48" fmla="*/ 2147483647 w 188"/>
                    <a:gd name="T49" fmla="*/ 2147483647 h 90"/>
                    <a:gd name="T50" fmla="*/ 2147483647 w 188"/>
                    <a:gd name="T51" fmla="*/ 2147483647 h 90"/>
                    <a:gd name="T52" fmla="*/ 2147483647 w 188"/>
                    <a:gd name="T53" fmla="*/ 2147483647 h 90"/>
                    <a:gd name="T54" fmla="*/ 2147483647 w 188"/>
                    <a:gd name="T55" fmla="*/ 2147483647 h 90"/>
                    <a:gd name="T56" fmla="*/ 2147483647 w 188"/>
                    <a:gd name="T57" fmla="*/ 2147483647 h 90"/>
                    <a:gd name="T58" fmla="*/ 2147483647 w 188"/>
                    <a:gd name="T59" fmla="*/ 2147483647 h 90"/>
                    <a:gd name="T60" fmla="*/ 2147483647 w 188"/>
                    <a:gd name="T61" fmla="*/ 2147483647 h 90"/>
                    <a:gd name="T62" fmla="*/ 2147483647 w 188"/>
                    <a:gd name="T63" fmla="*/ 2147483647 h 90"/>
                    <a:gd name="T64" fmla="*/ 2147483647 w 188"/>
                    <a:gd name="T65" fmla="*/ 2147483647 h 90"/>
                    <a:gd name="T66" fmla="*/ 2147483647 w 188"/>
                    <a:gd name="T67" fmla="*/ 2147483647 h 90"/>
                    <a:gd name="T68" fmla="*/ 2147483647 w 188"/>
                    <a:gd name="T69" fmla="*/ 2147483647 h 90"/>
                    <a:gd name="T70" fmla="*/ 2147483647 w 188"/>
                    <a:gd name="T71" fmla="*/ 2147483647 h 90"/>
                    <a:gd name="T72" fmla="*/ 2147483647 w 188"/>
                    <a:gd name="T73" fmla="*/ 2147483647 h 90"/>
                    <a:gd name="T74" fmla="*/ 2147483647 w 188"/>
                    <a:gd name="T75" fmla="*/ 2147483647 h 90"/>
                    <a:gd name="T76" fmla="*/ 2147483647 w 188"/>
                    <a:gd name="T77" fmla="*/ 2147483647 h 90"/>
                    <a:gd name="T78" fmla="*/ 2147483647 w 188"/>
                    <a:gd name="T79" fmla="*/ 2147483647 h 90"/>
                    <a:gd name="T80" fmla="*/ 2147483647 w 188"/>
                    <a:gd name="T81" fmla="*/ 2147483647 h 90"/>
                    <a:gd name="T82" fmla="*/ 2147483647 w 188"/>
                    <a:gd name="T83" fmla="*/ 2147483647 h 90"/>
                    <a:gd name="T84" fmla="*/ 2147483647 w 188"/>
                    <a:gd name="T85" fmla="*/ 2147483647 h 90"/>
                    <a:gd name="T86" fmla="*/ 2147483647 w 188"/>
                    <a:gd name="T87" fmla="*/ 2147483647 h 90"/>
                    <a:gd name="T88" fmla="*/ 2147483647 w 188"/>
                    <a:gd name="T89" fmla="*/ 2147483647 h 90"/>
                    <a:gd name="T90" fmla="*/ 2147483647 w 188"/>
                    <a:gd name="T91" fmla="*/ 2147483647 h 90"/>
                    <a:gd name="T92" fmla="*/ 2147483647 w 188"/>
                    <a:gd name="T93" fmla="*/ 2147483647 h 90"/>
                    <a:gd name="T94" fmla="*/ 2147483647 w 188"/>
                    <a:gd name="T95" fmla="*/ 2147483647 h 90"/>
                    <a:gd name="T96" fmla="*/ 2147483647 w 188"/>
                    <a:gd name="T97" fmla="*/ 2147483647 h 90"/>
                    <a:gd name="T98" fmla="*/ 2147483647 w 188"/>
                    <a:gd name="T99" fmla="*/ 2147483647 h 90"/>
                    <a:gd name="T100" fmla="*/ 2147483647 w 188"/>
                    <a:gd name="T101" fmla="*/ 2147483647 h 90"/>
                    <a:gd name="T102" fmla="*/ 2147483647 w 188"/>
                    <a:gd name="T103" fmla="*/ 2147483647 h 90"/>
                    <a:gd name="T104" fmla="*/ 2147483647 w 188"/>
                    <a:gd name="T105" fmla="*/ 2147483647 h 90"/>
                    <a:gd name="T106" fmla="*/ 2147483647 w 188"/>
                    <a:gd name="T107" fmla="*/ 2147483647 h 90"/>
                    <a:gd name="T108" fmla="*/ 2147483647 w 188"/>
                    <a:gd name="T109" fmla="*/ 2147483647 h 90"/>
                    <a:gd name="T110" fmla="*/ 2147483647 w 188"/>
                    <a:gd name="T111" fmla="*/ 2147483647 h 90"/>
                    <a:gd name="T112" fmla="*/ 2147483647 w 188"/>
                    <a:gd name="T113" fmla="*/ 2147483647 h 90"/>
                    <a:gd name="T114" fmla="*/ 2147483647 w 188"/>
                    <a:gd name="T115" fmla="*/ 2147483647 h 90"/>
                    <a:gd name="T116" fmla="*/ 2147483647 w 188"/>
                    <a:gd name="T117" fmla="*/ 2147483647 h 90"/>
                    <a:gd name="T118" fmla="*/ 2147483647 w 188"/>
                    <a:gd name="T119" fmla="*/ 2147483647 h 90"/>
                    <a:gd name="T120" fmla="*/ 2147483647 w 188"/>
                    <a:gd name="T121" fmla="*/ 2147483647 h 9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88"/>
                    <a:gd name="T184" fmla="*/ 0 h 90"/>
                    <a:gd name="T185" fmla="*/ 188 w 188"/>
                    <a:gd name="T186" fmla="*/ 90 h 9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88" h="90">
                      <a:moveTo>
                        <a:pt x="152" y="10"/>
                      </a:moveTo>
                      <a:lnTo>
                        <a:pt x="149" y="9"/>
                      </a:lnTo>
                      <a:lnTo>
                        <a:pt x="146" y="5"/>
                      </a:lnTo>
                      <a:lnTo>
                        <a:pt x="142" y="3"/>
                      </a:lnTo>
                      <a:lnTo>
                        <a:pt x="141" y="3"/>
                      </a:lnTo>
                      <a:lnTo>
                        <a:pt x="138" y="3"/>
                      </a:lnTo>
                      <a:lnTo>
                        <a:pt x="137" y="4"/>
                      </a:lnTo>
                      <a:lnTo>
                        <a:pt x="136" y="6"/>
                      </a:lnTo>
                      <a:lnTo>
                        <a:pt x="133" y="10"/>
                      </a:lnTo>
                      <a:lnTo>
                        <a:pt x="132" y="13"/>
                      </a:lnTo>
                      <a:lnTo>
                        <a:pt x="130" y="15"/>
                      </a:lnTo>
                      <a:lnTo>
                        <a:pt x="128" y="15"/>
                      </a:lnTo>
                      <a:lnTo>
                        <a:pt x="126" y="13"/>
                      </a:lnTo>
                      <a:lnTo>
                        <a:pt x="124" y="12"/>
                      </a:lnTo>
                      <a:lnTo>
                        <a:pt x="122" y="11"/>
                      </a:lnTo>
                      <a:lnTo>
                        <a:pt x="121" y="11"/>
                      </a:lnTo>
                      <a:lnTo>
                        <a:pt x="116" y="13"/>
                      </a:lnTo>
                      <a:lnTo>
                        <a:pt x="113" y="15"/>
                      </a:lnTo>
                      <a:lnTo>
                        <a:pt x="105" y="12"/>
                      </a:lnTo>
                      <a:lnTo>
                        <a:pt x="102" y="15"/>
                      </a:lnTo>
                      <a:lnTo>
                        <a:pt x="102" y="18"/>
                      </a:lnTo>
                      <a:lnTo>
                        <a:pt x="102" y="20"/>
                      </a:lnTo>
                      <a:lnTo>
                        <a:pt x="100" y="22"/>
                      </a:lnTo>
                      <a:lnTo>
                        <a:pt x="99" y="23"/>
                      </a:lnTo>
                      <a:lnTo>
                        <a:pt x="97" y="22"/>
                      </a:lnTo>
                      <a:lnTo>
                        <a:pt x="95" y="17"/>
                      </a:lnTo>
                      <a:lnTo>
                        <a:pt x="95" y="12"/>
                      </a:lnTo>
                      <a:lnTo>
                        <a:pt x="94" y="9"/>
                      </a:lnTo>
                      <a:lnTo>
                        <a:pt x="93" y="9"/>
                      </a:lnTo>
                      <a:lnTo>
                        <a:pt x="90" y="9"/>
                      </a:lnTo>
                      <a:lnTo>
                        <a:pt x="86" y="10"/>
                      </a:lnTo>
                      <a:lnTo>
                        <a:pt x="84" y="13"/>
                      </a:lnTo>
                      <a:lnTo>
                        <a:pt x="83" y="17"/>
                      </a:lnTo>
                      <a:lnTo>
                        <a:pt x="79" y="19"/>
                      </a:lnTo>
                      <a:lnTo>
                        <a:pt x="76" y="19"/>
                      </a:lnTo>
                      <a:lnTo>
                        <a:pt x="75" y="18"/>
                      </a:lnTo>
                      <a:lnTo>
                        <a:pt x="72" y="12"/>
                      </a:lnTo>
                      <a:lnTo>
                        <a:pt x="71" y="10"/>
                      </a:lnTo>
                      <a:lnTo>
                        <a:pt x="67" y="9"/>
                      </a:lnTo>
                      <a:lnTo>
                        <a:pt x="65" y="9"/>
                      </a:lnTo>
                      <a:lnTo>
                        <a:pt x="62" y="11"/>
                      </a:lnTo>
                      <a:lnTo>
                        <a:pt x="62" y="15"/>
                      </a:lnTo>
                      <a:lnTo>
                        <a:pt x="62" y="18"/>
                      </a:lnTo>
                      <a:lnTo>
                        <a:pt x="61" y="20"/>
                      </a:lnTo>
                      <a:lnTo>
                        <a:pt x="60" y="24"/>
                      </a:lnTo>
                      <a:lnTo>
                        <a:pt x="56" y="29"/>
                      </a:lnTo>
                      <a:lnTo>
                        <a:pt x="53" y="36"/>
                      </a:lnTo>
                      <a:lnTo>
                        <a:pt x="52" y="38"/>
                      </a:lnTo>
                      <a:lnTo>
                        <a:pt x="51" y="39"/>
                      </a:lnTo>
                      <a:lnTo>
                        <a:pt x="50" y="39"/>
                      </a:lnTo>
                      <a:lnTo>
                        <a:pt x="48" y="37"/>
                      </a:lnTo>
                      <a:lnTo>
                        <a:pt x="47" y="32"/>
                      </a:lnTo>
                      <a:lnTo>
                        <a:pt x="44" y="28"/>
                      </a:lnTo>
                      <a:lnTo>
                        <a:pt x="44" y="26"/>
                      </a:lnTo>
                      <a:lnTo>
                        <a:pt x="44" y="25"/>
                      </a:lnTo>
                      <a:lnTo>
                        <a:pt x="47" y="23"/>
                      </a:lnTo>
                      <a:lnTo>
                        <a:pt x="50" y="18"/>
                      </a:lnTo>
                      <a:lnTo>
                        <a:pt x="48" y="17"/>
                      </a:lnTo>
                      <a:lnTo>
                        <a:pt x="48" y="15"/>
                      </a:lnTo>
                      <a:lnTo>
                        <a:pt x="43" y="9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29" y="1"/>
                      </a:lnTo>
                      <a:lnTo>
                        <a:pt x="28" y="3"/>
                      </a:lnTo>
                      <a:lnTo>
                        <a:pt x="28" y="4"/>
                      </a:lnTo>
                      <a:lnTo>
                        <a:pt x="32" y="7"/>
                      </a:lnTo>
                      <a:lnTo>
                        <a:pt x="32" y="10"/>
                      </a:lnTo>
                      <a:lnTo>
                        <a:pt x="32" y="12"/>
                      </a:lnTo>
                      <a:lnTo>
                        <a:pt x="29" y="13"/>
                      </a:lnTo>
                      <a:lnTo>
                        <a:pt x="25" y="15"/>
                      </a:lnTo>
                      <a:lnTo>
                        <a:pt x="23" y="15"/>
                      </a:lnTo>
                      <a:lnTo>
                        <a:pt x="20" y="17"/>
                      </a:lnTo>
                      <a:lnTo>
                        <a:pt x="18" y="22"/>
                      </a:lnTo>
                      <a:lnTo>
                        <a:pt x="15" y="24"/>
                      </a:lnTo>
                      <a:lnTo>
                        <a:pt x="8" y="26"/>
                      </a:lnTo>
                      <a:lnTo>
                        <a:pt x="5" y="30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6" y="32"/>
                      </a:lnTo>
                      <a:lnTo>
                        <a:pt x="9" y="32"/>
                      </a:lnTo>
                      <a:lnTo>
                        <a:pt x="13" y="31"/>
                      </a:lnTo>
                      <a:lnTo>
                        <a:pt x="15" y="32"/>
                      </a:lnTo>
                      <a:lnTo>
                        <a:pt x="17" y="32"/>
                      </a:lnTo>
                      <a:lnTo>
                        <a:pt x="19" y="31"/>
                      </a:lnTo>
                      <a:lnTo>
                        <a:pt x="23" y="29"/>
                      </a:lnTo>
                      <a:lnTo>
                        <a:pt x="27" y="28"/>
                      </a:lnTo>
                      <a:lnTo>
                        <a:pt x="31" y="29"/>
                      </a:lnTo>
                      <a:lnTo>
                        <a:pt x="32" y="30"/>
                      </a:lnTo>
                      <a:lnTo>
                        <a:pt x="33" y="32"/>
                      </a:lnTo>
                      <a:lnTo>
                        <a:pt x="33" y="36"/>
                      </a:lnTo>
                      <a:lnTo>
                        <a:pt x="32" y="39"/>
                      </a:lnTo>
                      <a:lnTo>
                        <a:pt x="24" y="41"/>
                      </a:lnTo>
                      <a:lnTo>
                        <a:pt x="17" y="43"/>
                      </a:lnTo>
                      <a:lnTo>
                        <a:pt x="10" y="44"/>
                      </a:lnTo>
                      <a:lnTo>
                        <a:pt x="3" y="45"/>
                      </a:lnTo>
                      <a:lnTo>
                        <a:pt x="1" y="47"/>
                      </a:lnTo>
                      <a:lnTo>
                        <a:pt x="0" y="49"/>
                      </a:lnTo>
                      <a:lnTo>
                        <a:pt x="0" y="50"/>
                      </a:lnTo>
                      <a:lnTo>
                        <a:pt x="1" y="51"/>
                      </a:lnTo>
                      <a:lnTo>
                        <a:pt x="4" y="51"/>
                      </a:lnTo>
                      <a:lnTo>
                        <a:pt x="10" y="51"/>
                      </a:lnTo>
                      <a:lnTo>
                        <a:pt x="15" y="50"/>
                      </a:lnTo>
                      <a:lnTo>
                        <a:pt x="20" y="50"/>
                      </a:lnTo>
                      <a:lnTo>
                        <a:pt x="22" y="50"/>
                      </a:lnTo>
                      <a:lnTo>
                        <a:pt x="24" y="51"/>
                      </a:lnTo>
                      <a:lnTo>
                        <a:pt x="25" y="54"/>
                      </a:lnTo>
                      <a:lnTo>
                        <a:pt x="27" y="56"/>
                      </a:lnTo>
                      <a:lnTo>
                        <a:pt x="29" y="57"/>
                      </a:lnTo>
                      <a:lnTo>
                        <a:pt x="36" y="56"/>
                      </a:lnTo>
                      <a:lnTo>
                        <a:pt x="37" y="57"/>
                      </a:lnTo>
                      <a:lnTo>
                        <a:pt x="37" y="58"/>
                      </a:lnTo>
                      <a:lnTo>
                        <a:pt x="38" y="62"/>
                      </a:lnTo>
                      <a:lnTo>
                        <a:pt x="39" y="63"/>
                      </a:lnTo>
                      <a:lnTo>
                        <a:pt x="41" y="64"/>
                      </a:lnTo>
                      <a:lnTo>
                        <a:pt x="41" y="67"/>
                      </a:lnTo>
                      <a:lnTo>
                        <a:pt x="39" y="68"/>
                      </a:lnTo>
                      <a:lnTo>
                        <a:pt x="38" y="69"/>
                      </a:lnTo>
                      <a:lnTo>
                        <a:pt x="36" y="69"/>
                      </a:lnTo>
                      <a:lnTo>
                        <a:pt x="31" y="69"/>
                      </a:lnTo>
                      <a:lnTo>
                        <a:pt x="28" y="69"/>
                      </a:lnTo>
                      <a:lnTo>
                        <a:pt x="27" y="70"/>
                      </a:lnTo>
                      <a:lnTo>
                        <a:pt x="27" y="71"/>
                      </a:lnTo>
                      <a:lnTo>
                        <a:pt x="27" y="75"/>
                      </a:lnTo>
                      <a:lnTo>
                        <a:pt x="28" y="79"/>
                      </a:lnTo>
                      <a:lnTo>
                        <a:pt x="33" y="82"/>
                      </a:lnTo>
                      <a:lnTo>
                        <a:pt x="36" y="82"/>
                      </a:lnTo>
                      <a:lnTo>
                        <a:pt x="39" y="81"/>
                      </a:lnTo>
                      <a:lnTo>
                        <a:pt x="42" y="79"/>
                      </a:lnTo>
                      <a:lnTo>
                        <a:pt x="46" y="79"/>
                      </a:lnTo>
                      <a:lnTo>
                        <a:pt x="50" y="81"/>
                      </a:lnTo>
                      <a:lnTo>
                        <a:pt x="52" y="80"/>
                      </a:lnTo>
                      <a:lnTo>
                        <a:pt x="53" y="79"/>
                      </a:lnTo>
                      <a:lnTo>
                        <a:pt x="56" y="80"/>
                      </a:lnTo>
                      <a:lnTo>
                        <a:pt x="58" y="82"/>
                      </a:lnTo>
                      <a:lnTo>
                        <a:pt x="60" y="84"/>
                      </a:lnTo>
                      <a:lnTo>
                        <a:pt x="62" y="86"/>
                      </a:lnTo>
                      <a:lnTo>
                        <a:pt x="65" y="87"/>
                      </a:lnTo>
                      <a:lnTo>
                        <a:pt x="69" y="87"/>
                      </a:lnTo>
                      <a:lnTo>
                        <a:pt x="75" y="84"/>
                      </a:lnTo>
                      <a:lnTo>
                        <a:pt x="77" y="84"/>
                      </a:lnTo>
                      <a:lnTo>
                        <a:pt x="79" y="86"/>
                      </a:lnTo>
                      <a:lnTo>
                        <a:pt x="83" y="88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90" y="90"/>
                      </a:lnTo>
                      <a:lnTo>
                        <a:pt x="99" y="88"/>
                      </a:lnTo>
                      <a:lnTo>
                        <a:pt x="107" y="86"/>
                      </a:lnTo>
                      <a:lnTo>
                        <a:pt x="111" y="84"/>
                      </a:lnTo>
                      <a:lnTo>
                        <a:pt x="113" y="82"/>
                      </a:lnTo>
                      <a:lnTo>
                        <a:pt x="119" y="77"/>
                      </a:lnTo>
                      <a:lnTo>
                        <a:pt x="123" y="76"/>
                      </a:lnTo>
                      <a:lnTo>
                        <a:pt x="127" y="76"/>
                      </a:lnTo>
                      <a:lnTo>
                        <a:pt x="130" y="77"/>
                      </a:lnTo>
                      <a:lnTo>
                        <a:pt x="133" y="76"/>
                      </a:lnTo>
                      <a:lnTo>
                        <a:pt x="136" y="75"/>
                      </a:lnTo>
                      <a:lnTo>
                        <a:pt x="137" y="73"/>
                      </a:lnTo>
                      <a:lnTo>
                        <a:pt x="138" y="70"/>
                      </a:lnTo>
                      <a:lnTo>
                        <a:pt x="141" y="68"/>
                      </a:lnTo>
                      <a:lnTo>
                        <a:pt x="146" y="65"/>
                      </a:lnTo>
                      <a:lnTo>
                        <a:pt x="152" y="64"/>
                      </a:lnTo>
                      <a:lnTo>
                        <a:pt x="159" y="64"/>
                      </a:lnTo>
                      <a:lnTo>
                        <a:pt x="161" y="63"/>
                      </a:lnTo>
                      <a:lnTo>
                        <a:pt x="163" y="62"/>
                      </a:lnTo>
                      <a:lnTo>
                        <a:pt x="168" y="58"/>
                      </a:lnTo>
                      <a:lnTo>
                        <a:pt x="171" y="57"/>
                      </a:lnTo>
                      <a:lnTo>
                        <a:pt x="175" y="56"/>
                      </a:lnTo>
                      <a:lnTo>
                        <a:pt x="177" y="55"/>
                      </a:lnTo>
                      <a:lnTo>
                        <a:pt x="177" y="52"/>
                      </a:lnTo>
                      <a:lnTo>
                        <a:pt x="175" y="50"/>
                      </a:lnTo>
                      <a:lnTo>
                        <a:pt x="175" y="49"/>
                      </a:lnTo>
                      <a:lnTo>
                        <a:pt x="178" y="47"/>
                      </a:lnTo>
                      <a:lnTo>
                        <a:pt x="180" y="44"/>
                      </a:lnTo>
                      <a:lnTo>
                        <a:pt x="184" y="43"/>
                      </a:lnTo>
                      <a:lnTo>
                        <a:pt x="188" y="42"/>
                      </a:lnTo>
                      <a:lnTo>
                        <a:pt x="188" y="41"/>
                      </a:lnTo>
                      <a:lnTo>
                        <a:pt x="187" y="39"/>
                      </a:lnTo>
                      <a:lnTo>
                        <a:pt x="183" y="37"/>
                      </a:lnTo>
                      <a:lnTo>
                        <a:pt x="180" y="35"/>
                      </a:lnTo>
                      <a:lnTo>
                        <a:pt x="179" y="31"/>
                      </a:lnTo>
                      <a:lnTo>
                        <a:pt x="178" y="29"/>
                      </a:lnTo>
                      <a:lnTo>
                        <a:pt x="168" y="19"/>
                      </a:lnTo>
                      <a:lnTo>
                        <a:pt x="159" y="13"/>
                      </a:lnTo>
                      <a:lnTo>
                        <a:pt x="152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110">
                  <a:extLst>
                    <a:ext uri="{FF2B5EF4-FFF2-40B4-BE49-F238E27FC236}">
                      <a16:creationId xmlns:a16="http://schemas.microsoft.com/office/drawing/2014/main" id="{97AD4345-0907-DC4C-BEFB-9DFACB0E7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2533" y="2438512"/>
                  <a:ext cx="257498" cy="133188"/>
                </a:xfrm>
                <a:custGeom>
                  <a:avLst/>
                  <a:gdLst>
                    <a:gd name="T0" fmla="*/ 2147483647 w 188"/>
                    <a:gd name="T1" fmla="*/ 2147483647 h 90"/>
                    <a:gd name="T2" fmla="*/ 2147483647 w 188"/>
                    <a:gd name="T3" fmla="*/ 2147483647 h 90"/>
                    <a:gd name="T4" fmla="*/ 2147483647 w 188"/>
                    <a:gd name="T5" fmla="*/ 2147483647 h 90"/>
                    <a:gd name="T6" fmla="*/ 2147483647 w 188"/>
                    <a:gd name="T7" fmla="*/ 2147483647 h 90"/>
                    <a:gd name="T8" fmla="*/ 2147483647 w 188"/>
                    <a:gd name="T9" fmla="*/ 2147483647 h 90"/>
                    <a:gd name="T10" fmla="*/ 2147483647 w 188"/>
                    <a:gd name="T11" fmla="*/ 2147483647 h 90"/>
                    <a:gd name="T12" fmla="*/ 2147483647 w 188"/>
                    <a:gd name="T13" fmla="*/ 2147483647 h 90"/>
                    <a:gd name="T14" fmla="*/ 2147483647 w 188"/>
                    <a:gd name="T15" fmla="*/ 2147483647 h 90"/>
                    <a:gd name="T16" fmla="*/ 2147483647 w 188"/>
                    <a:gd name="T17" fmla="*/ 2147483647 h 90"/>
                    <a:gd name="T18" fmla="*/ 2147483647 w 188"/>
                    <a:gd name="T19" fmla="*/ 2147483647 h 90"/>
                    <a:gd name="T20" fmla="*/ 2147483647 w 188"/>
                    <a:gd name="T21" fmla="*/ 2147483647 h 90"/>
                    <a:gd name="T22" fmla="*/ 2147483647 w 188"/>
                    <a:gd name="T23" fmla="*/ 2147483647 h 90"/>
                    <a:gd name="T24" fmla="*/ 2147483647 w 188"/>
                    <a:gd name="T25" fmla="*/ 2147483647 h 90"/>
                    <a:gd name="T26" fmla="*/ 2147483647 w 188"/>
                    <a:gd name="T27" fmla="*/ 2147483647 h 90"/>
                    <a:gd name="T28" fmla="*/ 2147483647 w 188"/>
                    <a:gd name="T29" fmla="*/ 2147483647 h 90"/>
                    <a:gd name="T30" fmla="*/ 2147483647 w 188"/>
                    <a:gd name="T31" fmla="*/ 2147483647 h 90"/>
                    <a:gd name="T32" fmla="*/ 2147483647 w 188"/>
                    <a:gd name="T33" fmla="*/ 2147483647 h 90"/>
                    <a:gd name="T34" fmla="*/ 2147483647 w 188"/>
                    <a:gd name="T35" fmla="*/ 2147483647 h 90"/>
                    <a:gd name="T36" fmla="*/ 2147483647 w 188"/>
                    <a:gd name="T37" fmla="*/ 2147483647 h 90"/>
                    <a:gd name="T38" fmla="*/ 2147483647 w 188"/>
                    <a:gd name="T39" fmla="*/ 0 h 90"/>
                    <a:gd name="T40" fmla="*/ 2147483647 w 188"/>
                    <a:gd name="T41" fmla="*/ 2147483647 h 90"/>
                    <a:gd name="T42" fmla="*/ 2147483647 w 188"/>
                    <a:gd name="T43" fmla="*/ 2147483647 h 90"/>
                    <a:gd name="T44" fmla="*/ 2147483647 w 188"/>
                    <a:gd name="T45" fmla="*/ 2147483647 h 90"/>
                    <a:gd name="T46" fmla="*/ 2147483647 w 188"/>
                    <a:gd name="T47" fmla="*/ 2147483647 h 90"/>
                    <a:gd name="T48" fmla="*/ 2147483647 w 188"/>
                    <a:gd name="T49" fmla="*/ 2147483647 h 90"/>
                    <a:gd name="T50" fmla="*/ 2147483647 w 188"/>
                    <a:gd name="T51" fmla="*/ 2147483647 h 90"/>
                    <a:gd name="T52" fmla="*/ 2147483647 w 188"/>
                    <a:gd name="T53" fmla="*/ 2147483647 h 90"/>
                    <a:gd name="T54" fmla="*/ 2147483647 w 188"/>
                    <a:gd name="T55" fmla="*/ 2147483647 h 90"/>
                    <a:gd name="T56" fmla="*/ 2147483647 w 188"/>
                    <a:gd name="T57" fmla="*/ 2147483647 h 90"/>
                    <a:gd name="T58" fmla="*/ 2147483647 w 188"/>
                    <a:gd name="T59" fmla="*/ 2147483647 h 90"/>
                    <a:gd name="T60" fmla="*/ 2147483647 w 188"/>
                    <a:gd name="T61" fmla="*/ 2147483647 h 90"/>
                    <a:gd name="T62" fmla="*/ 0 w 188"/>
                    <a:gd name="T63" fmla="*/ 2147483647 h 90"/>
                    <a:gd name="T64" fmla="*/ 2147483647 w 188"/>
                    <a:gd name="T65" fmla="*/ 2147483647 h 90"/>
                    <a:gd name="T66" fmla="*/ 2147483647 w 188"/>
                    <a:gd name="T67" fmla="*/ 2147483647 h 90"/>
                    <a:gd name="T68" fmla="*/ 2147483647 w 188"/>
                    <a:gd name="T69" fmla="*/ 2147483647 h 90"/>
                    <a:gd name="T70" fmla="*/ 2147483647 w 188"/>
                    <a:gd name="T71" fmla="*/ 2147483647 h 90"/>
                    <a:gd name="T72" fmla="*/ 2147483647 w 188"/>
                    <a:gd name="T73" fmla="*/ 2147483647 h 90"/>
                    <a:gd name="T74" fmla="*/ 2147483647 w 188"/>
                    <a:gd name="T75" fmla="*/ 2147483647 h 90"/>
                    <a:gd name="T76" fmla="*/ 2147483647 w 188"/>
                    <a:gd name="T77" fmla="*/ 2147483647 h 90"/>
                    <a:gd name="T78" fmla="*/ 2147483647 w 188"/>
                    <a:gd name="T79" fmla="*/ 2147483647 h 90"/>
                    <a:gd name="T80" fmla="*/ 2147483647 w 188"/>
                    <a:gd name="T81" fmla="*/ 2147483647 h 90"/>
                    <a:gd name="T82" fmla="*/ 2147483647 w 188"/>
                    <a:gd name="T83" fmla="*/ 2147483647 h 90"/>
                    <a:gd name="T84" fmla="*/ 2147483647 w 188"/>
                    <a:gd name="T85" fmla="*/ 2147483647 h 90"/>
                    <a:gd name="T86" fmla="*/ 2147483647 w 188"/>
                    <a:gd name="T87" fmla="*/ 2147483647 h 90"/>
                    <a:gd name="T88" fmla="*/ 2147483647 w 188"/>
                    <a:gd name="T89" fmla="*/ 2147483647 h 90"/>
                    <a:gd name="T90" fmla="*/ 2147483647 w 188"/>
                    <a:gd name="T91" fmla="*/ 2147483647 h 90"/>
                    <a:gd name="T92" fmla="*/ 2147483647 w 188"/>
                    <a:gd name="T93" fmla="*/ 2147483647 h 90"/>
                    <a:gd name="T94" fmla="*/ 2147483647 w 188"/>
                    <a:gd name="T95" fmla="*/ 2147483647 h 90"/>
                    <a:gd name="T96" fmla="*/ 2147483647 w 188"/>
                    <a:gd name="T97" fmla="*/ 2147483647 h 90"/>
                    <a:gd name="T98" fmla="*/ 2147483647 w 188"/>
                    <a:gd name="T99" fmla="*/ 2147483647 h 90"/>
                    <a:gd name="T100" fmla="*/ 2147483647 w 188"/>
                    <a:gd name="T101" fmla="*/ 2147483647 h 90"/>
                    <a:gd name="T102" fmla="*/ 2147483647 w 188"/>
                    <a:gd name="T103" fmla="*/ 2147483647 h 90"/>
                    <a:gd name="T104" fmla="*/ 2147483647 w 188"/>
                    <a:gd name="T105" fmla="*/ 2147483647 h 90"/>
                    <a:gd name="T106" fmla="*/ 2147483647 w 188"/>
                    <a:gd name="T107" fmla="*/ 2147483647 h 90"/>
                    <a:gd name="T108" fmla="*/ 2147483647 w 188"/>
                    <a:gd name="T109" fmla="*/ 2147483647 h 90"/>
                    <a:gd name="T110" fmla="*/ 2147483647 w 188"/>
                    <a:gd name="T111" fmla="*/ 2147483647 h 90"/>
                    <a:gd name="T112" fmla="*/ 2147483647 w 188"/>
                    <a:gd name="T113" fmla="*/ 2147483647 h 90"/>
                    <a:gd name="T114" fmla="*/ 2147483647 w 188"/>
                    <a:gd name="T115" fmla="*/ 2147483647 h 90"/>
                    <a:gd name="T116" fmla="*/ 2147483647 w 188"/>
                    <a:gd name="T117" fmla="*/ 2147483647 h 90"/>
                    <a:gd name="T118" fmla="*/ 2147483647 w 188"/>
                    <a:gd name="T119" fmla="*/ 2147483647 h 9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88"/>
                    <a:gd name="T181" fmla="*/ 0 h 90"/>
                    <a:gd name="T182" fmla="*/ 188 w 188"/>
                    <a:gd name="T183" fmla="*/ 90 h 9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88" h="90">
                      <a:moveTo>
                        <a:pt x="152" y="10"/>
                      </a:moveTo>
                      <a:lnTo>
                        <a:pt x="152" y="10"/>
                      </a:lnTo>
                      <a:lnTo>
                        <a:pt x="148" y="8"/>
                      </a:lnTo>
                      <a:lnTo>
                        <a:pt x="146" y="5"/>
                      </a:lnTo>
                      <a:lnTo>
                        <a:pt x="142" y="2"/>
                      </a:lnTo>
                      <a:lnTo>
                        <a:pt x="141" y="2"/>
                      </a:lnTo>
                      <a:lnTo>
                        <a:pt x="138" y="2"/>
                      </a:lnTo>
                      <a:lnTo>
                        <a:pt x="137" y="4"/>
                      </a:lnTo>
                      <a:lnTo>
                        <a:pt x="136" y="6"/>
                      </a:lnTo>
                      <a:lnTo>
                        <a:pt x="133" y="10"/>
                      </a:lnTo>
                      <a:lnTo>
                        <a:pt x="132" y="13"/>
                      </a:lnTo>
                      <a:lnTo>
                        <a:pt x="129" y="14"/>
                      </a:lnTo>
                      <a:lnTo>
                        <a:pt x="128" y="14"/>
                      </a:lnTo>
                      <a:lnTo>
                        <a:pt x="125" y="13"/>
                      </a:lnTo>
                      <a:lnTo>
                        <a:pt x="124" y="12"/>
                      </a:lnTo>
                      <a:lnTo>
                        <a:pt x="122" y="11"/>
                      </a:lnTo>
                      <a:lnTo>
                        <a:pt x="120" y="11"/>
                      </a:lnTo>
                      <a:lnTo>
                        <a:pt x="115" y="13"/>
                      </a:lnTo>
                      <a:lnTo>
                        <a:pt x="113" y="14"/>
                      </a:lnTo>
                      <a:lnTo>
                        <a:pt x="105" y="12"/>
                      </a:lnTo>
                      <a:lnTo>
                        <a:pt x="101" y="14"/>
                      </a:lnTo>
                      <a:lnTo>
                        <a:pt x="101" y="18"/>
                      </a:lnTo>
                      <a:lnTo>
                        <a:pt x="101" y="20"/>
                      </a:lnTo>
                      <a:lnTo>
                        <a:pt x="100" y="21"/>
                      </a:lnTo>
                      <a:lnTo>
                        <a:pt x="99" y="23"/>
                      </a:lnTo>
                      <a:lnTo>
                        <a:pt x="96" y="21"/>
                      </a:lnTo>
                      <a:lnTo>
                        <a:pt x="95" y="17"/>
                      </a:lnTo>
                      <a:lnTo>
                        <a:pt x="95" y="12"/>
                      </a:lnTo>
                      <a:lnTo>
                        <a:pt x="94" y="8"/>
                      </a:lnTo>
                      <a:lnTo>
                        <a:pt x="92" y="8"/>
                      </a:lnTo>
                      <a:lnTo>
                        <a:pt x="90" y="8"/>
                      </a:lnTo>
                      <a:lnTo>
                        <a:pt x="86" y="10"/>
                      </a:lnTo>
                      <a:lnTo>
                        <a:pt x="84" y="13"/>
                      </a:lnTo>
                      <a:lnTo>
                        <a:pt x="82" y="17"/>
                      </a:lnTo>
                      <a:lnTo>
                        <a:pt x="78" y="19"/>
                      </a:lnTo>
                      <a:lnTo>
                        <a:pt x="76" y="19"/>
                      </a:lnTo>
                      <a:lnTo>
                        <a:pt x="75" y="18"/>
                      </a:lnTo>
                      <a:lnTo>
                        <a:pt x="72" y="12"/>
                      </a:lnTo>
                      <a:lnTo>
                        <a:pt x="71" y="10"/>
                      </a:lnTo>
                      <a:lnTo>
                        <a:pt x="67" y="8"/>
                      </a:lnTo>
                      <a:lnTo>
                        <a:pt x="65" y="8"/>
                      </a:lnTo>
                      <a:lnTo>
                        <a:pt x="62" y="11"/>
                      </a:lnTo>
                      <a:lnTo>
                        <a:pt x="62" y="14"/>
                      </a:lnTo>
                      <a:lnTo>
                        <a:pt x="62" y="18"/>
                      </a:lnTo>
                      <a:lnTo>
                        <a:pt x="61" y="20"/>
                      </a:lnTo>
                      <a:lnTo>
                        <a:pt x="59" y="24"/>
                      </a:lnTo>
                      <a:lnTo>
                        <a:pt x="56" y="29"/>
                      </a:lnTo>
                      <a:lnTo>
                        <a:pt x="53" y="36"/>
                      </a:lnTo>
                      <a:lnTo>
                        <a:pt x="52" y="38"/>
                      </a:lnTo>
                      <a:lnTo>
                        <a:pt x="51" y="39"/>
                      </a:lnTo>
                      <a:lnTo>
                        <a:pt x="49" y="39"/>
                      </a:lnTo>
                      <a:lnTo>
                        <a:pt x="48" y="37"/>
                      </a:lnTo>
                      <a:lnTo>
                        <a:pt x="47" y="32"/>
                      </a:lnTo>
                      <a:lnTo>
                        <a:pt x="44" y="27"/>
                      </a:lnTo>
                      <a:lnTo>
                        <a:pt x="44" y="26"/>
                      </a:lnTo>
                      <a:lnTo>
                        <a:pt x="44" y="25"/>
                      </a:lnTo>
                      <a:lnTo>
                        <a:pt x="47" y="23"/>
                      </a:lnTo>
                      <a:lnTo>
                        <a:pt x="49" y="18"/>
                      </a:lnTo>
                      <a:lnTo>
                        <a:pt x="48" y="17"/>
                      </a:lnTo>
                      <a:lnTo>
                        <a:pt x="48" y="14"/>
                      </a:lnTo>
                      <a:lnTo>
                        <a:pt x="43" y="8"/>
                      </a:lnTo>
                      <a:lnTo>
                        <a:pt x="33" y="0"/>
                      </a:lnTo>
                      <a:lnTo>
                        <a:pt x="32" y="0"/>
                      </a:lnTo>
                      <a:lnTo>
                        <a:pt x="29" y="1"/>
                      </a:lnTo>
                      <a:lnTo>
                        <a:pt x="28" y="2"/>
                      </a:lnTo>
                      <a:lnTo>
                        <a:pt x="28" y="4"/>
                      </a:lnTo>
                      <a:lnTo>
                        <a:pt x="32" y="7"/>
                      </a:lnTo>
                      <a:lnTo>
                        <a:pt x="32" y="10"/>
                      </a:lnTo>
                      <a:lnTo>
                        <a:pt x="32" y="12"/>
                      </a:lnTo>
                      <a:lnTo>
                        <a:pt x="29" y="13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0" y="17"/>
                      </a:lnTo>
                      <a:lnTo>
                        <a:pt x="18" y="21"/>
                      </a:lnTo>
                      <a:lnTo>
                        <a:pt x="15" y="24"/>
                      </a:lnTo>
                      <a:lnTo>
                        <a:pt x="7" y="26"/>
                      </a:lnTo>
                      <a:lnTo>
                        <a:pt x="5" y="30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6" y="32"/>
                      </a:lnTo>
                      <a:lnTo>
                        <a:pt x="9" y="32"/>
                      </a:lnTo>
                      <a:lnTo>
                        <a:pt x="12" y="31"/>
                      </a:lnTo>
                      <a:lnTo>
                        <a:pt x="15" y="32"/>
                      </a:lnTo>
                      <a:lnTo>
                        <a:pt x="16" y="32"/>
                      </a:lnTo>
                      <a:lnTo>
                        <a:pt x="19" y="31"/>
                      </a:lnTo>
                      <a:lnTo>
                        <a:pt x="23" y="29"/>
                      </a:lnTo>
                      <a:lnTo>
                        <a:pt x="26" y="27"/>
                      </a:lnTo>
                      <a:lnTo>
                        <a:pt x="30" y="29"/>
                      </a:lnTo>
                      <a:lnTo>
                        <a:pt x="32" y="30"/>
                      </a:lnTo>
                      <a:lnTo>
                        <a:pt x="33" y="32"/>
                      </a:lnTo>
                      <a:lnTo>
                        <a:pt x="33" y="36"/>
                      </a:lnTo>
                      <a:lnTo>
                        <a:pt x="32" y="39"/>
                      </a:lnTo>
                      <a:lnTo>
                        <a:pt x="24" y="40"/>
                      </a:lnTo>
                      <a:lnTo>
                        <a:pt x="16" y="43"/>
                      </a:lnTo>
                      <a:lnTo>
                        <a:pt x="10" y="44"/>
                      </a:lnTo>
                      <a:lnTo>
                        <a:pt x="2" y="45"/>
                      </a:lnTo>
                      <a:lnTo>
                        <a:pt x="1" y="46"/>
                      </a:lnTo>
                      <a:lnTo>
                        <a:pt x="0" y="49"/>
                      </a:lnTo>
                      <a:lnTo>
                        <a:pt x="0" y="50"/>
                      </a:lnTo>
                      <a:lnTo>
                        <a:pt x="1" y="51"/>
                      </a:lnTo>
                      <a:lnTo>
                        <a:pt x="4" y="51"/>
                      </a:lnTo>
                      <a:lnTo>
                        <a:pt x="10" y="51"/>
                      </a:lnTo>
                      <a:lnTo>
                        <a:pt x="15" y="50"/>
                      </a:lnTo>
                      <a:lnTo>
                        <a:pt x="20" y="50"/>
                      </a:lnTo>
                      <a:lnTo>
                        <a:pt x="21" y="50"/>
                      </a:lnTo>
                      <a:lnTo>
                        <a:pt x="24" y="51"/>
                      </a:lnTo>
                      <a:lnTo>
                        <a:pt x="25" y="53"/>
                      </a:lnTo>
                      <a:lnTo>
                        <a:pt x="26" y="56"/>
                      </a:lnTo>
                      <a:lnTo>
                        <a:pt x="29" y="57"/>
                      </a:lnTo>
                      <a:lnTo>
                        <a:pt x="35" y="56"/>
                      </a:lnTo>
                      <a:lnTo>
                        <a:pt x="37" y="57"/>
                      </a:lnTo>
                      <a:lnTo>
                        <a:pt x="37" y="58"/>
                      </a:lnTo>
                      <a:lnTo>
                        <a:pt x="38" y="62"/>
                      </a:lnTo>
                      <a:lnTo>
                        <a:pt x="39" y="63"/>
                      </a:lnTo>
                      <a:lnTo>
                        <a:pt x="40" y="64"/>
                      </a:lnTo>
                      <a:lnTo>
                        <a:pt x="40" y="66"/>
                      </a:lnTo>
                      <a:lnTo>
                        <a:pt x="39" y="68"/>
                      </a:lnTo>
                      <a:lnTo>
                        <a:pt x="38" y="69"/>
                      </a:lnTo>
                      <a:lnTo>
                        <a:pt x="35" y="69"/>
                      </a:lnTo>
                      <a:lnTo>
                        <a:pt x="30" y="69"/>
                      </a:lnTo>
                      <a:lnTo>
                        <a:pt x="28" y="69"/>
                      </a:lnTo>
                      <a:lnTo>
                        <a:pt x="26" y="70"/>
                      </a:lnTo>
                      <a:lnTo>
                        <a:pt x="26" y="71"/>
                      </a:lnTo>
                      <a:lnTo>
                        <a:pt x="26" y="75"/>
                      </a:lnTo>
                      <a:lnTo>
                        <a:pt x="28" y="78"/>
                      </a:lnTo>
                      <a:lnTo>
                        <a:pt x="33" y="82"/>
                      </a:lnTo>
                      <a:lnTo>
                        <a:pt x="35" y="82"/>
                      </a:lnTo>
                      <a:lnTo>
                        <a:pt x="39" y="81"/>
                      </a:lnTo>
                      <a:lnTo>
                        <a:pt x="42" y="78"/>
                      </a:lnTo>
                      <a:lnTo>
                        <a:pt x="45" y="78"/>
                      </a:lnTo>
                      <a:lnTo>
                        <a:pt x="49" y="81"/>
                      </a:lnTo>
                      <a:lnTo>
                        <a:pt x="52" y="80"/>
                      </a:lnTo>
                      <a:lnTo>
                        <a:pt x="53" y="78"/>
                      </a:lnTo>
                      <a:lnTo>
                        <a:pt x="56" y="80"/>
                      </a:lnTo>
                      <a:lnTo>
                        <a:pt x="58" y="82"/>
                      </a:lnTo>
                      <a:lnTo>
                        <a:pt x="59" y="84"/>
                      </a:lnTo>
                      <a:lnTo>
                        <a:pt x="62" y="85"/>
                      </a:lnTo>
                      <a:lnTo>
                        <a:pt x="65" y="87"/>
                      </a:lnTo>
                      <a:lnTo>
                        <a:pt x="68" y="87"/>
                      </a:lnTo>
                      <a:lnTo>
                        <a:pt x="75" y="84"/>
                      </a:lnTo>
                      <a:lnTo>
                        <a:pt x="77" y="84"/>
                      </a:lnTo>
                      <a:lnTo>
                        <a:pt x="78" y="85"/>
                      </a:lnTo>
                      <a:lnTo>
                        <a:pt x="82" y="88"/>
                      </a:lnTo>
                      <a:lnTo>
                        <a:pt x="86" y="90"/>
                      </a:lnTo>
                      <a:lnTo>
                        <a:pt x="87" y="90"/>
                      </a:lnTo>
                      <a:lnTo>
                        <a:pt x="90" y="90"/>
                      </a:lnTo>
                      <a:lnTo>
                        <a:pt x="99" y="88"/>
                      </a:lnTo>
                      <a:lnTo>
                        <a:pt x="106" y="85"/>
                      </a:lnTo>
                      <a:lnTo>
                        <a:pt x="110" y="84"/>
                      </a:lnTo>
                      <a:lnTo>
                        <a:pt x="113" y="82"/>
                      </a:lnTo>
                      <a:lnTo>
                        <a:pt x="119" y="77"/>
                      </a:lnTo>
                      <a:lnTo>
                        <a:pt x="123" y="76"/>
                      </a:lnTo>
                      <a:lnTo>
                        <a:pt x="127" y="76"/>
                      </a:lnTo>
                      <a:lnTo>
                        <a:pt x="129" y="77"/>
                      </a:lnTo>
                      <a:lnTo>
                        <a:pt x="133" y="76"/>
                      </a:lnTo>
                      <a:lnTo>
                        <a:pt x="136" y="75"/>
                      </a:lnTo>
                      <a:lnTo>
                        <a:pt x="137" y="72"/>
                      </a:lnTo>
                      <a:lnTo>
                        <a:pt x="138" y="70"/>
                      </a:lnTo>
                      <a:lnTo>
                        <a:pt x="141" y="68"/>
                      </a:lnTo>
                      <a:lnTo>
                        <a:pt x="146" y="65"/>
                      </a:lnTo>
                      <a:lnTo>
                        <a:pt x="152" y="64"/>
                      </a:lnTo>
                      <a:lnTo>
                        <a:pt x="158" y="64"/>
                      </a:lnTo>
                      <a:lnTo>
                        <a:pt x="161" y="63"/>
                      </a:lnTo>
                      <a:lnTo>
                        <a:pt x="162" y="62"/>
                      </a:lnTo>
                      <a:lnTo>
                        <a:pt x="167" y="58"/>
                      </a:lnTo>
                      <a:lnTo>
                        <a:pt x="171" y="57"/>
                      </a:lnTo>
                      <a:lnTo>
                        <a:pt x="175" y="56"/>
                      </a:lnTo>
                      <a:lnTo>
                        <a:pt x="176" y="55"/>
                      </a:lnTo>
                      <a:lnTo>
                        <a:pt x="176" y="52"/>
                      </a:lnTo>
                      <a:lnTo>
                        <a:pt x="175" y="50"/>
                      </a:lnTo>
                      <a:lnTo>
                        <a:pt x="175" y="49"/>
                      </a:lnTo>
                      <a:lnTo>
                        <a:pt x="178" y="46"/>
                      </a:lnTo>
                      <a:lnTo>
                        <a:pt x="180" y="44"/>
                      </a:lnTo>
                      <a:lnTo>
                        <a:pt x="184" y="43"/>
                      </a:lnTo>
                      <a:lnTo>
                        <a:pt x="188" y="42"/>
                      </a:lnTo>
                      <a:lnTo>
                        <a:pt x="188" y="40"/>
                      </a:lnTo>
                      <a:lnTo>
                        <a:pt x="186" y="39"/>
                      </a:lnTo>
                      <a:lnTo>
                        <a:pt x="183" y="37"/>
                      </a:lnTo>
                      <a:lnTo>
                        <a:pt x="180" y="34"/>
                      </a:lnTo>
                      <a:lnTo>
                        <a:pt x="179" y="31"/>
                      </a:lnTo>
                      <a:lnTo>
                        <a:pt x="178" y="29"/>
                      </a:lnTo>
                      <a:lnTo>
                        <a:pt x="167" y="19"/>
                      </a:lnTo>
                      <a:lnTo>
                        <a:pt x="158" y="13"/>
                      </a:lnTo>
                      <a:lnTo>
                        <a:pt x="152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200">
                  <a:extLst>
                    <a:ext uri="{FF2B5EF4-FFF2-40B4-BE49-F238E27FC236}">
                      <a16:creationId xmlns:a16="http://schemas.microsoft.com/office/drawing/2014/main" id="{9861C922-14A9-9340-8B9F-CE1FBA4802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4708" y="3181408"/>
                  <a:ext cx="288575" cy="303374"/>
                </a:xfrm>
                <a:custGeom>
                  <a:avLst/>
                  <a:gdLst>
                    <a:gd name="T0" fmla="*/ 2147483647 w 212"/>
                    <a:gd name="T1" fmla="*/ 2147483647 h 205"/>
                    <a:gd name="T2" fmla="*/ 2147483647 w 212"/>
                    <a:gd name="T3" fmla="*/ 2147483647 h 205"/>
                    <a:gd name="T4" fmla="*/ 2147483647 w 212"/>
                    <a:gd name="T5" fmla="*/ 2147483647 h 205"/>
                    <a:gd name="T6" fmla="*/ 2147483647 w 212"/>
                    <a:gd name="T7" fmla="*/ 2147483647 h 205"/>
                    <a:gd name="T8" fmla="*/ 2147483647 w 212"/>
                    <a:gd name="T9" fmla="*/ 2147483647 h 205"/>
                    <a:gd name="T10" fmla="*/ 2147483647 w 212"/>
                    <a:gd name="T11" fmla="*/ 2147483647 h 205"/>
                    <a:gd name="T12" fmla="*/ 2147483647 w 212"/>
                    <a:gd name="T13" fmla="*/ 2147483647 h 205"/>
                    <a:gd name="T14" fmla="*/ 2147483647 w 212"/>
                    <a:gd name="T15" fmla="*/ 2147483647 h 205"/>
                    <a:gd name="T16" fmla="*/ 2147483647 w 212"/>
                    <a:gd name="T17" fmla="*/ 2147483647 h 205"/>
                    <a:gd name="T18" fmla="*/ 2147483647 w 212"/>
                    <a:gd name="T19" fmla="*/ 2147483647 h 205"/>
                    <a:gd name="T20" fmla="*/ 2147483647 w 212"/>
                    <a:gd name="T21" fmla="*/ 2147483647 h 205"/>
                    <a:gd name="T22" fmla="*/ 2147483647 w 212"/>
                    <a:gd name="T23" fmla="*/ 2147483647 h 205"/>
                    <a:gd name="T24" fmla="*/ 2147483647 w 212"/>
                    <a:gd name="T25" fmla="*/ 2147483647 h 205"/>
                    <a:gd name="T26" fmla="*/ 2147483647 w 212"/>
                    <a:gd name="T27" fmla="*/ 2147483647 h 205"/>
                    <a:gd name="T28" fmla="*/ 2147483647 w 212"/>
                    <a:gd name="T29" fmla="*/ 2147483647 h 205"/>
                    <a:gd name="T30" fmla="*/ 2147483647 w 212"/>
                    <a:gd name="T31" fmla="*/ 2147483647 h 205"/>
                    <a:gd name="T32" fmla="*/ 2147483647 w 212"/>
                    <a:gd name="T33" fmla="*/ 2147483647 h 205"/>
                    <a:gd name="T34" fmla="*/ 2147483647 w 212"/>
                    <a:gd name="T35" fmla="*/ 2147483647 h 205"/>
                    <a:gd name="T36" fmla="*/ 2147483647 w 212"/>
                    <a:gd name="T37" fmla="*/ 2147483647 h 205"/>
                    <a:gd name="T38" fmla="*/ 2147483647 w 212"/>
                    <a:gd name="T39" fmla="*/ 2147483647 h 205"/>
                    <a:gd name="T40" fmla="*/ 2147483647 w 212"/>
                    <a:gd name="T41" fmla="*/ 2147483647 h 205"/>
                    <a:gd name="T42" fmla="*/ 2147483647 w 212"/>
                    <a:gd name="T43" fmla="*/ 2147483647 h 205"/>
                    <a:gd name="T44" fmla="*/ 2147483647 w 212"/>
                    <a:gd name="T45" fmla="*/ 2147483647 h 205"/>
                    <a:gd name="T46" fmla="*/ 2147483647 w 212"/>
                    <a:gd name="T47" fmla="*/ 2147483647 h 205"/>
                    <a:gd name="T48" fmla="*/ 2147483647 w 212"/>
                    <a:gd name="T49" fmla="*/ 2147483647 h 205"/>
                    <a:gd name="T50" fmla="*/ 2147483647 w 212"/>
                    <a:gd name="T51" fmla="*/ 2147483647 h 205"/>
                    <a:gd name="T52" fmla="*/ 2147483647 w 212"/>
                    <a:gd name="T53" fmla="*/ 2147483647 h 205"/>
                    <a:gd name="T54" fmla="*/ 2147483647 w 212"/>
                    <a:gd name="T55" fmla="*/ 2147483647 h 205"/>
                    <a:gd name="T56" fmla="*/ 2147483647 w 212"/>
                    <a:gd name="T57" fmla="*/ 2147483647 h 205"/>
                    <a:gd name="T58" fmla="*/ 2147483647 w 212"/>
                    <a:gd name="T59" fmla="*/ 2147483647 h 205"/>
                    <a:gd name="T60" fmla="*/ 2147483647 w 212"/>
                    <a:gd name="T61" fmla="*/ 2147483647 h 205"/>
                    <a:gd name="T62" fmla="*/ 2147483647 w 212"/>
                    <a:gd name="T63" fmla="*/ 2147483647 h 205"/>
                    <a:gd name="T64" fmla="*/ 2147483647 w 212"/>
                    <a:gd name="T65" fmla="*/ 2147483647 h 205"/>
                    <a:gd name="T66" fmla="*/ 2147483647 w 212"/>
                    <a:gd name="T67" fmla="*/ 2147483647 h 205"/>
                    <a:gd name="T68" fmla="*/ 2147483647 w 212"/>
                    <a:gd name="T69" fmla="*/ 2147483647 h 205"/>
                    <a:gd name="T70" fmla="*/ 2147483647 w 212"/>
                    <a:gd name="T71" fmla="*/ 2147483647 h 205"/>
                    <a:gd name="T72" fmla="*/ 2147483647 w 212"/>
                    <a:gd name="T73" fmla="*/ 2147483647 h 205"/>
                    <a:gd name="T74" fmla="*/ 2147483647 w 212"/>
                    <a:gd name="T75" fmla="*/ 2147483647 h 205"/>
                    <a:gd name="T76" fmla="*/ 2147483647 w 212"/>
                    <a:gd name="T77" fmla="*/ 2147483647 h 205"/>
                    <a:gd name="T78" fmla="*/ 2147483647 w 212"/>
                    <a:gd name="T79" fmla="*/ 2147483647 h 205"/>
                    <a:gd name="T80" fmla="*/ 2147483647 w 212"/>
                    <a:gd name="T81" fmla="*/ 2147483647 h 205"/>
                    <a:gd name="T82" fmla="*/ 2147483647 w 212"/>
                    <a:gd name="T83" fmla="*/ 2147483647 h 205"/>
                    <a:gd name="T84" fmla="*/ 2147483647 w 212"/>
                    <a:gd name="T85" fmla="*/ 2147483647 h 205"/>
                    <a:gd name="T86" fmla="*/ 2147483647 w 212"/>
                    <a:gd name="T87" fmla="*/ 2147483647 h 205"/>
                    <a:gd name="T88" fmla="*/ 2147483647 w 212"/>
                    <a:gd name="T89" fmla="*/ 2147483647 h 205"/>
                    <a:gd name="T90" fmla="*/ 2147483647 w 212"/>
                    <a:gd name="T91" fmla="*/ 2147483647 h 205"/>
                    <a:gd name="T92" fmla="*/ 2147483647 w 212"/>
                    <a:gd name="T93" fmla="*/ 2147483647 h 205"/>
                    <a:gd name="T94" fmla="*/ 2147483647 w 212"/>
                    <a:gd name="T95" fmla="*/ 2147483647 h 205"/>
                    <a:gd name="T96" fmla="*/ 2147483647 w 212"/>
                    <a:gd name="T97" fmla="*/ 2147483647 h 205"/>
                    <a:gd name="T98" fmla="*/ 2147483647 w 212"/>
                    <a:gd name="T99" fmla="*/ 2147483647 h 205"/>
                    <a:gd name="T100" fmla="*/ 2147483647 w 212"/>
                    <a:gd name="T101" fmla="*/ 2147483647 h 205"/>
                    <a:gd name="T102" fmla="*/ 2147483647 w 212"/>
                    <a:gd name="T103" fmla="*/ 2147483647 h 20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12"/>
                    <a:gd name="T157" fmla="*/ 0 h 205"/>
                    <a:gd name="T158" fmla="*/ 212 w 212"/>
                    <a:gd name="T159" fmla="*/ 205 h 20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12" h="205">
                      <a:moveTo>
                        <a:pt x="123" y="28"/>
                      </a:moveTo>
                      <a:lnTo>
                        <a:pt x="123" y="28"/>
                      </a:lnTo>
                      <a:lnTo>
                        <a:pt x="126" y="21"/>
                      </a:lnTo>
                      <a:lnTo>
                        <a:pt x="127" y="16"/>
                      </a:lnTo>
                      <a:lnTo>
                        <a:pt x="126" y="13"/>
                      </a:lnTo>
                      <a:lnTo>
                        <a:pt x="112" y="11"/>
                      </a:lnTo>
                      <a:lnTo>
                        <a:pt x="105" y="10"/>
                      </a:lnTo>
                      <a:lnTo>
                        <a:pt x="99" y="8"/>
                      </a:lnTo>
                      <a:lnTo>
                        <a:pt x="98" y="6"/>
                      </a:lnTo>
                      <a:lnTo>
                        <a:pt x="97" y="3"/>
                      </a:lnTo>
                      <a:lnTo>
                        <a:pt x="97" y="1"/>
                      </a:lnTo>
                      <a:lnTo>
                        <a:pt x="94" y="0"/>
                      </a:lnTo>
                      <a:lnTo>
                        <a:pt x="84" y="1"/>
                      </a:lnTo>
                      <a:lnTo>
                        <a:pt x="74" y="2"/>
                      </a:lnTo>
                      <a:lnTo>
                        <a:pt x="70" y="3"/>
                      </a:lnTo>
                      <a:lnTo>
                        <a:pt x="66" y="4"/>
                      </a:lnTo>
                      <a:lnTo>
                        <a:pt x="65" y="6"/>
                      </a:lnTo>
                      <a:lnTo>
                        <a:pt x="64" y="8"/>
                      </a:lnTo>
                      <a:lnTo>
                        <a:pt x="60" y="10"/>
                      </a:lnTo>
                      <a:lnTo>
                        <a:pt x="56" y="13"/>
                      </a:lnTo>
                      <a:lnTo>
                        <a:pt x="53" y="15"/>
                      </a:lnTo>
                      <a:lnTo>
                        <a:pt x="52" y="17"/>
                      </a:lnTo>
                      <a:lnTo>
                        <a:pt x="52" y="19"/>
                      </a:lnTo>
                      <a:lnTo>
                        <a:pt x="52" y="20"/>
                      </a:lnTo>
                      <a:lnTo>
                        <a:pt x="50" y="21"/>
                      </a:lnTo>
                      <a:lnTo>
                        <a:pt x="48" y="19"/>
                      </a:lnTo>
                      <a:lnTo>
                        <a:pt x="47" y="15"/>
                      </a:lnTo>
                      <a:lnTo>
                        <a:pt x="44" y="13"/>
                      </a:lnTo>
                      <a:lnTo>
                        <a:pt x="43" y="13"/>
                      </a:lnTo>
                      <a:lnTo>
                        <a:pt x="42" y="15"/>
                      </a:lnTo>
                      <a:lnTo>
                        <a:pt x="42" y="19"/>
                      </a:lnTo>
                      <a:lnTo>
                        <a:pt x="42" y="21"/>
                      </a:lnTo>
                      <a:lnTo>
                        <a:pt x="42" y="24"/>
                      </a:lnTo>
                      <a:lnTo>
                        <a:pt x="39" y="26"/>
                      </a:lnTo>
                      <a:lnTo>
                        <a:pt x="38" y="26"/>
                      </a:lnTo>
                      <a:lnTo>
                        <a:pt x="34" y="23"/>
                      </a:lnTo>
                      <a:lnTo>
                        <a:pt x="30" y="22"/>
                      </a:lnTo>
                      <a:lnTo>
                        <a:pt x="29" y="21"/>
                      </a:lnTo>
                      <a:lnTo>
                        <a:pt x="28" y="22"/>
                      </a:lnTo>
                      <a:lnTo>
                        <a:pt x="22" y="24"/>
                      </a:lnTo>
                      <a:lnTo>
                        <a:pt x="17" y="27"/>
                      </a:lnTo>
                      <a:lnTo>
                        <a:pt x="15" y="28"/>
                      </a:lnTo>
                      <a:lnTo>
                        <a:pt x="17" y="29"/>
                      </a:lnTo>
                      <a:lnTo>
                        <a:pt x="17" y="33"/>
                      </a:lnTo>
                      <a:lnTo>
                        <a:pt x="15" y="34"/>
                      </a:lnTo>
                      <a:lnTo>
                        <a:pt x="14" y="36"/>
                      </a:lnTo>
                      <a:lnTo>
                        <a:pt x="9" y="38"/>
                      </a:lnTo>
                      <a:lnTo>
                        <a:pt x="10" y="41"/>
                      </a:lnTo>
                      <a:lnTo>
                        <a:pt x="8" y="43"/>
                      </a:lnTo>
                      <a:lnTo>
                        <a:pt x="5" y="46"/>
                      </a:lnTo>
                      <a:lnTo>
                        <a:pt x="1" y="47"/>
                      </a:lnTo>
                      <a:lnTo>
                        <a:pt x="0" y="48"/>
                      </a:lnTo>
                      <a:lnTo>
                        <a:pt x="0" y="49"/>
                      </a:lnTo>
                      <a:lnTo>
                        <a:pt x="1" y="52"/>
                      </a:lnTo>
                      <a:lnTo>
                        <a:pt x="6" y="58"/>
                      </a:lnTo>
                      <a:lnTo>
                        <a:pt x="13" y="62"/>
                      </a:lnTo>
                      <a:lnTo>
                        <a:pt x="18" y="68"/>
                      </a:lnTo>
                      <a:lnTo>
                        <a:pt x="19" y="72"/>
                      </a:lnTo>
                      <a:lnTo>
                        <a:pt x="20" y="74"/>
                      </a:lnTo>
                      <a:lnTo>
                        <a:pt x="27" y="71"/>
                      </a:lnTo>
                      <a:lnTo>
                        <a:pt x="34" y="68"/>
                      </a:lnTo>
                      <a:lnTo>
                        <a:pt x="41" y="67"/>
                      </a:lnTo>
                      <a:lnTo>
                        <a:pt x="48" y="67"/>
                      </a:lnTo>
                      <a:lnTo>
                        <a:pt x="55" y="70"/>
                      </a:lnTo>
                      <a:lnTo>
                        <a:pt x="60" y="72"/>
                      </a:lnTo>
                      <a:lnTo>
                        <a:pt x="65" y="75"/>
                      </a:lnTo>
                      <a:lnTo>
                        <a:pt x="67" y="80"/>
                      </a:lnTo>
                      <a:lnTo>
                        <a:pt x="72" y="92"/>
                      </a:lnTo>
                      <a:lnTo>
                        <a:pt x="77" y="103"/>
                      </a:lnTo>
                      <a:lnTo>
                        <a:pt x="81" y="107"/>
                      </a:lnTo>
                      <a:lnTo>
                        <a:pt x="86" y="112"/>
                      </a:lnTo>
                      <a:lnTo>
                        <a:pt x="91" y="115"/>
                      </a:lnTo>
                      <a:lnTo>
                        <a:pt x="99" y="117"/>
                      </a:lnTo>
                      <a:lnTo>
                        <a:pt x="99" y="118"/>
                      </a:lnTo>
                      <a:lnTo>
                        <a:pt x="100" y="121"/>
                      </a:lnTo>
                      <a:lnTo>
                        <a:pt x="107" y="122"/>
                      </a:lnTo>
                      <a:lnTo>
                        <a:pt x="113" y="125"/>
                      </a:lnTo>
                      <a:lnTo>
                        <a:pt x="124" y="132"/>
                      </a:lnTo>
                      <a:lnTo>
                        <a:pt x="135" y="141"/>
                      </a:lnTo>
                      <a:lnTo>
                        <a:pt x="144" y="150"/>
                      </a:lnTo>
                      <a:lnTo>
                        <a:pt x="149" y="155"/>
                      </a:lnTo>
                      <a:lnTo>
                        <a:pt x="155" y="160"/>
                      </a:lnTo>
                      <a:lnTo>
                        <a:pt x="161" y="163"/>
                      </a:lnTo>
                      <a:lnTo>
                        <a:pt x="166" y="167"/>
                      </a:lnTo>
                      <a:lnTo>
                        <a:pt x="169" y="172"/>
                      </a:lnTo>
                      <a:lnTo>
                        <a:pt x="169" y="176"/>
                      </a:lnTo>
                      <a:lnTo>
                        <a:pt x="168" y="182"/>
                      </a:lnTo>
                      <a:lnTo>
                        <a:pt x="165" y="188"/>
                      </a:lnTo>
                      <a:lnTo>
                        <a:pt x="164" y="190"/>
                      </a:lnTo>
                      <a:lnTo>
                        <a:pt x="163" y="194"/>
                      </a:lnTo>
                      <a:lnTo>
                        <a:pt x="164" y="198"/>
                      </a:lnTo>
                      <a:lnTo>
                        <a:pt x="165" y="201"/>
                      </a:lnTo>
                      <a:lnTo>
                        <a:pt x="166" y="204"/>
                      </a:lnTo>
                      <a:lnTo>
                        <a:pt x="168" y="205"/>
                      </a:lnTo>
                      <a:lnTo>
                        <a:pt x="169" y="205"/>
                      </a:lnTo>
                      <a:lnTo>
                        <a:pt x="173" y="202"/>
                      </a:lnTo>
                      <a:lnTo>
                        <a:pt x="177" y="199"/>
                      </a:lnTo>
                      <a:lnTo>
                        <a:pt x="182" y="193"/>
                      </a:lnTo>
                      <a:lnTo>
                        <a:pt x="182" y="186"/>
                      </a:lnTo>
                      <a:lnTo>
                        <a:pt x="182" y="185"/>
                      </a:lnTo>
                      <a:lnTo>
                        <a:pt x="183" y="183"/>
                      </a:lnTo>
                      <a:lnTo>
                        <a:pt x="187" y="182"/>
                      </a:lnTo>
                      <a:lnTo>
                        <a:pt x="189" y="181"/>
                      </a:lnTo>
                      <a:lnTo>
                        <a:pt x="190" y="180"/>
                      </a:lnTo>
                      <a:lnTo>
                        <a:pt x="190" y="179"/>
                      </a:lnTo>
                      <a:lnTo>
                        <a:pt x="189" y="176"/>
                      </a:lnTo>
                      <a:lnTo>
                        <a:pt x="187" y="175"/>
                      </a:lnTo>
                      <a:lnTo>
                        <a:pt x="184" y="174"/>
                      </a:lnTo>
                      <a:lnTo>
                        <a:pt x="183" y="172"/>
                      </a:lnTo>
                      <a:lnTo>
                        <a:pt x="183" y="168"/>
                      </a:lnTo>
                      <a:lnTo>
                        <a:pt x="184" y="163"/>
                      </a:lnTo>
                      <a:lnTo>
                        <a:pt x="184" y="161"/>
                      </a:lnTo>
                      <a:lnTo>
                        <a:pt x="185" y="158"/>
                      </a:lnTo>
                      <a:lnTo>
                        <a:pt x="187" y="157"/>
                      </a:lnTo>
                      <a:lnTo>
                        <a:pt x="189" y="156"/>
                      </a:lnTo>
                      <a:lnTo>
                        <a:pt x="193" y="156"/>
                      </a:lnTo>
                      <a:lnTo>
                        <a:pt x="201" y="160"/>
                      </a:lnTo>
                      <a:lnTo>
                        <a:pt x="204" y="162"/>
                      </a:lnTo>
                      <a:lnTo>
                        <a:pt x="207" y="163"/>
                      </a:lnTo>
                      <a:lnTo>
                        <a:pt x="210" y="163"/>
                      </a:lnTo>
                      <a:lnTo>
                        <a:pt x="212" y="160"/>
                      </a:lnTo>
                      <a:lnTo>
                        <a:pt x="212" y="155"/>
                      </a:lnTo>
                      <a:lnTo>
                        <a:pt x="206" y="150"/>
                      </a:lnTo>
                      <a:lnTo>
                        <a:pt x="201" y="147"/>
                      </a:lnTo>
                      <a:lnTo>
                        <a:pt x="196" y="142"/>
                      </a:lnTo>
                      <a:lnTo>
                        <a:pt x="189" y="136"/>
                      </a:lnTo>
                      <a:lnTo>
                        <a:pt x="179" y="135"/>
                      </a:lnTo>
                      <a:lnTo>
                        <a:pt x="173" y="134"/>
                      </a:lnTo>
                      <a:lnTo>
                        <a:pt x="170" y="132"/>
                      </a:lnTo>
                      <a:lnTo>
                        <a:pt x="169" y="132"/>
                      </a:lnTo>
                      <a:lnTo>
                        <a:pt x="166" y="126"/>
                      </a:lnTo>
                      <a:lnTo>
                        <a:pt x="163" y="122"/>
                      </a:lnTo>
                      <a:lnTo>
                        <a:pt x="159" y="117"/>
                      </a:lnTo>
                      <a:lnTo>
                        <a:pt x="154" y="113"/>
                      </a:lnTo>
                      <a:lnTo>
                        <a:pt x="138" y="107"/>
                      </a:lnTo>
                      <a:lnTo>
                        <a:pt x="131" y="103"/>
                      </a:lnTo>
                      <a:lnTo>
                        <a:pt x="128" y="100"/>
                      </a:lnTo>
                      <a:lnTo>
                        <a:pt x="127" y="98"/>
                      </a:lnTo>
                      <a:lnTo>
                        <a:pt x="126" y="89"/>
                      </a:lnTo>
                      <a:lnTo>
                        <a:pt x="123" y="84"/>
                      </a:lnTo>
                      <a:lnTo>
                        <a:pt x="119" y="80"/>
                      </a:lnTo>
                      <a:lnTo>
                        <a:pt x="117" y="78"/>
                      </a:lnTo>
                      <a:lnTo>
                        <a:pt x="112" y="75"/>
                      </a:lnTo>
                      <a:lnTo>
                        <a:pt x="108" y="74"/>
                      </a:lnTo>
                      <a:lnTo>
                        <a:pt x="103" y="72"/>
                      </a:lnTo>
                      <a:lnTo>
                        <a:pt x="103" y="71"/>
                      </a:lnTo>
                      <a:lnTo>
                        <a:pt x="102" y="68"/>
                      </a:lnTo>
                      <a:lnTo>
                        <a:pt x="102" y="62"/>
                      </a:lnTo>
                      <a:lnTo>
                        <a:pt x="102" y="57"/>
                      </a:lnTo>
                      <a:lnTo>
                        <a:pt x="104" y="51"/>
                      </a:lnTo>
                      <a:lnTo>
                        <a:pt x="105" y="46"/>
                      </a:lnTo>
                      <a:lnTo>
                        <a:pt x="107" y="42"/>
                      </a:lnTo>
                      <a:lnTo>
                        <a:pt x="105" y="40"/>
                      </a:lnTo>
                      <a:lnTo>
                        <a:pt x="103" y="38"/>
                      </a:lnTo>
                      <a:lnTo>
                        <a:pt x="103" y="36"/>
                      </a:lnTo>
                      <a:lnTo>
                        <a:pt x="103" y="35"/>
                      </a:lnTo>
                      <a:lnTo>
                        <a:pt x="108" y="33"/>
                      </a:lnTo>
                      <a:lnTo>
                        <a:pt x="113" y="30"/>
                      </a:lnTo>
                      <a:lnTo>
                        <a:pt x="118" y="29"/>
                      </a:lnTo>
                      <a:lnTo>
                        <a:pt x="123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1211">
                  <a:extLst>
                    <a:ext uri="{FF2B5EF4-FFF2-40B4-BE49-F238E27FC236}">
                      <a16:creationId xmlns:a16="http://schemas.microsoft.com/office/drawing/2014/main" id="{07DE1CC7-7DA7-3C4F-924B-3042C81651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9811" y="3033419"/>
                  <a:ext cx="310773" cy="304854"/>
                </a:xfrm>
                <a:custGeom>
                  <a:avLst/>
                  <a:gdLst>
                    <a:gd name="T0" fmla="*/ 2147483647 w 227"/>
                    <a:gd name="T1" fmla="*/ 2147483647 h 206"/>
                    <a:gd name="T2" fmla="*/ 2147483647 w 227"/>
                    <a:gd name="T3" fmla="*/ 2147483647 h 206"/>
                    <a:gd name="T4" fmla="*/ 2147483647 w 227"/>
                    <a:gd name="T5" fmla="*/ 2147483647 h 206"/>
                    <a:gd name="T6" fmla="*/ 2147483647 w 227"/>
                    <a:gd name="T7" fmla="*/ 2147483647 h 206"/>
                    <a:gd name="T8" fmla="*/ 2147483647 w 227"/>
                    <a:gd name="T9" fmla="*/ 2147483647 h 206"/>
                    <a:gd name="T10" fmla="*/ 2147483647 w 227"/>
                    <a:gd name="T11" fmla="*/ 2147483647 h 206"/>
                    <a:gd name="T12" fmla="*/ 2147483647 w 227"/>
                    <a:gd name="T13" fmla="*/ 2147483647 h 206"/>
                    <a:gd name="T14" fmla="*/ 2147483647 w 227"/>
                    <a:gd name="T15" fmla="*/ 2147483647 h 206"/>
                    <a:gd name="T16" fmla="*/ 2147483647 w 227"/>
                    <a:gd name="T17" fmla="*/ 2147483647 h 206"/>
                    <a:gd name="T18" fmla="*/ 2147483647 w 227"/>
                    <a:gd name="T19" fmla="*/ 2147483647 h 206"/>
                    <a:gd name="T20" fmla="*/ 2147483647 w 227"/>
                    <a:gd name="T21" fmla="*/ 2147483647 h 206"/>
                    <a:gd name="T22" fmla="*/ 2147483647 w 227"/>
                    <a:gd name="T23" fmla="*/ 2147483647 h 206"/>
                    <a:gd name="T24" fmla="*/ 2147483647 w 227"/>
                    <a:gd name="T25" fmla="*/ 2147483647 h 206"/>
                    <a:gd name="T26" fmla="*/ 2147483647 w 227"/>
                    <a:gd name="T27" fmla="*/ 2147483647 h 206"/>
                    <a:gd name="T28" fmla="*/ 2147483647 w 227"/>
                    <a:gd name="T29" fmla="*/ 2147483647 h 206"/>
                    <a:gd name="T30" fmla="*/ 2147483647 w 227"/>
                    <a:gd name="T31" fmla="*/ 2147483647 h 206"/>
                    <a:gd name="T32" fmla="*/ 2147483647 w 227"/>
                    <a:gd name="T33" fmla="*/ 2147483647 h 206"/>
                    <a:gd name="T34" fmla="*/ 2147483647 w 227"/>
                    <a:gd name="T35" fmla="*/ 2147483647 h 206"/>
                    <a:gd name="T36" fmla="*/ 2147483647 w 227"/>
                    <a:gd name="T37" fmla="*/ 2147483647 h 206"/>
                    <a:gd name="T38" fmla="*/ 2147483647 w 227"/>
                    <a:gd name="T39" fmla="*/ 0 h 206"/>
                    <a:gd name="T40" fmla="*/ 2147483647 w 227"/>
                    <a:gd name="T41" fmla="*/ 2147483647 h 206"/>
                    <a:gd name="T42" fmla="*/ 2147483647 w 227"/>
                    <a:gd name="T43" fmla="*/ 2147483647 h 206"/>
                    <a:gd name="T44" fmla="*/ 2147483647 w 227"/>
                    <a:gd name="T45" fmla="*/ 2147483647 h 206"/>
                    <a:gd name="T46" fmla="*/ 2147483647 w 227"/>
                    <a:gd name="T47" fmla="*/ 2147483647 h 206"/>
                    <a:gd name="T48" fmla="*/ 2147483647 w 227"/>
                    <a:gd name="T49" fmla="*/ 2147483647 h 206"/>
                    <a:gd name="T50" fmla="*/ 2147483647 w 227"/>
                    <a:gd name="T51" fmla="*/ 2147483647 h 206"/>
                    <a:gd name="T52" fmla="*/ 2147483647 w 227"/>
                    <a:gd name="T53" fmla="*/ 2147483647 h 206"/>
                    <a:gd name="T54" fmla="*/ 2147483647 w 227"/>
                    <a:gd name="T55" fmla="*/ 2147483647 h 206"/>
                    <a:gd name="T56" fmla="*/ 2147483647 w 227"/>
                    <a:gd name="T57" fmla="*/ 2147483647 h 206"/>
                    <a:gd name="T58" fmla="*/ 2147483647 w 227"/>
                    <a:gd name="T59" fmla="*/ 2147483647 h 206"/>
                    <a:gd name="T60" fmla="*/ 2147483647 w 227"/>
                    <a:gd name="T61" fmla="*/ 2147483647 h 206"/>
                    <a:gd name="T62" fmla="*/ 2147483647 w 227"/>
                    <a:gd name="T63" fmla="*/ 2147483647 h 206"/>
                    <a:gd name="T64" fmla="*/ 2147483647 w 227"/>
                    <a:gd name="T65" fmla="*/ 2147483647 h 206"/>
                    <a:gd name="T66" fmla="*/ 0 w 227"/>
                    <a:gd name="T67" fmla="*/ 2147483647 h 206"/>
                    <a:gd name="T68" fmla="*/ 2147483647 w 227"/>
                    <a:gd name="T69" fmla="*/ 2147483647 h 206"/>
                    <a:gd name="T70" fmla="*/ 2147483647 w 227"/>
                    <a:gd name="T71" fmla="*/ 2147483647 h 206"/>
                    <a:gd name="T72" fmla="*/ 2147483647 w 227"/>
                    <a:gd name="T73" fmla="*/ 2147483647 h 206"/>
                    <a:gd name="T74" fmla="*/ 2147483647 w 227"/>
                    <a:gd name="T75" fmla="*/ 2147483647 h 206"/>
                    <a:gd name="T76" fmla="*/ 2147483647 w 227"/>
                    <a:gd name="T77" fmla="*/ 2147483647 h 206"/>
                    <a:gd name="T78" fmla="*/ 2147483647 w 227"/>
                    <a:gd name="T79" fmla="*/ 2147483647 h 206"/>
                    <a:gd name="T80" fmla="*/ 2147483647 w 227"/>
                    <a:gd name="T81" fmla="*/ 2147483647 h 206"/>
                    <a:gd name="T82" fmla="*/ 2147483647 w 227"/>
                    <a:gd name="T83" fmla="*/ 2147483647 h 206"/>
                    <a:gd name="T84" fmla="*/ 2147483647 w 227"/>
                    <a:gd name="T85" fmla="*/ 2147483647 h 206"/>
                    <a:gd name="T86" fmla="*/ 2147483647 w 227"/>
                    <a:gd name="T87" fmla="*/ 2147483647 h 206"/>
                    <a:gd name="T88" fmla="*/ 2147483647 w 227"/>
                    <a:gd name="T89" fmla="*/ 2147483647 h 206"/>
                    <a:gd name="T90" fmla="*/ 2147483647 w 227"/>
                    <a:gd name="T91" fmla="*/ 2147483647 h 206"/>
                    <a:gd name="T92" fmla="*/ 2147483647 w 227"/>
                    <a:gd name="T93" fmla="*/ 2147483647 h 206"/>
                    <a:gd name="T94" fmla="*/ 2147483647 w 227"/>
                    <a:gd name="T95" fmla="*/ 2147483647 h 206"/>
                    <a:gd name="T96" fmla="*/ 2147483647 w 227"/>
                    <a:gd name="T97" fmla="*/ 2147483647 h 206"/>
                    <a:gd name="T98" fmla="*/ 2147483647 w 227"/>
                    <a:gd name="T99" fmla="*/ 2147483647 h 206"/>
                    <a:gd name="T100" fmla="*/ 2147483647 w 227"/>
                    <a:gd name="T101" fmla="*/ 2147483647 h 206"/>
                    <a:gd name="T102" fmla="*/ 2147483647 w 227"/>
                    <a:gd name="T103" fmla="*/ 2147483647 h 206"/>
                    <a:gd name="T104" fmla="*/ 2147483647 w 227"/>
                    <a:gd name="T105" fmla="*/ 2147483647 h 206"/>
                    <a:gd name="T106" fmla="*/ 2147483647 w 227"/>
                    <a:gd name="T107" fmla="*/ 2147483647 h 20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27"/>
                    <a:gd name="T163" fmla="*/ 0 h 206"/>
                    <a:gd name="T164" fmla="*/ 227 w 227"/>
                    <a:gd name="T165" fmla="*/ 206 h 20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27" h="206">
                      <a:moveTo>
                        <a:pt x="213" y="174"/>
                      </a:moveTo>
                      <a:lnTo>
                        <a:pt x="213" y="174"/>
                      </a:lnTo>
                      <a:lnTo>
                        <a:pt x="212" y="172"/>
                      </a:lnTo>
                      <a:lnTo>
                        <a:pt x="211" y="168"/>
                      </a:lnTo>
                      <a:lnTo>
                        <a:pt x="206" y="162"/>
                      </a:lnTo>
                      <a:lnTo>
                        <a:pt x="199" y="158"/>
                      </a:lnTo>
                      <a:lnTo>
                        <a:pt x="194" y="152"/>
                      </a:lnTo>
                      <a:lnTo>
                        <a:pt x="193" y="149"/>
                      </a:lnTo>
                      <a:lnTo>
                        <a:pt x="193" y="148"/>
                      </a:lnTo>
                      <a:lnTo>
                        <a:pt x="194" y="147"/>
                      </a:lnTo>
                      <a:lnTo>
                        <a:pt x="198" y="146"/>
                      </a:lnTo>
                      <a:lnTo>
                        <a:pt x="201" y="143"/>
                      </a:lnTo>
                      <a:lnTo>
                        <a:pt x="203" y="141"/>
                      </a:lnTo>
                      <a:lnTo>
                        <a:pt x="202" y="138"/>
                      </a:lnTo>
                      <a:lnTo>
                        <a:pt x="198" y="138"/>
                      </a:lnTo>
                      <a:lnTo>
                        <a:pt x="197" y="136"/>
                      </a:lnTo>
                      <a:lnTo>
                        <a:pt x="196" y="134"/>
                      </a:lnTo>
                      <a:lnTo>
                        <a:pt x="197" y="132"/>
                      </a:lnTo>
                      <a:lnTo>
                        <a:pt x="198" y="128"/>
                      </a:lnTo>
                      <a:lnTo>
                        <a:pt x="199" y="124"/>
                      </a:lnTo>
                      <a:lnTo>
                        <a:pt x="198" y="123"/>
                      </a:lnTo>
                      <a:lnTo>
                        <a:pt x="197" y="121"/>
                      </a:lnTo>
                      <a:lnTo>
                        <a:pt x="197" y="120"/>
                      </a:lnTo>
                      <a:lnTo>
                        <a:pt x="197" y="119"/>
                      </a:lnTo>
                      <a:lnTo>
                        <a:pt x="199" y="117"/>
                      </a:lnTo>
                      <a:lnTo>
                        <a:pt x="201" y="115"/>
                      </a:lnTo>
                      <a:lnTo>
                        <a:pt x="201" y="114"/>
                      </a:lnTo>
                      <a:lnTo>
                        <a:pt x="199" y="114"/>
                      </a:lnTo>
                      <a:lnTo>
                        <a:pt x="196" y="113"/>
                      </a:lnTo>
                      <a:lnTo>
                        <a:pt x="194" y="111"/>
                      </a:lnTo>
                      <a:lnTo>
                        <a:pt x="194" y="108"/>
                      </a:lnTo>
                      <a:lnTo>
                        <a:pt x="199" y="101"/>
                      </a:lnTo>
                      <a:lnTo>
                        <a:pt x="202" y="98"/>
                      </a:lnTo>
                      <a:lnTo>
                        <a:pt x="203" y="95"/>
                      </a:lnTo>
                      <a:lnTo>
                        <a:pt x="206" y="90"/>
                      </a:lnTo>
                      <a:lnTo>
                        <a:pt x="208" y="85"/>
                      </a:lnTo>
                      <a:lnTo>
                        <a:pt x="212" y="81"/>
                      </a:lnTo>
                      <a:lnTo>
                        <a:pt x="215" y="81"/>
                      </a:lnTo>
                      <a:lnTo>
                        <a:pt x="217" y="79"/>
                      </a:lnTo>
                      <a:lnTo>
                        <a:pt x="220" y="78"/>
                      </a:lnTo>
                      <a:lnTo>
                        <a:pt x="220" y="71"/>
                      </a:lnTo>
                      <a:lnTo>
                        <a:pt x="222" y="65"/>
                      </a:lnTo>
                      <a:lnTo>
                        <a:pt x="225" y="59"/>
                      </a:lnTo>
                      <a:lnTo>
                        <a:pt x="227" y="52"/>
                      </a:lnTo>
                      <a:lnTo>
                        <a:pt x="217" y="53"/>
                      </a:lnTo>
                      <a:lnTo>
                        <a:pt x="213" y="52"/>
                      </a:lnTo>
                      <a:lnTo>
                        <a:pt x="208" y="51"/>
                      </a:lnTo>
                      <a:lnTo>
                        <a:pt x="199" y="47"/>
                      </a:lnTo>
                      <a:lnTo>
                        <a:pt x="190" y="45"/>
                      </a:lnTo>
                      <a:lnTo>
                        <a:pt x="184" y="43"/>
                      </a:lnTo>
                      <a:lnTo>
                        <a:pt x="179" y="38"/>
                      </a:lnTo>
                      <a:lnTo>
                        <a:pt x="178" y="37"/>
                      </a:lnTo>
                      <a:lnTo>
                        <a:pt x="173" y="33"/>
                      </a:lnTo>
                      <a:lnTo>
                        <a:pt x="166" y="31"/>
                      </a:lnTo>
                      <a:lnTo>
                        <a:pt x="154" y="27"/>
                      </a:lnTo>
                      <a:lnTo>
                        <a:pt x="151" y="25"/>
                      </a:lnTo>
                      <a:lnTo>
                        <a:pt x="149" y="23"/>
                      </a:lnTo>
                      <a:lnTo>
                        <a:pt x="146" y="19"/>
                      </a:lnTo>
                      <a:lnTo>
                        <a:pt x="143" y="18"/>
                      </a:lnTo>
                      <a:lnTo>
                        <a:pt x="137" y="15"/>
                      </a:lnTo>
                      <a:lnTo>
                        <a:pt x="132" y="11"/>
                      </a:lnTo>
                      <a:lnTo>
                        <a:pt x="128" y="6"/>
                      </a:lnTo>
                      <a:lnTo>
                        <a:pt x="127" y="0"/>
                      </a:lnTo>
                      <a:lnTo>
                        <a:pt x="118" y="4"/>
                      </a:lnTo>
                      <a:lnTo>
                        <a:pt x="114" y="7"/>
                      </a:lnTo>
                      <a:lnTo>
                        <a:pt x="113" y="9"/>
                      </a:lnTo>
                      <a:lnTo>
                        <a:pt x="112" y="12"/>
                      </a:lnTo>
                      <a:lnTo>
                        <a:pt x="112" y="15"/>
                      </a:lnTo>
                      <a:lnTo>
                        <a:pt x="110" y="20"/>
                      </a:lnTo>
                      <a:lnTo>
                        <a:pt x="105" y="27"/>
                      </a:lnTo>
                      <a:lnTo>
                        <a:pt x="99" y="33"/>
                      </a:lnTo>
                      <a:lnTo>
                        <a:pt x="90" y="38"/>
                      </a:lnTo>
                      <a:lnTo>
                        <a:pt x="89" y="39"/>
                      </a:lnTo>
                      <a:lnTo>
                        <a:pt x="89" y="40"/>
                      </a:lnTo>
                      <a:lnTo>
                        <a:pt x="89" y="42"/>
                      </a:lnTo>
                      <a:lnTo>
                        <a:pt x="88" y="43"/>
                      </a:lnTo>
                      <a:lnTo>
                        <a:pt x="80" y="45"/>
                      </a:lnTo>
                      <a:lnTo>
                        <a:pt x="74" y="45"/>
                      </a:lnTo>
                      <a:lnTo>
                        <a:pt x="70" y="44"/>
                      </a:lnTo>
                      <a:lnTo>
                        <a:pt x="67" y="42"/>
                      </a:lnTo>
                      <a:lnTo>
                        <a:pt x="65" y="39"/>
                      </a:lnTo>
                      <a:lnTo>
                        <a:pt x="62" y="37"/>
                      </a:lnTo>
                      <a:lnTo>
                        <a:pt x="60" y="36"/>
                      </a:lnTo>
                      <a:lnTo>
                        <a:pt x="57" y="34"/>
                      </a:lnTo>
                      <a:lnTo>
                        <a:pt x="53" y="34"/>
                      </a:lnTo>
                      <a:lnTo>
                        <a:pt x="52" y="36"/>
                      </a:lnTo>
                      <a:lnTo>
                        <a:pt x="53" y="43"/>
                      </a:lnTo>
                      <a:lnTo>
                        <a:pt x="56" y="49"/>
                      </a:lnTo>
                      <a:lnTo>
                        <a:pt x="56" y="56"/>
                      </a:lnTo>
                      <a:lnTo>
                        <a:pt x="56" y="59"/>
                      </a:lnTo>
                      <a:lnTo>
                        <a:pt x="53" y="62"/>
                      </a:lnTo>
                      <a:lnTo>
                        <a:pt x="50" y="64"/>
                      </a:lnTo>
                      <a:lnTo>
                        <a:pt x="47" y="65"/>
                      </a:lnTo>
                      <a:lnTo>
                        <a:pt x="44" y="66"/>
                      </a:lnTo>
                      <a:lnTo>
                        <a:pt x="37" y="60"/>
                      </a:lnTo>
                      <a:lnTo>
                        <a:pt x="32" y="59"/>
                      </a:lnTo>
                      <a:lnTo>
                        <a:pt x="27" y="60"/>
                      </a:lnTo>
                      <a:lnTo>
                        <a:pt x="25" y="60"/>
                      </a:lnTo>
                      <a:lnTo>
                        <a:pt x="24" y="59"/>
                      </a:lnTo>
                      <a:lnTo>
                        <a:pt x="22" y="58"/>
                      </a:lnTo>
                      <a:lnTo>
                        <a:pt x="20" y="58"/>
                      </a:lnTo>
                      <a:lnTo>
                        <a:pt x="15" y="60"/>
                      </a:lnTo>
                      <a:lnTo>
                        <a:pt x="11" y="62"/>
                      </a:lnTo>
                      <a:lnTo>
                        <a:pt x="1" y="62"/>
                      </a:lnTo>
                      <a:lnTo>
                        <a:pt x="0" y="63"/>
                      </a:lnTo>
                      <a:lnTo>
                        <a:pt x="0" y="65"/>
                      </a:lnTo>
                      <a:lnTo>
                        <a:pt x="1" y="66"/>
                      </a:lnTo>
                      <a:lnTo>
                        <a:pt x="3" y="69"/>
                      </a:lnTo>
                      <a:lnTo>
                        <a:pt x="4" y="70"/>
                      </a:lnTo>
                      <a:lnTo>
                        <a:pt x="5" y="71"/>
                      </a:lnTo>
                      <a:lnTo>
                        <a:pt x="5" y="76"/>
                      </a:lnTo>
                      <a:lnTo>
                        <a:pt x="5" y="79"/>
                      </a:lnTo>
                      <a:lnTo>
                        <a:pt x="6" y="81"/>
                      </a:lnTo>
                      <a:lnTo>
                        <a:pt x="8" y="82"/>
                      </a:lnTo>
                      <a:lnTo>
                        <a:pt x="13" y="84"/>
                      </a:lnTo>
                      <a:lnTo>
                        <a:pt x="18" y="84"/>
                      </a:lnTo>
                      <a:lnTo>
                        <a:pt x="23" y="84"/>
                      </a:lnTo>
                      <a:lnTo>
                        <a:pt x="27" y="85"/>
                      </a:lnTo>
                      <a:lnTo>
                        <a:pt x="39" y="91"/>
                      </a:lnTo>
                      <a:lnTo>
                        <a:pt x="43" y="95"/>
                      </a:lnTo>
                      <a:lnTo>
                        <a:pt x="46" y="100"/>
                      </a:lnTo>
                      <a:lnTo>
                        <a:pt x="47" y="104"/>
                      </a:lnTo>
                      <a:lnTo>
                        <a:pt x="47" y="110"/>
                      </a:lnTo>
                      <a:lnTo>
                        <a:pt x="53" y="114"/>
                      </a:lnTo>
                      <a:lnTo>
                        <a:pt x="58" y="116"/>
                      </a:lnTo>
                      <a:lnTo>
                        <a:pt x="60" y="119"/>
                      </a:lnTo>
                      <a:lnTo>
                        <a:pt x="61" y="121"/>
                      </a:lnTo>
                      <a:lnTo>
                        <a:pt x="62" y="123"/>
                      </a:lnTo>
                      <a:lnTo>
                        <a:pt x="61" y="128"/>
                      </a:lnTo>
                      <a:lnTo>
                        <a:pt x="62" y="129"/>
                      </a:lnTo>
                      <a:lnTo>
                        <a:pt x="63" y="132"/>
                      </a:lnTo>
                      <a:lnTo>
                        <a:pt x="67" y="135"/>
                      </a:lnTo>
                      <a:lnTo>
                        <a:pt x="71" y="139"/>
                      </a:lnTo>
                      <a:lnTo>
                        <a:pt x="72" y="141"/>
                      </a:lnTo>
                      <a:lnTo>
                        <a:pt x="71" y="145"/>
                      </a:lnTo>
                      <a:lnTo>
                        <a:pt x="69" y="142"/>
                      </a:lnTo>
                      <a:lnTo>
                        <a:pt x="66" y="140"/>
                      </a:lnTo>
                      <a:lnTo>
                        <a:pt x="65" y="139"/>
                      </a:lnTo>
                      <a:lnTo>
                        <a:pt x="62" y="140"/>
                      </a:lnTo>
                      <a:lnTo>
                        <a:pt x="61" y="140"/>
                      </a:lnTo>
                      <a:lnTo>
                        <a:pt x="61" y="142"/>
                      </a:lnTo>
                      <a:lnTo>
                        <a:pt x="62" y="154"/>
                      </a:lnTo>
                      <a:lnTo>
                        <a:pt x="60" y="166"/>
                      </a:lnTo>
                      <a:lnTo>
                        <a:pt x="56" y="177"/>
                      </a:lnTo>
                      <a:lnTo>
                        <a:pt x="53" y="180"/>
                      </a:lnTo>
                      <a:lnTo>
                        <a:pt x="51" y="183"/>
                      </a:lnTo>
                      <a:lnTo>
                        <a:pt x="51" y="186"/>
                      </a:lnTo>
                      <a:lnTo>
                        <a:pt x="51" y="189"/>
                      </a:lnTo>
                      <a:lnTo>
                        <a:pt x="66" y="196"/>
                      </a:lnTo>
                      <a:lnTo>
                        <a:pt x="80" y="202"/>
                      </a:lnTo>
                      <a:lnTo>
                        <a:pt x="95" y="204"/>
                      </a:lnTo>
                      <a:lnTo>
                        <a:pt x="112" y="206"/>
                      </a:lnTo>
                      <a:lnTo>
                        <a:pt x="118" y="205"/>
                      </a:lnTo>
                      <a:lnTo>
                        <a:pt x="126" y="204"/>
                      </a:lnTo>
                      <a:lnTo>
                        <a:pt x="138" y="197"/>
                      </a:lnTo>
                      <a:lnTo>
                        <a:pt x="138" y="192"/>
                      </a:lnTo>
                      <a:lnTo>
                        <a:pt x="140" y="191"/>
                      </a:lnTo>
                      <a:lnTo>
                        <a:pt x="141" y="189"/>
                      </a:lnTo>
                      <a:lnTo>
                        <a:pt x="146" y="186"/>
                      </a:lnTo>
                      <a:lnTo>
                        <a:pt x="151" y="184"/>
                      </a:lnTo>
                      <a:lnTo>
                        <a:pt x="156" y="184"/>
                      </a:lnTo>
                      <a:lnTo>
                        <a:pt x="161" y="184"/>
                      </a:lnTo>
                      <a:lnTo>
                        <a:pt x="173" y="186"/>
                      </a:lnTo>
                      <a:lnTo>
                        <a:pt x="183" y="190"/>
                      </a:lnTo>
                      <a:lnTo>
                        <a:pt x="185" y="191"/>
                      </a:lnTo>
                      <a:lnTo>
                        <a:pt x="187" y="190"/>
                      </a:lnTo>
                      <a:lnTo>
                        <a:pt x="199" y="184"/>
                      </a:lnTo>
                      <a:lnTo>
                        <a:pt x="211" y="177"/>
                      </a:lnTo>
                      <a:lnTo>
                        <a:pt x="213" y="17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213">
                  <a:extLst>
                    <a:ext uri="{FF2B5EF4-FFF2-40B4-BE49-F238E27FC236}">
                      <a16:creationId xmlns:a16="http://schemas.microsoft.com/office/drawing/2014/main" id="{EB8E0F71-2B8E-F541-B250-626BAA3BA5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1879" y="3441863"/>
                  <a:ext cx="8879" cy="10360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0 w 6"/>
                    <a:gd name="T7" fmla="*/ 2147483647 h 7"/>
                    <a:gd name="T8" fmla="*/ 0 w 6"/>
                    <a:gd name="T9" fmla="*/ 2147483647 h 7"/>
                    <a:gd name="T10" fmla="*/ 2147483647 w 6"/>
                    <a:gd name="T11" fmla="*/ 2147483647 h 7"/>
                    <a:gd name="T12" fmla="*/ 2147483647 w 6"/>
                    <a:gd name="T13" fmla="*/ 0 h 7"/>
                    <a:gd name="T14" fmla="*/ 2147483647 w 6"/>
                    <a:gd name="T15" fmla="*/ 0 h 7"/>
                    <a:gd name="T16" fmla="*/ 2147483647 w 6"/>
                    <a:gd name="T17" fmla="*/ 2147483647 h 7"/>
                    <a:gd name="T18" fmla="*/ 2147483647 w 6"/>
                    <a:gd name="T19" fmla="*/ 2147483647 h 7"/>
                    <a:gd name="T20" fmla="*/ 2147483647 w 6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7"/>
                    <a:gd name="T35" fmla="*/ 6 w 6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7">
                      <a:moveTo>
                        <a:pt x="6" y="5"/>
                      </a:move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3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214">
                  <a:extLst>
                    <a:ext uri="{FF2B5EF4-FFF2-40B4-BE49-F238E27FC236}">
                      <a16:creationId xmlns:a16="http://schemas.microsoft.com/office/drawing/2014/main" id="{A46A5DEB-39EA-834C-8ED4-7E457E61FD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1433" y="3412269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0 w 5"/>
                    <a:gd name="T3" fmla="*/ 2147483647 h 6"/>
                    <a:gd name="T4" fmla="*/ 0 w 5"/>
                    <a:gd name="T5" fmla="*/ 2147483647 h 6"/>
                    <a:gd name="T6" fmla="*/ 2147483647 w 5"/>
                    <a:gd name="T7" fmla="*/ 0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6"/>
                    <a:gd name="T32" fmla="*/ 5 w 5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6">
                      <a:moveTo>
                        <a:pt x="2" y="6"/>
                      </a:move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3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1215">
                  <a:extLst>
                    <a:ext uri="{FF2B5EF4-FFF2-40B4-BE49-F238E27FC236}">
                      <a16:creationId xmlns:a16="http://schemas.microsoft.com/office/drawing/2014/main" id="{2740E326-F191-8B4C-8140-2C9C9B093F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1878" y="3440386"/>
                  <a:ext cx="7400" cy="10359"/>
                </a:xfrm>
                <a:custGeom>
                  <a:avLst/>
                  <a:gdLst>
                    <a:gd name="T0" fmla="*/ 2147483647 w 6"/>
                    <a:gd name="T1" fmla="*/ 2147483647 h 7"/>
                    <a:gd name="T2" fmla="*/ 2147483647 w 6"/>
                    <a:gd name="T3" fmla="*/ 2147483647 h 7"/>
                    <a:gd name="T4" fmla="*/ 2147483647 w 6"/>
                    <a:gd name="T5" fmla="*/ 2147483647 h 7"/>
                    <a:gd name="T6" fmla="*/ 2147483647 w 6"/>
                    <a:gd name="T7" fmla="*/ 2147483647 h 7"/>
                    <a:gd name="T8" fmla="*/ 0 w 6"/>
                    <a:gd name="T9" fmla="*/ 2147483647 h 7"/>
                    <a:gd name="T10" fmla="*/ 0 w 6"/>
                    <a:gd name="T11" fmla="*/ 2147483647 h 7"/>
                    <a:gd name="T12" fmla="*/ 0 w 6"/>
                    <a:gd name="T13" fmla="*/ 2147483647 h 7"/>
                    <a:gd name="T14" fmla="*/ 2147483647 w 6"/>
                    <a:gd name="T15" fmla="*/ 2147483647 h 7"/>
                    <a:gd name="T16" fmla="*/ 2147483647 w 6"/>
                    <a:gd name="T17" fmla="*/ 0 h 7"/>
                    <a:gd name="T18" fmla="*/ 2147483647 w 6"/>
                    <a:gd name="T19" fmla="*/ 0 h 7"/>
                    <a:gd name="T20" fmla="*/ 2147483647 w 6"/>
                    <a:gd name="T21" fmla="*/ 0 h 7"/>
                    <a:gd name="T22" fmla="*/ 2147483647 w 6"/>
                    <a:gd name="T23" fmla="*/ 2147483647 h 7"/>
                    <a:gd name="T24" fmla="*/ 2147483647 w 6"/>
                    <a:gd name="T25" fmla="*/ 2147483647 h 7"/>
                    <a:gd name="T26" fmla="*/ 2147483647 w 6"/>
                    <a:gd name="T27" fmla="*/ 2147483647 h 7"/>
                    <a:gd name="T28" fmla="*/ 2147483647 w 6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"/>
                    <a:gd name="T46" fmla="*/ 0 h 7"/>
                    <a:gd name="T47" fmla="*/ 6 w 6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" h="7">
                      <a:moveTo>
                        <a:pt x="6" y="5"/>
                      </a:move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1216">
                  <a:extLst>
                    <a:ext uri="{FF2B5EF4-FFF2-40B4-BE49-F238E27FC236}">
                      <a16:creationId xmlns:a16="http://schemas.microsoft.com/office/drawing/2014/main" id="{921C8179-0F72-5849-8F5C-4CBB6B2A56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8473" y="3410790"/>
                  <a:ext cx="591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0 w 5"/>
                    <a:gd name="T5" fmla="*/ 2147483647 h 6"/>
                    <a:gd name="T6" fmla="*/ 0 w 5"/>
                    <a:gd name="T7" fmla="*/ 2147483647 h 6"/>
                    <a:gd name="T8" fmla="*/ 0 w 5"/>
                    <a:gd name="T9" fmla="*/ 2147483647 h 6"/>
                    <a:gd name="T10" fmla="*/ 2147483647 w 5"/>
                    <a:gd name="T11" fmla="*/ 0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2147483647 w 5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"/>
                    <a:gd name="T49" fmla="*/ 0 h 6"/>
                    <a:gd name="T50" fmla="*/ 5 w 5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" h="6">
                      <a:moveTo>
                        <a:pt x="3" y="6"/>
                      </a:moveTo>
                      <a:lnTo>
                        <a:pt x="3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4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1217">
                  <a:extLst>
                    <a:ext uri="{FF2B5EF4-FFF2-40B4-BE49-F238E27FC236}">
                      <a16:creationId xmlns:a16="http://schemas.microsoft.com/office/drawing/2014/main" id="{B5D021C0-56DB-8345-9BE1-B37D285056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2957" y="3418184"/>
                  <a:ext cx="32557" cy="29598"/>
                </a:xfrm>
                <a:custGeom>
                  <a:avLst/>
                  <a:gdLst>
                    <a:gd name="T0" fmla="*/ 2147483647 w 24"/>
                    <a:gd name="T1" fmla="*/ 2147483647 h 20"/>
                    <a:gd name="T2" fmla="*/ 2147483647 w 24"/>
                    <a:gd name="T3" fmla="*/ 2147483647 h 20"/>
                    <a:gd name="T4" fmla="*/ 2147483647 w 24"/>
                    <a:gd name="T5" fmla="*/ 2147483647 h 20"/>
                    <a:gd name="T6" fmla="*/ 2147483647 w 24"/>
                    <a:gd name="T7" fmla="*/ 2147483647 h 20"/>
                    <a:gd name="T8" fmla="*/ 2147483647 w 24"/>
                    <a:gd name="T9" fmla="*/ 2147483647 h 20"/>
                    <a:gd name="T10" fmla="*/ 2147483647 w 24"/>
                    <a:gd name="T11" fmla="*/ 2147483647 h 20"/>
                    <a:gd name="T12" fmla="*/ 2147483647 w 24"/>
                    <a:gd name="T13" fmla="*/ 2147483647 h 20"/>
                    <a:gd name="T14" fmla="*/ 2147483647 w 24"/>
                    <a:gd name="T15" fmla="*/ 2147483647 h 20"/>
                    <a:gd name="T16" fmla="*/ 2147483647 w 24"/>
                    <a:gd name="T17" fmla="*/ 2147483647 h 20"/>
                    <a:gd name="T18" fmla="*/ 2147483647 w 24"/>
                    <a:gd name="T19" fmla="*/ 2147483647 h 20"/>
                    <a:gd name="T20" fmla="*/ 0 w 24"/>
                    <a:gd name="T21" fmla="*/ 2147483647 h 20"/>
                    <a:gd name="T22" fmla="*/ 2147483647 w 24"/>
                    <a:gd name="T23" fmla="*/ 2147483647 h 20"/>
                    <a:gd name="T24" fmla="*/ 2147483647 w 24"/>
                    <a:gd name="T25" fmla="*/ 2147483647 h 20"/>
                    <a:gd name="T26" fmla="*/ 2147483647 w 24"/>
                    <a:gd name="T27" fmla="*/ 2147483647 h 20"/>
                    <a:gd name="T28" fmla="*/ 2147483647 w 24"/>
                    <a:gd name="T29" fmla="*/ 0 h 20"/>
                    <a:gd name="T30" fmla="*/ 2147483647 w 24"/>
                    <a:gd name="T31" fmla="*/ 0 h 20"/>
                    <a:gd name="T32" fmla="*/ 2147483647 w 24"/>
                    <a:gd name="T33" fmla="*/ 2147483647 h 20"/>
                    <a:gd name="T34" fmla="*/ 2147483647 w 24"/>
                    <a:gd name="T35" fmla="*/ 2147483647 h 20"/>
                    <a:gd name="T36" fmla="*/ 2147483647 w 24"/>
                    <a:gd name="T37" fmla="*/ 2147483647 h 20"/>
                    <a:gd name="T38" fmla="*/ 2147483647 w 24"/>
                    <a:gd name="T39" fmla="*/ 2147483647 h 2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4"/>
                    <a:gd name="T61" fmla="*/ 0 h 20"/>
                    <a:gd name="T62" fmla="*/ 24 w 24"/>
                    <a:gd name="T63" fmla="*/ 20 h 2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4" h="20">
                      <a:moveTo>
                        <a:pt x="20" y="9"/>
                      </a:moveTo>
                      <a:lnTo>
                        <a:pt x="23" y="10"/>
                      </a:lnTo>
                      <a:lnTo>
                        <a:pt x="24" y="12"/>
                      </a:lnTo>
                      <a:lnTo>
                        <a:pt x="23" y="14"/>
                      </a:lnTo>
                      <a:lnTo>
                        <a:pt x="20" y="15"/>
                      </a:lnTo>
                      <a:lnTo>
                        <a:pt x="19" y="17"/>
                      </a:lnTo>
                      <a:lnTo>
                        <a:pt x="17" y="20"/>
                      </a:lnTo>
                      <a:lnTo>
                        <a:pt x="10" y="16"/>
                      </a:lnTo>
                      <a:lnTo>
                        <a:pt x="7" y="16"/>
                      </a:lnTo>
                      <a:lnTo>
                        <a:pt x="6" y="16"/>
                      </a:ln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6" y="8"/>
                      </a:lnTo>
                      <a:lnTo>
                        <a:pt x="14" y="1"/>
                      </a:ln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17" y="2"/>
                      </a:lnTo>
                      <a:lnTo>
                        <a:pt x="17" y="6"/>
                      </a:lnTo>
                      <a:lnTo>
                        <a:pt x="19" y="8"/>
                      </a:lnTo>
                      <a:lnTo>
                        <a:pt x="20" y="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1219">
                  <a:extLst>
                    <a:ext uri="{FF2B5EF4-FFF2-40B4-BE49-F238E27FC236}">
                      <a16:creationId xmlns:a16="http://schemas.microsoft.com/office/drawing/2014/main" id="{D97F867D-83A5-9C48-BEB2-9C2BA43C9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9996" y="3415228"/>
                  <a:ext cx="34037" cy="31078"/>
                </a:xfrm>
                <a:custGeom>
                  <a:avLst/>
                  <a:gdLst>
                    <a:gd name="T0" fmla="*/ 2147483647 w 25"/>
                    <a:gd name="T1" fmla="*/ 2147483647 h 21"/>
                    <a:gd name="T2" fmla="*/ 2147483647 w 25"/>
                    <a:gd name="T3" fmla="*/ 2147483647 h 21"/>
                    <a:gd name="T4" fmla="*/ 2147483647 w 25"/>
                    <a:gd name="T5" fmla="*/ 2147483647 h 21"/>
                    <a:gd name="T6" fmla="*/ 2147483647 w 25"/>
                    <a:gd name="T7" fmla="*/ 2147483647 h 21"/>
                    <a:gd name="T8" fmla="*/ 2147483647 w 25"/>
                    <a:gd name="T9" fmla="*/ 2147483647 h 21"/>
                    <a:gd name="T10" fmla="*/ 2147483647 w 25"/>
                    <a:gd name="T11" fmla="*/ 2147483647 h 21"/>
                    <a:gd name="T12" fmla="*/ 2147483647 w 25"/>
                    <a:gd name="T13" fmla="*/ 2147483647 h 21"/>
                    <a:gd name="T14" fmla="*/ 2147483647 w 25"/>
                    <a:gd name="T15" fmla="*/ 2147483647 h 21"/>
                    <a:gd name="T16" fmla="*/ 2147483647 w 25"/>
                    <a:gd name="T17" fmla="*/ 2147483647 h 21"/>
                    <a:gd name="T18" fmla="*/ 2147483647 w 25"/>
                    <a:gd name="T19" fmla="*/ 2147483647 h 21"/>
                    <a:gd name="T20" fmla="*/ 2147483647 w 25"/>
                    <a:gd name="T21" fmla="*/ 2147483647 h 21"/>
                    <a:gd name="T22" fmla="*/ 2147483647 w 25"/>
                    <a:gd name="T23" fmla="*/ 2147483647 h 21"/>
                    <a:gd name="T24" fmla="*/ 2147483647 w 25"/>
                    <a:gd name="T25" fmla="*/ 2147483647 h 21"/>
                    <a:gd name="T26" fmla="*/ 2147483647 w 25"/>
                    <a:gd name="T27" fmla="*/ 2147483647 h 21"/>
                    <a:gd name="T28" fmla="*/ 0 w 25"/>
                    <a:gd name="T29" fmla="*/ 2147483647 h 21"/>
                    <a:gd name="T30" fmla="*/ 0 w 25"/>
                    <a:gd name="T31" fmla="*/ 2147483647 h 21"/>
                    <a:gd name="T32" fmla="*/ 2147483647 w 25"/>
                    <a:gd name="T33" fmla="*/ 2147483647 h 21"/>
                    <a:gd name="T34" fmla="*/ 2147483647 w 25"/>
                    <a:gd name="T35" fmla="*/ 2147483647 h 21"/>
                    <a:gd name="T36" fmla="*/ 2147483647 w 25"/>
                    <a:gd name="T37" fmla="*/ 2147483647 h 21"/>
                    <a:gd name="T38" fmla="*/ 2147483647 w 25"/>
                    <a:gd name="T39" fmla="*/ 2147483647 h 21"/>
                    <a:gd name="T40" fmla="*/ 2147483647 w 25"/>
                    <a:gd name="T41" fmla="*/ 0 h 21"/>
                    <a:gd name="T42" fmla="*/ 2147483647 w 25"/>
                    <a:gd name="T43" fmla="*/ 0 h 21"/>
                    <a:gd name="T44" fmla="*/ 2147483647 w 25"/>
                    <a:gd name="T45" fmla="*/ 2147483647 h 21"/>
                    <a:gd name="T46" fmla="*/ 2147483647 w 25"/>
                    <a:gd name="T47" fmla="*/ 2147483647 h 21"/>
                    <a:gd name="T48" fmla="*/ 2147483647 w 25"/>
                    <a:gd name="T49" fmla="*/ 2147483647 h 21"/>
                    <a:gd name="T50" fmla="*/ 2147483647 w 25"/>
                    <a:gd name="T51" fmla="*/ 2147483647 h 21"/>
                    <a:gd name="T52" fmla="*/ 2147483647 w 25"/>
                    <a:gd name="T53" fmla="*/ 2147483647 h 21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5"/>
                    <a:gd name="T82" fmla="*/ 0 h 21"/>
                    <a:gd name="T83" fmla="*/ 25 w 25"/>
                    <a:gd name="T84" fmla="*/ 21 h 21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5" h="21">
                      <a:moveTo>
                        <a:pt x="21" y="10"/>
                      </a:moveTo>
                      <a:lnTo>
                        <a:pt x="21" y="10"/>
                      </a:lnTo>
                      <a:lnTo>
                        <a:pt x="23" y="11"/>
                      </a:lnTo>
                      <a:lnTo>
                        <a:pt x="25" y="12"/>
                      </a:lnTo>
                      <a:lnTo>
                        <a:pt x="23" y="15"/>
                      </a:lnTo>
                      <a:lnTo>
                        <a:pt x="21" y="16"/>
                      </a:lnTo>
                      <a:lnTo>
                        <a:pt x="19" y="18"/>
                      </a:lnTo>
                      <a:lnTo>
                        <a:pt x="18" y="21"/>
                      </a:lnTo>
                      <a:lnTo>
                        <a:pt x="11" y="17"/>
                      </a:lnTo>
                      <a:lnTo>
                        <a:pt x="8" y="17"/>
                      </a:lnTo>
                      <a:lnTo>
                        <a:pt x="7" y="17"/>
                      </a:lnTo>
                      <a:lnTo>
                        <a:pt x="0" y="18"/>
                      </a:lnTo>
                      <a:lnTo>
                        <a:pt x="3" y="12"/>
                      </a:lnTo>
                      <a:lnTo>
                        <a:pt x="7" y="9"/>
                      </a:lnTo>
                      <a:lnTo>
                        <a:pt x="14" y="2"/>
                      </a:lnTo>
                      <a:lnTo>
                        <a:pt x="17" y="0"/>
                      </a:lnTo>
                      <a:lnTo>
                        <a:pt x="18" y="0"/>
                      </a:lnTo>
                      <a:lnTo>
                        <a:pt x="18" y="3"/>
                      </a:lnTo>
                      <a:lnTo>
                        <a:pt x="18" y="6"/>
                      </a:lnTo>
                      <a:lnTo>
                        <a:pt x="19" y="9"/>
                      </a:lnTo>
                      <a:lnTo>
                        <a:pt x="21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1220">
                  <a:extLst>
                    <a:ext uri="{FF2B5EF4-FFF2-40B4-BE49-F238E27FC236}">
                      <a16:creationId xmlns:a16="http://schemas.microsoft.com/office/drawing/2014/main" id="{77A91B5A-231C-7949-B116-D0E0919CB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1783" y="3292399"/>
                  <a:ext cx="303373" cy="250098"/>
                </a:xfrm>
                <a:custGeom>
                  <a:avLst/>
                  <a:gdLst>
                    <a:gd name="T0" fmla="*/ 2147483647 w 222"/>
                    <a:gd name="T1" fmla="*/ 2147483647 h 169"/>
                    <a:gd name="T2" fmla="*/ 2147483647 w 222"/>
                    <a:gd name="T3" fmla="*/ 2147483647 h 169"/>
                    <a:gd name="T4" fmla="*/ 2147483647 w 222"/>
                    <a:gd name="T5" fmla="*/ 2147483647 h 169"/>
                    <a:gd name="T6" fmla="*/ 2147483647 w 222"/>
                    <a:gd name="T7" fmla="*/ 2147483647 h 169"/>
                    <a:gd name="T8" fmla="*/ 2147483647 w 222"/>
                    <a:gd name="T9" fmla="*/ 2147483647 h 169"/>
                    <a:gd name="T10" fmla="*/ 2147483647 w 222"/>
                    <a:gd name="T11" fmla="*/ 2147483647 h 169"/>
                    <a:gd name="T12" fmla="*/ 2147483647 w 222"/>
                    <a:gd name="T13" fmla="*/ 2147483647 h 169"/>
                    <a:gd name="T14" fmla="*/ 2147483647 w 222"/>
                    <a:gd name="T15" fmla="*/ 0 h 169"/>
                    <a:gd name="T16" fmla="*/ 2147483647 w 222"/>
                    <a:gd name="T17" fmla="*/ 2147483647 h 169"/>
                    <a:gd name="T18" fmla="*/ 2147483647 w 222"/>
                    <a:gd name="T19" fmla="*/ 2147483647 h 169"/>
                    <a:gd name="T20" fmla="*/ 0 w 222"/>
                    <a:gd name="T21" fmla="*/ 2147483647 h 169"/>
                    <a:gd name="T22" fmla="*/ 2147483647 w 222"/>
                    <a:gd name="T23" fmla="*/ 2147483647 h 169"/>
                    <a:gd name="T24" fmla="*/ 2147483647 w 222"/>
                    <a:gd name="T25" fmla="*/ 2147483647 h 169"/>
                    <a:gd name="T26" fmla="*/ 2147483647 w 222"/>
                    <a:gd name="T27" fmla="*/ 2147483647 h 169"/>
                    <a:gd name="T28" fmla="*/ 2147483647 w 222"/>
                    <a:gd name="T29" fmla="*/ 2147483647 h 169"/>
                    <a:gd name="T30" fmla="*/ 2147483647 w 222"/>
                    <a:gd name="T31" fmla="*/ 2147483647 h 169"/>
                    <a:gd name="T32" fmla="*/ 2147483647 w 222"/>
                    <a:gd name="T33" fmla="*/ 2147483647 h 169"/>
                    <a:gd name="T34" fmla="*/ 2147483647 w 222"/>
                    <a:gd name="T35" fmla="*/ 2147483647 h 169"/>
                    <a:gd name="T36" fmla="*/ 2147483647 w 222"/>
                    <a:gd name="T37" fmla="*/ 2147483647 h 169"/>
                    <a:gd name="T38" fmla="*/ 2147483647 w 222"/>
                    <a:gd name="T39" fmla="*/ 2147483647 h 169"/>
                    <a:gd name="T40" fmla="*/ 2147483647 w 222"/>
                    <a:gd name="T41" fmla="*/ 2147483647 h 169"/>
                    <a:gd name="T42" fmla="*/ 2147483647 w 222"/>
                    <a:gd name="T43" fmla="*/ 2147483647 h 169"/>
                    <a:gd name="T44" fmla="*/ 2147483647 w 222"/>
                    <a:gd name="T45" fmla="*/ 2147483647 h 169"/>
                    <a:gd name="T46" fmla="*/ 2147483647 w 222"/>
                    <a:gd name="T47" fmla="*/ 2147483647 h 169"/>
                    <a:gd name="T48" fmla="*/ 2147483647 w 222"/>
                    <a:gd name="T49" fmla="*/ 2147483647 h 169"/>
                    <a:gd name="T50" fmla="*/ 2147483647 w 222"/>
                    <a:gd name="T51" fmla="*/ 2147483647 h 169"/>
                    <a:gd name="T52" fmla="*/ 2147483647 w 222"/>
                    <a:gd name="T53" fmla="*/ 2147483647 h 169"/>
                    <a:gd name="T54" fmla="*/ 2147483647 w 222"/>
                    <a:gd name="T55" fmla="*/ 2147483647 h 169"/>
                    <a:gd name="T56" fmla="*/ 2147483647 w 222"/>
                    <a:gd name="T57" fmla="*/ 2147483647 h 169"/>
                    <a:gd name="T58" fmla="*/ 2147483647 w 222"/>
                    <a:gd name="T59" fmla="*/ 2147483647 h 169"/>
                    <a:gd name="T60" fmla="*/ 2147483647 w 222"/>
                    <a:gd name="T61" fmla="*/ 2147483647 h 169"/>
                    <a:gd name="T62" fmla="*/ 2147483647 w 222"/>
                    <a:gd name="T63" fmla="*/ 2147483647 h 169"/>
                    <a:gd name="T64" fmla="*/ 2147483647 w 222"/>
                    <a:gd name="T65" fmla="*/ 2147483647 h 169"/>
                    <a:gd name="T66" fmla="*/ 2147483647 w 222"/>
                    <a:gd name="T67" fmla="*/ 2147483647 h 169"/>
                    <a:gd name="T68" fmla="*/ 2147483647 w 222"/>
                    <a:gd name="T69" fmla="*/ 2147483647 h 169"/>
                    <a:gd name="T70" fmla="*/ 2147483647 w 222"/>
                    <a:gd name="T71" fmla="*/ 2147483647 h 169"/>
                    <a:gd name="T72" fmla="*/ 2147483647 w 222"/>
                    <a:gd name="T73" fmla="*/ 2147483647 h 169"/>
                    <a:gd name="T74" fmla="*/ 2147483647 w 222"/>
                    <a:gd name="T75" fmla="*/ 2147483647 h 169"/>
                    <a:gd name="T76" fmla="*/ 2147483647 w 222"/>
                    <a:gd name="T77" fmla="*/ 2147483647 h 169"/>
                    <a:gd name="T78" fmla="*/ 2147483647 w 222"/>
                    <a:gd name="T79" fmla="*/ 2147483647 h 169"/>
                    <a:gd name="T80" fmla="*/ 2147483647 w 222"/>
                    <a:gd name="T81" fmla="*/ 2147483647 h 169"/>
                    <a:gd name="T82" fmla="*/ 2147483647 w 222"/>
                    <a:gd name="T83" fmla="*/ 2147483647 h 169"/>
                    <a:gd name="T84" fmla="*/ 2147483647 w 222"/>
                    <a:gd name="T85" fmla="*/ 2147483647 h 169"/>
                    <a:gd name="T86" fmla="*/ 2147483647 w 222"/>
                    <a:gd name="T87" fmla="*/ 2147483647 h 169"/>
                    <a:gd name="T88" fmla="*/ 2147483647 w 222"/>
                    <a:gd name="T89" fmla="*/ 2147483647 h 169"/>
                    <a:gd name="T90" fmla="*/ 2147483647 w 222"/>
                    <a:gd name="T91" fmla="*/ 2147483647 h 169"/>
                    <a:gd name="T92" fmla="*/ 2147483647 w 222"/>
                    <a:gd name="T93" fmla="*/ 2147483647 h 169"/>
                    <a:gd name="T94" fmla="*/ 2147483647 w 222"/>
                    <a:gd name="T95" fmla="*/ 2147483647 h 169"/>
                    <a:gd name="T96" fmla="*/ 2147483647 w 222"/>
                    <a:gd name="T97" fmla="*/ 2147483647 h 169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22"/>
                    <a:gd name="T148" fmla="*/ 0 h 169"/>
                    <a:gd name="T149" fmla="*/ 222 w 222"/>
                    <a:gd name="T150" fmla="*/ 169 h 169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22" h="169">
                      <a:moveTo>
                        <a:pt x="218" y="22"/>
                      </a:moveTo>
                      <a:lnTo>
                        <a:pt x="218" y="22"/>
                      </a:lnTo>
                      <a:lnTo>
                        <a:pt x="206" y="29"/>
                      </a:lnTo>
                      <a:lnTo>
                        <a:pt x="198" y="30"/>
                      </a:lnTo>
                      <a:lnTo>
                        <a:pt x="192" y="31"/>
                      </a:lnTo>
                      <a:lnTo>
                        <a:pt x="175" y="29"/>
                      </a:lnTo>
                      <a:lnTo>
                        <a:pt x="160" y="27"/>
                      </a:lnTo>
                      <a:lnTo>
                        <a:pt x="146" y="21"/>
                      </a:lnTo>
                      <a:lnTo>
                        <a:pt x="131" y="14"/>
                      </a:lnTo>
                      <a:lnTo>
                        <a:pt x="131" y="11"/>
                      </a:lnTo>
                      <a:lnTo>
                        <a:pt x="131" y="8"/>
                      </a:lnTo>
                      <a:lnTo>
                        <a:pt x="127" y="9"/>
                      </a:lnTo>
                      <a:lnTo>
                        <a:pt x="123" y="10"/>
                      </a:lnTo>
                      <a:lnTo>
                        <a:pt x="113" y="11"/>
                      </a:lnTo>
                      <a:lnTo>
                        <a:pt x="102" y="10"/>
                      </a:lnTo>
                      <a:lnTo>
                        <a:pt x="90" y="9"/>
                      </a:lnTo>
                      <a:lnTo>
                        <a:pt x="69" y="5"/>
                      </a:lnTo>
                      <a:lnTo>
                        <a:pt x="61" y="4"/>
                      </a:lnTo>
                      <a:lnTo>
                        <a:pt x="57" y="4"/>
                      </a:lnTo>
                      <a:lnTo>
                        <a:pt x="53" y="6"/>
                      </a:lnTo>
                      <a:lnTo>
                        <a:pt x="48" y="6"/>
                      </a:lnTo>
                      <a:lnTo>
                        <a:pt x="43" y="6"/>
                      </a:lnTo>
                      <a:lnTo>
                        <a:pt x="39" y="6"/>
                      </a:lnTo>
                      <a:lnTo>
                        <a:pt x="30" y="2"/>
                      </a:lnTo>
                      <a:lnTo>
                        <a:pt x="27" y="0"/>
                      </a:lnTo>
                      <a:lnTo>
                        <a:pt x="22" y="0"/>
                      </a:lnTo>
                      <a:lnTo>
                        <a:pt x="20" y="4"/>
                      </a:lnTo>
                      <a:lnTo>
                        <a:pt x="20" y="6"/>
                      </a:lnTo>
                      <a:lnTo>
                        <a:pt x="19" y="8"/>
                      </a:lnTo>
                      <a:lnTo>
                        <a:pt x="15" y="8"/>
                      </a:lnTo>
                      <a:lnTo>
                        <a:pt x="10" y="8"/>
                      </a:lnTo>
                      <a:lnTo>
                        <a:pt x="6" y="10"/>
                      </a:lnTo>
                      <a:lnTo>
                        <a:pt x="3" y="10"/>
                      </a:lnTo>
                      <a:lnTo>
                        <a:pt x="1" y="12"/>
                      </a:lnTo>
                      <a:lnTo>
                        <a:pt x="0" y="14"/>
                      </a:lnTo>
                      <a:lnTo>
                        <a:pt x="0" y="17"/>
                      </a:lnTo>
                      <a:lnTo>
                        <a:pt x="4" y="27"/>
                      </a:lnTo>
                      <a:lnTo>
                        <a:pt x="6" y="31"/>
                      </a:lnTo>
                      <a:lnTo>
                        <a:pt x="6" y="36"/>
                      </a:lnTo>
                      <a:lnTo>
                        <a:pt x="11" y="34"/>
                      </a:lnTo>
                      <a:lnTo>
                        <a:pt x="14" y="34"/>
                      </a:lnTo>
                      <a:lnTo>
                        <a:pt x="17" y="35"/>
                      </a:lnTo>
                      <a:lnTo>
                        <a:pt x="19" y="38"/>
                      </a:lnTo>
                      <a:lnTo>
                        <a:pt x="22" y="40"/>
                      </a:lnTo>
                      <a:lnTo>
                        <a:pt x="25" y="41"/>
                      </a:lnTo>
                      <a:lnTo>
                        <a:pt x="29" y="41"/>
                      </a:lnTo>
                      <a:lnTo>
                        <a:pt x="37" y="41"/>
                      </a:lnTo>
                      <a:lnTo>
                        <a:pt x="41" y="41"/>
                      </a:lnTo>
                      <a:lnTo>
                        <a:pt x="43" y="42"/>
                      </a:lnTo>
                      <a:lnTo>
                        <a:pt x="46" y="43"/>
                      </a:lnTo>
                      <a:lnTo>
                        <a:pt x="47" y="46"/>
                      </a:lnTo>
                      <a:lnTo>
                        <a:pt x="46" y="50"/>
                      </a:lnTo>
                      <a:lnTo>
                        <a:pt x="42" y="64"/>
                      </a:lnTo>
                      <a:lnTo>
                        <a:pt x="39" y="67"/>
                      </a:lnTo>
                      <a:lnTo>
                        <a:pt x="38" y="70"/>
                      </a:lnTo>
                      <a:lnTo>
                        <a:pt x="38" y="75"/>
                      </a:lnTo>
                      <a:lnTo>
                        <a:pt x="39" y="83"/>
                      </a:lnTo>
                      <a:lnTo>
                        <a:pt x="38" y="86"/>
                      </a:lnTo>
                      <a:lnTo>
                        <a:pt x="37" y="88"/>
                      </a:lnTo>
                      <a:lnTo>
                        <a:pt x="30" y="93"/>
                      </a:lnTo>
                      <a:lnTo>
                        <a:pt x="28" y="95"/>
                      </a:lnTo>
                      <a:lnTo>
                        <a:pt x="28" y="98"/>
                      </a:lnTo>
                      <a:lnTo>
                        <a:pt x="28" y="100"/>
                      </a:lnTo>
                      <a:lnTo>
                        <a:pt x="29" y="102"/>
                      </a:lnTo>
                      <a:lnTo>
                        <a:pt x="32" y="102"/>
                      </a:lnTo>
                      <a:lnTo>
                        <a:pt x="33" y="102"/>
                      </a:lnTo>
                      <a:lnTo>
                        <a:pt x="34" y="105"/>
                      </a:lnTo>
                      <a:lnTo>
                        <a:pt x="33" y="107"/>
                      </a:lnTo>
                      <a:lnTo>
                        <a:pt x="33" y="112"/>
                      </a:lnTo>
                      <a:lnTo>
                        <a:pt x="34" y="115"/>
                      </a:lnTo>
                      <a:lnTo>
                        <a:pt x="37" y="119"/>
                      </a:lnTo>
                      <a:lnTo>
                        <a:pt x="38" y="123"/>
                      </a:lnTo>
                      <a:lnTo>
                        <a:pt x="38" y="125"/>
                      </a:lnTo>
                      <a:lnTo>
                        <a:pt x="38" y="126"/>
                      </a:lnTo>
                      <a:lnTo>
                        <a:pt x="36" y="131"/>
                      </a:lnTo>
                      <a:lnTo>
                        <a:pt x="36" y="134"/>
                      </a:lnTo>
                      <a:lnTo>
                        <a:pt x="37" y="137"/>
                      </a:lnTo>
                      <a:lnTo>
                        <a:pt x="38" y="139"/>
                      </a:lnTo>
                      <a:lnTo>
                        <a:pt x="39" y="142"/>
                      </a:lnTo>
                      <a:lnTo>
                        <a:pt x="38" y="144"/>
                      </a:lnTo>
                      <a:lnTo>
                        <a:pt x="39" y="145"/>
                      </a:lnTo>
                      <a:lnTo>
                        <a:pt x="42" y="146"/>
                      </a:lnTo>
                      <a:lnTo>
                        <a:pt x="44" y="151"/>
                      </a:lnTo>
                      <a:lnTo>
                        <a:pt x="50" y="155"/>
                      </a:lnTo>
                      <a:lnTo>
                        <a:pt x="51" y="158"/>
                      </a:lnTo>
                      <a:lnTo>
                        <a:pt x="52" y="163"/>
                      </a:lnTo>
                      <a:lnTo>
                        <a:pt x="52" y="164"/>
                      </a:lnTo>
                      <a:lnTo>
                        <a:pt x="55" y="165"/>
                      </a:lnTo>
                      <a:lnTo>
                        <a:pt x="57" y="166"/>
                      </a:lnTo>
                      <a:lnTo>
                        <a:pt x="60" y="169"/>
                      </a:lnTo>
                      <a:lnTo>
                        <a:pt x="63" y="169"/>
                      </a:lnTo>
                      <a:lnTo>
                        <a:pt x="66" y="168"/>
                      </a:lnTo>
                      <a:lnTo>
                        <a:pt x="70" y="165"/>
                      </a:lnTo>
                      <a:lnTo>
                        <a:pt x="72" y="162"/>
                      </a:lnTo>
                      <a:lnTo>
                        <a:pt x="77" y="155"/>
                      </a:lnTo>
                      <a:lnTo>
                        <a:pt x="80" y="153"/>
                      </a:lnTo>
                      <a:lnTo>
                        <a:pt x="81" y="153"/>
                      </a:lnTo>
                      <a:lnTo>
                        <a:pt x="83" y="153"/>
                      </a:lnTo>
                      <a:lnTo>
                        <a:pt x="94" y="152"/>
                      </a:lnTo>
                      <a:lnTo>
                        <a:pt x="95" y="152"/>
                      </a:lnTo>
                      <a:lnTo>
                        <a:pt x="98" y="153"/>
                      </a:lnTo>
                      <a:lnTo>
                        <a:pt x="99" y="156"/>
                      </a:lnTo>
                      <a:lnTo>
                        <a:pt x="102" y="156"/>
                      </a:lnTo>
                      <a:lnTo>
                        <a:pt x="107" y="155"/>
                      </a:lnTo>
                      <a:lnTo>
                        <a:pt x="110" y="155"/>
                      </a:lnTo>
                      <a:lnTo>
                        <a:pt x="113" y="156"/>
                      </a:lnTo>
                      <a:lnTo>
                        <a:pt x="117" y="157"/>
                      </a:lnTo>
                      <a:lnTo>
                        <a:pt x="118" y="157"/>
                      </a:lnTo>
                      <a:lnTo>
                        <a:pt x="121" y="156"/>
                      </a:lnTo>
                      <a:lnTo>
                        <a:pt x="124" y="152"/>
                      </a:lnTo>
                      <a:lnTo>
                        <a:pt x="128" y="151"/>
                      </a:lnTo>
                      <a:lnTo>
                        <a:pt x="131" y="149"/>
                      </a:lnTo>
                      <a:lnTo>
                        <a:pt x="132" y="145"/>
                      </a:lnTo>
                      <a:lnTo>
                        <a:pt x="135" y="143"/>
                      </a:lnTo>
                      <a:lnTo>
                        <a:pt x="136" y="140"/>
                      </a:lnTo>
                      <a:lnTo>
                        <a:pt x="138" y="139"/>
                      </a:lnTo>
                      <a:lnTo>
                        <a:pt x="141" y="139"/>
                      </a:lnTo>
                      <a:lnTo>
                        <a:pt x="145" y="138"/>
                      </a:lnTo>
                      <a:lnTo>
                        <a:pt x="150" y="134"/>
                      </a:lnTo>
                      <a:lnTo>
                        <a:pt x="154" y="129"/>
                      </a:lnTo>
                      <a:lnTo>
                        <a:pt x="156" y="123"/>
                      </a:lnTo>
                      <a:lnTo>
                        <a:pt x="157" y="117"/>
                      </a:lnTo>
                      <a:lnTo>
                        <a:pt x="157" y="104"/>
                      </a:lnTo>
                      <a:lnTo>
                        <a:pt x="156" y="92"/>
                      </a:lnTo>
                      <a:lnTo>
                        <a:pt x="156" y="89"/>
                      </a:lnTo>
                      <a:lnTo>
                        <a:pt x="157" y="87"/>
                      </a:lnTo>
                      <a:lnTo>
                        <a:pt x="160" y="82"/>
                      </a:lnTo>
                      <a:lnTo>
                        <a:pt x="166" y="79"/>
                      </a:lnTo>
                      <a:lnTo>
                        <a:pt x="173" y="76"/>
                      </a:lnTo>
                      <a:lnTo>
                        <a:pt x="174" y="75"/>
                      </a:lnTo>
                      <a:lnTo>
                        <a:pt x="174" y="74"/>
                      </a:lnTo>
                      <a:lnTo>
                        <a:pt x="174" y="72"/>
                      </a:lnTo>
                      <a:lnTo>
                        <a:pt x="173" y="69"/>
                      </a:lnTo>
                      <a:lnTo>
                        <a:pt x="171" y="67"/>
                      </a:lnTo>
                      <a:lnTo>
                        <a:pt x="173" y="64"/>
                      </a:lnTo>
                      <a:lnTo>
                        <a:pt x="174" y="63"/>
                      </a:lnTo>
                      <a:lnTo>
                        <a:pt x="179" y="61"/>
                      </a:lnTo>
                      <a:lnTo>
                        <a:pt x="187" y="59"/>
                      </a:lnTo>
                      <a:lnTo>
                        <a:pt x="193" y="56"/>
                      </a:lnTo>
                      <a:lnTo>
                        <a:pt x="201" y="53"/>
                      </a:lnTo>
                      <a:lnTo>
                        <a:pt x="207" y="49"/>
                      </a:lnTo>
                      <a:lnTo>
                        <a:pt x="215" y="46"/>
                      </a:lnTo>
                      <a:lnTo>
                        <a:pt x="217" y="43"/>
                      </a:lnTo>
                      <a:lnTo>
                        <a:pt x="220" y="40"/>
                      </a:lnTo>
                      <a:lnTo>
                        <a:pt x="221" y="36"/>
                      </a:lnTo>
                      <a:lnTo>
                        <a:pt x="222" y="32"/>
                      </a:lnTo>
                      <a:lnTo>
                        <a:pt x="221" y="29"/>
                      </a:lnTo>
                      <a:lnTo>
                        <a:pt x="220" y="25"/>
                      </a:lnTo>
                      <a:lnTo>
                        <a:pt x="218" y="2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1224">
                  <a:extLst>
                    <a:ext uri="{FF2B5EF4-FFF2-40B4-BE49-F238E27FC236}">
                      <a16:creationId xmlns:a16="http://schemas.microsoft.com/office/drawing/2014/main" id="{92FAE156-8149-9442-B358-D69A4247AD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4435" y="3026023"/>
                  <a:ext cx="78434" cy="62155"/>
                </a:xfrm>
                <a:custGeom>
                  <a:avLst/>
                  <a:gdLst>
                    <a:gd name="T0" fmla="*/ 0 w 58"/>
                    <a:gd name="T1" fmla="*/ 2147483647 h 42"/>
                    <a:gd name="T2" fmla="*/ 0 w 58"/>
                    <a:gd name="T3" fmla="*/ 2147483647 h 42"/>
                    <a:gd name="T4" fmla="*/ 2147483647 w 58"/>
                    <a:gd name="T5" fmla="*/ 2147483647 h 42"/>
                    <a:gd name="T6" fmla="*/ 2147483647 w 58"/>
                    <a:gd name="T7" fmla="*/ 2147483647 h 42"/>
                    <a:gd name="T8" fmla="*/ 2147483647 w 58"/>
                    <a:gd name="T9" fmla="*/ 2147483647 h 42"/>
                    <a:gd name="T10" fmla="*/ 2147483647 w 58"/>
                    <a:gd name="T11" fmla="*/ 2147483647 h 42"/>
                    <a:gd name="T12" fmla="*/ 2147483647 w 58"/>
                    <a:gd name="T13" fmla="*/ 2147483647 h 42"/>
                    <a:gd name="T14" fmla="*/ 2147483647 w 58"/>
                    <a:gd name="T15" fmla="*/ 2147483647 h 42"/>
                    <a:gd name="T16" fmla="*/ 2147483647 w 58"/>
                    <a:gd name="T17" fmla="*/ 2147483647 h 42"/>
                    <a:gd name="T18" fmla="*/ 2147483647 w 58"/>
                    <a:gd name="T19" fmla="*/ 2147483647 h 42"/>
                    <a:gd name="T20" fmla="*/ 2147483647 w 58"/>
                    <a:gd name="T21" fmla="*/ 2147483647 h 42"/>
                    <a:gd name="T22" fmla="*/ 2147483647 w 58"/>
                    <a:gd name="T23" fmla="*/ 2147483647 h 42"/>
                    <a:gd name="T24" fmla="*/ 2147483647 w 58"/>
                    <a:gd name="T25" fmla="*/ 2147483647 h 42"/>
                    <a:gd name="T26" fmla="*/ 2147483647 w 58"/>
                    <a:gd name="T27" fmla="*/ 2147483647 h 42"/>
                    <a:gd name="T28" fmla="*/ 2147483647 w 58"/>
                    <a:gd name="T29" fmla="*/ 2147483647 h 42"/>
                    <a:gd name="T30" fmla="*/ 2147483647 w 58"/>
                    <a:gd name="T31" fmla="*/ 2147483647 h 42"/>
                    <a:gd name="T32" fmla="*/ 2147483647 w 58"/>
                    <a:gd name="T33" fmla="*/ 2147483647 h 42"/>
                    <a:gd name="T34" fmla="*/ 2147483647 w 58"/>
                    <a:gd name="T35" fmla="*/ 2147483647 h 42"/>
                    <a:gd name="T36" fmla="*/ 2147483647 w 58"/>
                    <a:gd name="T37" fmla="*/ 2147483647 h 42"/>
                    <a:gd name="T38" fmla="*/ 2147483647 w 58"/>
                    <a:gd name="T39" fmla="*/ 2147483647 h 42"/>
                    <a:gd name="T40" fmla="*/ 2147483647 w 58"/>
                    <a:gd name="T41" fmla="*/ 2147483647 h 42"/>
                    <a:gd name="T42" fmla="*/ 2147483647 w 58"/>
                    <a:gd name="T43" fmla="*/ 2147483647 h 42"/>
                    <a:gd name="T44" fmla="*/ 2147483647 w 58"/>
                    <a:gd name="T45" fmla="*/ 2147483647 h 42"/>
                    <a:gd name="T46" fmla="*/ 2147483647 w 58"/>
                    <a:gd name="T47" fmla="*/ 2147483647 h 42"/>
                    <a:gd name="T48" fmla="*/ 2147483647 w 58"/>
                    <a:gd name="T49" fmla="*/ 2147483647 h 42"/>
                    <a:gd name="T50" fmla="*/ 2147483647 w 58"/>
                    <a:gd name="T51" fmla="*/ 2147483647 h 42"/>
                    <a:gd name="T52" fmla="*/ 2147483647 w 58"/>
                    <a:gd name="T53" fmla="*/ 0 h 42"/>
                    <a:gd name="T54" fmla="*/ 2147483647 w 58"/>
                    <a:gd name="T55" fmla="*/ 0 h 42"/>
                    <a:gd name="T56" fmla="*/ 2147483647 w 58"/>
                    <a:gd name="T57" fmla="*/ 0 h 42"/>
                    <a:gd name="T58" fmla="*/ 2147483647 w 58"/>
                    <a:gd name="T59" fmla="*/ 0 h 42"/>
                    <a:gd name="T60" fmla="*/ 2147483647 w 58"/>
                    <a:gd name="T61" fmla="*/ 2147483647 h 42"/>
                    <a:gd name="T62" fmla="*/ 2147483647 w 58"/>
                    <a:gd name="T63" fmla="*/ 2147483647 h 42"/>
                    <a:gd name="T64" fmla="*/ 2147483647 w 58"/>
                    <a:gd name="T65" fmla="*/ 2147483647 h 42"/>
                    <a:gd name="T66" fmla="*/ 2147483647 w 58"/>
                    <a:gd name="T67" fmla="*/ 0 h 42"/>
                    <a:gd name="T68" fmla="*/ 2147483647 w 58"/>
                    <a:gd name="T69" fmla="*/ 0 h 42"/>
                    <a:gd name="T70" fmla="*/ 2147483647 w 58"/>
                    <a:gd name="T71" fmla="*/ 0 h 42"/>
                    <a:gd name="T72" fmla="*/ 2147483647 w 58"/>
                    <a:gd name="T73" fmla="*/ 0 h 42"/>
                    <a:gd name="T74" fmla="*/ 0 w 58"/>
                    <a:gd name="T75" fmla="*/ 2147483647 h 42"/>
                    <a:gd name="T76" fmla="*/ 0 w 58"/>
                    <a:gd name="T77" fmla="*/ 2147483647 h 4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58"/>
                    <a:gd name="T118" fmla="*/ 0 h 42"/>
                    <a:gd name="T119" fmla="*/ 58 w 58"/>
                    <a:gd name="T120" fmla="*/ 42 h 4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58" h="42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1" y="11"/>
                      </a:lnTo>
                      <a:lnTo>
                        <a:pt x="5" y="16"/>
                      </a:lnTo>
                      <a:lnTo>
                        <a:pt x="10" y="20"/>
                      </a:lnTo>
                      <a:lnTo>
                        <a:pt x="16" y="23"/>
                      </a:lnTo>
                      <a:lnTo>
                        <a:pt x="19" y="24"/>
                      </a:lnTo>
                      <a:lnTo>
                        <a:pt x="22" y="28"/>
                      </a:lnTo>
                      <a:lnTo>
                        <a:pt x="24" y="30"/>
                      </a:lnTo>
                      <a:lnTo>
                        <a:pt x="27" y="32"/>
                      </a:lnTo>
                      <a:lnTo>
                        <a:pt x="39" y="36"/>
                      </a:lnTo>
                      <a:lnTo>
                        <a:pt x="46" y="38"/>
                      </a:lnTo>
                      <a:lnTo>
                        <a:pt x="51" y="42"/>
                      </a:lnTo>
                      <a:lnTo>
                        <a:pt x="55" y="36"/>
                      </a:lnTo>
                      <a:lnTo>
                        <a:pt x="58" y="31"/>
                      </a:lnTo>
                      <a:lnTo>
                        <a:pt x="58" y="23"/>
                      </a:lnTo>
                      <a:lnTo>
                        <a:pt x="53" y="19"/>
                      </a:lnTo>
                      <a:lnTo>
                        <a:pt x="51" y="14"/>
                      </a:lnTo>
                      <a:lnTo>
                        <a:pt x="48" y="9"/>
                      </a:lnTo>
                      <a:lnTo>
                        <a:pt x="47" y="3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36" y="0"/>
                      </a:lnTo>
                      <a:lnTo>
                        <a:pt x="27" y="3"/>
                      </a:lnTo>
                      <a:lnTo>
                        <a:pt x="18" y="3"/>
                      </a:lnTo>
                      <a:lnTo>
                        <a:pt x="14" y="1"/>
                      </a:lnTo>
                      <a:lnTo>
                        <a:pt x="9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1226">
                  <a:extLst>
                    <a:ext uri="{FF2B5EF4-FFF2-40B4-BE49-F238E27FC236}">
                      <a16:creationId xmlns:a16="http://schemas.microsoft.com/office/drawing/2014/main" id="{50C56D35-F9F3-9843-B2D2-2F1F07939B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3176" y="2752244"/>
                  <a:ext cx="176105" cy="327052"/>
                </a:xfrm>
                <a:custGeom>
                  <a:avLst/>
                  <a:gdLst>
                    <a:gd name="T0" fmla="*/ 2147483647 w 129"/>
                    <a:gd name="T1" fmla="*/ 2147483647 h 221"/>
                    <a:gd name="T2" fmla="*/ 2147483647 w 129"/>
                    <a:gd name="T3" fmla="*/ 2147483647 h 221"/>
                    <a:gd name="T4" fmla="*/ 2147483647 w 129"/>
                    <a:gd name="T5" fmla="*/ 2147483647 h 221"/>
                    <a:gd name="T6" fmla="*/ 2147483647 w 129"/>
                    <a:gd name="T7" fmla="*/ 2147483647 h 221"/>
                    <a:gd name="T8" fmla="*/ 2147483647 w 129"/>
                    <a:gd name="T9" fmla="*/ 2147483647 h 221"/>
                    <a:gd name="T10" fmla="*/ 2147483647 w 129"/>
                    <a:gd name="T11" fmla="*/ 2147483647 h 221"/>
                    <a:gd name="T12" fmla="*/ 2147483647 w 129"/>
                    <a:gd name="T13" fmla="*/ 2147483647 h 221"/>
                    <a:gd name="T14" fmla="*/ 2147483647 w 129"/>
                    <a:gd name="T15" fmla="*/ 2147483647 h 221"/>
                    <a:gd name="T16" fmla="*/ 2147483647 w 129"/>
                    <a:gd name="T17" fmla="*/ 2147483647 h 221"/>
                    <a:gd name="T18" fmla="*/ 2147483647 w 129"/>
                    <a:gd name="T19" fmla="*/ 2147483647 h 221"/>
                    <a:gd name="T20" fmla="*/ 2147483647 w 129"/>
                    <a:gd name="T21" fmla="*/ 2147483647 h 221"/>
                    <a:gd name="T22" fmla="*/ 2147483647 w 129"/>
                    <a:gd name="T23" fmla="*/ 2147483647 h 221"/>
                    <a:gd name="T24" fmla="*/ 2147483647 w 129"/>
                    <a:gd name="T25" fmla="*/ 2147483647 h 221"/>
                    <a:gd name="T26" fmla="*/ 2147483647 w 129"/>
                    <a:gd name="T27" fmla="*/ 2147483647 h 221"/>
                    <a:gd name="T28" fmla="*/ 2147483647 w 129"/>
                    <a:gd name="T29" fmla="*/ 2147483647 h 221"/>
                    <a:gd name="T30" fmla="*/ 2147483647 w 129"/>
                    <a:gd name="T31" fmla="*/ 2147483647 h 221"/>
                    <a:gd name="T32" fmla="*/ 2147483647 w 129"/>
                    <a:gd name="T33" fmla="*/ 2147483647 h 221"/>
                    <a:gd name="T34" fmla="*/ 2147483647 w 129"/>
                    <a:gd name="T35" fmla="*/ 2147483647 h 221"/>
                    <a:gd name="T36" fmla="*/ 2147483647 w 129"/>
                    <a:gd name="T37" fmla="*/ 2147483647 h 221"/>
                    <a:gd name="T38" fmla="*/ 2147483647 w 129"/>
                    <a:gd name="T39" fmla="*/ 2147483647 h 221"/>
                    <a:gd name="T40" fmla="*/ 2147483647 w 129"/>
                    <a:gd name="T41" fmla="*/ 2147483647 h 221"/>
                    <a:gd name="T42" fmla="*/ 2147483647 w 129"/>
                    <a:gd name="T43" fmla="*/ 2147483647 h 221"/>
                    <a:gd name="T44" fmla="*/ 2147483647 w 129"/>
                    <a:gd name="T45" fmla="*/ 2147483647 h 221"/>
                    <a:gd name="T46" fmla="*/ 2147483647 w 129"/>
                    <a:gd name="T47" fmla="*/ 2147483647 h 221"/>
                    <a:gd name="T48" fmla="*/ 2147483647 w 129"/>
                    <a:gd name="T49" fmla="*/ 2147483647 h 221"/>
                    <a:gd name="T50" fmla="*/ 2147483647 w 129"/>
                    <a:gd name="T51" fmla="*/ 2147483647 h 221"/>
                    <a:gd name="T52" fmla="*/ 2147483647 w 129"/>
                    <a:gd name="T53" fmla="*/ 2147483647 h 221"/>
                    <a:gd name="T54" fmla="*/ 2147483647 w 129"/>
                    <a:gd name="T55" fmla="*/ 2147483647 h 221"/>
                    <a:gd name="T56" fmla="*/ 2147483647 w 129"/>
                    <a:gd name="T57" fmla="*/ 2147483647 h 221"/>
                    <a:gd name="T58" fmla="*/ 2147483647 w 129"/>
                    <a:gd name="T59" fmla="*/ 2147483647 h 221"/>
                    <a:gd name="T60" fmla="*/ 2147483647 w 129"/>
                    <a:gd name="T61" fmla="*/ 2147483647 h 221"/>
                    <a:gd name="T62" fmla="*/ 2147483647 w 129"/>
                    <a:gd name="T63" fmla="*/ 2147483647 h 221"/>
                    <a:gd name="T64" fmla="*/ 2147483647 w 129"/>
                    <a:gd name="T65" fmla="*/ 2147483647 h 221"/>
                    <a:gd name="T66" fmla="*/ 2147483647 w 129"/>
                    <a:gd name="T67" fmla="*/ 2147483647 h 221"/>
                    <a:gd name="T68" fmla="*/ 2147483647 w 129"/>
                    <a:gd name="T69" fmla="*/ 2147483647 h 221"/>
                    <a:gd name="T70" fmla="*/ 2147483647 w 129"/>
                    <a:gd name="T71" fmla="*/ 2147483647 h 221"/>
                    <a:gd name="T72" fmla="*/ 2147483647 w 129"/>
                    <a:gd name="T73" fmla="*/ 2147483647 h 221"/>
                    <a:gd name="T74" fmla="*/ 2147483647 w 129"/>
                    <a:gd name="T75" fmla="*/ 2147483647 h 221"/>
                    <a:gd name="T76" fmla="*/ 2147483647 w 129"/>
                    <a:gd name="T77" fmla="*/ 2147483647 h 221"/>
                    <a:gd name="T78" fmla="*/ 2147483647 w 129"/>
                    <a:gd name="T79" fmla="*/ 2147483647 h 221"/>
                    <a:gd name="T80" fmla="*/ 2147483647 w 129"/>
                    <a:gd name="T81" fmla="*/ 2147483647 h 221"/>
                    <a:gd name="T82" fmla="*/ 2147483647 w 129"/>
                    <a:gd name="T83" fmla="*/ 2147483647 h 221"/>
                    <a:gd name="T84" fmla="*/ 2147483647 w 129"/>
                    <a:gd name="T85" fmla="*/ 2147483647 h 221"/>
                    <a:gd name="T86" fmla="*/ 2147483647 w 129"/>
                    <a:gd name="T87" fmla="*/ 2147483647 h 221"/>
                    <a:gd name="T88" fmla="*/ 2147483647 w 129"/>
                    <a:gd name="T89" fmla="*/ 2147483647 h 221"/>
                    <a:gd name="T90" fmla="*/ 2147483647 w 129"/>
                    <a:gd name="T91" fmla="*/ 2147483647 h 221"/>
                    <a:gd name="T92" fmla="*/ 2147483647 w 129"/>
                    <a:gd name="T93" fmla="*/ 2147483647 h 221"/>
                    <a:gd name="T94" fmla="*/ 2147483647 w 129"/>
                    <a:gd name="T95" fmla="*/ 2147483647 h 221"/>
                    <a:gd name="T96" fmla="*/ 2147483647 w 129"/>
                    <a:gd name="T97" fmla="*/ 2147483647 h 221"/>
                    <a:gd name="T98" fmla="*/ 2147483647 w 129"/>
                    <a:gd name="T99" fmla="*/ 2147483647 h 221"/>
                    <a:gd name="T100" fmla="*/ 2147483647 w 129"/>
                    <a:gd name="T101" fmla="*/ 2147483647 h 221"/>
                    <a:gd name="T102" fmla="*/ 2147483647 w 129"/>
                    <a:gd name="T103" fmla="*/ 2147483647 h 221"/>
                    <a:gd name="T104" fmla="*/ 2147483647 w 129"/>
                    <a:gd name="T105" fmla="*/ 2147483647 h 221"/>
                    <a:gd name="T106" fmla="*/ 2147483647 w 129"/>
                    <a:gd name="T107" fmla="*/ 2147483647 h 221"/>
                    <a:gd name="T108" fmla="*/ 2147483647 w 129"/>
                    <a:gd name="T109" fmla="*/ 2147483647 h 221"/>
                    <a:gd name="T110" fmla="*/ 2147483647 w 129"/>
                    <a:gd name="T111" fmla="*/ 2147483647 h 221"/>
                    <a:gd name="T112" fmla="*/ 2147483647 w 129"/>
                    <a:gd name="T113" fmla="*/ 2147483647 h 221"/>
                    <a:gd name="T114" fmla="*/ 2147483647 w 129"/>
                    <a:gd name="T115" fmla="*/ 2147483647 h 221"/>
                    <a:gd name="T116" fmla="*/ 2147483647 w 129"/>
                    <a:gd name="T117" fmla="*/ 2147483647 h 221"/>
                    <a:gd name="T118" fmla="*/ 2147483647 w 129"/>
                    <a:gd name="T119" fmla="*/ 2147483647 h 22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29"/>
                    <a:gd name="T181" fmla="*/ 0 h 221"/>
                    <a:gd name="T182" fmla="*/ 129 w 129"/>
                    <a:gd name="T183" fmla="*/ 221 h 22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29" h="221">
                      <a:moveTo>
                        <a:pt x="122" y="195"/>
                      </a:moveTo>
                      <a:lnTo>
                        <a:pt x="125" y="191"/>
                      </a:lnTo>
                      <a:lnTo>
                        <a:pt x="127" y="189"/>
                      </a:lnTo>
                      <a:lnTo>
                        <a:pt x="127" y="188"/>
                      </a:lnTo>
                      <a:lnTo>
                        <a:pt x="124" y="185"/>
                      </a:lnTo>
                      <a:lnTo>
                        <a:pt x="122" y="185"/>
                      </a:lnTo>
                      <a:lnTo>
                        <a:pt x="115" y="186"/>
                      </a:lnTo>
                      <a:lnTo>
                        <a:pt x="110" y="186"/>
                      </a:lnTo>
                      <a:lnTo>
                        <a:pt x="108" y="185"/>
                      </a:lnTo>
                      <a:lnTo>
                        <a:pt x="106" y="183"/>
                      </a:lnTo>
                      <a:lnTo>
                        <a:pt x="117" y="179"/>
                      </a:lnTo>
                      <a:lnTo>
                        <a:pt x="120" y="177"/>
                      </a:lnTo>
                      <a:lnTo>
                        <a:pt x="124" y="175"/>
                      </a:lnTo>
                      <a:lnTo>
                        <a:pt x="127" y="171"/>
                      </a:lnTo>
                      <a:lnTo>
                        <a:pt x="129" y="167"/>
                      </a:lnTo>
                      <a:lnTo>
                        <a:pt x="129" y="163"/>
                      </a:lnTo>
                      <a:lnTo>
                        <a:pt x="129" y="158"/>
                      </a:lnTo>
                      <a:lnTo>
                        <a:pt x="128" y="154"/>
                      </a:lnTo>
                      <a:lnTo>
                        <a:pt x="125" y="152"/>
                      </a:lnTo>
                      <a:lnTo>
                        <a:pt x="123" y="151"/>
                      </a:lnTo>
                      <a:lnTo>
                        <a:pt x="120" y="150"/>
                      </a:lnTo>
                      <a:lnTo>
                        <a:pt x="114" y="151"/>
                      </a:lnTo>
                      <a:lnTo>
                        <a:pt x="108" y="153"/>
                      </a:lnTo>
                      <a:lnTo>
                        <a:pt x="108" y="154"/>
                      </a:lnTo>
                      <a:lnTo>
                        <a:pt x="106" y="153"/>
                      </a:lnTo>
                      <a:lnTo>
                        <a:pt x="106" y="152"/>
                      </a:lnTo>
                      <a:lnTo>
                        <a:pt x="108" y="149"/>
                      </a:lnTo>
                      <a:lnTo>
                        <a:pt x="108" y="144"/>
                      </a:lnTo>
                      <a:lnTo>
                        <a:pt x="105" y="140"/>
                      </a:lnTo>
                      <a:lnTo>
                        <a:pt x="100" y="138"/>
                      </a:lnTo>
                      <a:lnTo>
                        <a:pt x="97" y="135"/>
                      </a:lnTo>
                      <a:lnTo>
                        <a:pt x="97" y="134"/>
                      </a:lnTo>
                      <a:lnTo>
                        <a:pt x="97" y="132"/>
                      </a:lnTo>
                      <a:lnTo>
                        <a:pt x="99" y="131"/>
                      </a:lnTo>
                      <a:lnTo>
                        <a:pt x="100" y="130"/>
                      </a:lnTo>
                      <a:lnTo>
                        <a:pt x="103" y="130"/>
                      </a:lnTo>
                      <a:lnTo>
                        <a:pt x="104" y="130"/>
                      </a:lnTo>
                      <a:lnTo>
                        <a:pt x="104" y="126"/>
                      </a:lnTo>
                      <a:lnTo>
                        <a:pt x="103" y="124"/>
                      </a:lnTo>
                      <a:lnTo>
                        <a:pt x="99" y="120"/>
                      </a:lnTo>
                      <a:lnTo>
                        <a:pt x="94" y="117"/>
                      </a:lnTo>
                      <a:lnTo>
                        <a:pt x="89" y="112"/>
                      </a:lnTo>
                      <a:lnTo>
                        <a:pt x="87" y="108"/>
                      </a:lnTo>
                      <a:lnTo>
                        <a:pt x="86" y="105"/>
                      </a:lnTo>
                      <a:lnTo>
                        <a:pt x="85" y="101"/>
                      </a:lnTo>
                      <a:lnTo>
                        <a:pt x="82" y="98"/>
                      </a:lnTo>
                      <a:lnTo>
                        <a:pt x="77" y="92"/>
                      </a:lnTo>
                      <a:lnTo>
                        <a:pt x="73" y="86"/>
                      </a:lnTo>
                      <a:lnTo>
                        <a:pt x="70" y="79"/>
                      </a:lnTo>
                      <a:lnTo>
                        <a:pt x="67" y="70"/>
                      </a:lnTo>
                      <a:lnTo>
                        <a:pt x="67" y="69"/>
                      </a:lnTo>
                      <a:lnTo>
                        <a:pt x="64" y="69"/>
                      </a:lnTo>
                      <a:lnTo>
                        <a:pt x="61" y="68"/>
                      </a:lnTo>
                      <a:lnTo>
                        <a:pt x="56" y="67"/>
                      </a:lnTo>
                      <a:lnTo>
                        <a:pt x="52" y="64"/>
                      </a:lnTo>
                      <a:lnTo>
                        <a:pt x="49" y="62"/>
                      </a:lnTo>
                      <a:lnTo>
                        <a:pt x="48" y="60"/>
                      </a:lnTo>
                      <a:lnTo>
                        <a:pt x="49" y="58"/>
                      </a:lnTo>
                      <a:lnTo>
                        <a:pt x="54" y="55"/>
                      </a:lnTo>
                      <a:lnTo>
                        <a:pt x="58" y="50"/>
                      </a:lnTo>
                      <a:lnTo>
                        <a:pt x="59" y="47"/>
                      </a:lnTo>
                      <a:lnTo>
                        <a:pt x="59" y="42"/>
                      </a:lnTo>
                      <a:lnTo>
                        <a:pt x="62" y="38"/>
                      </a:lnTo>
                      <a:lnTo>
                        <a:pt x="66" y="35"/>
                      </a:lnTo>
                      <a:lnTo>
                        <a:pt x="67" y="32"/>
                      </a:lnTo>
                      <a:lnTo>
                        <a:pt x="67" y="31"/>
                      </a:lnTo>
                      <a:lnTo>
                        <a:pt x="66" y="30"/>
                      </a:lnTo>
                      <a:lnTo>
                        <a:pt x="64" y="29"/>
                      </a:lnTo>
                      <a:lnTo>
                        <a:pt x="53" y="28"/>
                      </a:lnTo>
                      <a:lnTo>
                        <a:pt x="43" y="26"/>
                      </a:lnTo>
                      <a:lnTo>
                        <a:pt x="40" y="28"/>
                      </a:lnTo>
                      <a:lnTo>
                        <a:pt x="38" y="29"/>
                      </a:lnTo>
                      <a:lnTo>
                        <a:pt x="37" y="30"/>
                      </a:lnTo>
                      <a:lnTo>
                        <a:pt x="34" y="31"/>
                      </a:lnTo>
                      <a:lnTo>
                        <a:pt x="33" y="28"/>
                      </a:lnTo>
                      <a:lnTo>
                        <a:pt x="31" y="24"/>
                      </a:lnTo>
                      <a:lnTo>
                        <a:pt x="31" y="20"/>
                      </a:lnTo>
                      <a:lnTo>
                        <a:pt x="33" y="19"/>
                      </a:lnTo>
                      <a:lnTo>
                        <a:pt x="34" y="18"/>
                      </a:lnTo>
                      <a:lnTo>
                        <a:pt x="38" y="16"/>
                      </a:lnTo>
                      <a:lnTo>
                        <a:pt x="42" y="11"/>
                      </a:lnTo>
                      <a:lnTo>
                        <a:pt x="44" y="6"/>
                      </a:lnTo>
                      <a:lnTo>
                        <a:pt x="44" y="4"/>
                      </a:lnTo>
                      <a:lnTo>
                        <a:pt x="44" y="2"/>
                      </a:lnTo>
                      <a:lnTo>
                        <a:pt x="42" y="0"/>
                      </a:lnTo>
                      <a:lnTo>
                        <a:pt x="40" y="0"/>
                      </a:lnTo>
                      <a:lnTo>
                        <a:pt x="38" y="3"/>
                      </a:lnTo>
                      <a:lnTo>
                        <a:pt x="35" y="4"/>
                      </a:lnTo>
                      <a:lnTo>
                        <a:pt x="30" y="4"/>
                      </a:lnTo>
                      <a:lnTo>
                        <a:pt x="29" y="5"/>
                      </a:lnTo>
                      <a:lnTo>
                        <a:pt x="28" y="5"/>
                      </a:lnTo>
                      <a:lnTo>
                        <a:pt x="24" y="4"/>
                      </a:lnTo>
                      <a:lnTo>
                        <a:pt x="21" y="2"/>
                      </a:lnTo>
                      <a:lnTo>
                        <a:pt x="19" y="0"/>
                      </a:lnTo>
                      <a:lnTo>
                        <a:pt x="17" y="0"/>
                      </a:lnTo>
                      <a:lnTo>
                        <a:pt x="15" y="2"/>
                      </a:lnTo>
                      <a:lnTo>
                        <a:pt x="14" y="5"/>
                      </a:lnTo>
                      <a:lnTo>
                        <a:pt x="14" y="10"/>
                      </a:lnTo>
                      <a:lnTo>
                        <a:pt x="14" y="19"/>
                      </a:lnTo>
                      <a:lnTo>
                        <a:pt x="14" y="20"/>
                      </a:lnTo>
                      <a:lnTo>
                        <a:pt x="11" y="22"/>
                      </a:lnTo>
                      <a:lnTo>
                        <a:pt x="7" y="23"/>
                      </a:lnTo>
                      <a:lnTo>
                        <a:pt x="6" y="24"/>
                      </a:lnTo>
                      <a:lnTo>
                        <a:pt x="5" y="25"/>
                      </a:lnTo>
                      <a:lnTo>
                        <a:pt x="5" y="31"/>
                      </a:lnTo>
                      <a:lnTo>
                        <a:pt x="3" y="36"/>
                      </a:lnTo>
                      <a:lnTo>
                        <a:pt x="0" y="47"/>
                      </a:lnTo>
                      <a:lnTo>
                        <a:pt x="1" y="49"/>
                      </a:lnTo>
                      <a:lnTo>
                        <a:pt x="1" y="51"/>
                      </a:lnTo>
                      <a:lnTo>
                        <a:pt x="6" y="56"/>
                      </a:lnTo>
                      <a:lnTo>
                        <a:pt x="7" y="56"/>
                      </a:lnTo>
                      <a:lnTo>
                        <a:pt x="10" y="55"/>
                      </a:lnTo>
                      <a:lnTo>
                        <a:pt x="10" y="56"/>
                      </a:lnTo>
                      <a:lnTo>
                        <a:pt x="10" y="58"/>
                      </a:lnTo>
                      <a:lnTo>
                        <a:pt x="6" y="69"/>
                      </a:lnTo>
                      <a:lnTo>
                        <a:pt x="3" y="75"/>
                      </a:lnTo>
                      <a:lnTo>
                        <a:pt x="3" y="81"/>
                      </a:lnTo>
                      <a:lnTo>
                        <a:pt x="5" y="80"/>
                      </a:lnTo>
                      <a:lnTo>
                        <a:pt x="7" y="79"/>
                      </a:lnTo>
                      <a:lnTo>
                        <a:pt x="9" y="75"/>
                      </a:lnTo>
                      <a:lnTo>
                        <a:pt x="10" y="70"/>
                      </a:lnTo>
                      <a:lnTo>
                        <a:pt x="12" y="67"/>
                      </a:lnTo>
                      <a:lnTo>
                        <a:pt x="15" y="66"/>
                      </a:lnTo>
                      <a:lnTo>
                        <a:pt x="16" y="66"/>
                      </a:lnTo>
                      <a:lnTo>
                        <a:pt x="19" y="69"/>
                      </a:lnTo>
                      <a:lnTo>
                        <a:pt x="20" y="74"/>
                      </a:lnTo>
                      <a:lnTo>
                        <a:pt x="20" y="79"/>
                      </a:lnTo>
                      <a:lnTo>
                        <a:pt x="17" y="83"/>
                      </a:lnTo>
                      <a:lnTo>
                        <a:pt x="19" y="86"/>
                      </a:lnTo>
                      <a:lnTo>
                        <a:pt x="19" y="88"/>
                      </a:lnTo>
                      <a:lnTo>
                        <a:pt x="19" y="89"/>
                      </a:lnTo>
                      <a:lnTo>
                        <a:pt x="16" y="94"/>
                      </a:lnTo>
                      <a:lnTo>
                        <a:pt x="16" y="98"/>
                      </a:lnTo>
                      <a:lnTo>
                        <a:pt x="16" y="102"/>
                      </a:lnTo>
                      <a:lnTo>
                        <a:pt x="17" y="103"/>
                      </a:lnTo>
                      <a:lnTo>
                        <a:pt x="19" y="103"/>
                      </a:lnTo>
                      <a:lnTo>
                        <a:pt x="25" y="105"/>
                      </a:lnTo>
                      <a:lnTo>
                        <a:pt x="31" y="105"/>
                      </a:lnTo>
                      <a:lnTo>
                        <a:pt x="33" y="103"/>
                      </a:lnTo>
                      <a:lnTo>
                        <a:pt x="35" y="101"/>
                      </a:lnTo>
                      <a:lnTo>
                        <a:pt x="38" y="99"/>
                      </a:lnTo>
                      <a:lnTo>
                        <a:pt x="40" y="98"/>
                      </a:lnTo>
                      <a:lnTo>
                        <a:pt x="44" y="98"/>
                      </a:lnTo>
                      <a:lnTo>
                        <a:pt x="45" y="99"/>
                      </a:lnTo>
                      <a:lnTo>
                        <a:pt x="47" y="101"/>
                      </a:lnTo>
                      <a:lnTo>
                        <a:pt x="47" y="102"/>
                      </a:lnTo>
                      <a:lnTo>
                        <a:pt x="43" y="108"/>
                      </a:lnTo>
                      <a:lnTo>
                        <a:pt x="42" y="112"/>
                      </a:lnTo>
                      <a:lnTo>
                        <a:pt x="43" y="113"/>
                      </a:lnTo>
                      <a:lnTo>
                        <a:pt x="44" y="114"/>
                      </a:lnTo>
                      <a:lnTo>
                        <a:pt x="49" y="115"/>
                      </a:lnTo>
                      <a:lnTo>
                        <a:pt x="53" y="118"/>
                      </a:lnTo>
                      <a:lnTo>
                        <a:pt x="56" y="121"/>
                      </a:lnTo>
                      <a:lnTo>
                        <a:pt x="56" y="124"/>
                      </a:lnTo>
                      <a:lnTo>
                        <a:pt x="56" y="126"/>
                      </a:lnTo>
                      <a:lnTo>
                        <a:pt x="54" y="128"/>
                      </a:lnTo>
                      <a:lnTo>
                        <a:pt x="52" y="130"/>
                      </a:lnTo>
                      <a:lnTo>
                        <a:pt x="48" y="132"/>
                      </a:lnTo>
                      <a:lnTo>
                        <a:pt x="48" y="133"/>
                      </a:lnTo>
                      <a:lnTo>
                        <a:pt x="49" y="135"/>
                      </a:lnTo>
                      <a:lnTo>
                        <a:pt x="52" y="137"/>
                      </a:lnTo>
                      <a:lnTo>
                        <a:pt x="52" y="138"/>
                      </a:lnTo>
                      <a:lnTo>
                        <a:pt x="47" y="138"/>
                      </a:lnTo>
                      <a:lnTo>
                        <a:pt x="42" y="138"/>
                      </a:lnTo>
                      <a:lnTo>
                        <a:pt x="37" y="139"/>
                      </a:lnTo>
                      <a:lnTo>
                        <a:pt x="33" y="141"/>
                      </a:lnTo>
                      <a:lnTo>
                        <a:pt x="24" y="146"/>
                      </a:lnTo>
                      <a:lnTo>
                        <a:pt x="17" y="153"/>
                      </a:lnTo>
                      <a:lnTo>
                        <a:pt x="19" y="154"/>
                      </a:lnTo>
                      <a:lnTo>
                        <a:pt x="21" y="154"/>
                      </a:lnTo>
                      <a:lnTo>
                        <a:pt x="25" y="152"/>
                      </a:lnTo>
                      <a:lnTo>
                        <a:pt x="29" y="151"/>
                      </a:lnTo>
                      <a:lnTo>
                        <a:pt x="33" y="151"/>
                      </a:lnTo>
                      <a:lnTo>
                        <a:pt x="37" y="152"/>
                      </a:lnTo>
                      <a:lnTo>
                        <a:pt x="38" y="154"/>
                      </a:lnTo>
                      <a:lnTo>
                        <a:pt x="38" y="156"/>
                      </a:lnTo>
                      <a:lnTo>
                        <a:pt x="37" y="158"/>
                      </a:lnTo>
                      <a:lnTo>
                        <a:pt x="34" y="162"/>
                      </a:lnTo>
                      <a:lnTo>
                        <a:pt x="30" y="164"/>
                      </a:lnTo>
                      <a:lnTo>
                        <a:pt x="28" y="166"/>
                      </a:lnTo>
                      <a:lnTo>
                        <a:pt x="25" y="169"/>
                      </a:lnTo>
                      <a:lnTo>
                        <a:pt x="19" y="173"/>
                      </a:lnTo>
                      <a:lnTo>
                        <a:pt x="16" y="177"/>
                      </a:lnTo>
                      <a:lnTo>
                        <a:pt x="15" y="181"/>
                      </a:lnTo>
                      <a:lnTo>
                        <a:pt x="16" y="181"/>
                      </a:lnTo>
                      <a:lnTo>
                        <a:pt x="17" y="181"/>
                      </a:lnTo>
                      <a:lnTo>
                        <a:pt x="24" y="178"/>
                      </a:lnTo>
                      <a:lnTo>
                        <a:pt x="29" y="178"/>
                      </a:lnTo>
                      <a:lnTo>
                        <a:pt x="35" y="179"/>
                      </a:lnTo>
                      <a:lnTo>
                        <a:pt x="40" y="181"/>
                      </a:lnTo>
                      <a:lnTo>
                        <a:pt x="43" y="182"/>
                      </a:lnTo>
                      <a:lnTo>
                        <a:pt x="45" y="182"/>
                      </a:lnTo>
                      <a:lnTo>
                        <a:pt x="50" y="181"/>
                      </a:lnTo>
                      <a:lnTo>
                        <a:pt x="61" y="173"/>
                      </a:lnTo>
                      <a:lnTo>
                        <a:pt x="59" y="178"/>
                      </a:lnTo>
                      <a:lnTo>
                        <a:pt x="58" y="183"/>
                      </a:lnTo>
                      <a:lnTo>
                        <a:pt x="54" y="185"/>
                      </a:lnTo>
                      <a:lnTo>
                        <a:pt x="50" y="188"/>
                      </a:lnTo>
                      <a:lnTo>
                        <a:pt x="43" y="190"/>
                      </a:lnTo>
                      <a:lnTo>
                        <a:pt x="33" y="191"/>
                      </a:lnTo>
                      <a:lnTo>
                        <a:pt x="30" y="192"/>
                      </a:lnTo>
                      <a:lnTo>
                        <a:pt x="28" y="195"/>
                      </a:lnTo>
                      <a:lnTo>
                        <a:pt x="25" y="199"/>
                      </a:lnTo>
                      <a:lnTo>
                        <a:pt x="21" y="203"/>
                      </a:lnTo>
                      <a:lnTo>
                        <a:pt x="12" y="210"/>
                      </a:lnTo>
                      <a:lnTo>
                        <a:pt x="7" y="215"/>
                      </a:lnTo>
                      <a:lnTo>
                        <a:pt x="3" y="216"/>
                      </a:lnTo>
                      <a:lnTo>
                        <a:pt x="1" y="218"/>
                      </a:lnTo>
                      <a:lnTo>
                        <a:pt x="5" y="220"/>
                      </a:lnTo>
                      <a:lnTo>
                        <a:pt x="9" y="221"/>
                      </a:lnTo>
                      <a:lnTo>
                        <a:pt x="10" y="221"/>
                      </a:lnTo>
                      <a:lnTo>
                        <a:pt x="11" y="221"/>
                      </a:lnTo>
                      <a:lnTo>
                        <a:pt x="16" y="214"/>
                      </a:lnTo>
                      <a:lnTo>
                        <a:pt x="19" y="211"/>
                      </a:lnTo>
                      <a:lnTo>
                        <a:pt x="23" y="209"/>
                      </a:lnTo>
                      <a:lnTo>
                        <a:pt x="26" y="208"/>
                      </a:lnTo>
                      <a:lnTo>
                        <a:pt x="30" y="208"/>
                      </a:lnTo>
                      <a:lnTo>
                        <a:pt x="34" y="209"/>
                      </a:lnTo>
                      <a:lnTo>
                        <a:pt x="38" y="211"/>
                      </a:lnTo>
                      <a:lnTo>
                        <a:pt x="39" y="211"/>
                      </a:lnTo>
                      <a:lnTo>
                        <a:pt x="40" y="210"/>
                      </a:lnTo>
                      <a:lnTo>
                        <a:pt x="44" y="205"/>
                      </a:lnTo>
                      <a:lnTo>
                        <a:pt x="48" y="203"/>
                      </a:lnTo>
                      <a:lnTo>
                        <a:pt x="52" y="203"/>
                      </a:lnTo>
                      <a:lnTo>
                        <a:pt x="56" y="202"/>
                      </a:lnTo>
                      <a:lnTo>
                        <a:pt x="62" y="201"/>
                      </a:lnTo>
                      <a:lnTo>
                        <a:pt x="70" y="199"/>
                      </a:lnTo>
                      <a:lnTo>
                        <a:pt x="72" y="199"/>
                      </a:lnTo>
                      <a:lnTo>
                        <a:pt x="73" y="199"/>
                      </a:lnTo>
                      <a:lnTo>
                        <a:pt x="76" y="197"/>
                      </a:lnTo>
                      <a:lnTo>
                        <a:pt x="77" y="197"/>
                      </a:lnTo>
                      <a:lnTo>
                        <a:pt x="78" y="197"/>
                      </a:lnTo>
                      <a:lnTo>
                        <a:pt x="86" y="199"/>
                      </a:lnTo>
                      <a:lnTo>
                        <a:pt x="90" y="201"/>
                      </a:lnTo>
                      <a:lnTo>
                        <a:pt x="94" y="199"/>
                      </a:lnTo>
                      <a:lnTo>
                        <a:pt x="105" y="198"/>
                      </a:lnTo>
                      <a:lnTo>
                        <a:pt x="115" y="198"/>
                      </a:lnTo>
                      <a:lnTo>
                        <a:pt x="118" y="197"/>
                      </a:lnTo>
                      <a:lnTo>
                        <a:pt x="120" y="197"/>
                      </a:lnTo>
                      <a:lnTo>
                        <a:pt x="122" y="19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1227">
                  <a:extLst>
                    <a:ext uri="{FF2B5EF4-FFF2-40B4-BE49-F238E27FC236}">
                      <a16:creationId xmlns:a16="http://schemas.microsoft.com/office/drawing/2014/main" id="{A2820E27-7DAA-4147-8045-917A3D6311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6277" y="2946109"/>
                  <a:ext cx="97672" cy="113950"/>
                </a:xfrm>
                <a:custGeom>
                  <a:avLst/>
                  <a:gdLst>
                    <a:gd name="T0" fmla="*/ 0 w 71"/>
                    <a:gd name="T1" fmla="*/ 2147483647 h 77"/>
                    <a:gd name="T2" fmla="*/ 2147483647 w 71"/>
                    <a:gd name="T3" fmla="*/ 2147483647 h 77"/>
                    <a:gd name="T4" fmla="*/ 2147483647 w 71"/>
                    <a:gd name="T5" fmla="*/ 2147483647 h 77"/>
                    <a:gd name="T6" fmla="*/ 2147483647 w 71"/>
                    <a:gd name="T7" fmla="*/ 2147483647 h 77"/>
                    <a:gd name="T8" fmla="*/ 2147483647 w 71"/>
                    <a:gd name="T9" fmla="*/ 2147483647 h 77"/>
                    <a:gd name="T10" fmla="*/ 2147483647 w 71"/>
                    <a:gd name="T11" fmla="*/ 2147483647 h 77"/>
                    <a:gd name="T12" fmla="*/ 2147483647 w 71"/>
                    <a:gd name="T13" fmla="*/ 2147483647 h 77"/>
                    <a:gd name="T14" fmla="*/ 2147483647 w 71"/>
                    <a:gd name="T15" fmla="*/ 2147483647 h 77"/>
                    <a:gd name="T16" fmla="*/ 2147483647 w 71"/>
                    <a:gd name="T17" fmla="*/ 2147483647 h 77"/>
                    <a:gd name="T18" fmla="*/ 2147483647 w 71"/>
                    <a:gd name="T19" fmla="*/ 2147483647 h 77"/>
                    <a:gd name="T20" fmla="*/ 2147483647 w 71"/>
                    <a:gd name="T21" fmla="*/ 2147483647 h 77"/>
                    <a:gd name="T22" fmla="*/ 2147483647 w 71"/>
                    <a:gd name="T23" fmla="*/ 2147483647 h 77"/>
                    <a:gd name="T24" fmla="*/ 2147483647 w 71"/>
                    <a:gd name="T25" fmla="*/ 2147483647 h 77"/>
                    <a:gd name="T26" fmla="*/ 2147483647 w 71"/>
                    <a:gd name="T27" fmla="*/ 2147483647 h 77"/>
                    <a:gd name="T28" fmla="*/ 2147483647 w 71"/>
                    <a:gd name="T29" fmla="*/ 2147483647 h 77"/>
                    <a:gd name="T30" fmla="*/ 2147483647 w 71"/>
                    <a:gd name="T31" fmla="*/ 2147483647 h 77"/>
                    <a:gd name="T32" fmla="*/ 2147483647 w 71"/>
                    <a:gd name="T33" fmla="*/ 2147483647 h 77"/>
                    <a:gd name="T34" fmla="*/ 2147483647 w 71"/>
                    <a:gd name="T35" fmla="*/ 2147483647 h 77"/>
                    <a:gd name="T36" fmla="*/ 2147483647 w 71"/>
                    <a:gd name="T37" fmla="*/ 0 h 77"/>
                    <a:gd name="T38" fmla="*/ 2147483647 w 71"/>
                    <a:gd name="T39" fmla="*/ 0 h 77"/>
                    <a:gd name="T40" fmla="*/ 2147483647 w 71"/>
                    <a:gd name="T41" fmla="*/ 2147483647 h 77"/>
                    <a:gd name="T42" fmla="*/ 2147483647 w 71"/>
                    <a:gd name="T43" fmla="*/ 2147483647 h 77"/>
                    <a:gd name="T44" fmla="*/ 2147483647 w 71"/>
                    <a:gd name="T45" fmla="*/ 2147483647 h 77"/>
                    <a:gd name="T46" fmla="*/ 2147483647 w 71"/>
                    <a:gd name="T47" fmla="*/ 2147483647 h 77"/>
                    <a:gd name="T48" fmla="*/ 2147483647 w 71"/>
                    <a:gd name="T49" fmla="*/ 2147483647 h 77"/>
                    <a:gd name="T50" fmla="*/ 2147483647 w 71"/>
                    <a:gd name="T51" fmla="*/ 2147483647 h 77"/>
                    <a:gd name="T52" fmla="*/ 2147483647 w 71"/>
                    <a:gd name="T53" fmla="*/ 2147483647 h 77"/>
                    <a:gd name="T54" fmla="*/ 2147483647 w 71"/>
                    <a:gd name="T55" fmla="*/ 2147483647 h 77"/>
                    <a:gd name="T56" fmla="*/ 2147483647 w 71"/>
                    <a:gd name="T57" fmla="*/ 2147483647 h 77"/>
                    <a:gd name="T58" fmla="*/ 2147483647 w 71"/>
                    <a:gd name="T59" fmla="*/ 2147483647 h 77"/>
                    <a:gd name="T60" fmla="*/ 2147483647 w 71"/>
                    <a:gd name="T61" fmla="*/ 2147483647 h 77"/>
                    <a:gd name="T62" fmla="*/ 2147483647 w 71"/>
                    <a:gd name="T63" fmla="*/ 2147483647 h 77"/>
                    <a:gd name="T64" fmla="*/ 2147483647 w 71"/>
                    <a:gd name="T65" fmla="*/ 2147483647 h 77"/>
                    <a:gd name="T66" fmla="*/ 2147483647 w 71"/>
                    <a:gd name="T67" fmla="*/ 2147483647 h 77"/>
                    <a:gd name="T68" fmla="*/ 0 w 71"/>
                    <a:gd name="T69" fmla="*/ 2147483647 h 7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71"/>
                    <a:gd name="T106" fmla="*/ 0 h 77"/>
                    <a:gd name="T107" fmla="*/ 71 w 71"/>
                    <a:gd name="T108" fmla="*/ 77 h 7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71" h="77">
                      <a:moveTo>
                        <a:pt x="0" y="54"/>
                      </a:moveTo>
                      <a:lnTo>
                        <a:pt x="0" y="54"/>
                      </a:lnTo>
                      <a:lnTo>
                        <a:pt x="5" y="55"/>
                      </a:lnTo>
                      <a:lnTo>
                        <a:pt x="9" y="57"/>
                      </a:lnTo>
                      <a:lnTo>
                        <a:pt x="18" y="57"/>
                      </a:lnTo>
                      <a:lnTo>
                        <a:pt x="27" y="54"/>
                      </a:lnTo>
                      <a:lnTo>
                        <a:pt x="35" y="54"/>
                      </a:lnTo>
                      <a:lnTo>
                        <a:pt x="37" y="54"/>
                      </a:lnTo>
                      <a:lnTo>
                        <a:pt x="38" y="57"/>
                      </a:lnTo>
                      <a:lnTo>
                        <a:pt x="39" y="63"/>
                      </a:lnTo>
                      <a:lnTo>
                        <a:pt x="42" y="68"/>
                      </a:lnTo>
                      <a:lnTo>
                        <a:pt x="44" y="73"/>
                      </a:lnTo>
                      <a:lnTo>
                        <a:pt x="49" y="77"/>
                      </a:lnTo>
                      <a:lnTo>
                        <a:pt x="51" y="67"/>
                      </a:lnTo>
                      <a:lnTo>
                        <a:pt x="52" y="59"/>
                      </a:lnTo>
                      <a:lnTo>
                        <a:pt x="52" y="55"/>
                      </a:lnTo>
                      <a:lnTo>
                        <a:pt x="52" y="51"/>
                      </a:lnTo>
                      <a:lnTo>
                        <a:pt x="52" y="48"/>
                      </a:lnTo>
                      <a:lnTo>
                        <a:pt x="52" y="46"/>
                      </a:lnTo>
                      <a:lnTo>
                        <a:pt x="53" y="45"/>
                      </a:lnTo>
                      <a:lnTo>
                        <a:pt x="57" y="42"/>
                      </a:lnTo>
                      <a:lnTo>
                        <a:pt x="61" y="38"/>
                      </a:lnTo>
                      <a:lnTo>
                        <a:pt x="63" y="34"/>
                      </a:lnTo>
                      <a:lnTo>
                        <a:pt x="65" y="29"/>
                      </a:lnTo>
                      <a:lnTo>
                        <a:pt x="66" y="20"/>
                      </a:lnTo>
                      <a:lnTo>
                        <a:pt x="68" y="12"/>
                      </a:lnTo>
                      <a:lnTo>
                        <a:pt x="71" y="7"/>
                      </a:lnTo>
                      <a:lnTo>
                        <a:pt x="68" y="6"/>
                      </a:lnTo>
                      <a:lnTo>
                        <a:pt x="67" y="3"/>
                      </a:lnTo>
                      <a:lnTo>
                        <a:pt x="65" y="1"/>
                      </a:lnTo>
                      <a:lnTo>
                        <a:pt x="62" y="0"/>
                      </a:lnTo>
                      <a:lnTo>
                        <a:pt x="58" y="0"/>
                      </a:lnTo>
                      <a:lnTo>
                        <a:pt x="53" y="1"/>
                      </a:lnTo>
                      <a:lnTo>
                        <a:pt x="47" y="4"/>
                      </a:lnTo>
                      <a:lnTo>
                        <a:pt x="44" y="6"/>
                      </a:lnTo>
                      <a:lnTo>
                        <a:pt x="43" y="8"/>
                      </a:lnTo>
                      <a:lnTo>
                        <a:pt x="41" y="14"/>
                      </a:lnTo>
                      <a:lnTo>
                        <a:pt x="41" y="21"/>
                      </a:lnTo>
                      <a:lnTo>
                        <a:pt x="38" y="27"/>
                      </a:lnTo>
                      <a:lnTo>
                        <a:pt x="37" y="26"/>
                      </a:lnTo>
                      <a:lnTo>
                        <a:pt x="35" y="23"/>
                      </a:lnTo>
                      <a:lnTo>
                        <a:pt x="35" y="20"/>
                      </a:lnTo>
                      <a:lnTo>
                        <a:pt x="35" y="16"/>
                      </a:lnTo>
                      <a:lnTo>
                        <a:pt x="35" y="13"/>
                      </a:lnTo>
                      <a:lnTo>
                        <a:pt x="34" y="12"/>
                      </a:lnTo>
                      <a:lnTo>
                        <a:pt x="33" y="12"/>
                      </a:lnTo>
                      <a:lnTo>
                        <a:pt x="30" y="12"/>
                      </a:lnTo>
                      <a:lnTo>
                        <a:pt x="29" y="16"/>
                      </a:lnTo>
                      <a:lnTo>
                        <a:pt x="25" y="27"/>
                      </a:lnTo>
                      <a:lnTo>
                        <a:pt x="21" y="36"/>
                      </a:lnTo>
                      <a:lnTo>
                        <a:pt x="18" y="44"/>
                      </a:lnTo>
                      <a:lnTo>
                        <a:pt x="16" y="46"/>
                      </a:lnTo>
                      <a:lnTo>
                        <a:pt x="13" y="48"/>
                      </a:lnTo>
                      <a:lnTo>
                        <a:pt x="0" y="5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1228">
                  <a:extLst>
                    <a:ext uri="{FF2B5EF4-FFF2-40B4-BE49-F238E27FC236}">
                      <a16:creationId xmlns:a16="http://schemas.microsoft.com/office/drawing/2014/main" id="{3380CB18-2288-3648-B317-1617C658D2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0215" y="2750767"/>
                  <a:ext cx="177585" cy="327051"/>
                </a:xfrm>
                <a:custGeom>
                  <a:avLst/>
                  <a:gdLst>
                    <a:gd name="T0" fmla="*/ 2147483647 w 130"/>
                    <a:gd name="T1" fmla="*/ 2147483647 h 221"/>
                    <a:gd name="T2" fmla="*/ 2147483647 w 130"/>
                    <a:gd name="T3" fmla="*/ 2147483647 h 221"/>
                    <a:gd name="T4" fmla="*/ 2147483647 w 130"/>
                    <a:gd name="T5" fmla="*/ 2147483647 h 221"/>
                    <a:gd name="T6" fmla="*/ 2147483647 w 130"/>
                    <a:gd name="T7" fmla="*/ 2147483647 h 221"/>
                    <a:gd name="T8" fmla="*/ 2147483647 w 130"/>
                    <a:gd name="T9" fmla="*/ 2147483647 h 221"/>
                    <a:gd name="T10" fmla="*/ 2147483647 w 130"/>
                    <a:gd name="T11" fmla="*/ 2147483647 h 221"/>
                    <a:gd name="T12" fmla="*/ 2147483647 w 130"/>
                    <a:gd name="T13" fmla="*/ 2147483647 h 221"/>
                    <a:gd name="T14" fmla="*/ 2147483647 w 130"/>
                    <a:gd name="T15" fmla="*/ 2147483647 h 221"/>
                    <a:gd name="T16" fmla="*/ 2147483647 w 130"/>
                    <a:gd name="T17" fmla="*/ 2147483647 h 221"/>
                    <a:gd name="T18" fmla="*/ 2147483647 w 130"/>
                    <a:gd name="T19" fmla="*/ 2147483647 h 221"/>
                    <a:gd name="T20" fmla="*/ 2147483647 w 130"/>
                    <a:gd name="T21" fmla="*/ 2147483647 h 221"/>
                    <a:gd name="T22" fmla="*/ 2147483647 w 130"/>
                    <a:gd name="T23" fmla="*/ 2147483647 h 221"/>
                    <a:gd name="T24" fmla="*/ 2147483647 w 130"/>
                    <a:gd name="T25" fmla="*/ 2147483647 h 221"/>
                    <a:gd name="T26" fmla="*/ 2147483647 w 130"/>
                    <a:gd name="T27" fmla="*/ 2147483647 h 221"/>
                    <a:gd name="T28" fmla="*/ 2147483647 w 130"/>
                    <a:gd name="T29" fmla="*/ 2147483647 h 221"/>
                    <a:gd name="T30" fmla="*/ 2147483647 w 130"/>
                    <a:gd name="T31" fmla="*/ 2147483647 h 221"/>
                    <a:gd name="T32" fmla="*/ 2147483647 w 130"/>
                    <a:gd name="T33" fmla="*/ 2147483647 h 221"/>
                    <a:gd name="T34" fmla="*/ 2147483647 w 130"/>
                    <a:gd name="T35" fmla="*/ 2147483647 h 221"/>
                    <a:gd name="T36" fmla="*/ 2147483647 w 130"/>
                    <a:gd name="T37" fmla="*/ 2147483647 h 221"/>
                    <a:gd name="T38" fmla="*/ 2147483647 w 130"/>
                    <a:gd name="T39" fmla="*/ 2147483647 h 221"/>
                    <a:gd name="T40" fmla="*/ 2147483647 w 130"/>
                    <a:gd name="T41" fmla="*/ 2147483647 h 221"/>
                    <a:gd name="T42" fmla="*/ 2147483647 w 130"/>
                    <a:gd name="T43" fmla="*/ 2147483647 h 221"/>
                    <a:gd name="T44" fmla="*/ 2147483647 w 130"/>
                    <a:gd name="T45" fmla="*/ 2147483647 h 221"/>
                    <a:gd name="T46" fmla="*/ 2147483647 w 130"/>
                    <a:gd name="T47" fmla="*/ 0 h 221"/>
                    <a:gd name="T48" fmla="*/ 2147483647 w 130"/>
                    <a:gd name="T49" fmla="*/ 2147483647 h 221"/>
                    <a:gd name="T50" fmla="*/ 2147483647 w 130"/>
                    <a:gd name="T51" fmla="*/ 2147483647 h 221"/>
                    <a:gd name="T52" fmla="*/ 2147483647 w 130"/>
                    <a:gd name="T53" fmla="*/ 2147483647 h 221"/>
                    <a:gd name="T54" fmla="*/ 2147483647 w 130"/>
                    <a:gd name="T55" fmla="*/ 2147483647 h 221"/>
                    <a:gd name="T56" fmla="*/ 2147483647 w 130"/>
                    <a:gd name="T57" fmla="*/ 2147483647 h 221"/>
                    <a:gd name="T58" fmla="*/ 2147483647 w 130"/>
                    <a:gd name="T59" fmla="*/ 2147483647 h 221"/>
                    <a:gd name="T60" fmla="*/ 2147483647 w 130"/>
                    <a:gd name="T61" fmla="*/ 2147483647 h 221"/>
                    <a:gd name="T62" fmla="*/ 2147483647 w 130"/>
                    <a:gd name="T63" fmla="*/ 2147483647 h 221"/>
                    <a:gd name="T64" fmla="*/ 2147483647 w 130"/>
                    <a:gd name="T65" fmla="*/ 2147483647 h 221"/>
                    <a:gd name="T66" fmla="*/ 2147483647 w 130"/>
                    <a:gd name="T67" fmla="*/ 2147483647 h 221"/>
                    <a:gd name="T68" fmla="*/ 2147483647 w 130"/>
                    <a:gd name="T69" fmla="*/ 2147483647 h 221"/>
                    <a:gd name="T70" fmla="*/ 2147483647 w 130"/>
                    <a:gd name="T71" fmla="*/ 2147483647 h 221"/>
                    <a:gd name="T72" fmla="*/ 2147483647 w 130"/>
                    <a:gd name="T73" fmla="*/ 2147483647 h 221"/>
                    <a:gd name="T74" fmla="*/ 2147483647 w 130"/>
                    <a:gd name="T75" fmla="*/ 2147483647 h 221"/>
                    <a:gd name="T76" fmla="*/ 2147483647 w 130"/>
                    <a:gd name="T77" fmla="*/ 2147483647 h 221"/>
                    <a:gd name="T78" fmla="*/ 2147483647 w 130"/>
                    <a:gd name="T79" fmla="*/ 2147483647 h 221"/>
                    <a:gd name="T80" fmla="*/ 2147483647 w 130"/>
                    <a:gd name="T81" fmla="*/ 2147483647 h 221"/>
                    <a:gd name="T82" fmla="*/ 2147483647 w 130"/>
                    <a:gd name="T83" fmla="*/ 2147483647 h 221"/>
                    <a:gd name="T84" fmla="*/ 2147483647 w 130"/>
                    <a:gd name="T85" fmla="*/ 2147483647 h 221"/>
                    <a:gd name="T86" fmla="*/ 2147483647 w 130"/>
                    <a:gd name="T87" fmla="*/ 2147483647 h 221"/>
                    <a:gd name="T88" fmla="*/ 2147483647 w 130"/>
                    <a:gd name="T89" fmla="*/ 2147483647 h 221"/>
                    <a:gd name="T90" fmla="*/ 2147483647 w 130"/>
                    <a:gd name="T91" fmla="*/ 2147483647 h 221"/>
                    <a:gd name="T92" fmla="*/ 2147483647 w 130"/>
                    <a:gd name="T93" fmla="*/ 2147483647 h 221"/>
                    <a:gd name="T94" fmla="*/ 2147483647 w 130"/>
                    <a:gd name="T95" fmla="*/ 2147483647 h 221"/>
                    <a:gd name="T96" fmla="*/ 2147483647 w 130"/>
                    <a:gd name="T97" fmla="*/ 2147483647 h 221"/>
                    <a:gd name="T98" fmla="*/ 2147483647 w 130"/>
                    <a:gd name="T99" fmla="*/ 2147483647 h 221"/>
                    <a:gd name="T100" fmla="*/ 2147483647 w 130"/>
                    <a:gd name="T101" fmla="*/ 2147483647 h 221"/>
                    <a:gd name="T102" fmla="*/ 2147483647 w 130"/>
                    <a:gd name="T103" fmla="*/ 2147483647 h 221"/>
                    <a:gd name="T104" fmla="*/ 2147483647 w 130"/>
                    <a:gd name="T105" fmla="*/ 2147483647 h 221"/>
                    <a:gd name="T106" fmla="*/ 2147483647 w 130"/>
                    <a:gd name="T107" fmla="*/ 2147483647 h 221"/>
                    <a:gd name="T108" fmla="*/ 2147483647 w 130"/>
                    <a:gd name="T109" fmla="*/ 2147483647 h 221"/>
                    <a:gd name="T110" fmla="*/ 2147483647 w 130"/>
                    <a:gd name="T111" fmla="*/ 2147483647 h 221"/>
                    <a:gd name="T112" fmla="*/ 2147483647 w 130"/>
                    <a:gd name="T113" fmla="*/ 2147483647 h 221"/>
                    <a:gd name="T114" fmla="*/ 2147483647 w 130"/>
                    <a:gd name="T115" fmla="*/ 2147483647 h 221"/>
                    <a:gd name="T116" fmla="*/ 2147483647 w 130"/>
                    <a:gd name="T117" fmla="*/ 2147483647 h 221"/>
                    <a:gd name="T118" fmla="*/ 2147483647 w 130"/>
                    <a:gd name="T119" fmla="*/ 2147483647 h 221"/>
                    <a:gd name="T120" fmla="*/ 2147483647 w 130"/>
                    <a:gd name="T121" fmla="*/ 2147483647 h 22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0"/>
                    <a:gd name="T184" fmla="*/ 0 h 221"/>
                    <a:gd name="T185" fmla="*/ 130 w 130"/>
                    <a:gd name="T186" fmla="*/ 221 h 22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0" h="221">
                      <a:moveTo>
                        <a:pt x="122" y="195"/>
                      </a:moveTo>
                      <a:lnTo>
                        <a:pt x="122" y="195"/>
                      </a:lnTo>
                      <a:lnTo>
                        <a:pt x="126" y="191"/>
                      </a:lnTo>
                      <a:lnTo>
                        <a:pt x="127" y="189"/>
                      </a:lnTo>
                      <a:lnTo>
                        <a:pt x="127" y="187"/>
                      </a:lnTo>
                      <a:lnTo>
                        <a:pt x="125" y="185"/>
                      </a:lnTo>
                      <a:lnTo>
                        <a:pt x="122" y="185"/>
                      </a:lnTo>
                      <a:lnTo>
                        <a:pt x="116" y="186"/>
                      </a:lnTo>
                      <a:lnTo>
                        <a:pt x="111" y="186"/>
                      </a:lnTo>
                      <a:lnTo>
                        <a:pt x="108" y="185"/>
                      </a:lnTo>
                      <a:lnTo>
                        <a:pt x="107" y="183"/>
                      </a:lnTo>
                      <a:lnTo>
                        <a:pt x="117" y="179"/>
                      </a:lnTo>
                      <a:lnTo>
                        <a:pt x="121" y="177"/>
                      </a:lnTo>
                      <a:lnTo>
                        <a:pt x="125" y="174"/>
                      </a:lnTo>
                      <a:lnTo>
                        <a:pt x="127" y="171"/>
                      </a:lnTo>
                      <a:lnTo>
                        <a:pt x="130" y="167"/>
                      </a:lnTo>
                      <a:lnTo>
                        <a:pt x="130" y="163"/>
                      </a:lnTo>
                      <a:lnTo>
                        <a:pt x="130" y="158"/>
                      </a:lnTo>
                      <a:lnTo>
                        <a:pt x="129" y="154"/>
                      </a:lnTo>
                      <a:lnTo>
                        <a:pt x="126" y="152"/>
                      </a:lnTo>
                      <a:lnTo>
                        <a:pt x="124" y="151"/>
                      </a:lnTo>
                      <a:lnTo>
                        <a:pt x="121" y="150"/>
                      </a:lnTo>
                      <a:lnTo>
                        <a:pt x="115" y="151"/>
                      </a:lnTo>
                      <a:lnTo>
                        <a:pt x="108" y="153"/>
                      </a:lnTo>
                      <a:lnTo>
                        <a:pt x="108" y="154"/>
                      </a:lnTo>
                      <a:lnTo>
                        <a:pt x="107" y="153"/>
                      </a:lnTo>
                      <a:lnTo>
                        <a:pt x="107" y="152"/>
                      </a:lnTo>
                      <a:lnTo>
                        <a:pt x="108" y="148"/>
                      </a:lnTo>
                      <a:lnTo>
                        <a:pt x="108" y="144"/>
                      </a:lnTo>
                      <a:lnTo>
                        <a:pt x="106" y="140"/>
                      </a:lnTo>
                      <a:lnTo>
                        <a:pt x="101" y="138"/>
                      </a:lnTo>
                      <a:lnTo>
                        <a:pt x="98" y="135"/>
                      </a:lnTo>
                      <a:lnTo>
                        <a:pt x="98" y="134"/>
                      </a:lnTo>
                      <a:lnTo>
                        <a:pt x="98" y="132"/>
                      </a:lnTo>
                      <a:lnTo>
                        <a:pt x="99" y="131"/>
                      </a:lnTo>
                      <a:lnTo>
                        <a:pt x="101" y="129"/>
                      </a:lnTo>
                      <a:lnTo>
                        <a:pt x="103" y="129"/>
                      </a:lnTo>
                      <a:lnTo>
                        <a:pt x="105" y="129"/>
                      </a:lnTo>
                      <a:lnTo>
                        <a:pt x="105" y="126"/>
                      </a:lnTo>
                      <a:lnTo>
                        <a:pt x="103" y="123"/>
                      </a:lnTo>
                      <a:lnTo>
                        <a:pt x="99" y="120"/>
                      </a:lnTo>
                      <a:lnTo>
                        <a:pt x="94" y="116"/>
                      </a:lnTo>
                      <a:lnTo>
                        <a:pt x="89" y="112"/>
                      </a:lnTo>
                      <a:lnTo>
                        <a:pt x="88" y="108"/>
                      </a:lnTo>
                      <a:lnTo>
                        <a:pt x="87" y="104"/>
                      </a:lnTo>
                      <a:lnTo>
                        <a:pt x="85" y="101"/>
                      </a:lnTo>
                      <a:lnTo>
                        <a:pt x="83" y="97"/>
                      </a:lnTo>
                      <a:lnTo>
                        <a:pt x="78" y="91"/>
                      </a:lnTo>
                      <a:lnTo>
                        <a:pt x="74" y="85"/>
                      </a:lnTo>
                      <a:lnTo>
                        <a:pt x="70" y="78"/>
                      </a:lnTo>
                      <a:lnTo>
                        <a:pt x="68" y="70"/>
                      </a:lnTo>
                      <a:lnTo>
                        <a:pt x="68" y="69"/>
                      </a:lnTo>
                      <a:lnTo>
                        <a:pt x="65" y="69"/>
                      </a:lnTo>
                      <a:lnTo>
                        <a:pt x="61" y="68"/>
                      </a:lnTo>
                      <a:lnTo>
                        <a:pt x="56" y="67"/>
                      </a:lnTo>
                      <a:lnTo>
                        <a:pt x="52" y="64"/>
                      </a:lnTo>
                      <a:lnTo>
                        <a:pt x="50" y="62"/>
                      </a:lnTo>
                      <a:lnTo>
                        <a:pt x="49" y="59"/>
                      </a:lnTo>
                      <a:lnTo>
                        <a:pt x="50" y="58"/>
                      </a:lnTo>
                      <a:lnTo>
                        <a:pt x="55" y="55"/>
                      </a:lnTo>
                      <a:lnTo>
                        <a:pt x="59" y="50"/>
                      </a:lnTo>
                      <a:lnTo>
                        <a:pt x="60" y="46"/>
                      </a:lnTo>
                      <a:lnTo>
                        <a:pt x="60" y="42"/>
                      </a:lnTo>
                      <a:lnTo>
                        <a:pt x="63" y="38"/>
                      </a:lnTo>
                      <a:lnTo>
                        <a:pt x="66" y="35"/>
                      </a:lnTo>
                      <a:lnTo>
                        <a:pt x="68" y="32"/>
                      </a:lnTo>
                      <a:lnTo>
                        <a:pt x="68" y="31"/>
                      </a:lnTo>
                      <a:lnTo>
                        <a:pt x="66" y="30"/>
                      </a:lnTo>
                      <a:lnTo>
                        <a:pt x="65" y="29"/>
                      </a:lnTo>
                      <a:lnTo>
                        <a:pt x="54" y="27"/>
                      </a:lnTo>
                      <a:lnTo>
                        <a:pt x="44" y="26"/>
                      </a:lnTo>
                      <a:lnTo>
                        <a:pt x="41" y="27"/>
                      </a:lnTo>
                      <a:lnTo>
                        <a:pt x="39" y="29"/>
                      </a:lnTo>
                      <a:lnTo>
                        <a:pt x="37" y="30"/>
                      </a:lnTo>
                      <a:lnTo>
                        <a:pt x="35" y="31"/>
                      </a:lnTo>
                      <a:lnTo>
                        <a:pt x="33" y="27"/>
                      </a:lnTo>
                      <a:lnTo>
                        <a:pt x="32" y="24"/>
                      </a:lnTo>
                      <a:lnTo>
                        <a:pt x="32" y="20"/>
                      </a:lnTo>
                      <a:lnTo>
                        <a:pt x="33" y="19"/>
                      </a:lnTo>
                      <a:lnTo>
                        <a:pt x="35" y="18"/>
                      </a:lnTo>
                      <a:lnTo>
                        <a:pt x="39" y="16"/>
                      </a:lnTo>
                      <a:lnTo>
                        <a:pt x="42" y="11"/>
                      </a:lnTo>
                      <a:lnTo>
                        <a:pt x="45" y="6"/>
                      </a:lnTo>
                      <a:lnTo>
                        <a:pt x="45" y="4"/>
                      </a:lnTo>
                      <a:lnTo>
                        <a:pt x="45" y="1"/>
                      </a:lnTo>
                      <a:lnTo>
                        <a:pt x="42" y="0"/>
                      </a:lnTo>
                      <a:lnTo>
                        <a:pt x="41" y="0"/>
                      </a:lnTo>
                      <a:lnTo>
                        <a:pt x="39" y="3"/>
                      </a:lnTo>
                      <a:lnTo>
                        <a:pt x="36" y="4"/>
                      </a:lnTo>
                      <a:lnTo>
                        <a:pt x="31" y="4"/>
                      </a:lnTo>
                      <a:lnTo>
                        <a:pt x="30" y="5"/>
                      </a:lnTo>
                      <a:lnTo>
                        <a:pt x="28" y="5"/>
                      </a:lnTo>
                      <a:lnTo>
                        <a:pt x="25" y="4"/>
                      </a:lnTo>
                      <a:lnTo>
                        <a:pt x="22" y="1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6" y="1"/>
                      </a:lnTo>
                      <a:lnTo>
                        <a:pt x="14" y="5"/>
                      </a:lnTo>
                      <a:lnTo>
                        <a:pt x="14" y="10"/>
                      </a:lnTo>
                      <a:lnTo>
                        <a:pt x="14" y="19"/>
                      </a:lnTo>
                      <a:lnTo>
                        <a:pt x="14" y="20"/>
                      </a:lnTo>
                      <a:lnTo>
                        <a:pt x="12" y="21"/>
                      </a:lnTo>
                      <a:lnTo>
                        <a:pt x="8" y="23"/>
                      </a:lnTo>
                      <a:lnTo>
                        <a:pt x="7" y="24"/>
                      </a:lnTo>
                      <a:lnTo>
                        <a:pt x="5" y="25"/>
                      </a:lnTo>
                      <a:lnTo>
                        <a:pt x="5" y="31"/>
                      </a:lnTo>
                      <a:lnTo>
                        <a:pt x="4" y="36"/>
                      </a:lnTo>
                      <a:lnTo>
                        <a:pt x="0" y="46"/>
                      </a:lnTo>
                      <a:lnTo>
                        <a:pt x="2" y="49"/>
                      </a:lnTo>
                      <a:lnTo>
                        <a:pt x="2" y="51"/>
                      </a:lnTo>
                      <a:lnTo>
                        <a:pt x="7" y="56"/>
                      </a:lnTo>
                      <a:lnTo>
                        <a:pt x="8" y="56"/>
                      </a:lnTo>
                      <a:lnTo>
                        <a:pt x="11" y="55"/>
                      </a:lnTo>
                      <a:lnTo>
                        <a:pt x="11" y="56"/>
                      </a:lnTo>
                      <a:lnTo>
                        <a:pt x="11" y="58"/>
                      </a:lnTo>
                      <a:lnTo>
                        <a:pt x="7" y="69"/>
                      </a:lnTo>
                      <a:lnTo>
                        <a:pt x="4" y="75"/>
                      </a:lnTo>
                      <a:lnTo>
                        <a:pt x="4" y="81"/>
                      </a:lnTo>
                      <a:lnTo>
                        <a:pt x="5" y="80"/>
                      </a:lnTo>
                      <a:lnTo>
                        <a:pt x="8" y="78"/>
                      </a:lnTo>
                      <a:lnTo>
                        <a:pt x="9" y="75"/>
                      </a:lnTo>
                      <a:lnTo>
                        <a:pt x="11" y="70"/>
                      </a:lnTo>
                      <a:lnTo>
                        <a:pt x="13" y="67"/>
                      </a:lnTo>
                      <a:lnTo>
                        <a:pt x="16" y="65"/>
                      </a:lnTo>
                      <a:lnTo>
                        <a:pt x="17" y="65"/>
                      </a:lnTo>
                      <a:lnTo>
                        <a:pt x="19" y="69"/>
                      </a:lnTo>
                      <a:lnTo>
                        <a:pt x="21" y="74"/>
                      </a:lnTo>
                      <a:lnTo>
                        <a:pt x="21" y="78"/>
                      </a:lnTo>
                      <a:lnTo>
                        <a:pt x="18" y="83"/>
                      </a:lnTo>
                      <a:lnTo>
                        <a:pt x="19" y="85"/>
                      </a:lnTo>
                      <a:lnTo>
                        <a:pt x="19" y="88"/>
                      </a:lnTo>
                      <a:lnTo>
                        <a:pt x="19" y="89"/>
                      </a:lnTo>
                      <a:lnTo>
                        <a:pt x="17" y="94"/>
                      </a:lnTo>
                      <a:lnTo>
                        <a:pt x="17" y="97"/>
                      </a:lnTo>
                      <a:lnTo>
                        <a:pt x="17" y="102"/>
                      </a:lnTo>
                      <a:lnTo>
                        <a:pt x="18" y="103"/>
                      </a:lnTo>
                      <a:lnTo>
                        <a:pt x="19" y="103"/>
                      </a:lnTo>
                      <a:lnTo>
                        <a:pt x="26" y="104"/>
                      </a:lnTo>
                      <a:lnTo>
                        <a:pt x="32" y="104"/>
                      </a:lnTo>
                      <a:lnTo>
                        <a:pt x="33" y="103"/>
                      </a:lnTo>
                      <a:lnTo>
                        <a:pt x="36" y="101"/>
                      </a:lnTo>
                      <a:lnTo>
                        <a:pt x="39" y="99"/>
                      </a:lnTo>
                      <a:lnTo>
                        <a:pt x="41" y="97"/>
                      </a:lnTo>
                      <a:lnTo>
                        <a:pt x="45" y="97"/>
                      </a:lnTo>
                      <a:lnTo>
                        <a:pt x="46" y="99"/>
                      </a:lnTo>
                      <a:lnTo>
                        <a:pt x="47" y="101"/>
                      </a:lnTo>
                      <a:lnTo>
                        <a:pt x="47" y="102"/>
                      </a:lnTo>
                      <a:lnTo>
                        <a:pt x="44" y="108"/>
                      </a:lnTo>
                      <a:lnTo>
                        <a:pt x="42" y="112"/>
                      </a:lnTo>
                      <a:lnTo>
                        <a:pt x="44" y="113"/>
                      </a:lnTo>
                      <a:lnTo>
                        <a:pt x="45" y="114"/>
                      </a:lnTo>
                      <a:lnTo>
                        <a:pt x="50" y="115"/>
                      </a:lnTo>
                      <a:lnTo>
                        <a:pt x="54" y="118"/>
                      </a:lnTo>
                      <a:lnTo>
                        <a:pt x="56" y="121"/>
                      </a:lnTo>
                      <a:lnTo>
                        <a:pt x="56" y="123"/>
                      </a:lnTo>
                      <a:lnTo>
                        <a:pt x="56" y="126"/>
                      </a:lnTo>
                      <a:lnTo>
                        <a:pt x="55" y="128"/>
                      </a:lnTo>
                      <a:lnTo>
                        <a:pt x="52" y="129"/>
                      </a:lnTo>
                      <a:lnTo>
                        <a:pt x="49" y="132"/>
                      </a:lnTo>
                      <a:lnTo>
                        <a:pt x="49" y="133"/>
                      </a:lnTo>
                      <a:lnTo>
                        <a:pt x="50" y="135"/>
                      </a:lnTo>
                      <a:lnTo>
                        <a:pt x="52" y="136"/>
                      </a:lnTo>
                      <a:lnTo>
                        <a:pt x="52" y="138"/>
                      </a:lnTo>
                      <a:lnTo>
                        <a:pt x="47" y="138"/>
                      </a:lnTo>
                      <a:lnTo>
                        <a:pt x="42" y="138"/>
                      </a:lnTo>
                      <a:lnTo>
                        <a:pt x="37" y="139"/>
                      </a:lnTo>
                      <a:lnTo>
                        <a:pt x="33" y="141"/>
                      </a:lnTo>
                      <a:lnTo>
                        <a:pt x="25" y="146"/>
                      </a:lnTo>
                      <a:lnTo>
                        <a:pt x="18" y="153"/>
                      </a:lnTo>
                      <a:lnTo>
                        <a:pt x="19" y="154"/>
                      </a:lnTo>
                      <a:lnTo>
                        <a:pt x="22" y="154"/>
                      </a:lnTo>
                      <a:lnTo>
                        <a:pt x="26" y="152"/>
                      </a:lnTo>
                      <a:lnTo>
                        <a:pt x="30" y="151"/>
                      </a:lnTo>
                      <a:lnTo>
                        <a:pt x="33" y="151"/>
                      </a:lnTo>
                      <a:lnTo>
                        <a:pt x="37" y="152"/>
                      </a:lnTo>
                      <a:lnTo>
                        <a:pt x="39" y="154"/>
                      </a:lnTo>
                      <a:lnTo>
                        <a:pt x="39" y="155"/>
                      </a:lnTo>
                      <a:lnTo>
                        <a:pt x="37" y="158"/>
                      </a:lnTo>
                      <a:lnTo>
                        <a:pt x="35" y="161"/>
                      </a:lnTo>
                      <a:lnTo>
                        <a:pt x="31" y="164"/>
                      </a:lnTo>
                      <a:lnTo>
                        <a:pt x="28" y="166"/>
                      </a:lnTo>
                      <a:lnTo>
                        <a:pt x="26" y="168"/>
                      </a:lnTo>
                      <a:lnTo>
                        <a:pt x="19" y="173"/>
                      </a:lnTo>
                      <a:lnTo>
                        <a:pt x="17" y="177"/>
                      </a:lnTo>
                      <a:lnTo>
                        <a:pt x="16" y="180"/>
                      </a:lnTo>
                      <a:lnTo>
                        <a:pt x="17" y="180"/>
                      </a:lnTo>
                      <a:lnTo>
                        <a:pt x="18" y="180"/>
                      </a:lnTo>
                      <a:lnTo>
                        <a:pt x="25" y="178"/>
                      </a:lnTo>
                      <a:lnTo>
                        <a:pt x="30" y="178"/>
                      </a:lnTo>
                      <a:lnTo>
                        <a:pt x="36" y="179"/>
                      </a:lnTo>
                      <a:lnTo>
                        <a:pt x="41" y="180"/>
                      </a:lnTo>
                      <a:lnTo>
                        <a:pt x="44" y="182"/>
                      </a:lnTo>
                      <a:lnTo>
                        <a:pt x="46" y="182"/>
                      </a:lnTo>
                      <a:lnTo>
                        <a:pt x="51" y="180"/>
                      </a:lnTo>
                      <a:lnTo>
                        <a:pt x="61" y="173"/>
                      </a:lnTo>
                      <a:lnTo>
                        <a:pt x="60" y="178"/>
                      </a:lnTo>
                      <a:lnTo>
                        <a:pt x="59" y="183"/>
                      </a:lnTo>
                      <a:lnTo>
                        <a:pt x="55" y="185"/>
                      </a:lnTo>
                      <a:lnTo>
                        <a:pt x="51" y="187"/>
                      </a:lnTo>
                      <a:lnTo>
                        <a:pt x="44" y="190"/>
                      </a:lnTo>
                      <a:lnTo>
                        <a:pt x="33" y="191"/>
                      </a:lnTo>
                      <a:lnTo>
                        <a:pt x="31" y="192"/>
                      </a:lnTo>
                      <a:lnTo>
                        <a:pt x="28" y="195"/>
                      </a:lnTo>
                      <a:lnTo>
                        <a:pt x="26" y="199"/>
                      </a:lnTo>
                      <a:lnTo>
                        <a:pt x="22" y="203"/>
                      </a:lnTo>
                      <a:lnTo>
                        <a:pt x="13" y="210"/>
                      </a:lnTo>
                      <a:lnTo>
                        <a:pt x="8" y="215"/>
                      </a:lnTo>
                      <a:lnTo>
                        <a:pt x="4" y="216"/>
                      </a:lnTo>
                      <a:lnTo>
                        <a:pt x="2" y="218"/>
                      </a:lnTo>
                      <a:lnTo>
                        <a:pt x="5" y="219"/>
                      </a:lnTo>
                      <a:lnTo>
                        <a:pt x="9" y="221"/>
                      </a:lnTo>
                      <a:lnTo>
                        <a:pt x="11" y="221"/>
                      </a:lnTo>
                      <a:lnTo>
                        <a:pt x="12" y="221"/>
                      </a:lnTo>
                      <a:lnTo>
                        <a:pt x="17" y="214"/>
                      </a:lnTo>
                      <a:lnTo>
                        <a:pt x="19" y="211"/>
                      </a:lnTo>
                      <a:lnTo>
                        <a:pt x="23" y="209"/>
                      </a:lnTo>
                      <a:lnTo>
                        <a:pt x="27" y="208"/>
                      </a:lnTo>
                      <a:lnTo>
                        <a:pt x="31" y="208"/>
                      </a:lnTo>
                      <a:lnTo>
                        <a:pt x="35" y="209"/>
                      </a:lnTo>
                      <a:lnTo>
                        <a:pt x="39" y="211"/>
                      </a:lnTo>
                      <a:lnTo>
                        <a:pt x="40" y="211"/>
                      </a:lnTo>
                      <a:lnTo>
                        <a:pt x="41" y="210"/>
                      </a:lnTo>
                      <a:lnTo>
                        <a:pt x="45" y="205"/>
                      </a:lnTo>
                      <a:lnTo>
                        <a:pt x="49" y="203"/>
                      </a:lnTo>
                      <a:lnTo>
                        <a:pt x="52" y="203"/>
                      </a:lnTo>
                      <a:lnTo>
                        <a:pt x="56" y="202"/>
                      </a:lnTo>
                      <a:lnTo>
                        <a:pt x="63" y="200"/>
                      </a:lnTo>
                      <a:lnTo>
                        <a:pt x="70" y="199"/>
                      </a:lnTo>
                      <a:lnTo>
                        <a:pt x="73" y="199"/>
                      </a:lnTo>
                      <a:lnTo>
                        <a:pt x="74" y="199"/>
                      </a:lnTo>
                      <a:lnTo>
                        <a:pt x="77" y="197"/>
                      </a:lnTo>
                      <a:lnTo>
                        <a:pt x="78" y="197"/>
                      </a:lnTo>
                      <a:lnTo>
                        <a:pt x="79" y="197"/>
                      </a:lnTo>
                      <a:lnTo>
                        <a:pt x="87" y="199"/>
                      </a:lnTo>
                      <a:lnTo>
                        <a:pt x="91" y="200"/>
                      </a:lnTo>
                      <a:lnTo>
                        <a:pt x="94" y="199"/>
                      </a:lnTo>
                      <a:lnTo>
                        <a:pt x="106" y="198"/>
                      </a:lnTo>
                      <a:lnTo>
                        <a:pt x="116" y="198"/>
                      </a:lnTo>
                      <a:lnTo>
                        <a:pt x="119" y="197"/>
                      </a:lnTo>
                      <a:lnTo>
                        <a:pt x="121" y="197"/>
                      </a:lnTo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Freeform 1229">
                  <a:extLst>
                    <a:ext uri="{FF2B5EF4-FFF2-40B4-BE49-F238E27FC236}">
                      <a16:creationId xmlns:a16="http://schemas.microsoft.com/office/drawing/2014/main" id="{8EDA9D6C-2233-B545-B1E6-0FFC19FAEF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2328" y="3051180"/>
                  <a:ext cx="7399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0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0 w 5"/>
                    <a:gd name="T11" fmla="*/ 2147483647 h 6"/>
                    <a:gd name="T12" fmla="*/ 0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6"/>
                    <a:gd name="T29" fmla="*/ 5 w 5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6">
                      <a:moveTo>
                        <a:pt x="5" y="2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1230">
                  <a:extLst>
                    <a:ext uri="{FF2B5EF4-FFF2-40B4-BE49-F238E27FC236}">
                      <a16:creationId xmlns:a16="http://schemas.microsoft.com/office/drawing/2014/main" id="{60971C46-662F-F44E-BD4F-8E7D567090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1290" y="2919469"/>
                  <a:ext cx="11839" cy="16278"/>
                </a:xfrm>
                <a:custGeom>
                  <a:avLst/>
                  <a:gdLst>
                    <a:gd name="T0" fmla="*/ 2147483647 w 8"/>
                    <a:gd name="T1" fmla="*/ 2147483647 h 11"/>
                    <a:gd name="T2" fmla="*/ 2147483647 w 8"/>
                    <a:gd name="T3" fmla="*/ 2147483647 h 11"/>
                    <a:gd name="T4" fmla="*/ 2147483647 w 8"/>
                    <a:gd name="T5" fmla="*/ 2147483647 h 11"/>
                    <a:gd name="T6" fmla="*/ 0 w 8"/>
                    <a:gd name="T7" fmla="*/ 2147483647 h 11"/>
                    <a:gd name="T8" fmla="*/ 0 w 8"/>
                    <a:gd name="T9" fmla="*/ 2147483647 h 11"/>
                    <a:gd name="T10" fmla="*/ 2147483647 w 8"/>
                    <a:gd name="T11" fmla="*/ 2147483647 h 11"/>
                    <a:gd name="T12" fmla="*/ 2147483647 w 8"/>
                    <a:gd name="T13" fmla="*/ 0 h 11"/>
                    <a:gd name="T14" fmla="*/ 2147483647 w 8"/>
                    <a:gd name="T15" fmla="*/ 2147483647 h 11"/>
                    <a:gd name="T16" fmla="*/ 2147483647 w 8"/>
                    <a:gd name="T17" fmla="*/ 2147483647 h 11"/>
                    <a:gd name="T18" fmla="*/ 2147483647 w 8"/>
                    <a:gd name="T19" fmla="*/ 2147483647 h 1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"/>
                    <a:gd name="T31" fmla="*/ 0 h 11"/>
                    <a:gd name="T32" fmla="*/ 8 w 8"/>
                    <a:gd name="T33" fmla="*/ 11 h 11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" h="11">
                      <a:moveTo>
                        <a:pt x="4" y="8"/>
                      </a:moveTo>
                      <a:lnTo>
                        <a:pt x="2" y="9"/>
                      </a:lnTo>
                      <a:lnTo>
                        <a:pt x="2" y="11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2" y="5"/>
                      </a:lnTo>
                      <a:lnTo>
                        <a:pt x="7" y="0"/>
                      </a:lnTo>
                      <a:lnTo>
                        <a:pt x="8" y="2"/>
                      </a:lnTo>
                      <a:lnTo>
                        <a:pt x="7" y="4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1231">
                  <a:extLst>
                    <a:ext uri="{FF2B5EF4-FFF2-40B4-BE49-F238E27FC236}">
                      <a16:creationId xmlns:a16="http://schemas.microsoft.com/office/drawing/2014/main" id="{3D63B901-EA2C-8B49-BBE0-A195A307C8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0844" y="3049701"/>
                  <a:ext cx="7400" cy="8879"/>
                </a:xfrm>
                <a:custGeom>
                  <a:avLst/>
                  <a:gdLst>
                    <a:gd name="T0" fmla="*/ 2147483647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0 h 6"/>
                    <a:gd name="T16" fmla="*/ 0 w 5"/>
                    <a:gd name="T17" fmla="*/ 2147483647 h 6"/>
                    <a:gd name="T18" fmla="*/ 0 w 5"/>
                    <a:gd name="T19" fmla="*/ 2147483647 h 6"/>
                    <a:gd name="T20" fmla="*/ 0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"/>
                    <a:gd name="T43" fmla="*/ 0 h 6"/>
                    <a:gd name="T44" fmla="*/ 5 w 5"/>
                    <a:gd name="T45" fmla="*/ 6 h 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" h="6">
                      <a:moveTo>
                        <a:pt x="5" y="2"/>
                      </a:move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3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Freeform 1232">
                  <a:extLst>
                    <a:ext uri="{FF2B5EF4-FFF2-40B4-BE49-F238E27FC236}">
                      <a16:creationId xmlns:a16="http://schemas.microsoft.com/office/drawing/2014/main" id="{F5D5B8A4-E582-9F49-8350-C6C421EDBF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9810" y="2917992"/>
                  <a:ext cx="11839" cy="14799"/>
                </a:xfrm>
                <a:custGeom>
                  <a:avLst/>
                  <a:gdLst>
                    <a:gd name="T0" fmla="*/ 2147483647 w 8"/>
                    <a:gd name="T1" fmla="*/ 2147483647 h 10"/>
                    <a:gd name="T2" fmla="*/ 2147483647 w 8"/>
                    <a:gd name="T3" fmla="*/ 2147483647 h 10"/>
                    <a:gd name="T4" fmla="*/ 2147483647 w 8"/>
                    <a:gd name="T5" fmla="*/ 2147483647 h 10"/>
                    <a:gd name="T6" fmla="*/ 2147483647 w 8"/>
                    <a:gd name="T7" fmla="*/ 2147483647 h 10"/>
                    <a:gd name="T8" fmla="*/ 0 w 8"/>
                    <a:gd name="T9" fmla="*/ 2147483647 h 10"/>
                    <a:gd name="T10" fmla="*/ 0 w 8"/>
                    <a:gd name="T11" fmla="*/ 2147483647 h 10"/>
                    <a:gd name="T12" fmla="*/ 0 w 8"/>
                    <a:gd name="T13" fmla="*/ 2147483647 h 10"/>
                    <a:gd name="T14" fmla="*/ 2147483647 w 8"/>
                    <a:gd name="T15" fmla="*/ 2147483647 h 10"/>
                    <a:gd name="T16" fmla="*/ 2147483647 w 8"/>
                    <a:gd name="T17" fmla="*/ 0 h 10"/>
                    <a:gd name="T18" fmla="*/ 2147483647 w 8"/>
                    <a:gd name="T19" fmla="*/ 0 h 10"/>
                    <a:gd name="T20" fmla="*/ 2147483647 w 8"/>
                    <a:gd name="T21" fmla="*/ 2147483647 h 10"/>
                    <a:gd name="T22" fmla="*/ 2147483647 w 8"/>
                    <a:gd name="T23" fmla="*/ 2147483647 h 10"/>
                    <a:gd name="T24" fmla="*/ 2147483647 w 8"/>
                    <a:gd name="T25" fmla="*/ 2147483647 h 10"/>
                    <a:gd name="T26" fmla="*/ 2147483647 w 8"/>
                    <a:gd name="T27" fmla="*/ 2147483647 h 1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"/>
                    <a:gd name="T43" fmla="*/ 0 h 10"/>
                    <a:gd name="T44" fmla="*/ 8 w 8"/>
                    <a:gd name="T45" fmla="*/ 10 h 1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" h="10">
                      <a:moveTo>
                        <a:pt x="4" y="8"/>
                      </a:moveTo>
                      <a:lnTo>
                        <a:pt x="4" y="8"/>
                      </a:lnTo>
                      <a:lnTo>
                        <a:pt x="1" y="9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1233">
                  <a:extLst>
                    <a:ext uri="{FF2B5EF4-FFF2-40B4-BE49-F238E27FC236}">
                      <a16:creationId xmlns:a16="http://schemas.microsoft.com/office/drawing/2014/main" id="{C5C24E49-657C-B448-A9C2-5C3CDC3F35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9811" y="2946107"/>
                  <a:ext cx="887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2147483647 w 6"/>
                    <a:gd name="T9" fmla="*/ 2147483647 h 8"/>
                    <a:gd name="T10" fmla="*/ 0 w 6"/>
                    <a:gd name="T11" fmla="*/ 2147483647 h 8"/>
                    <a:gd name="T12" fmla="*/ 0 w 6"/>
                    <a:gd name="T13" fmla="*/ 2147483647 h 8"/>
                    <a:gd name="T14" fmla="*/ 0 w 6"/>
                    <a:gd name="T15" fmla="*/ 2147483647 h 8"/>
                    <a:gd name="T16" fmla="*/ 2147483647 w 6"/>
                    <a:gd name="T17" fmla="*/ 0 h 8"/>
                    <a:gd name="T18" fmla="*/ 2147483647 w 6"/>
                    <a:gd name="T19" fmla="*/ 0 h 8"/>
                    <a:gd name="T20" fmla="*/ 2147483647 w 6"/>
                    <a:gd name="T21" fmla="*/ 2147483647 h 8"/>
                    <a:gd name="T22" fmla="*/ 2147483647 w 6"/>
                    <a:gd name="T23" fmla="*/ 2147483647 h 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"/>
                    <a:gd name="T37" fmla="*/ 0 h 8"/>
                    <a:gd name="T38" fmla="*/ 6 w 6"/>
                    <a:gd name="T39" fmla="*/ 8 h 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" h="8">
                      <a:moveTo>
                        <a:pt x="5" y="4"/>
                      </a:move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1" y="8"/>
                      </a:ln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1234">
                  <a:extLst>
                    <a:ext uri="{FF2B5EF4-FFF2-40B4-BE49-F238E27FC236}">
                      <a16:creationId xmlns:a16="http://schemas.microsoft.com/office/drawing/2014/main" id="{CF74FF89-E75B-0B48-9E18-6696B24C90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0845" y="2657535"/>
                  <a:ext cx="13319" cy="44396"/>
                </a:xfrm>
                <a:custGeom>
                  <a:avLst/>
                  <a:gdLst>
                    <a:gd name="T0" fmla="*/ 2147483647 w 9"/>
                    <a:gd name="T1" fmla="*/ 2147483647 h 30"/>
                    <a:gd name="T2" fmla="*/ 2147483647 w 9"/>
                    <a:gd name="T3" fmla="*/ 2147483647 h 30"/>
                    <a:gd name="T4" fmla="*/ 2147483647 w 9"/>
                    <a:gd name="T5" fmla="*/ 0 h 30"/>
                    <a:gd name="T6" fmla="*/ 2147483647 w 9"/>
                    <a:gd name="T7" fmla="*/ 2147483647 h 30"/>
                    <a:gd name="T8" fmla="*/ 2147483647 w 9"/>
                    <a:gd name="T9" fmla="*/ 2147483647 h 30"/>
                    <a:gd name="T10" fmla="*/ 2147483647 w 9"/>
                    <a:gd name="T11" fmla="*/ 2147483647 h 30"/>
                    <a:gd name="T12" fmla="*/ 2147483647 w 9"/>
                    <a:gd name="T13" fmla="*/ 2147483647 h 30"/>
                    <a:gd name="T14" fmla="*/ 2147483647 w 9"/>
                    <a:gd name="T15" fmla="*/ 2147483647 h 30"/>
                    <a:gd name="T16" fmla="*/ 0 w 9"/>
                    <a:gd name="T17" fmla="*/ 2147483647 h 30"/>
                    <a:gd name="T18" fmla="*/ 0 w 9"/>
                    <a:gd name="T19" fmla="*/ 2147483647 h 30"/>
                    <a:gd name="T20" fmla="*/ 0 w 9"/>
                    <a:gd name="T21" fmla="*/ 2147483647 h 30"/>
                    <a:gd name="T22" fmla="*/ 2147483647 w 9"/>
                    <a:gd name="T23" fmla="*/ 2147483647 h 30"/>
                    <a:gd name="T24" fmla="*/ 2147483647 w 9"/>
                    <a:gd name="T25" fmla="*/ 2147483647 h 30"/>
                    <a:gd name="T26" fmla="*/ 2147483647 w 9"/>
                    <a:gd name="T27" fmla="*/ 2147483647 h 30"/>
                    <a:gd name="T28" fmla="*/ 2147483647 w 9"/>
                    <a:gd name="T29" fmla="*/ 2147483647 h 30"/>
                    <a:gd name="T30" fmla="*/ 2147483647 w 9"/>
                    <a:gd name="T31" fmla="*/ 2147483647 h 30"/>
                    <a:gd name="T32" fmla="*/ 2147483647 w 9"/>
                    <a:gd name="T33" fmla="*/ 2147483647 h 30"/>
                    <a:gd name="T34" fmla="*/ 2147483647 w 9"/>
                    <a:gd name="T35" fmla="*/ 2147483647 h 30"/>
                    <a:gd name="T36" fmla="*/ 2147483647 w 9"/>
                    <a:gd name="T37" fmla="*/ 2147483647 h 30"/>
                    <a:gd name="T38" fmla="*/ 2147483647 w 9"/>
                    <a:gd name="T39" fmla="*/ 2147483647 h 3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"/>
                    <a:gd name="T61" fmla="*/ 0 h 30"/>
                    <a:gd name="T62" fmla="*/ 9 w 9"/>
                    <a:gd name="T63" fmla="*/ 30 h 3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" h="30">
                      <a:moveTo>
                        <a:pt x="9" y="11"/>
                      </a:moveTo>
                      <a:lnTo>
                        <a:pt x="9" y="6"/>
                      </a:lnTo>
                      <a:lnTo>
                        <a:pt x="6" y="0"/>
                      </a:lnTo>
                      <a:lnTo>
                        <a:pt x="5" y="3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4" y="10"/>
                      </a:lnTo>
                      <a:lnTo>
                        <a:pt x="1" y="11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3" y="18"/>
                      </a:lnTo>
                      <a:lnTo>
                        <a:pt x="4" y="22"/>
                      </a:lnTo>
                      <a:lnTo>
                        <a:pt x="4" y="24"/>
                      </a:lnTo>
                      <a:lnTo>
                        <a:pt x="4" y="28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8" y="29"/>
                      </a:lnTo>
                      <a:lnTo>
                        <a:pt x="9" y="20"/>
                      </a:lnTo>
                      <a:lnTo>
                        <a:pt x="9" y="1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1235">
                  <a:extLst>
                    <a:ext uri="{FF2B5EF4-FFF2-40B4-BE49-F238E27FC236}">
                      <a16:creationId xmlns:a16="http://schemas.microsoft.com/office/drawing/2014/main" id="{59C91376-45A2-DA47-BCB2-95D95CC05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9810" y="2944627"/>
                  <a:ext cx="7400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2147483647 h 8"/>
                    <a:gd name="T8" fmla="*/ 2147483647 w 6"/>
                    <a:gd name="T9" fmla="*/ 2147483647 h 8"/>
                    <a:gd name="T10" fmla="*/ 2147483647 w 6"/>
                    <a:gd name="T11" fmla="*/ 2147483647 h 8"/>
                    <a:gd name="T12" fmla="*/ 2147483647 w 6"/>
                    <a:gd name="T13" fmla="*/ 2147483647 h 8"/>
                    <a:gd name="T14" fmla="*/ 0 w 6"/>
                    <a:gd name="T15" fmla="*/ 2147483647 h 8"/>
                    <a:gd name="T16" fmla="*/ 0 w 6"/>
                    <a:gd name="T17" fmla="*/ 2147483647 h 8"/>
                    <a:gd name="T18" fmla="*/ 0 w 6"/>
                    <a:gd name="T19" fmla="*/ 2147483647 h 8"/>
                    <a:gd name="T20" fmla="*/ 0 w 6"/>
                    <a:gd name="T21" fmla="*/ 2147483647 h 8"/>
                    <a:gd name="T22" fmla="*/ 2147483647 w 6"/>
                    <a:gd name="T23" fmla="*/ 0 h 8"/>
                    <a:gd name="T24" fmla="*/ 2147483647 w 6"/>
                    <a:gd name="T25" fmla="*/ 0 h 8"/>
                    <a:gd name="T26" fmla="*/ 2147483647 w 6"/>
                    <a:gd name="T27" fmla="*/ 0 h 8"/>
                    <a:gd name="T28" fmla="*/ 2147483647 w 6"/>
                    <a:gd name="T29" fmla="*/ 2147483647 h 8"/>
                    <a:gd name="T30" fmla="*/ 2147483647 w 6"/>
                    <a:gd name="T31" fmla="*/ 2147483647 h 8"/>
                    <a:gd name="T32" fmla="*/ 2147483647 w 6"/>
                    <a:gd name="T33" fmla="*/ 2147483647 h 8"/>
                    <a:gd name="T34" fmla="*/ 2147483647 w 6"/>
                    <a:gd name="T35" fmla="*/ 2147483647 h 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6"/>
                    <a:gd name="T55" fmla="*/ 0 h 8"/>
                    <a:gd name="T56" fmla="*/ 6 w 6"/>
                    <a:gd name="T57" fmla="*/ 8 h 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6" h="8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4" y="7"/>
                      </a:lnTo>
                      <a:lnTo>
                        <a:pt x="2" y="8"/>
                      </a:lnTo>
                      <a:lnTo>
                        <a:pt x="1" y="8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1236">
                  <a:extLst>
                    <a:ext uri="{FF2B5EF4-FFF2-40B4-BE49-F238E27FC236}">
                      <a16:creationId xmlns:a16="http://schemas.microsoft.com/office/drawing/2014/main" id="{02BDC820-99D2-4349-827E-A52906B4A9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0845" y="2656055"/>
                  <a:ext cx="11839" cy="44396"/>
                </a:xfrm>
                <a:custGeom>
                  <a:avLst/>
                  <a:gdLst>
                    <a:gd name="T0" fmla="*/ 2147483647 w 9"/>
                    <a:gd name="T1" fmla="*/ 2147483647 h 30"/>
                    <a:gd name="T2" fmla="*/ 2147483647 w 9"/>
                    <a:gd name="T3" fmla="*/ 2147483647 h 30"/>
                    <a:gd name="T4" fmla="*/ 2147483647 w 9"/>
                    <a:gd name="T5" fmla="*/ 2147483647 h 30"/>
                    <a:gd name="T6" fmla="*/ 2147483647 w 9"/>
                    <a:gd name="T7" fmla="*/ 0 h 30"/>
                    <a:gd name="T8" fmla="*/ 2147483647 w 9"/>
                    <a:gd name="T9" fmla="*/ 0 h 30"/>
                    <a:gd name="T10" fmla="*/ 2147483647 w 9"/>
                    <a:gd name="T11" fmla="*/ 2147483647 h 30"/>
                    <a:gd name="T12" fmla="*/ 2147483647 w 9"/>
                    <a:gd name="T13" fmla="*/ 2147483647 h 30"/>
                    <a:gd name="T14" fmla="*/ 2147483647 w 9"/>
                    <a:gd name="T15" fmla="*/ 2147483647 h 30"/>
                    <a:gd name="T16" fmla="*/ 2147483647 w 9"/>
                    <a:gd name="T17" fmla="*/ 2147483647 h 30"/>
                    <a:gd name="T18" fmla="*/ 2147483647 w 9"/>
                    <a:gd name="T19" fmla="*/ 2147483647 h 30"/>
                    <a:gd name="T20" fmla="*/ 2147483647 w 9"/>
                    <a:gd name="T21" fmla="*/ 2147483647 h 30"/>
                    <a:gd name="T22" fmla="*/ 0 w 9"/>
                    <a:gd name="T23" fmla="*/ 2147483647 h 30"/>
                    <a:gd name="T24" fmla="*/ 0 w 9"/>
                    <a:gd name="T25" fmla="*/ 2147483647 h 30"/>
                    <a:gd name="T26" fmla="*/ 0 w 9"/>
                    <a:gd name="T27" fmla="*/ 2147483647 h 30"/>
                    <a:gd name="T28" fmla="*/ 0 w 9"/>
                    <a:gd name="T29" fmla="*/ 2147483647 h 30"/>
                    <a:gd name="T30" fmla="*/ 2147483647 w 9"/>
                    <a:gd name="T31" fmla="*/ 2147483647 h 30"/>
                    <a:gd name="T32" fmla="*/ 2147483647 w 9"/>
                    <a:gd name="T33" fmla="*/ 2147483647 h 30"/>
                    <a:gd name="T34" fmla="*/ 2147483647 w 9"/>
                    <a:gd name="T35" fmla="*/ 2147483647 h 30"/>
                    <a:gd name="T36" fmla="*/ 2147483647 w 9"/>
                    <a:gd name="T37" fmla="*/ 2147483647 h 30"/>
                    <a:gd name="T38" fmla="*/ 2147483647 w 9"/>
                    <a:gd name="T39" fmla="*/ 2147483647 h 30"/>
                    <a:gd name="T40" fmla="*/ 2147483647 w 9"/>
                    <a:gd name="T41" fmla="*/ 2147483647 h 30"/>
                    <a:gd name="T42" fmla="*/ 2147483647 w 9"/>
                    <a:gd name="T43" fmla="*/ 2147483647 h 30"/>
                    <a:gd name="T44" fmla="*/ 2147483647 w 9"/>
                    <a:gd name="T45" fmla="*/ 2147483647 h 30"/>
                    <a:gd name="T46" fmla="*/ 2147483647 w 9"/>
                    <a:gd name="T47" fmla="*/ 2147483647 h 30"/>
                    <a:gd name="T48" fmla="*/ 2147483647 w 9"/>
                    <a:gd name="T49" fmla="*/ 2147483647 h 30"/>
                    <a:gd name="T50" fmla="*/ 2147483647 w 9"/>
                    <a:gd name="T51" fmla="*/ 2147483647 h 30"/>
                    <a:gd name="T52" fmla="*/ 2147483647 w 9"/>
                    <a:gd name="T53" fmla="*/ 2147483647 h 30"/>
                    <a:gd name="T54" fmla="*/ 2147483647 w 9"/>
                    <a:gd name="T55" fmla="*/ 2147483647 h 3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9"/>
                    <a:gd name="T85" fmla="*/ 0 h 30"/>
                    <a:gd name="T86" fmla="*/ 9 w 9"/>
                    <a:gd name="T87" fmla="*/ 30 h 3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9" h="30">
                      <a:moveTo>
                        <a:pt x="9" y="11"/>
                      </a:moveTo>
                      <a:lnTo>
                        <a:pt x="9" y="11"/>
                      </a:lnTo>
                      <a:lnTo>
                        <a:pt x="9" y="6"/>
                      </a:lnTo>
                      <a:lnTo>
                        <a:pt x="6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4" y="10"/>
                      </a:lnTo>
                      <a:lnTo>
                        <a:pt x="1" y="11"/>
                      </a:lnTo>
                      <a:lnTo>
                        <a:pt x="0" y="11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2" y="18"/>
                      </a:lnTo>
                      <a:lnTo>
                        <a:pt x="4" y="21"/>
                      </a:lnTo>
                      <a:lnTo>
                        <a:pt x="4" y="24"/>
                      </a:lnTo>
                      <a:lnTo>
                        <a:pt x="4" y="27"/>
                      </a:lnTo>
                      <a:lnTo>
                        <a:pt x="4" y="30"/>
                      </a:lnTo>
                      <a:lnTo>
                        <a:pt x="6" y="30"/>
                      </a:lnTo>
                      <a:lnTo>
                        <a:pt x="7" y="29"/>
                      </a:lnTo>
                      <a:lnTo>
                        <a:pt x="9" y="20"/>
                      </a:lnTo>
                      <a:lnTo>
                        <a:pt x="9" y="11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1237">
                  <a:extLst>
                    <a:ext uri="{FF2B5EF4-FFF2-40B4-BE49-F238E27FC236}">
                      <a16:creationId xmlns:a16="http://schemas.microsoft.com/office/drawing/2014/main" id="{39644CE6-1717-FB4A-864F-ECF2EB53DA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88602" y="2648652"/>
                  <a:ext cx="7400" cy="13319"/>
                </a:xfrm>
                <a:custGeom>
                  <a:avLst/>
                  <a:gdLst>
                    <a:gd name="T0" fmla="*/ 2147483647 w 5"/>
                    <a:gd name="T1" fmla="*/ 2147483647 h 9"/>
                    <a:gd name="T2" fmla="*/ 2147483647 w 5"/>
                    <a:gd name="T3" fmla="*/ 2147483647 h 9"/>
                    <a:gd name="T4" fmla="*/ 2147483647 w 5"/>
                    <a:gd name="T5" fmla="*/ 0 h 9"/>
                    <a:gd name="T6" fmla="*/ 0 w 5"/>
                    <a:gd name="T7" fmla="*/ 0 h 9"/>
                    <a:gd name="T8" fmla="*/ 0 w 5"/>
                    <a:gd name="T9" fmla="*/ 2147483647 h 9"/>
                    <a:gd name="T10" fmla="*/ 0 w 5"/>
                    <a:gd name="T11" fmla="*/ 2147483647 h 9"/>
                    <a:gd name="T12" fmla="*/ 2147483647 w 5"/>
                    <a:gd name="T13" fmla="*/ 2147483647 h 9"/>
                    <a:gd name="T14" fmla="*/ 2147483647 w 5"/>
                    <a:gd name="T15" fmla="*/ 2147483647 h 9"/>
                    <a:gd name="T16" fmla="*/ 2147483647 w 5"/>
                    <a:gd name="T17" fmla="*/ 2147483647 h 9"/>
                    <a:gd name="T18" fmla="*/ 2147483647 w 5"/>
                    <a:gd name="T19" fmla="*/ 2147483647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"/>
                    <a:gd name="T31" fmla="*/ 0 h 9"/>
                    <a:gd name="T32" fmla="*/ 5 w 5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" h="9">
                      <a:moveTo>
                        <a:pt x="4" y="6"/>
                      </a:moveTo>
                      <a:lnTo>
                        <a:pt x="2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7"/>
                      </a:lnTo>
                      <a:lnTo>
                        <a:pt x="5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1238">
                  <a:extLst>
                    <a:ext uri="{FF2B5EF4-FFF2-40B4-BE49-F238E27FC236}">
                      <a16:creationId xmlns:a16="http://schemas.microsoft.com/office/drawing/2014/main" id="{88FBC198-7CA1-C94A-8019-76A5C7D30A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7929" y="2719689"/>
                  <a:ext cx="22198" cy="17758"/>
                </a:xfrm>
                <a:custGeom>
                  <a:avLst/>
                  <a:gdLst>
                    <a:gd name="T0" fmla="*/ 2147483647 w 16"/>
                    <a:gd name="T1" fmla="*/ 2147483647 h 12"/>
                    <a:gd name="T2" fmla="*/ 2147483647 w 16"/>
                    <a:gd name="T3" fmla="*/ 2147483647 h 12"/>
                    <a:gd name="T4" fmla="*/ 2147483647 w 16"/>
                    <a:gd name="T5" fmla="*/ 0 h 12"/>
                    <a:gd name="T6" fmla="*/ 2147483647 w 16"/>
                    <a:gd name="T7" fmla="*/ 0 h 12"/>
                    <a:gd name="T8" fmla="*/ 0 w 16"/>
                    <a:gd name="T9" fmla="*/ 2147483647 h 12"/>
                    <a:gd name="T10" fmla="*/ 0 w 16"/>
                    <a:gd name="T11" fmla="*/ 2147483647 h 12"/>
                    <a:gd name="T12" fmla="*/ 0 w 16"/>
                    <a:gd name="T13" fmla="*/ 2147483647 h 12"/>
                    <a:gd name="T14" fmla="*/ 2147483647 w 16"/>
                    <a:gd name="T15" fmla="*/ 2147483647 h 12"/>
                    <a:gd name="T16" fmla="*/ 2147483647 w 16"/>
                    <a:gd name="T17" fmla="*/ 2147483647 h 12"/>
                    <a:gd name="T18" fmla="*/ 2147483647 w 16"/>
                    <a:gd name="T19" fmla="*/ 2147483647 h 12"/>
                    <a:gd name="T20" fmla="*/ 2147483647 w 16"/>
                    <a:gd name="T21" fmla="*/ 2147483647 h 12"/>
                    <a:gd name="T22" fmla="*/ 2147483647 w 16"/>
                    <a:gd name="T23" fmla="*/ 2147483647 h 1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"/>
                    <a:gd name="T37" fmla="*/ 0 h 12"/>
                    <a:gd name="T38" fmla="*/ 16 w 16"/>
                    <a:gd name="T39" fmla="*/ 12 h 1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" h="12">
                      <a:moveTo>
                        <a:pt x="16" y="10"/>
                      </a:moveTo>
                      <a:lnTo>
                        <a:pt x="10" y="5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7" y="9"/>
                      </a:lnTo>
                      <a:lnTo>
                        <a:pt x="10" y="10"/>
                      </a:lnTo>
                      <a:lnTo>
                        <a:pt x="14" y="12"/>
                      </a:lnTo>
                      <a:lnTo>
                        <a:pt x="16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1239">
                  <a:extLst>
                    <a:ext uri="{FF2B5EF4-FFF2-40B4-BE49-F238E27FC236}">
                      <a16:creationId xmlns:a16="http://schemas.microsoft.com/office/drawing/2014/main" id="{F86DECAF-383D-7A4D-B01F-84CF0C313C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87127" y="2647173"/>
                  <a:ext cx="7399" cy="11839"/>
                </a:xfrm>
                <a:custGeom>
                  <a:avLst/>
                  <a:gdLst>
                    <a:gd name="T0" fmla="*/ 2147483647 w 6"/>
                    <a:gd name="T1" fmla="*/ 2147483647 h 8"/>
                    <a:gd name="T2" fmla="*/ 2147483647 w 6"/>
                    <a:gd name="T3" fmla="*/ 2147483647 h 8"/>
                    <a:gd name="T4" fmla="*/ 2147483647 w 6"/>
                    <a:gd name="T5" fmla="*/ 2147483647 h 8"/>
                    <a:gd name="T6" fmla="*/ 2147483647 w 6"/>
                    <a:gd name="T7" fmla="*/ 0 h 8"/>
                    <a:gd name="T8" fmla="*/ 2147483647 w 6"/>
                    <a:gd name="T9" fmla="*/ 0 h 8"/>
                    <a:gd name="T10" fmla="*/ 2147483647 w 6"/>
                    <a:gd name="T11" fmla="*/ 0 h 8"/>
                    <a:gd name="T12" fmla="*/ 0 w 6"/>
                    <a:gd name="T13" fmla="*/ 0 h 8"/>
                    <a:gd name="T14" fmla="*/ 0 w 6"/>
                    <a:gd name="T15" fmla="*/ 0 h 8"/>
                    <a:gd name="T16" fmla="*/ 0 w 6"/>
                    <a:gd name="T17" fmla="*/ 2147483647 h 8"/>
                    <a:gd name="T18" fmla="*/ 0 w 6"/>
                    <a:gd name="T19" fmla="*/ 2147483647 h 8"/>
                    <a:gd name="T20" fmla="*/ 2147483647 w 6"/>
                    <a:gd name="T21" fmla="*/ 2147483647 h 8"/>
                    <a:gd name="T22" fmla="*/ 2147483647 w 6"/>
                    <a:gd name="T23" fmla="*/ 2147483647 h 8"/>
                    <a:gd name="T24" fmla="*/ 2147483647 w 6"/>
                    <a:gd name="T25" fmla="*/ 2147483647 h 8"/>
                    <a:gd name="T26" fmla="*/ 2147483647 w 6"/>
                    <a:gd name="T27" fmla="*/ 2147483647 h 8"/>
                    <a:gd name="T28" fmla="*/ 2147483647 w 6"/>
                    <a:gd name="T29" fmla="*/ 2147483647 h 8"/>
                    <a:gd name="T30" fmla="*/ 2147483647 w 6"/>
                    <a:gd name="T31" fmla="*/ 2147483647 h 8"/>
                    <a:gd name="T32" fmla="*/ 2147483647 w 6"/>
                    <a:gd name="T33" fmla="*/ 2147483647 h 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"/>
                    <a:gd name="T52" fmla="*/ 0 h 8"/>
                    <a:gd name="T53" fmla="*/ 6 w 6"/>
                    <a:gd name="T54" fmla="*/ 8 h 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" h="8">
                      <a:moveTo>
                        <a:pt x="4" y="6"/>
                      </a:moveTo>
                      <a:lnTo>
                        <a:pt x="4" y="6"/>
                      </a:lnTo>
                      <a:lnTo>
                        <a:pt x="3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4" y="8"/>
                      </a:lnTo>
                      <a:lnTo>
                        <a:pt x="4" y="7"/>
                      </a:lnTo>
                      <a:lnTo>
                        <a:pt x="6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2" name="Freeform 1240">
                  <a:extLst>
                    <a:ext uri="{FF2B5EF4-FFF2-40B4-BE49-F238E27FC236}">
                      <a16:creationId xmlns:a16="http://schemas.microsoft.com/office/drawing/2014/main" id="{DF892B67-F208-BE4C-8752-8CB25C29BD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6452" y="2718206"/>
                  <a:ext cx="20718" cy="16278"/>
                </a:xfrm>
                <a:custGeom>
                  <a:avLst/>
                  <a:gdLst>
                    <a:gd name="T0" fmla="*/ 2147483647 w 15"/>
                    <a:gd name="T1" fmla="*/ 2147483647 h 11"/>
                    <a:gd name="T2" fmla="*/ 2147483647 w 15"/>
                    <a:gd name="T3" fmla="*/ 2147483647 h 11"/>
                    <a:gd name="T4" fmla="*/ 2147483647 w 15"/>
                    <a:gd name="T5" fmla="*/ 2147483647 h 11"/>
                    <a:gd name="T6" fmla="*/ 2147483647 w 15"/>
                    <a:gd name="T7" fmla="*/ 0 h 11"/>
                    <a:gd name="T8" fmla="*/ 2147483647 w 15"/>
                    <a:gd name="T9" fmla="*/ 0 h 11"/>
                    <a:gd name="T10" fmla="*/ 2147483647 w 15"/>
                    <a:gd name="T11" fmla="*/ 0 h 11"/>
                    <a:gd name="T12" fmla="*/ 0 w 15"/>
                    <a:gd name="T13" fmla="*/ 2147483647 h 11"/>
                    <a:gd name="T14" fmla="*/ 0 w 15"/>
                    <a:gd name="T15" fmla="*/ 2147483647 h 11"/>
                    <a:gd name="T16" fmla="*/ 0 w 15"/>
                    <a:gd name="T17" fmla="*/ 2147483647 h 11"/>
                    <a:gd name="T18" fmla="*/ 0 w 15"/>
                    <a:gd name="T19" fmla="*/ 2147483647 h 11"/>
                    <a:gd name="T20" fmla="*/ 2147483647 w 15"/>
                    <a:gd name="T21" fmla="*/ 2147483647 h 11"/>
                    <a:gd name="T22" fmla="*/ 2147483647 w 15"/>
                    <a:gd name="T23" fmla="*/ 2147483647 h 11"/>
                    <a:gd name="T24" fmla="*/ 2147483647 w 15"/>
                    <a:gd name="T25" fmla="*/ 2147483647 h 11"/>
                    <a:gd name="T26" fmla="*/ 2147483647 w 15"/>
                    <a:gd name="T27" fmla="*/ 2147483647 h 11"/>
                    <a:gd name="T28" fmla="*/ 2147483647 w 15"/>
                    <a:gd name="T29" fmla="*/ 2147483647 h 11"/>
                    <a:gd name="T30" fmla="*/ 2147483647 w 15"/>
                    <a:gd name="T31" fmla="*/ 2147483647 h 11"/>
                    <a:gd name="T32" fmla="*/ 2147483647 w 15"/>
                    <a:gd name="T33" fmla="*/ 2147483647 h 11"/>
                    <a:gd name="T34" fmla="*/ 2147483647 w 15"/>
                    <a:gd name="T35" fmla="*/ 2147483647 h 1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5"/>
                    <a:gd name="T55" fmla="*/ 0 h 11"/>
                    <a:gd name="T56" fmla="*/ 15 w 15"/>
                    <a:gd name="T57" fmla="*/ 11 h 1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5" h="11">
                      <a:moveTo>
                        <a:pt x="15" y="10"/>
                      </a:moveTo>
                      <a:lnTo>
                        <a:pt x="15" y="10"/>
                      </a:lnTo>
                      <a:lnTo>
                        <a:pt x="10" y="4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3" y="7"/>
                      </a:lnTo>
                      <a:lnTo>
                        <a:pt x="6" y="9"/>
                      </a:lnTo>
                      <a:lnTo>
                        <a:pt x="10" y="10"/>
                      </a:lnTo>
                      <a:lnTo>
                        <a:pt x="14" y="11"/>
                      </a:lnTo>
                      <a:lnTo>
                        <a:pt x="15" y="1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1241">
                  <a:extLst>
                    <a:ext uri="{FF2B5EF4-FFF2-40B4-BE49-F238E27FC236}">
                      <a16:creationId xmlns:a16="http://schemas.microsoft.com/office/drawing/2014/main" id="{FABE0155-AEAC-DD4E-BA13-19F9E0615B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970" y="2734484"/>
                  <a:ext cx="5919" cy="11839"/>
                </a:xfrm>
                <a:custGeom>
                  <a:avLst/>
                  <a:gdLst>
                    <a:gd name="T0" fmla="*/ 2147483647 w 4"/>
                    <a:gd name="T1" fmla="*/ 2147483647 h 8"/>
                    <a:gd name="T2" fmla="*/ 2147483647 w 4"/>
                    <a:gd name="T3" fmla="*/ 2147483647 h 8"/>
                    <a:gd name="T4" fmla="*/ 2147483647 w 4"/>
                    <a:gd name="T5" fmla="*/ 0 h 8"/>
                    <a:gd name="T6" fmla="*/ 0 w 4"/>
                    <a:gd name="T7" fmla="*/ 0 h 8"/>
                    <a:gd name="T8" fmla="*/ 0 w 4"/>
                    <a:gd name="T9" fmla="*/ 2147483647 h 8"/>
                    <a:gd name="T10" fmla="*/ 0 w 4"/>
                    <a:gd name="T11" fmla="*/ 2147483647 h 8"/>
                    <a:gd name="T12" fmla="*/ 0 w 4"/>
                    <a:gd name="T13" fmla="*/ 2147483647 h 8"/>
                    <a:gd name="T14" fmla="*/ 2147483647 w 4"/>
                    <a:gd name="T15" fmla="*/ 2147483647 h 8"/>
                    <a:gd name="T16" fmla="*/ 2147483647 w 4"/>
                    <a:gd name="T17" fmla="*/ 2147483647 h 8"/>
                    <a:gd name="T18" fmla="*/ 2147483647 w 4"/>
                    <a:gd name="T19" fmla="*/ 2147483647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"/>
                    <a:gd name="T31" fmla="*/ 0 h 8"/>
                    <a:gd name="T32" fmla="*/ 4 w 4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" h="8">
                      <a:moveTo>
                        <a:pt x="4" y="5"/>
                      </a:move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4" y="6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1242">
                  <a:extLst>
                    <a:ext uri="{FF2B5EF4-FFF2-40B4-BE49-F238E27FC236}">
                      <a16:creationId xmlns:a16="http://schemas.microsoft.com/office/drawing/2014/main" id="{EF0CB424-F838-944A-B0AA-D8077B027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6176" y="2793682"/>
                  <a:ext cx="5919" cy="10360"/>
                </a:xfrm>
                <a:custGeom>
                  <a:avLst/>
                  <a:gdLst>
                    <a:gd name="T0" fmla="*/ 2147483647 w 4"/>
                    <a:gd name="T1" fmla="*/ 2147483647 h 7"/>
                    <a:gd name="T2" fmla="*/ 2147483647 w 4"/>
                    <a:gd name="T3" fmla="*/ 2147483647 h 7"/>
                    <a:gd name="T4" fmla="*/ 2147483647 w 4"/>
                    <a:gd name="T5" fmla="*/ 2147483647 h 7"/>
                    <a:gd name="T6" fmla="*/ 2147483647 w 4"/>
                    <a:gd name="T7" fmla="*/ 2147483647 h 7"/>
                    <a:gd name="T8" fmla="*/ 2147483647 w 4"/>
                    <a:gd name="T9" fmla="*/ 2147483647 h 7"/>
                    <a:gd name="T10" fmla="*/ 0 w 4"/>
                    <a:gd name="T11" fmla="*/ 2147483647 h 7"/>
                    <a:gd name="T12" fmla="*/ 0 w 4"/>
                    <a:gd name="T13" fmla="*/ 2147483647 h 7"/>
                    <a:gd name="T14" fmla="*/ 2147483647 w 4"/>
                    <a:gd name="T15" fmla="*/ 0 h 7"/>
                    <a:gd name="T16" fmla="*/ 2147483647 w 4"/>
                    <a:gd name="T17" fmla="*/ 2147483647 h 7"/>
                    <a:gd name="T18" fmla="*/ 2147483647 w 4"/>
                    <a:gd name="T19" fmla="*/ 2147483647 h 7"/>
                    <a:gd name="T20" fmla="*/ 2147483647 w 4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"/>
                    <a:gd name="T34" fmla="*/ 0 h 7"/>
                    <a:gd name="T35" fmla="*/ 4 w 4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" h="7">
                      <a:moveTo>
                        <a:pt x="4" y="4"/>
                      </a:move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1243">
                  <a:extLst>
                    <a:ext uri="{FF2B5EF4-FFF2-40B4-BE49-F238E27FC236}">
                      <a16:creationId xmlns:a16="http://schemas.microsoft.com/office/drawing/2014/main" id="{C2893F08-A8F5-FA47-8982-2B96509294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3489" y="2733008"/>
                  <a:ext cx="4440" cy="10359"/>
                </a:xfrm>
                <a:custGeom>
                  <a:avLst/>
                  <a:gdLst>
                    <a:gd name="T0" fmla="*/ 2147483647 w 3"/>
                    <a:gd name="T1" fmla="*/ 2147483647 h 7"/>
                    <a:gd name="T2" fmla="*/ 2147483647 w 3"/>
                    <a:gd name="T3" fmla="*/ 2147483647 h 7"/>
                    <a:gd name="T4" fmla="*/ 2147483647 w 3"/>
                    <a:gd name="T5" fmla="*/ 2147483647 h 7"/>
                    <a:gd name="T6" fmla="*/ 2147483647 w 3"/>
                    <a:gd name="T7" fmla="*/ 0 h 7"/>
                    <a:gd name="T8" fmla="*/ 2147483647 w 3"/>
                    <a:gd name="T9" fmla="*/ 0 h 7"/>
                    <a:gd name="T10" fmla="*/ 0 w 3"/>
                    <a:gd name="T11" fmla="*/ 0 h 7"/>
                    <a:gd name="T12" fmla="*/ 0 w 3"/>
                    <a:gd name="T13" fmla="*/ 2147483647 h 7"/>
                    <a:gd name="T14" fmla="*/ 0 w 3"/>
                    <a:gd name="T15" fmla="*/ 2147483647 h 7"/>
                    <a:gd name="T16" fmla="*/ 0 w 3"/>
                    <a:gd name="T17" fmla="*/ 2147483647 h 7"/>
                    <a:gd name="T18" fmla="*/ 0 w 3"/>
                    <a:gd name="T19" fmla="*/ 2147483647 h 7"/>
                    <a:gd name="T20" fmla="*/ 2147483647 w 3"/>
                    <a:gd name="T21" fmla="*/ 2147483647 h 7"/>
                    <a:gd name="T22" fmla="*/ 2147483647 w 3"/>
                    <a:gd name="T23" fmla="*/ 2147483647 h 7"/>
                    <a:gd name="T24" fmla="*/ 2147483647 w 3"/>
                    <a:gd name="T25" fmla="*/ 2147483647 h 7"/>
                    <a:gd name="T26" fmla="*/ 2147483647 w 3"/>
                    <a:gd name="T27" fmla="*/ 2147483647 h 7"/>
                    <a:gd name="T28" fmla="*/ 2147483647 w 3"/>
                    <a:gd name="T29" fmla="*/ 2147483647 h 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"/>
                    <a:gd name="T46" fmla="*/ 0 h 7"/>
                    <a:gd name="T47" fmla="*/ 3 w 3"/>
                    <a:gd name="T48" fmla="*/ 7 h 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" h="7">
                      <a:moveTo>
                        <a:pt x="3" y="5"/>
                      </a:moveTo>
                      <a:lnTo>
                        <a:pt x="3" y="5"/>
                      </a:ln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7"/>
                      </a:lnTo>
                      <a:lnTo>
                        <a:pt x="3" y="6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1244">
                  <a:extLst>
                    <a:ext uri="{FF2B5EF4-FFF2-40B4-BE49-F238E27FC236}">
                      <a16:creationId xmlns:a16="http://schemas.microsoft.com/office/drawing/2014/main" id="{9721573C-0E77-9C45-9F6A-1ED15CAA1F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4697" y="2790719"/>
                  <a:ext cx="5919" cy="11839"/>
                </a:xfrm>
                <a:custGeom>
                  <a:avLst/>
                  <a:gdLst>
                    <a:gd name="T0" fmla="*/ 2147483647 w 4"/>
                    <a:gd name="T1" fmla="*/ 2147483647 h 8"/>
                    <a:gd name="T2" fmla="*/ 2147483647 w 4"/>
                    <a:gd name="T3" fmla="*/ 2147483647 h 8"/>
                    <a:gd name="T4" fmla="*/ 2147483647 w 4"/>
                    <a:gd name="T5" fmla="*/ 2147483647 h 8"/>
                    <a:gd name="T6" fmla="*/ 2147483647 w 4"/>
                    <a:gd name="T7" fmla="*/ 2147483647 h 8"/>
                    <a:gd name="T8" fmla="*/ 2147483647 w 4"/>
                    <a:gd name="T9" fmla="*/ 2147483647 h 8"/>
                    <a:gd name="T10" fmla="*/ 2147483647 w 4"/>
                    <a:gd name="T11" fmla="*/ 2147483647 h 8"/>
                    <a:gd name="T12" fmla="*/ 2147483647 w 4"/>
                    <a:gd name="T13" fmla="*/ 2147483647 h 8"/>
                    <a:gd name="T14" fmla="*/ 0 w 4"/>
                    <a:gd name="T15" fmla="*/ 2147483647 h 8"/>
                    <a:gd name="T16" fmla="*/ 0 w 4"/>
                    <a:gd name="T17" fmla="*/ 2147483647 h 8"/>
                    <a:gd name="T18" fmla="*/ 2147483647 w 4"/>
                    <a:gd name="T19" fmla="*/ 0 h 8"/>
                    <a:gd name="T20" fmla="*/ 2147483647 w 4"/>
                    <a:gd name="T21" fmla="*/ 0 h 8"/>
                    <a:gd name="T22" fmla="*/ 2147483647 w 4"/>
                    <a:gd name="T23" fmla="*/ 2147483647 h 8"/>
                    <a:gd name="T24" fmla="*/ 2147483647 w 4"/>
                    <a:gd name="T25" fmla="*/ 2147483647 h 8"/>
                    <a:gd name="T26" fmla="*/ 2147483647 w 4"/>
                    <a:gd name="T27" fmla="*/ 2147483647 h 8"/>
                    <a:gd name="T28" fmla="*/ 2147483647 w 4"/>
                    <a:gd name="T29" fmla="*/ 2147483647 h 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"/>
                    <a:gd name="T46" fmla="*/ 0 h 8"/>
                    <a:gd name="T47" fmla="*/ 4 w 4"/>
                    <a:gd name="T48" fmla="*/ 8 h 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" h="8">
                      <a:moveTo>
                        <a:pt x="4" y="5"/>
                      </a:move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4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1245">
                  <a:extLst>
                    <a:ext uri="{FF2B5EF4-FFF2-40B4-BE49-F238E27FC236}">
                      <a16:creationId xmlns:a16="http://schemas.microsoft.com/office/drawing/2014/main" id="{BB1DC0BE-0565-2242-A51E-A732131C74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6535" y="2758166"/>
                  <a:ext cx="17758" cy="28118"/>
                </a:xfrm>
                <a:custGeom>
                  <a:avLst/>
                  <a:gdLst>
                    <a:gd name="T0" fmla="*/ 2147483647 w 12"/>
                    <a:gd name="T1" fmla="*/ 2147483647 h 19"/>
                    <a:gd name="T2" fmla="*/ 2147483647 w 12"/>
                    <a:gd name="T3" fmla="*/ 2147483647 h 19"/>
                    <a:gd name="T4" fmla="*/ 2147483647 w 12"/>
                    <a:gd name="T5" fmla="*/ 2147483647 h 19"/>
                    <a:gd name="T6" fmla="*/ 0 w 12"/>
                    <a:gd name="T7" fmla="*/ 2147483647 h 19"/>
                    <a:gd name="T8" fmla="*/ 0 w 12"/>
                    <a:gd name="T9" fmla="*/ 2147483647 h 19"/>
                    <a:gd name="T10" fmla="*/ 2147483647 w 12"/>
                    <a:gd name="T11" fmla="*/ 2147483647 h 19"/>
                    <a:gd name="T12" fmla="*/ 2147483647 w 12"/>
                    <a:gd name="T13" fmla="*/ 2147483647 h 19"/>
                    <a:gd name="T14" fmla="*/ 2147483647 w 12"/>
                    <a:gd name="T15" fmla="*/ 2147483647 h 19"/>
                    <a:gd name="T16" fmla="*/ 2147483647 w 12"/>
                    <a:gd name="T17" fmla="*/ 2147483647 h 19"/>
                    <a:gd name="T18" fmla="*/ 2147483647 w 12"/>
                    <a:gd name="T19" fmla="*/ 2147483647 h 19"/>
                    <a:gd name="T20" fmla="*/ 2147483647 w 12"/>
                    <a:gd name="T21" fmla="*/ 0 h 19"/>
                    <a:gd name="T22" fmla="*/ 2147483647 w 12"/>
                    <a:gd name="T23" fmla="*/ 0 h 19"/>
                    <a:gd name="T24" fmla="*/ 2147483647 w 12"/>
                    <a:gd name="T25" fmla="*/ 2147483647 h 19"/>
                    <a:gd name="T26" fmla="*/ 2147483647 w 12"/>
                    <a:gd name="T27" fmla="*/ 2147483647 h 1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"/>
                    <a:gd name="T43" fmla="*/ 0 h 19"/>
                    <a:gd name="T44" fmla="*/ 12 w 12"/>
                    <a:gd name="T45" fmla="*/ 19 h 1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" h="19">
                      <a:moveTo>
                        <a:pt x="10" y="13"/>
                      </a:moveTo>
                      <a:lnTo>
                        <a:pt x="5" y="16"/>
                      </a:lnTo>
                      <a:lnTo>
                        <a:pt x="2" y="19"/>
                      </a:lnTo>
                      <a:lnTo>
                        <a:pt x="0" y="19"/>
                      </a:lnTo>
                      <a:lnTo>
                        <a:pt x="0" y="18"/>
                      </a:lnTo>
                      <a:lnTo>
                        <a:pt x="2" y="16"/>
                      </a:lnTo>
                      <a:lnTo>
                        <a:pt x="2" y="15"/>
                      </a:lnTo>
                      <a:lnTo>
                        <a:pt x="1" y="11"/>
                      </a:lnTo>
                      <a:lnTo>
                        <a:pt x="3" y="7"/>
                      </a:lnTo>
                      <a:lnTo>
                        <a:pt x="9" y="1"/>
                      </a:ln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1" y="7"/>
                      </a:lnTo>
                      <a:lnTo>
                        <a:pt x="10" y="1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1246">
                  <a:extLst>
                    <a:ext uri="{FF2B5EF4-FFF2-40B4-BE49-F238E27FC236}">
                      <a16:creationId xmlns:a16="http://schemas.microsoft.com/office/drawing/2014/main" id="{AE026A2B-DBCA-5646-9A2C-AB52E2D2A8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5415" y="2798119"/>
                  <a:ext cx="11839" cy="16278"/>
                </a:xfrm>
                <a:custGeom>
                  <a:avLst/>
                  <a:gdLst>
                    <a:gd name="T0" fmla="*/ 2147483647 w 9"/>
                    <a:gd name="T1" fmla="*/ 0 h 11"/>
                    <a:gd name="T2" fmla="*/ 2147483647 w 9"/>
                    <a:gd name="T3" fmla="*/ 0 h 11"/>
                    <a:gd name="T4" fmla="*/ 0 w 9"/>
                    <a:gd name="T5" fmla="*/ 2147483647 h 11"/>
                    <a:gd name="T6" fmla="*/ 0 w 9"/>
                    <a:gd name="T7" fmla="*/ 2147483647 h 11"/>
                    <a:gd name="T8" fmla="*/ 2147483647 w 9"/>
                    <a:gd name="T9" fmla="*/ 2147483647 h 11"/>
                    <a:gd name="T10" fmla="*/ 2147483647 w 9"/>
                    <a:gd name="T11" fmla="*/ 2147483647 h 11"/>
                    <a:gd name="T12" fmla="*/ 2147483647 w 9"/>
                    <a:gd name="T13" fmla="*/ 2147483647 h 11"/>
                    <a:gd name="T14" fmla="*/ 2147483647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0 h 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"/>
                    <a:gd name="T43" fmla="*/ 0 h 11"/>
                    <a:gd name="T44" fmla="*/ 9 w 9"/>
                    <a:gd name="T45" fmla="*/ 11 h 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" h="11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5" y="8"/>
                      </a:lnTo>
                      <a:lnTo>
                        <a:pt x="6" y="10"/>
                      </a:lnTo>
                      <a:lnTo>
                        <a:pt x="6" y="11"/>
                      </a:lnTo>
                      <a:lnTo>
                        <a:pt x="8" y="10"/>
                      </a:lnTo>
                      <a:lnTo>
                        <a:pt x="9" y="7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1247">
                  <a:extLst>
                    <a:ext uri="{FF2B5EF4-FFF2-40B4-BE49-F238E27FC236}">
                      <a16:creationId xmlns:a16="http://schemas.microsoft.com/office/drawing/2014/main" id="{EA8ED2B1-B41F-604E-9F23-C1F9A6D93F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5055" y="2756683"/>
                  <a:ext cx="17758" cy="28117"/>
                </a:xfrm>
                <a:custGeom>
                  <a:avLst/>
                  <a:gdLst>
                    <a:gd name="T0" fmla="*/ 2147483647 w 13"/>
                    <a:gd name="T1" fmla="*/ 2147483647 h 19"/>
                    <a:gd name="T2" fmla="*/ 2147483647 w 13"/>
                    <a:gd name="T3" fmla="*/ 2147483647 h 19"/>
                    <a:gd name="T4" fmla="*/ 2147483647 w 13"/>
                    <a:gd name="T5" fmla="*/ 2147483647 h 19"/>
                    <a:gd name="T6" fmla="*/ 2147483647 w 13"/>
                    <a:gd name="T7" fmla="*/ 2147483647 h 19"/>
                    <a:gd name="T8" fmla="*/ 0 w 13"/>
                    <a:gd name="T9" fmla="*/ 2147483647 h 19"/>
                    <a:gd name="T10" fmla="*/ 0 w 13"/>
                    <a:gd name="T11" fmla="*/ 2147483647 h 19"/>
                    <a:gd name="T12" fmla="*/ 0 w 13"/>
                    <a:gd name="T13" fmla="*/ 2147483647 h 19"/>
                    <a:gd name="T14" fmla="*/ 0 w 13"/>
                    <a:gd name="T15" fmla="*/ 2147483647 h 19"/>
                    <a:gd name="T16" fmla="*/ 2147483647 w 13"/>
                    <a:gd name="T17" fmla="*/ 2147483647 h 19"/>
                    <a:gd name="T18" fmla="*/ 2147483647 w 13"/>
                    <a:gd name="T19" fmla="*/ 2147483647 h 19"/>
                    <a:gd name="T20" fmla="*/ 2147483647 w 13"/>
                    <a:gd name="T21" fmla="*/ 2147483647 h 19"/>
                    <a:gd name="T22" fmla="*/ 2147483647 w 13"/>
                    <a:gd name="T23" fmla="*/ 2147483647 h 19"/>
                    <a:gd name="T24" fmla="*/ 2147483647 w 13"/>
                    <a:gd name="T25" fmla="*/ 2147483647 h 19"/>
                    <a:gd name="T26" fmla="*/ 2147483647 w 13"/>
                    <a:gd name="T27" fmla="*/ 2147483647 h 19"/>
                    <a:gd name="T28" fmla="*/ 2147483647 w 13"/>
                    <a:gd name="T29" fmla="*/ 2147483647 h 19"/>
                    <a:gd name="T30" fmla="*/ 2147483647 w 13"/>
                    <a:gd name="T31" fmla="*/ 0 h 19"/>
                    <a:gd name="T32" fmla="*/ 2147483647 w 13"/>
                    <a:gd name="T33" fmla="*/ 0 h 19"/>
                    <a:gd name="T34" fmla="*/ 2147483647 w 13"/>
                    <a:gd name="T35" fmla="*/ 0 h 19"/>
                    <a:gd name="T36" fmla="*/ 2147483647 w 13"/>
                    <a:gd name="T37" fmla="*/ 2147483647 h 19"/>
                    <a:gd name="T38" fmla="*/ 2147483647 w 13"/>
                    <a:gd name="T39" fmla="*/ 2147483647 h 19"/>
                    <a:gd name="T40" fmla="*/ 2147483647 w 13"/>
                    <a:gd name="T41" fmla="*/ 2147483647 h 1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"/>
                    <a:gd name="T64" fmla="*/ 0 h 19"/>
                    <a:gd name="T65" fmla="*/ 13 w 13"/>
                    <a:gd name="T66" fmla="*/ 19 h 1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" h="19">
                      <a:moveTo>
                        <a:pt x="11" y="13"/>
                      </a:moveTo>
                      <a:lnTo>
                        <a:pt x="11" y="13"/>
                      </a:lnTo>
                      <a:lnTo>
                        <a:pt x="5" y="16"/>
                      </a:lnTo>
                      <a:lnTo>
                        <a:pt x="3" y="19"/>
                      </a:lnTo>
                      <a:lnTo>
                        <a:pt x="0" y="19"/>
                      </a:lnTo>
                      <a:lnTo>
                        <a:pt x="0" y="17"/>
                      </a:lnTo>
                      <a:lnTo>
                        <a:pt x="3" y="16"/>
                      </a:lnTo>
                      <a:lnTo>
                        <a:pt x="3" y="15"/>
                      </a:lnTo>
                      <a:lnTo>
                        <a:pt x="2" y="10"/>
                      </a:lnTo>
                      <a:lnTo>
                        <a:pt x="4" y="7"/>
                      </a:lnTo>
                      <a:lnTo>
                        <a:pt x="9" y="1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2" y="7"/>
                      </a:lnTo>
                      <a:lnTo>
                        <a:pt x="11" y="13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0" name="Freeform 1248">
                  <a:extLst>
                    <a:ext uri="{FF2B5EF4-FFF2-40B4-BE49-F238E27FC236}">
                      <a16:creationId xmlns:a16="http://schemas.microsoft.com/office/drawing/2014/main" id="{62841942-A01F-EF48-848B-FB1995D2CA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3935" y="2796642"/>
                  <a:ext cx="11839" cy="16279"/>
                </a:xfrm>
                <a:custGeom>
                  <a:avLst/>
                  <a:gdLst>
                    <a:gd name="T0" fmla="*/ 2147483647 w 9"/>
                    <a:gd name="T1" fmla="*/ 0 h 11"/>
                    <a:gd name="T2" fmla="*/ 2147483647 w 9"/>
                    <a:gd name="T3" fmla="*/ 0 h 11"/>
                    <a:gd name="T4" fmla="*/ 2147483647 w 9"/>
                    <a:gd name="T5" fmla="*/ 0 h 11"/>
                    <a:gd name="T6" fmla="*/ 0 w 9"/>
                    <a:gd name="T7" fmla="*/ 2147483647 h 11"/>
                    <a:gd name="T8" fmla="*/ 0 w 9"/>
                    <a:gd name="T9" fmla="*/ 2147483647 h 11"/>
                    <a:gd name="T10" fmla="*/ 0 w 9"/>
                    <a:gd name="T11" fmla="*/ 2147483647 h 11"/>
                    <a:gd name="T12" fmla="*/ 2147483647 w 9"/>
                    <a:gd name="T13" fmla="*/ 2147483647 h 11"/>
                    <a:gd name="T14" fmla="*/ 2147483647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2147483647 w 9"/>
                    <a:gd name="T29" fmla="*/ 2147483647 h 11"/>
                    <a:gd name="T30" fmla="*/ 2147483647 w 9"/>
                    <a:gd name="T31" fmla="*/ 2147483647 h 11"/>
                    <a:gd name="T32" fmla="*/ 2147483647 w 9"/>
                    <a:gd name="T33" fmla="*/ 2147483647 h 11"/>
                    <a:gd name="T34" fmla="*/ 2147483647 w 9"/>
                    <a:gd name="T35" fmla="*/ 2147483647 h 11"/>
                    <a:gd name="T36" fmla="*/ 2147483647 w 9"/>
                    <a:gd name="T37" fmla="*/ 2147483647 h 11"/>
                    <a:gd name="T38" fmla="*/ 2147483647 w 9"/>
                    <a:gd name="T39" fmla="*/ 0 h 11"/>
                    <a:gd name="T40" fmla="*/ 2147483647 w 9"/>
                    <a:gd name="T41" fmla="*/ 0 h 1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9"/>
                    <a:gd name="T64" fmla="*/ 0 h 11"/>
                    <a:gd name="T65" fmla="*/ 9 w 9"/>
                    <a:gd name="T66" fmla="*/ 11 h 1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9" h="1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2" y="7"/>
                      </a:lnTo>
                      <a:lnTo>
                        <a:pt x="5" y="8"/>
                      </a:lnTo>
                      <a:lnTo>
                        <a:pt x="6" y="9"/>
                      </a:lnTo>
                      <a:lnTo>
                        <a:pt x="6" y="11"/>
                      </a:lnTo>
                      <a:lnTo>
                        <a:pt x="7" y="9"/>
                      </a:lnTo>
                      <a:lnTo>
                        <a:pt x="9" y="7"/>
                      </a:lnTo>
                      <a:lnTo>
                        <a:pt x="7" y="4"/>
                      </a:lnTo>
                      <a:lnTo>
                        <a:pt x="6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1249">
                  <a:extLst>
                    <a:ext uri="{FF2B5EF4-FFF2-40B4-BE49-F238E27FC236}">
                      <a16:creationId xmlns:a16="http://schemas.microsoft.com/office/drawing/2014/main" id="{649359FF-1D94-5E42-A8BC-1EB835F40A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4338" y="2879513"/>
                  <a:ext cx="51795" cy="51796"/>
                </a:xfrm>
                <a:custGeom>
                  <a:avLst/>
                  <a:gdLst>
                    <a:gd name="T0" fmla="*/ 2147483647 w 38"/>
                    <a:gd name="T1" fmla="*/ 2147483647 h 35"/>
                    <a:gd name="T2" fmla="*/ 2147483647 w 38"/>
                    <a:gd name="T3" fmla="*/ 2147483647 h 35"/>
                    <a:gd name="T4" fmla="*/ 2147483647 w 38"/>
                    <a:gd name="T5" fmla="*/ 2147483647 h 35"/>
                    <a:gd name="T6" fmla="*/ 2147483647 w 38"/>
                    <a:gd name="T7" fmla="*/ 2147483647 h 35"/>
                    <a:gd name="T8" fmla="*/ 2147483647 w 38"/>
                    <a:gd name="T9" fmla="*/ 2147483647 h 35"/>
                    <a:gd name="T10" fmla="*/ 2147483647 w 38"/>
                    <a:gd name="T11" fmla="*/ 2147483647 h 35"/>
                    <a:gd name="T12" fmla="*/ 2147483647 w 38"/>
                    <a:gd name="T13" fmla="*/ 2147483647 h 35"/>
                    <a:gd name="T14" fmla="*/ 2147483647 w 38"/>
                    <a:gd name="T15" fmla="*/ 2147483647 h 35"/>
                    <a:gd name="T16" fmla="*/ 2147483647 w 38"/>
                    <a:gd name="T17" fmla="*/ 2147483647 h 35"/>
                    <a:gd name="T18" fmla="*/ 0 w 38"/>
                    <a:gd name="T19" fmla="*/ 2147483647 h 35"/>
                    <a:gd name="T20" fmla="*/ 0 w 38"/>
                    <a:gd name="T21" fmla="*/ 2147483647 h 35"/>
                    <a:gd name="T22" fmla="*/ 2147483647 w 38"/>
                    <a:gd name="T23" fmla="*/ 2147483647 h 35"/>
                    <a:gd name="T24" fmla="*/ 2147483647 w 38"/>
                    <a:gd name="T25" fmla="*/ 2147483647 h 35"/>
                    <a:gd name="T26" fmla="*/ 2147483647 w 38"/>
                    <a:gd name="T27" fmla="*/ 2147483647 h 35"/>
                    <a:gd name="T28" fmla="*/ 2147483647 w 38"/>
                    <a:gd name="T29" fmla="*/ 2147483647 h 35"/>
                    <a:gd name="T30" fmla="*/ 2147483647 w 38"/>
                    <a:gd name="T31" fmla="*/ 2147483647 h 35"/>
                    <a:gd name="T32" fmla="*/ 2147483647 w 38"/>
                    <a:gd name="T33" fmla="*/ 2147483647 h 35"/>
                    <a:gd name="T34" fmla="*/ 2147483647 w 38"/>
                    <a:gd name="T35" fmla="*/ 2147483647 h 35"/>
                    <a:gd name="T36" fmla="*/ 2147483647 w 38"/>
                    <a:gd name="T37" fmla="*/ 2147483647 h 35"/>
                    <a:gd name="T38" fmla="*/ 2147483647 w 38"/>
                    <a:gd name="T39" fmla="*/ 0 h 35"/>
                    <a:gd name="T40" fmla="*/ 2147483647 w 38"/>
                    <a:gd name="T41" fmla="*/ 0 h 35"/>
                    <a:gd name="T42" fmla="*/ 2147483647 w 38"/>
                    <a:gd name="T43" fmla="*/ 2147483647 h 35"/>
                    <a:gd name="T44" fmla="*/ 2147483647 w 38"/>
                    <a:gd name="T45" fmla="*/ 2147483647 h 35"/>
                    <a:gd name="T46" fmla="*/ 2147483647 w 38"/>
                    <a:gd name="T47" fmla="*/ 2147483647 h 35"/>
                    <a:gd name="T48" fmla="*/ 2147483647 w 38"/>
                    <a:gd name="T49" fmla="*/ 2147483647 h 35"/>
                    <a:gd name="T50" fmla="*/ 2147483647 w 38"/>
                    <a:gd name="T51" fmla="*/ 2147483647 h 35"/>
                    <a:gd name="T52" fmla="*/ 2147483647 w 38"/>
                    <a:gd name="T53" fmla="*/ 2147483647 h 35"/>
                    <a:gd name="T54" fmla="*/ 2147483647 w 38"/>
                    <a:gd name="T55" fmla="*/ 0 h 35"/>
                    <a:gd name="T56" fmla="*/ 2147483647 w 38"/>
                    <a:gd name="T57" fmla="*/ 2147483647 h 35"/>
                    <a:gd name="T58" fmla="*/ 2147483647 w 38"/>
                    <a:gd name="T59" fmla="*/ 2147483647 h 35"/>
                    <a:gd name="T60" fmla="*/ 2147483647 w 38"/>
                    <a:gd name="T61" fmla="*/ 2147483647 h 35"/>
                    <a:gd name="T62" fmla="*/ 2147483647 w 38"/>
                    <a:gd name="T63" fmla="*/ 2147483647 h 35"/>
                    <a:gd name="T64" fmla="*/ 2147483647 w 38"/>
                    <a:gd name="T65" fmla="*/ 2147483647 h 35"/>
                    <a:gd name="T66" fmla="*/ 2147483647 w 38"/>
                    <a:gd name="T67" fmla="*/ 2147483647 h 35"/>
                    <a:gd name="T68" fmla="*/ 2147483647 w 38"/>
                    <a:gd name="T69" fmla="*/ 2147483647 h 35"/>
                    <a:gd name="T70" fmla="*/ 2147483647 w 38"/>
                    <a:gd name="T71" fmla="*/ 2147483647 h 35"/>
                    <a:gd name="T72" fmla="*/ 2147483647 w 38"/>
                    <a:gd name="T73" fmla="*/ 2147483647 h 35"/>
                    <a:gd name="T74" fmla="*/ 2147483647 w 38"/>
                    <a:gd name="T75" fmla="*/ 2147483647 h 35"/>
                    <a:gd name="T76" fmla="*/ 2147483647 w 38"/>
                    <a:gd name="T77" fmla="*/ 2147483647 h 35"/>
                    <a:gd name="T78" fmla="*/ 2147483647 w 38"/>
                    <a:gd name="T79" fmla="*/ 2147483647 h 35"/>
                    <a:gd name="T80" fmla="*/ 2147483647 w 38"/>
                    <a:gd name="T81" fmla="*/ 2147483647 h 3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38"/>
                    <a:gd name="T124" fmla="*/ 0 h 35"/>
                    <a:gd name="T125" fmla="*/ 38 w 38"/>
                    <a:gd name="T126" fmla="*/ 35 h 3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38" h="35">
                      <a:moveTo>
                        <a:pt x="29" y="35"/>
                      </a:moveTo>
                      <a:lnTo>
                        <a:pt x="28" y="34"/>
                      </a:lnTo>
                      <a:lnTo>
                        <a:pt x="26" y="34"/>
                      </a:lnTo>
                      <a:lnTo>
                        <a:pt x="24" y="34"/>
                      </a:lnTo>
                      <a:lnTo>
                        <a:pt x="23" y="33"/>
                      </a:lnTo>
                      <a:lnTo>
                        <a:pt x="20" y="31"/>
                      </a:lnTo>
                      <a:lnTo>
                        <a:pt x="15" y="27"/>
                      </a:lnTo>
                      <a:lnTo>
                        <a:pt x="12" y="26"/>
                      </a:lnTo>
                      <a:lnTo>
                        <a:pt x="3" y="27"/>
                      </a:lnTo>
                      <a:lnTo>
                        <a:pt x="0" y="26"/>
                      </a:lnTo>
                      <a:lnTo>
                        <a:pt x="0" y="25"/>
                      </a:lnTo>
                      <a:lnTo>
                        <a:pt x="1" y="21"/>
                      </a:lnTo>
                      <a:lnTo>
                        <a:pt x="8" y="14"/>
                      </a:lnTo>
                      <a:lnTo>
                        <a:pt x="9" y="12"/>
                      </a:lnTo>
                      <a:lnTo>
                        <a:pt x="8" y="10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10" y="1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18" y="4"/>
                      </a:lnTo>
                      <a:lnTo>
                        <a:pt x="19" y="4"/>
                      </a:lnTo>
                      <a:lnTo>
                        <a:pt x="22" y="2"/>
                      </a:lnTo>
                      <a:lnTo>
                        <a:pt x="23" y="1"/>
                      </a:lnTo>
                      <a:lnTo>
                        <a:pt x="26" y="0"/>
                      </a:lnTo>
                      <a:lnTo>
                        <a:pt x="27" y="1"/>
                      </a:lnTo>
                      <a:lnTo>
                        <a:pt x="29" y="2"/>
                      </a:lnTo>
                      <a:lnTo>
                        <a:pt x="32" y="4"/>
                      </a:lnTo>
                      <a:lnTo>
                        <a:pt x="32" y="8"/>
                      </a:lnTo>
                      <a:lnTo>
                        <a:pt x="33" y="10"/>
                      </a:lnTo>
                      <a:lnTo>
                        <a:pt x="37" y="16"/>
                      </a:lnTo>
                      <a:lnTo>
                        <a:pt x="38" y="20"/>
                      </a:lnTo>
                      <a:lnTo>
                        <a:pt x="38" y="22"/>
                      </a:lnTo>
                      <a:lnTo>
                        <a:pt x="38" y="26"/>
                      </a:lnTo>
                      <a:lnTo>
                        <a:pt x="36" y="28"/>
                      </a:lnTo>
                      <a:lnTo>
                        <a:pt x="33" y="31"/>
                      </a:lnTo>
                      <a:lnTo>
                        <a:pt x="29" y="33"/>
                      </a:lnTo>
                      <a:lnTo>
                        <a:pt x="29" y="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1251">
                  <a:extLst>
                    <a:ext uri="{FF2B5EF4-FFF2-40B4-BE49-F238E27FC236}">
                      <a16:creationId xmlns:a16="http://schemas.microsoft.com/office/drawing/2014/main" id="{3CBE613B-E3F5-8149-911D-646113C7C3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2860" y="2876552"/>
                  <a:ext cx="51796" cy="53275"/>
                </a:xfrm>
                <a:custGeom>
                  <a:avLst/>
                  <a:gdLst>
                    <a:gd name="T0" fmla="*/ 2147483647 w 38"/>
                    <a:gd name="T1" fmla="*/ 2147483647 h 36"/>
                    <a:gd name="T2" fmla="*/ 2147483647 w 38"/>
                    <a:gd name="T3" fmla="*/ 2147483647 h 36"/>
                    <a:gd name="T4" fmla="*/ 2147483647 w 38"/>
                    <a:gd name="T5" fmla="*/ 2147483647 h 36"/>
                    <a:gd name="T6" fmla="*/ 2147483647 w 38"/>
                    <a:gd name="T7" fmla="*/ 2147483647 h 36"/>
                    <a:gd name="T8" fmla="*/ 2147483647 w 38"/>
                    <a:gd name="T9" fmla="*/ 2147483647 h 36"/>
                    <a:gd name="T10" fmla="*/ 2147483647 w 38"/>
                    <a:gd name="T11" fmla="*/ 2147483647 h 36"/>
                    <a:gd name="T12" fmla="*/ 2147483647 w 38"/>
                    <a:gd name="T13" fmla="*/ 2147483647 h 36"/>
                    <a:gd name="T14" fmla="*/ 2147483647 w 38"/>
                    <a:gd name="T15" fmla="*/ 2147483647 h 36"/>
                    <a:gd name="T16" fmla="*/ 2147483647 w 38"/>
                    <a:gd name="T17" fmla="*/ 2147483647 h 36"/>
                    <a:gd name="T18" fmla="*/ 2147483647 w 38"/>
                    <a:gd name="T19" fmla="*/ 2147483647 h 36"/>
                    <a:gd name="T20" fmla="*/ 2147483647 w 38"/>
                    <a:gd name="T21" fmla="*/ 2147483647 h 36"/>
                    <a:gd name="T22" fmla="*/ 2147483647 w 38"/>
                    <a:gd name="T23" fmla="*/ 2147483647 h 36"/>
                    <a:gd name="T24" fmla="*/ 2147483647 w 38"/>
                    <a:gd name="T25" fmla="*/ 2147483647 h 36"/>
                    <a:gd name="T26" fmla="*/ 0 w 38"/>
                    <a:gd name="T27" fmla="*/ 2147483647 h 36"/>
                    <a:gd name="T28" fmla="*/ 0 w 38"/>
                    <a:gd name="T29" fmla="*/ 2147483647 h 36"/>
                    <a:gd name="T30" fmla="*/ 2147483647 w 38"/>
                    <a:gd name="T31" fmla="*/ 2147483647 h 36"/>
                    <a:gd name="T32" fmla="*/ 2147483647 w 38"/>
                    <a:gd name="T33" fmla="*/ 2147483647 h 36"/>
                    <a:gd name="T34" fmla="*/ 2147483647 w 38"/>
                    <a:gd name="T35" fmla="*/ 2147483647 h 36"/>
                    <a:gd name="T36" fmla="*/ 2147483647 w 38"/>
                    <a:gd name="T37" fmla="*/ 2147483647 h 36"/>
                    <a:gd name="T38" fmla="*/ 2147483647 w 38"/>
                    <a:gd name="T39" fmla="*/ 2147483647 h 36"/>
                    <a:gd name="T40" fmla="*/ 2147483647 w 38"/>
                    <a:gd name="T41" fmla="*/ 2147483647 h 36"/>
                    <a:gd name="T42" fmla="*/ 2147483647 w 38"/>
                    <a:gd name="T43" fmla="*/ 2147483647 h 36"/>
                    <a:gd name="T44" fmla="*/ 2147483647 w 38"/>
                    <a:gd name="T45" fmla="*/ 2147483647 h 36"/>
                    <a:gd name="T46" fmla="*/ 2147483647 w 38"/>
                    <a:gd name="T47" fmla="*/ 2147483647 h 36"/>
                    <a:gd name="T48" fmla="*/ 2147483647 w 38"/>
                    <a:gd name="T49" fmla="*/ 2147483647 h 36"/>
                    <a:gd name="T50" fmla="*/ 2147483647 w 38"/>
                    <a:gd name="T51" fmla="*/ 2147483647 h 36"/>
                    <a:gd name="T52" fmla="*/ 2147483647 w 38"/>
                    <a:gd name="T53" fmla="*/ 2147483647 h 36"/>
                    <a:gd name="T54" fmla="*/ 2147483647 w 38"/>
                    <a:gd name="T55" fmla="*/ 0 h 36"/>
                    <a:gd name="T56" fmla="*/ 2147483647 w 38"/>
                    <a:gd name="T57" fmla="*/ 0 h 36"/>
                    <a:gd name="T58" fmla="*/ 2147483647 w 38"/>
                    <a:gd name="T59" fmla="*/ 2147483647 h 36"/>
                    <a:gd name="T60" fmla="*/ 2147483647 w 38"/>
                    <a:gd name="T61" fmla="*/ 2147483647 h 36"/>
                    <a:gd name="T62" fmla="*/ 2147483647 w 38"/>
                    <a:gd name="T63" fmla="*/ 2147483647 h 36"/>
                    <a:gd name="T64" fmla="*/ 2147483647 w 38"/>
                    <a:gd name="T65" fmla="*/ 2147483647 h 36"/>
                    <a:gd name="T66" fmla="*/ 2147483647 w 38"/>
                    <a:gd name="T67" fmla="*/ 2147483647 h 36"/>
                    <a:gd name="T68" fmla="*/ 2147483647 w 38"/>
                    <a:gd name="T69" fmla="*/ 2147483647 h 36"/>
                    <a:gd name="T70" fmla="*/ 2147483647 w 38"/>
                    <a:gd name="T71" fmla="*/ 2147483647 h 36"/>
                    <a:gd name="T72" fmla="*/ 2147483647 w 38"/>
                    <a:gd name="T73" fmla="*/ 0 h 36"/>
                    <a:gd name="T74" fmla="*/ 2147483647 w 38"/>
                    <a:gd name="T75" fmla="*/ 0 h 36"/>
                    <a:gd name="T76" fmla="*/ 2147483647 w 38"/>
                    <a:gd name="T77" fmla="*/ 2147483647 h 36"/>
                    <a:gd name="T78" fmla="*/ 2147483647 w 38"/>
                    <a:gd name="T79" fmla="*/ 2147483647 h 36"/>
                    <a:gd name="T80" fmla="*/ 2147483647 w 38"/>
                    <a:gd name="T81" fmla="*/ 2147483647 h 36"/>
                    <a:gd name="T82" fmla="*/ 2147483647 w 38"/>
                    <a:gd name="T83" fmla="*/ 2147483647 h 36"/>
                    <a:gd name="T84" fmla="*/ 2147483647 w 38"/>
                    <a:gd name="T85" fmla="*/ 2147483647 h 36"/>
                    <a:gd name="T86" fmla="*/ 2147483647 w 38"/>
                    <a:gd name="T87" fmla="*/ 2147483647 h 36"/>
                    <a:gd name="T88" fmla="*/ 2147483647 w 38"/>
                    <a:gd name="T89" fmla="*/ 2147483647 h 36"/>
                    <a:gd name="T90" fmla="*/ 2147483647 w 38"/>
                    <a:gd name="T91" fmla="*/ 2147483647 h 36"/>
                    <a:gd name="T92" fmla="*/ 2147483647 w 38"/>
                    <a:gd name="T93" fmla="*/ 2147483647 h 36"/>
                    <a:gd name="T94" fmla="*/ 2147483647 w 38"/>
                    <a:gd name="T95" fmla="*/ 2147483647 h 36"/>
                    <a:gd name="T96" fmla="*/ 2147483647 w 38"/>
                    <a:gd name="T97" fmla="*/ 2147483647 h 36"/>
                    <a:gd name="T98" fmla="*/ 2147483647 w 38"/>
                    <a:gd name="T99" fmla="*/ 2147483647 h 36"/>
                    <a:gd name="T100" fmla="*/ 2147483647 w 38"/>
                    <a:gd name="T101" fmla="*/ 2147483647 h 36"/>
                    <a:gd name="T102" fmla="*/ 2147483647 w 38"/>
                    <a:gd name="T103" fmla="*/ 2147483647 h 36"/>
                    <a:gd name="T104" fmla="*/ 2147483647 w 38"/>
                    <a:gd name="T105" fmla="*/ 2147483647 h 36"/>
                    <a:gd name="T106" fmla="*/ 2147483647 w 38"/>
                    <a:gd name="T107" fmla="*/ 2147483647 h 36"/>
                    <a:gd name="T108" fmla="*/ 2147483647 w 38"/>
                    <a:gd name="T109" fmla="*/ 2147483647 h 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8"/>
                    <a:gd name="T166" fmla="*/ 0 h 36"/>
                    <a:gd name="T167" fmla="*/ 38 w 38"/>
                    <a:gd name="T168" fmla="*/ 36 h 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8" h="36">
                      <a:moveTo>
                        <a:pt x="29" y="36"/>
                      </a:moveTo>
                      <a:lnTo>
                        <a:pt x="29" y="36"/>
                      </a:lnTo>
                      <a:lnTo>
                        <a:pt x="28" y="35"/>
                      </a:lnTo>
                      <a:lnTo>
                        <a:pt x="25" y="35"/>
                      </a:lnTo>
                      <a:lnTo>
                        <a:pt x="24" y="35"/>
                      </a:lnTo>
                      <a:lnTo>
                        <a:pt x="23" y="34"/>
                      </a:lnTo>
                      <a:lnTo>
                        <a:pt x="20" y="31"/>
                      </a:lnTo>
                      <a:lnTo>
                        <a:pt x="15" y="28"/>
                      </a:lnTo>
                      <a:lnTo>
                        <a:pt x="11" y="27"/>
                      </a:lnTo>
                      <a:lnTo>
                        <a:pt x="2" y="28"/>
                      </a:lnTo>
                      <a:lnTo>
                        <a:pt x="0" y="27"/>
                      </a:lnTo>
                      <a:lnTo>
                        <a:pt x="0" y="25"/>
                      </a:lnTo>
                      <a:lnTo>
                        <a:pt x="1" y="22"/>
                      </a:lnTo>
                      <a:lnTo>
                        <a:pt x="7" y="15"/>
                      </a:lnTo>
                      <a:lnTo>
                        <a:pt x="9" y="12"/>
                      </a:lnTo>
                      <a:lnTo>
                        <a:pt x="7" y="11"/>
                      </a:lnTo>
                      <a:lnTo>
                        <a:pt x="6" y="6"/>
                      </a:lnTo>
                      <a:lnTo>
                        <a:pt x="6" y="5"/>
                      </a:lnTo>
                      <a:lnTo>
                        <a:pt x="7" y="3"/>
                      </a:lnTo>
                      <a:lnTo>
                        <a:pt x="10" y="2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3"/>
                      </a:lnTo>
                      <a:lnTo>
                        <a:pt x="16" y="5"/>
                      </a:lnTo>
                      <a:lnTo>
                        <a:pt x="18" y="5"/>
                      </a:lnTo>
                      <a:lnTo>
                        <a:pt x="19" y="5"/>
                      </a:lnTo>
                      <a:lnTo>
                        <a:pt x="21" y="3"/>
                      </a:lnTo>
                      <a:lnTo>
                        <a:pt x="23" y="2"/>
                      </a:lnTo>
                      <a:lnTo>
                        <a:pt x="25" y="0"/>
                      </a:lnTo>
                      <a:lnTo>
                        <a:pt x="27" y="2"/>
                      </a:lnTo>
                      <a:lnTo>
                        <a:pt x="29" y="3"/>
                      </a:lnTo>
                      <a:lnTo>
                        <a:pt x="32" y="5"/>
                      </a:lnTo>
                      <a:lnTo>
                        <a:pt x="32" y="9"/>
                      </a:lnTo>
                      <a:lnTo>
                        <a:pt x="33" y="11"/>
                      </a:lnTo>
                      <a:lnTo>
                        <a:pt x="37" y="17"/>
                      </a:lnTo>
                      <a:lnTo>
                        <a:pt x="38" y="21"/>
                      </a:lnTo>
                      <a:lnTo>
                        <a:pt x="38" y="23"/>
                      </a:lnTo>
                      <a:lnTo>
                        <a:pt x="38" y="27"/>
                      </a:lnTo>
                      <a:lnTo>
                        <a:pt x="35" y="29"/>
                      </a:lnTo>
                      <a:lnTo>
                        <a:pt x="33" y="31"/>
                      </a:lnTo>
                      <a:lnTo>
                        <a:pt x="29" y="34"/>
                      </a:lnTo>
                      <a:lnTo>
                        <a:pt x="29" y="36"/>
                      </a:lnTo>
                      <a:close/>
                    </a:path>
                  </a:pathLst>
                </a:custGeom>
                <a:grpFill/>
                <a:ln w="4763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1314">
                  <a:extLst>
                    <a:ext uri="{FF2B5EF4-FFF2-40B4-BE49-F238E27FC236}">
                      <a16:creationId xmlns:a16="http://schemas.microsoft.com/office/drawing/2014/main" id="{0C0A31B6-0A5E-1142-97F6-9435C09607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5524" y="3212487"/>
                  <a:ext cx="121350" cy="131708"/>
                </a:xfrm>
                <a:custGeom>
                  <a:avLst/>
                  <a:gdLst>
                    <a:gd name="T0" fmla="*/ 2147483647 w 89"/>
                    <a:gd name="T1" fmla="*/ 2147483647 h 89"/>
                    <a:gd name="T2" fmla="*/ 2147483647 w 89"/>
                    <a:gd name="T3" fmla="*/ 2147483647 h 89"/>
                    <a:gd name="T4" fmla="*/ 2147483647 w 89"/>
                    <a:gd name="T5" fmla="*/ 2147483647 h 89"/>
                    <a:gd name="T6" fmla="*/ 2147483647 w 89"/>
                    <a:gd name="T7" fmla="*/ 2147483647 h 89"/>
                    <a:gd name="T8" fmla="*/ 2147483647 w 89"/>
                    <a:gd name="T9" fmla="*/ 2147483647 h 89"/>
                    <a:gd name="T10" fmla="*/ 2147483647 w 89"/>
                    <a:gd name="T11" fmla="*/ 2147483647 h 89"/>
                    <a:gd name="T12" fmla="*/ 2147483647 w 89"/>
                    <a:gd name="T13" fmla="*/ 2147483647 h 89"/>
                    <a:gd name="T14" fmla="*/ 2147483647 w 89"/>
                    <a:gd name="T15" fmla="*/ 2147483647 h 89"/>
                    <a:gd name="T16" fmla="*/ 2147483647 w 89"/>
                    <a:gd name="T17" fmla="*/ 2147483647 h 89"/>
                    <a:gd name="T18" fmla="*/ 2147483647 w 89"/>
                    <a:gd name="T19" fmla="*/ 2147483647 h 89"/>
                    <a:gd name="T20" fmla="*/ 2147483647 w 89"/>
                    <a:gd name="T21" fmla="*/ 2147483647 h 89"/>
                    <a:gd name="T22" fmla="*/ 2147483647 w 89"/>
                    <a:gd name="T23" fmla="*/ 2147483647 h 89"/>
                    <a:gd name="T24" fmla="*/ 2147483647 w 89"/>
                    <a:gd name="T25" fmla="*/ 2147483647 h 89"/>
                    <a:gd name="T26" fmla="*/ 2147483647 w 89"/>
                    <a:gd name="T27" fmla="*/ 2147483647 h 89"/>
                    <a:gd name="T28" fmla="*/ 2147483647 w 89"/>
                    <a:gd name="T29" fmla="*/ 2147483647 h 89"/>
                    <a:gd name="T30" fmla="*/ 2147483647 w 89"/>
                    <a:gd name="T31" fmla="*/ 2147483647 h 89"/>
                    <a:gd name="T32" fmla="*/ 2147483647 w 89"/>
                    <a:gd name="T33" fmla="*/ 2147483647 h 89"/>
                    <a:gd name="T34" fmla="*/ 2147483647 w 89"/>
                    <a:gd name="T35" fmla="*/ 2147483647 h 89"/>
                    <a:gd name="T36" fmla="*/ 2147483647 w 89"/>
                    <a:gd name="T37" fmla="*/ 2147483647 h 89"/>
                    <a:gd name="T38" fmla="*/ 2147483647 w 89"/>
                    <a:gd name="T39" fmla="*/ 2147483647 h 89"/>
                    <a:gd name="T40" fmla="*/ 2147483647 w 89"/>
                    <a:gd name="T41" fmla="*/ 2147483647 h 89"/>
                    <a:gd name="T42" fmla="*/ 2147483647 w 89"/>
                    <a:gd name="T43" fmla="*/ 2147483647 h 89"/>
                    <a:gd name="T44" fmla="*/ 2147483647 w 89"/>
                    <a:gd name="T45" fmla="*/ 2147483647 h 89"/>
                    <a:gd name="T46" fmla="*/ 2147483647 w 89"/>
                    <a:gd name="T47" fmla="*/ 2147483647 h 89"/>
                    <a:gd name="T48" fmla="*/ 2147483647 w 89"/>
                    <a:gd name="T49" fmla="*/ 2147483647 h 89"/>
                    <a:gd name="T50" fmla="*/ 2147483647 w 89"/>
                    <a:gd name="T51" fmla="*/ 2147483647 h 89"/>
                    <a:gd name="T52" fmla="*/ 2147483647 w 89"/>
                    <a:gd name="T53" fmla="*/ 2147483647 h 89"/>
                    <a:gd name="T54" fmla="*/ 2147483647 w 89"/>
                    <a:gd name="T55" fmla="*/ 2147483647 h 89"/>
                    <a:gd name="T56" fmla="*/ 2147483647 w 89"/>
                    <a:gd name="T57" fmla="*/ 2147483647 h 89"/>
                    <a:gd name="T58" fmla="*/ 2147483647 w 89"/>
                    <a:gd name="T59" fmla="*/ 2147483647 h 89"/>
                    <a:gd name="T60" fmla="*/ 2147483647 w 89"/>
                    <a:gd name="T61" fmla="*/ 2147483647 h 89"/>
                    <a:gd name="T62" fmla="*/ 2147483647 w 89"/>
                    <a:gd name="T63" fmla="*/ 2147483647 h 89"/>
                    <a:gd name="T64" fmla="*/ 2147483647 w 89"/>
                    <a:gd name="T65" fmla="*/ 2147483647 h 89"/>
                    <a:gd name="T66" fmla="*/ 2147483647 w 89"/>
                    <a:gd name="T67" fmla="*/ 2147483647 h 89"/>
                    <a:gd name="T68" fmla="*/ 2147483647 w 89"/>
                    <a:gd name="T69" fmla="*/ 2147483647 h 89"/>
                    <a:gd name="T70" fmla="*/ 2147483647 w 89"/>
                    <a:gd name="T71" fmla="*/ 2147483647 h 89"/>
                    <a:gd name="T72" fmla="*/ 2147483647 w 89"/>
                    <a:gd name="T73" fmla="*/ 0 h 8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89"/>
                    <a:gd name="T112" fmla="*/ 0 h 89"/>
                    <a:gd name="T113" fmla="*/ 89 w 89"/>
                    <a:gd name="T114" fmla="*/ 89 h 8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89" h="89">
                      <a:moveTo>
                        <a:pt x="49" y="0"/>
                      </a:moveTo>
                      <a:lnTo>
                        <a:pt x="45" y="1"/>
                      </a:lnTo>
                      <a:lnTo>
                        <a:pt x="32" y="5"/>
                      </a:lnTo>
                      <a:lnTo>
                        <a:pt x="25" y="7"/>
                      </a:lnTo>
                      <a:lnTo>
                        <a:pt x="18" y="8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3" y="15"/>
                      </a:lnTo>
                      <a:lnTo>
                        <a:pt x="5" y="24"/>
                      </a:lnTo>
                      <a:lnTo>
                        <a:pt x="8" y="27"/>
                      </a:lnTo>
                      <a:lnTo>
                        <a:pt x="12" y="30"/>
                      </a:lnTo>
                      <a:lnTo>
                        <a:pt x="14" y="32"/>
                      </a:lnTo>
                      <a:lnTo>
                        <a:pt x="16" y="34"/>
                      </a:lnTo>
                      <a:lnTo>
                        <a:pt x="14" y="36"/>
                      </a:lnTo>
                      <a:lnTo>
                        <a:pt x="13" y="37"/>
                      </a:lnTo>
                      <a:lnTo>
                        <a:pt x="11" y="39"/>
                      </a:lnTo>
                      <a:lnTo>
                        <a:pt x="8" y="39"/>
                      </a:lnTo>
                      <a:lnTo>
                        <a:pt x="8" y="40"/>
                      </a:lnTo>
                      <a:lnTo>
                        <a:pt x="8" y="41"/>
                      </a:lnTo>
                      <a:lnTo>
                        <a:pt x="9" y="45"/>
                      </a:lnTo>
                      <a:lnTo>
                        <a:pt x="13" y="49"/>
                      </a:lnTo>
                      <a:lnTo>
                        <a:pt x="16" y="51"/>
                      </a:lnTo>
                      <a:lnTo>
                        <a:pt x="17" y="56"/>
                      </a:lnTo>
                      <a:lnTo>
                        <a:pt x="19" y="59"/>
                      </a:lnTo>
                      <a:lnTo>
                        <a:pt x="22" y="60"/>
                      </a:lnTo>
                      <a:lnTo>
                        <a:pt x="26" y="62"/>
                      </a:lnTo>
                      <a:lnTo>
                        <a:pt x="30" y="62"/>
                      </a:lnTo>
                      <a:lnTo>
                        <a:pt x="31" y="63"/>
                      </a:lnTo>
                      <a:lnTo>
                        <a:pt x="31" y="64"/>
                      </a:lnTo>
                      <a:lnTo>
                        <a:pt x="31" y="66"/>
                      </a:lnTo>
                      <a:lnTo>
                        <a:pt x="30" y="68"/>
                      </a:lnTo>
                      <a:lnTo>
                        <a:pt x="28" y="69"/>
                      </a:lnTo>
                      <a:lnTo>
                        <a:pt x="36" y="75"/>
                      </a:lnTo>
                      <a:lnTo>
                        <a:pt x="40" y="78"/>
                      </a:lnTo>
                      <a:lnTo>
                        <a:pt x="40" y="81"/>
                      </a:lnTo>
                      <a:lnTo>
                        <a:pt x="40" y="84"/>
                      </a:lnTo>
                      <a:lnTo>
                        <a:pt x="41" y="85"/>
                      </a:lnTo>
                      <a:lnTo>
                        <a:pt x="44" y="86"/>
                      </a:lnTo>
                      <a:lnTo>
                        <a:pt x="49" y="89"/>
                      </a:lnTo>
                      <a:lnTo>
                        <a:pt x="50" y="88"/>
                      </a:lnTo>
                      <a:lnTo>
                        <a:pt x="52" y="86"/>
                      </a:lnTo>
                      <a:lnTo>
                        <a:pt x="59" y="79"/>
                      </a:lnTo>
                      <a:lnTo>
                        <a:pt x="64" y="77"/>
                      </a:lnTo>
                      <a:lnTo>
                        <a:pt x="69" y="75"/>
                      </a:lnTo>
                      <a:lnTo>
                        <a:pt x="74" y="72"/>
                      </a:lnTo>
                      <a:lnTo>
                        <a:pt x="82" y="73"/>
                      </a:lnTo>
                      <a:lnTo>
                        <a:pt x="85" y="73"/>
                      </a:lnTo>
                      <a:lnTo>
                        <a:pt x="87" y="72"/>
                      </a:lnTo>
                      <a:lnTo>
                        <a:pt x="87" y="71"/>
                      </a:lnTo>
                      <a:lnTo>
                        <a:pt x="85" y="69"/>
                      </a:lnTo>
                      <a:lnTo>
                        <a:pt x="82" y="63"/>
                      </a:lnTo>
                      <a:lnTo>
                        <a:pt x="79" y="59"/>
                      </a:lnTo>
                      <a:lnTo>
                        <a:pt x="79" y="57"/>
                      </a:lnTo>
                      <a:lnTo>
                        <a:pt x="79" y="54"/>
                      </a:lnTo>
                      <a:lnTo>
                        <a:pt x="80" y="52"/>
                      </a:lnTo>
                      <a:lnTo>
                        <a:pt x="84" y="47"/>
                      </a:lnTo>
                      <a:lnTo>
                        <a:pt x="88" y="44"/>
                      </a:lnTo>
                      <a:lnTo>
                        <a:pt x="89" y="40"/>
                      </a:lnTo>
                      <a:lnTo>
                        <a:pt x="87" y="36"/>
                      </a:lnTo>
                      <a:lnTo>
                        <a:pt x="84" y="33"/>
                      </a:lnTo>
                      <a:lnTo>
                        <a:pt x="75" y="31"/>
                      </a:lnTo>
                      <a:lnTo>
                        <a:pt x="73" y="30"/>
                      </a:lnTo>
                      <a:lnTo>
                        <a:pt x="71" y="27"/>
                      </a:lnTo>
                      <a:lnTo>
                        <a:pt x="69" y="22"/>
                      </a:lnTo>
                      <a:lnTo>
                        <a:pt x="65" y="20"/>
                      </a:lnTo>
                      <a:lnTo>
                        <a:pt x="63" y="18"/>
                      </a:lnTo>
                      <a:lnTo>
                        <a:pt x="61" y="17"/>
                      </a:lnTo>
                      <a:lnTo>
                        <a:pt x="58" y="11"/>
                      </a:lnTo>
                      <a:lnTo>
                        <a:pt x="54" y="5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4" name="Freeform 1322">
                  <a:extLst>
                    <a:ext uri="{FF2B5EF4-FFF2-40B4-BE49-F238E27FC236}">
                      <a16:creationId xmlns:a16="http://schemas.microsoft.com/office/drawing/2014/main" id="{3C820D1D-D110-8B49-B8B3-D85D85B296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7940" y="2907633"/>
                  <a:ext cx="100631" cy="155386"/>
                </a:xfrm>
                <a:custGeom>
                  <a:avLst/>
                  <a:gdLst>
                    <a:gd name="T0" fmla="*/ 2147483647 w 73"/>
                    <a:gd name="T1" fmla="*/ 2147483647 h 105"/>
                    <a:gd name="T2" fmla="*/ 2147483647 w 73"/>
                    <a:gd name="T3" fmla="*/ 2147483647 h 105"/>
                    <a:gd name="T4" fmla="*/ 2147483647 w 73"/>
                    <a:gd name="T5" fmla="*/ 2147483647 h 105"/>
                    <a:gd name="T6" fmla="*/ 2147483647 w 73"/>
                    <a:gd name="T7" fmla="*/ 2147483647 h 105"/>
                    <a:gd name="T8" fmla="*/ 2147483647 w 73"/>
                    <a:gd name="T9" fmla="*/ 2147483647 h 105"/>
                    <a:gd name="T10" fmla="*/ 2147483647 w 73"/>
                    <a:gd name="T11" fmla="*/ 2147483647 h 105"/>
                    <a:gd name="T12" fmla="*/ 2147483647 w 73"/>
                    <a:gd name="T13" fmla="*/ 2147483647 h 105"/>
                    <a:gd name="T14" fmla="*/ 2147483647 w 73"/>
                    <a:gd name="T15" fmla="*/ 2147483647 h 105"/>
                    <a:gd name="T16" fmla="*/ 2147483647 w 73"/>
                    <a:gd name="T17" fmla="*/ 2147483647 h 105"/>
                    <a:gd name="T18" fmla="*/ 2147483647 w 73"/>
                    <a:gd name="T19" fmla="*/ 2147483647 h 105"/>
                    <a:gd name="T20" fmla="*/ 2147483647 w 73"/>
                    <a:gd name="T21" fmla="*/ 2147483647 h 105"/>
                    <a:gd name="T22" fmla="*/ 2147483647 w 73"/>
                    <a:gd name="T23" fmla="*/ 2147483647 h 105"/>
                    <a:gd name="T24" fmla="*/ 2147483647 w 73"/>
                    <a:gd name="T25" fmla="*/ 2147483647 h 105"/>
                    <a:gd name="T26" fmla="*/ 2147483647 w 73"/>
                    <a:gd name="T27" fmla="*/ 2147483647 h 105"/>
                    <a:gd name="T28" fmla="*/ 2147483647 w 73"/>
                    <a:gd name="T29" fmla="*/ 2147483647 h 105"/>
                    <a:gd name="T30" fmla="*/ 2147483647 w 73"/>
                    <a:gd name="T31" fmla="*/ 2147483647 h 105"/>
                    <a:gd name="T32" fmla="*/ 2147483647 w 73"/>
                    <a:gd name="T33" fmla="*/ 2147483647 h 105"/>
                    <a:gd name="T34" fmla="*/ 2147483647 w 73"/>
                    <a:gd name="T35" fmla="*/ 2147483647 h 105"/>
                    <a:gd name="T36" fmla="*/ 2147483647 w 73"/>
                    <a:gd name="T37" fmla="*/ 2147483647 h 105"/>
                    <a:gd name="T38" fmla="*/ 0 w 73"/>
                    <a:gd name="T39" fmla="*/ 2147483647 h 105"/>
                    <a:gd name="T40" fmla="*/ 2147483647 w 73"/>
                    <a:gd name="T41" fmla="*/ 2147483647 h 105"/>
                    <a:gd name="T42" fmla="*/ 2147483647 w 73"/>
                    <a:gd name="T43" fmla="*/ 2147483647 h 105"/>
                    <a:gd name="T44" fmla="*/ 2147483647 w 73"/>
                    <a:gd name="T45" fmla="*/ 2147483647 h 105"/>
                    <a:gd name="T46" fmla="*/ 2147483647 w 73"/>
                    <a:gd name="T47" fmla="*/ 2147483647 h 105"/>
                    <a:gd name="T48" fmla="*/ 2147483647 w 73"/>
                    <a:gd name="T49" fmla="*/ 2147483647 h 105"/>
                    <a:gd name="T50" fmla="*/ 2147483647 w 73"/>
                    <a:gd name="T51" fmla="*/ 2147483647 h 105"/>
                    <a:gd name="T52" fmla="*/ 2147483647 w 73"/>
                    <a:gd name="T53" fmla="*/ 2147483647 h 105"/>
                    <a:gd name="T54" fmla="*/ 2147483647 w 73"/>
                    <a:gd name="T55" fmla="*/ 2147483647 h 105"/>
                    <a:gd name="T56" fmla="*/ 2147483647 w 73"/>
                    <a:gd name="T57" fmla="*/ 2147483647 h 105"/>
                    <a:gd name="T58" fmla="*/ 2147483647 w 73"/>
                    <a:gd name="T59" fmla="*/ 0 h 105"/>
                    <a:gd name="T60" fmla="*/ 2147483647 w 73"/>
                    <a:gd name="T61" fmla="*/ 2147483647 h 105"/>
                    <a:gd name="T62" fmla="*/ 2147483647 w 73"/>
                    <a:gd name="T63" fmla="*/ 2147483647 h 105"/>
                    <a:gd name="T64" fmla="*/ 2147483647 w 73"/>
                    <a:gd name="T65" fmla="*/ 2147483647 h 105"/>
                    <a:gd name="T66" fmla="*/ 2147483647 w 73"/>
                    <a:gd name="T67" fmla="*/ 2147483647 h 105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73"/>
                    <a:gd name="T103" fmla="*/ 0 h 105"/>
                    <a:gd name="T104" fmla="*/ 73 w 73"/>
                    <a:gd name="T105" fmla="*/ 105 h 105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73" h="105">
                      <a:moveTo>
                        <a:pt x="63" y="14"/>
                      </a:moveTo>
                      <a:lnTo>
                        <a:pt x="62" y="19"/>
                      </a:lnTo>
                      <a:lnTo>
                        <a:pt x="61" y="23"/>
                      </a:lnTo>
                      <a:lnTo>
                        <a:pt x="61" y="28"/>
                      </a:lnTo>
                      <a:lnTo>
                        <a:pt x="59" y="32"/>
                      </a:lnTo>
                      <a:lnTo>
                        <a:pt x="58" y="36"/>
                      </a:lnTo>
                      <a:lnTo>
                        <a:pt x="59" y="40"/>
                      </a:lnTo>
                      <a:lnTo>
                        <a:pt x="61" y="45"/>
                      </a:lnTo>
                      <a:lnTo>
                        <a:pt x="63" y="48"/>
                      </a:lnTo>
                      <a:lnTo>
                        <a:pt x="63" y="52"/>
                      </a:lnTo>
                      <a:lnTo>
                        <a:pt x="62" y="54"/>
                      </a:lnTo>
                      <a:lnTo>
                        <a:pt x="62" y="58"/>
                      </a:lnTo>
                      <a:lnTo>
                        <a:pt x="62" y="60"/>
                      </a:lnTo>
                      <a:lnTo>
                        <a:pt x="62" y="62"/>
                      </a:lnTo>
                      <a:lnTo>
                        <a:pt x="63" y="65"/>
                      </a:lnTo>
                      <a:lnTo>
                        <a:pt x="69" y="68"/>
                      </a:lnTo>
                      <a:lnTo>
                        <a:pt x="72" y="73"/>
                      </a:lnTo>
                      <a:lnTo>
                        <a:pt x="73" y="78"/>
                      </a:lnTo>
                      <a:lnTo>
                        <a:pt x="71" y="84"/>
                      </a:lnTo>
                      <a:lnTo>
                        <a:pt x="64" y="87"/>
                      </a:lnTo>
                      <a:lnTo>
                        <a:pt x="58" y="92"/>
                      </a:lnTo>
                      <a:lnTo>
                        <a:pt x="55" y="94"/>
                      </a:lnTo>
                      <a:lnTo>
                        <a:pt x="52" y="94"/>
                      </a:lnTo>
                      <a:lnTo>
                        <a:pt x="49" y="96"/>
                      </a:lnTo>
                      <a:lnTo>
                        <a:pt x="45" y="97"/>
                      </a:lnTo>
                      <a:lnTo>
                        <a:pt x="41" y="100"/>
                      </a:lnTo>
                      <a:lnTo>
                        <a:pt x="40" y="102"/>
                      </a:lnTo>
                      <a:lnTo>
                        <a:pt x="39" y="102"/>
                      </a:lnTo>
                      <a:lnTo>
                        <a:pt x="30" y="100"/>
                      </a:lnTo>
                      <a:lnTo>
                        <a:pt x="25" y="102"/>
                      </a:lnTo>
                      <a:lnTo>
                        <a:pt x="22" y="103"/>
                      </a:lnTo>
                      <a:lnTo>
                        <a:pt x="21" y="105"/>
                      </a:lnTo>
                      <a:lnTo>
                        <a:pt x="19" y="102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7" y="99"/>
                      </a:lnTo>
                      <a:lnTo>
                        <a:pt x="5" y="99"/>
                      </a:lnTo>
                      <a:lnTo>
                        <a:pt x="3" y="98"/>
                      </a:lnTo>
                      <a:lnTo>
                        <a:pt x="1" y="94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3" y="67"/>
                      </a:lnTo>
                      <a:lnTo>
                        <a:pt x="7" y="47"/>
                      </a:lnTo>
                      <a:lnTo>
                        <a:pt x="7" y="38"/>
                      </a:lnTo>
                      <a:lnTo>
                        <a:pt x="7" y="28"/>
                      </a:lnTo>
                      <a:lnTo>
                        <a:pt x="5" y="19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11" y="7"/>
                      </a:lnTo>
                      <a:lnTo>
                        <a:pt x="14" y="6"/>
                      </a:lnTo>
                      <a:lnTo>
                        <a:pt x="16" y="7"/>
                      </a:lnTo>
                      <a:lnTo>
                        <a:pt x="22" y="9"/>
                      </a:lnTo>
                      <a:lnTo>
                        <a:pt x="25" y="10"/>
                      </a:lnTo>
                      <a:lnTo>
                        <a:pt x="26" y="10"/>
                      </a:lnTo>
                      <a:lnTo>
                        <a:pt x="28" y="10"/>
                      </a:lnTo>
                      <a:lnTo>
                        <a:pt x="30" y="9"/>
                      </a:lnTo>
                      <a:lnTo>
                        <a:pt x="36" y="4"/>
                      </a:lnTo>
                      <a:lnTo>
                        <a:pt x="43" y="1"/>
                      </a:lnTo>
                      <a:lnTo>
                        <a:pt x="45" y="0"/>
                      </a:lnTo>
                      <a:lnTo>
                        <a:pt x="49" y="0"/>
                      </a:lnTo>
                      <a:lnTo>
                        <a:pt x="53" y="1"/>
                      </a:lnTo>
                      <a:lnTo>
                        <a:pt x="55" y="3"/>
                      </a:lnTo>
                      <a:lnTo>
                        <a:pt x="57" y="6"/>
                      </a:lnTo>
                      <a:lnTo>
                        <a:pt x="55" y="7"/>
                      </a:lnTo>
                      <a:lnTo>
                        <a:pt x="50" y="10"/>
                      </a:lnTo>
                      <a:lnTo>
                        <a:pt x="49" y="10"/>
                      </a:lnTo>
                      <a:lnTo>
                        <a:pt x="50" y="12"/>
                      </a:lnTo>
                      <a:lnTo>
                        <a:pt x="52" y="13"/>
                      </a:lnTo>
                      <a:lnTo>
                        <a:pt x="63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lIns="0" tIns="0" rIns="0" bIns="0"/>
                <a:lstStyle/>
                <a:p>
                  <a:pPr defTabSz="4558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2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1342" name="Title Placeholder 2">
            <a:extLst>
              <a:ext uri="{FF2B5EF4-FFF2-40B4-BE49-F238E27FC236}">
                <a16:creationId xmlns:a16="http://schemas.microsoft.com/office/drawing/2014/main" id="{DDF5F5EF-A750-B840-B8BC-BE9AF40BD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76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close up of a mans face&#10;&#10;Description automatically generated">
            <a:extLst>
              <a:ext uri="{FF2B5EF4-FFF2-40B4-BE49-F238E27FC236}">
                <a16:creationId xmlns:a16="http://schemas.microsoft.com/office/drawing/2014/main" id="{BB5F5D15-9C2B-FE46-BCC4-7B2247C6F4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17" t="11946" b="12497"/>
          <a:stretch/>
        </p:blipFill>
        <p:spPr>
          <a:xfrm>
            <a:off x="1879660" y="1069384"/>
            <a:ext cx="10312339" cy="5181601"/>
          </a:xfrm>
          <a:prstGeom prst="rect">
            <a:avLst/>
          </a:prstGeom>
        </p:spPr>
      </p:pic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C3936D35-A8FA-F64A-8299-32B2C003C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095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eania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E694F99-F527-7242-BD2B-DB59571C72A9}"/>
              </a:ext>
            </a:extLst>
          </p:cNvPr>
          <p:cNvGrpSpPr/>
          <p:nvPr userDrawn="1"/>
        </p:nvGrpSpPr>
        <p:grpSpPr>
          <a:xfrm>
            <a:off x="4421836" y="1267968"/>
            <a:ext cx="7230637" cy="5590032"/>
            <a:chOff x="4421836" y="1267968"/>
            <a:chExt cx="7230637" cy="559003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953A63E-0ED2-C148-923C-2350FA139A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21836" y="1450847"/>
              <a:ext cx="7230637" cy="5407153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CC607E5-8FE9-014C-9A76-4B8A1D786E40}"/>
                </a:ext>
              </a:extLst>
            </p:cNvPr>
            <p:cNvSpPr/>
            <p:nvPr userDrawn="1"/>
          </p:nvSpPr>
          <p:spPr>
            <a:xfrm>
              <a:off x="8498968" y="1267968"/>
              <a:ext cx="3046856" cy="573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8DF580AB-0943-E344-AF55-CAEB08283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298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th-America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D5FF5373-F180-2448-A97C-EBC7FFDA8F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5735" y="338394"/>
            <a:ext cx="5710238" cy="592949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689C0D0E-86C9-4D40-9C45-6AD20E22D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294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 Green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chemeClr val="accent1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578BDF6-284E-134A-8699-943A0D35CD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BE6B99E-D0A3-FA40-AB24-5496567CF0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6767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th-America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BA31E09-806A-2642-AED0-7D181ACCD9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3618" y="192592"/>
            <a:ext cx="4367349" cy="643758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62BB0CBE-1561-9543-A904-ECBC40730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241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rica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EAA127-E3D5-264D-9E02-12840D6B48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35776" y="418904"/>
            <a:ext cx="5928145" cy="5957334"/>
          </a:xfrm>
          <a:prstGeom prst="rect">
            <a:avLst/>
          </a:prstGeom>
        </p:spPr>
      </p:pic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A800EFC8-CD66-764D-91B4-76FC7EDEF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38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ia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mans face&#10;&#10;Description automatically generated">
            <a:extLst>
              <a:ext uri="{FF2B5EF4-FFF2-40B4-BE49-F238E27FC236}">
                <a16:creationId xmlns:a16="http://schemas.microsoft.com/office/drawing/2014/main" id="{E7794470-5093-8446-96FF-A98FB848F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2277" y="470723"/>
            <a:ext cx="7598614" cy="5930161"/>
          </a:xfrm>
          <a:prstGeom prst="rect">
            <a:avLst/>
          </a:prstGeom>
        </p:spPr>
      </p:pic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48A4C7A4-1E1D-D34D-A545-3C5C2F58B5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047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-Map-Loca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4E227D34-F604-9540-8B4D-9891B05A9DA1}"/>
              </a:ext>
            </a:extLst>
          </p:cNvPr>
          <p:cNvSpPr txBox="1">
            <a:spLocks/>
          </p:cNvSpPr>
          <p:nvPr userDrawn="1"/>
        </p:nvSpPr>
        <p:spPr>
          <a:xfrm>
            <a:off x="11371401" y="6447511"/>
            <a:ext cx="476930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F082CF9-190D-0F48-82D9-B20FCCB943E7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1" name="Footer Placeholder 16">
            <a:extLst>
              <a:ext uri="{FF2B5EF4-FFF2-40B4-BE49-F238E27FC236}">
                <a16:creationId xmlns:a16="http://schemas.microsoft.com/office/drawing/2014/main" id="{CB3C41DF-60D9-2543-B0AD-ADA8F25A3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799CB-4765-4A43-B3BA-7BDDC394D9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4" name="Picture 3" descr="A close up of a mans face&#10;&#10;Description automatically generated">
            <a:extLst>
              <a:ext uri="{FF2B5EF4-FFF2-40B4-BE49-F238E27FC236}">
                <a16:creationId xmlns:a16="http://schemas.microsoft.com/office/drawing/2014/main" id="{67CF8C61-AD82-C843-9C32-685FE1C43F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7494" y="12595"/>
            <a:ext cx="8204505" cy="6434906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0166B5D2-2FD2-DD4D-BC8D-2AA4D71B3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339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>
            <a:extLst>
              <a:ext uri="{FF2B5EF4-FFF2-40B4-BE49-F238E27FC236}">
                <a16:creationId xmlns:a16="http://schemas.microsoft.com/office/drawing/2014/main" id="{1AC4ACBD-5FF3-4B4D-B7DF-B589E3A79EE3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3FA28-CA4E-7040-B1D6-F2ACDEF1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E4D1B1F7-1A55-9043-95B8-E9D925E81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D285065D-0462-214E-B76C-E99132D7E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612" y="1423091"/>
            <a:ext cx="5403031" cy="21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42903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im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EA7E667-3BAC-8645-9C9C-DD0F829AE148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B6666D4-CA5D-DD4D-805C-80DD6177BEC1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3FA28-CA4E-7040-B1D6-F2ACDEF1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BA06FA-92A1-DE48-BF2F-FBF8B1E50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612" y="1423091"/>
            <a:ext cx="5403031" cy="21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856E7B86-C139-434D-8373-0BEE3ED100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18962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image and panel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441C1C1-FC52-664C-BA4B-313A2BA64F69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F221E56-004E-6042-B37C-DE3B1057082E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7FDF37-B75C-7244-B37E-27DC0D8AD786}"/>
              </a:ext>
            </a:extLst>
          </p:cNvPr>
          <p:cNvSpPr/>
          <p:nvPr userDrawn="1"/>
        </p:nvSpPr>
        <p:spPr>
          <a:xfrm>
            <a:off x="9702796" y="1588350"/>
            <a:ext cx="2142000" cy="42349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FCEC092-1CDB-BC4A-B37F-9F5A0D5065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08976"/>
            <a:ext cx="4135087" cy="423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1759385"/>
            <a:ext cx="1807364" cy="38370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Intro </a:t>
            </a:r>
          </a:p>
          <a:p>
            <a:pPr lvl="0"/>
            <a:endParaRPr lang="en-GB"/>
          </a:p>
          <a:p>
            <a:pPr lvl="0"/>
            <a:r>
              <a:rPr lang="en-GB"/>
              <a:t>Tex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DC53D7A-FE48-7047-B70A-335ADA0F47E8}"/>
              </a:ext>
            </a:extLst>
          </p:cNvPr>
          <p:cNvSpPr/>
          <p:nvPr userDrawn="1"/>
        </p:nvSpPr>
        <p:spPr>
          <a:xfrm>
            <a:off x="7242430" y="1588350"/>
            <a:ext cx="2142000" cy="4234934"/>
          </a:xfrm>
          <a:prstGeom prst="rect">
            <a:avLst/>
          </a:prstGeom>
          <a:solidFill>
            <a:srgbClr val="004F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961BAA0-BE94-CB4A-967A-B29BA9A825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09748" y="1759385"/>
            <a:ext cx="1807364" cy="38370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Intro </a:t>
            </a:r>
          </a:p>
          <a:p>
            <a:pPr lvl="0"/>
            <a:endParaRPr lang="en-GB"/>
          </a:p>
          <a:p>
            <a:pPr lvl="0"/>
            <a:r>
              <a:rPr lang="en-GB"/>
              <a:t>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059EEC-3F86-AE48-995F-8A4BD2FE005F}"/>
              </a:ext>
            </a:extLst>
          </p:cNvPr>
          <p:cNvSpPr/>
          <p:nvPr userDrawn="1"/>
        </p:nvSpPr>
        <p:spPr>
          <a:xfrm>
            <a:off x="4782064" y="1588350"/>
            <a:ext cx="2142000" cy="42349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A0D383EE-E45B-2547-BEDC-CE5B1393DC2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49382" y="1759385"/>
            <a:ext cx="1807364" cy="38370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Intro </a:t>
            </a:r>
          </a:p>
          <a:p>
            <a:pPr lvl="0"/>
            <a:endParaRPr lang="en-GB"/>
          </a:p>
          <a:p>
            <a:pPr lvl="0"/>
            <a:r>
              <a:rPr lang="en-GB"/>
              <a:t>Tex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DFA95DA-CF6C-3F42-B310-82C0ECCEEB2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643D50F2-98D7-3740-B0E6-99C10B6D7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042D994E-E5B6-D741-BD0E-39A334FB0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1027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image and data -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07FFC7E-03A1-F449-8BA4-981997BD0504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7BFE4EB8-7DCE-F84A-98FE-CF7D285A465B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8F3E7A-5844-0E4C-9C24-35CDD4D99F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4AAD56E-20DA-B449-ACA9-3CA9A9C36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0E06FD-0360-8846-8982-1007FA1BD5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F55BDE-AA1A-4F4D-9B7B-D844B32A07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8C0BDF9-1E12-0C4C-BBC8-B41B8FBF1E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A6E1ACD-8FA7-F144-A96E-C66B053D8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6E61CCE-555D-3E43-8733-5627024A5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97F50EE-C3FC-8C42-8760-CFC5C05DFA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4227D89-0475-ED4D-96DB-CC2879FAF3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367A92-7E25-DE48-8F94-98883BE9E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C9B263-DC95-834D-97CA-20EA815615C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D2C3D22B-B6DA-184D-9147-F3843CC9F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08B19F7-1A3D-FD47-ADC6-CE25FE54F5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3559385"/>
            <a:ext cx="4135087" cy="2263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 text if required</a:t>
            </a:r>
          </a:p>
        </p:txBody>
      </p:sp>
      <p:sp>
        <p:nvSpPr>
          <p:cNvPr id="26" name="Title 9">
            <a:extLst>
              <a:ext uri="{FF2B5EF4-FFF2-40B4-BE49-F238E27FC236}">
                <a16:creationId xmlns:a16="http://schemas.microsoft.com/office/drawing/2014/main" id="{94A7F831-062F-B74F-A1C2-492FC2089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613" y="1413300"/>
            <a:ext cx="4135085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Insert titl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9613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1 –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07FFC7E-03A1-F449-8BA4-981997BD0504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7BFE4EB8-7DCE-F84A-98FE-CF7D285A465B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8F3E7A-5844-0E4C-9C24-35CDD4D99F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4AAD56E-20DA-B449-ACA9-3CA9A9C36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0E06FD-0360-8846-8982-1007FA1BD5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F55BDE-AA1A-4F4D-9B7B-D844B32A07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8C0BDF9-1E12-0C4C-BBC8-B41B8FBF1E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A6E1ACD-8FA7-F144-A96E-C66B053D8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6E61CCE-555D-3E43-8733-5627024A5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97F50EE-C3FC-8C42-8760-CFC5C05DFA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4227D89-0475-ED4D-96DB-CC2879FAF3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367A92-7E25-DE48-8F94-98883BE9E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C9B263-DC95-834D-97CA-20EA815615C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D2C3D22B-B6DA-184D-9147-F3843CC9F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9E7640-02CE-4C44-9B07-239ED1C982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3559385"/>
            <a:ext cx="4135087" cy="2263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 text if required</a:t>
            </a:r>
          </a:p>
        </p:txBody>
      </p:sp>
      <p:sp>
        <p:nvSpPr>
          <p:cNvPr id="27" name="Title 9">
            <a:extLst>
              <a:ext uri="{FF2B5EF4-FFF2-40B4-BE49-F238E27FC236}">
                <a16:creationId xmlns:a16="http://schemas.microsoft.com/office/drawing/2014/main" id="{F63C6894-34F8-7349-AC06-8B48538B5F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613" y="1413300"/>
            <a:ext cx="4135085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Insert titl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9416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1 –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F1F9E541-326E-0945-96F4-A93AF20BCD2E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573DA5B1-C1DC-6F49-8C60-DB0949F93B8C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8F3E7A-5844-0E4C-9C24-35CDD4D99F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4AAD56E-20DA-B449-ACA9-3CA9A9C36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0E06FD-0360-8846-8982-1007FA1BD5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F55BDE-AA1A-4F4D-9B7B-D844B32A07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8C0BDF9-1E12-0C4C-BBC8-B41B8FBF1E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A6E1ACD-8FA7-F144-A96E-C66B053D8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6E61CCE-555D-3E43-8733-5627024A5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97F50EE-C3FC-8C42-8760-CFC5C05DFA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4227D89-0475-ED4D-96DB-CC2879FAF3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367A92-7E25-DE48-8F94-98883BE9E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F1A6EE-86E7-9F4B-B7FA-B017605498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5FC9C9CD-08C3-9D4C-9ADF-059B2F444D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B8162DA-A777-254E-B3C4-540D30F744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3559385"/>
            <a:ext cx="4135087" cy="2263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 text if required</a:t>
            </a:r>
          </a:p>
        </p:txBody>
      </p:sp>
      <p:sp>
        <p:nvSpPr>
          <p:cNvPr id="27" name="Title 9">
            <a:extLst>
              <a:ext uri="{FF2B5EF4-FFF2-40B4-BE49-F238E27FC236}">
                <a16:creationId xmlns:a16="http://schemas.microsoft.com/office/drawing/2014/main" id="{F902332C-E1F6-5947-B6B4-1FF3C3E87E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613" y="1413300"/>
            <a:ext cx="4135085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Insert titl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5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 Green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chemeClr val="accent1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F3A5A77-4D07-B644-89D0-752F3E833C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6718607-6582-8A4C-A924-0D5847E5CF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75822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1 –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7A532EA-21ED-F947-A920-95D2ABFDD37D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1D512E0C-21F9-2E4A-A6D9-28C63EBFDCBD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FCEC092-1CDB-BC4A-B37F-9F5A0D5065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3559385"/>
            <a:ext cx="4135087" cy="2263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 text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8F3E7A-5844-0E4C-9C24-35CDD4D99F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4AAD56E-20DA-B449-ACA9-3CA9A9C365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0E06FD-0360-8846-8982-1007FA1BD5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F55BDE-AA1A-4F4D-9B7B-D844B32A07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8C0BDF9-1E12-0C4C-BBC8-B41B8FBF1E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A6E1ACD-8FA7-F144-A96E-C66B053D8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6E61CCE-555D-3E43-8733-5627024A5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97F50EE-C3FC-8C42-8760-CFC5C05DFA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4227D89-0475-ED4D-96DB-CC2879FAF3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367A92-7E25-DE48-8F94-98883BE9E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8A530B-E764-F447-B74F-AA3C0A0E024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365E619E-71BA-6F4F-A219-7D92D6CCB1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itle 9">
            <a:extLst>
              <a:ext uri="{FF2B5EF4-FFF2-40B4-BE49-F238E27FC236}">
                <a16:creationId xmlns:a16="http://schemas.microsoft.com/office/drawing/2014/main" id="{F7F77662-CF86-1347-9403-B83B5A55B5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613" y="1413300"/>
            <a:ext cx="4135085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Insert titl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1272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2 –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E27465C-F145-6344-8A0C-12F933152B59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DDBA52F8-037B-C44B-A3D9-B1D99562FCD6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3FA28-CA4E-7040-B1D6-F2ACDEF1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26ED5-84F6-A343-8352-E497469441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959F889-D641-D842-B615-C1DBCB73F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63C732-834B-AF4D-943B-32B32C6E3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3173E60-AA0E-6F43-9C77-007F3905E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50A250-027A-1345-98F8-DAA522D277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A429B3-6B61-BC43-9DC4-C47D059B59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19FA0BB-0FC1-4A42-9852-7B94A17112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09748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9450E4-DCE3-1146-8908-A181C0A45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70114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E08771F-1B03-B747-9C70-AC1DB99759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2FC3158-85A0-844B-BAD0-A5E72AFB3E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6896693D-E336-BF45-BE06-F00E4FA27B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CF6511E1-A52F-E440-ADD1-C039A2E25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422825"/>
            <a:ext cx="4168550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539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2 –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082CA0D-D12B-7B45-81F3-AD404FD4BA93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BC4F7555-1E23-0841-90C6-10695D7150AE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3FA28-CA4E-7040-B1D6-F2ACDEF1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26ED5-84F6-A343-8352-E497469441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959F889-D641-D842-B615-C1DBCB73F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63C732-834B-AF4D-943B-32B32C6E3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3173E60-AA0E-6F43-9C77-007F3905E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50A250-027A-1345-98F8-DAA522D277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A429B3-6B61-BC43-9DC4-C47D059B59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19FA0BB-0FC1-4A42-9852-7B94A17112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09748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9450E4-DCE3-1146-8908-A181C0A45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70114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E08771F-1B03-B747-9C70-AC1DB99759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2FC3158-85A0-844B-BAD0-A5E72AFB3E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4F0386F7-B5C1-9B4F-876E-7F2BE2FE18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0FFE0423-D80E-E047-85E0-085BC9F42E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422825"/>
            <a:ext cx="4168550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20568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2 –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082CA0D-D12B-7B45-81F3-AD404FD4BA93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BC4F7555-1E23-0841-90C6-10695D7150AE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3FA28-CA4E-7040-B1D6-F2ACDEF1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26ED5-84F6-A343-8352-E497469441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959F889-D641-D842-B615-C1DBCB73F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63C732-834B-AF4D-943B-32B32C6E3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3173E60-AA0E-6F43-9C77-007F3905E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50A250-027A-1345-98F8-DAA522D277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A429B3-6B61-BC43-9DC4-C47D059B59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19FA0BB-0FC1-4A42-9852-7B94A17112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09748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9450E4-DCE3-1146-8908-A181C0A45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70114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E08771F-1B03-B747-9C70-AC1DB99759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2FC3158-85A0-844B-BAD0-A5E72AFB3E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4F0386F7-B5C1-9B4F-876E-7F2BE2FE18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D4D9F846-145F-DD45-8B87-A7F9C423B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422825"/>
            <a:ext cx="4168550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85174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key data 2 –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082CA0D-D12B-7B45-81F3-AD404FD4BA93}"/>
              </a:ext>
            </a:extLst>
          </p:cNvPr>
          <p:cNvSpPr/>
          <p:nvPr userDrawn="1"/>
        </p:nvSpPr>
        <p:spPr>
          <a:xfrm>
            <a:off x="0" y="0"/>
            <a:ext cx="7162800" cy="632777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BC4F7555-1E23-0841-90C6-10695D7150AE}"/>
              </a:ext>
            </a:extLst>
          </p:cNvPr>
          <p:cNvSpPr/>
          <p:nvPr userDrawn="1"/>
        </p:nvSpPr>
        <p:spPr>
          <a:xfrm>
            <a:off x="0" y="6327776"/>
            <a:ext cx="12192000" cy="530224"/>
          </a:xfrm>
          <a:custGeom>
            <a:avLst/>
            <a:gdLst>
              <a:gd name="connsiteX0" fmla="*/ 328613 w 12192000"/>
              <a:gd name="connsiteY0" fmla="*/ 119735 h 530224"/>
              <a:gd name="connsiteX1" fmla="*/ 328613 w 12192000"/>
              <a:gd name="connsiteY1" fmla="*/ 417871 h 530224"/>
              <a:gd name="connsiteX2" fmla="*/ 1146081 w 12192000"/>
              <a:gd name="connsiteY2" fmla="*/ 417871 h 530224"/>
              <a:gd name="connsiteX3" fmla="*/ 1146081 w 12192000"/>
              <a:gd name="connsiteY3" fmla="*/ 119735 h 530224"/>
              <a:gd name="connsiteX4" fmla="*/ 0 w 12192000"/>
              <a:gd name="connsiteY4" fmla="*/ 0 h 530224"/>
              <a:gd name="connsiteX5" fmla="*/ 12192000 w 12192000"/>
              <a:gd name="connsiteY5" fmla="*/ 0 h 530224"/>
              <a:gd name="connsiteX6" fmla="*/ 12192000 w 12192000"/>
              <a:gd name="connsiteY6" fmla="*/ 530224 h 530224"/>
              <a:gd name="connsiteX7" fmla="*/ 0 w 12192000"/>
              <a:gd name="connsiteY7" fmla="*/ 530224 h 530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30224">
                <a:moveTo>
                  <a:pt x="328613" y="119735"/>
                </a:moveTo>
                <a:lnTo>
                  <a:pt x="328613" y="417871"/>
                </a:lnTo>
                <a:lnTo>
                  <a:pt x="1146081" y="417871"/>
                </a:lnTo>
                <a:lnTo>
                  <a:pt x="1146081" y="1197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30224"/>
                </a:lnTo>
                <a:lnTo>
                  <a:pt x="0" y="5302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23FA28-CA4E-7040-B1D6-F2ACDEF10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26ED5-84F6-A343-8352-E497469441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959F889-D641-D842-B615-C1DBCB73F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63C732-834B-AF4D-943B-32B32C6E3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3173E60-AA0E-6F43-9C77-007F3905E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50A250-027A-1345-98F8-DAA522D277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A429B3-6B61-BC43-9DC4-C47D059B59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19FA0BB-0FC1-4A42-9852-7B94A17112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09748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79450E4-DCE3-1146-8908-A181C0A45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70114" y="1759384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E08771F-1B03-B747-9C70-AC1DB99759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2FC3158-85A0-844B-BAD0-A5E72AFB3E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50"/>
              </a:lnSpc>
              <a:spcBef>
                <a:spcPts val="0"/>
              </a:spcBef>
              <a:spcAft>
                <a:spcPts val="250"/>
              </a:spcAft>
              <a:buNone/>
              <a:defRPr sz="2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Call-out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4F0386F7-B5C1-9B4F-876E-7F2BE2FE18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299B1A7B-405D-224B-BD0B-863EB5DE3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422825"/>
            <a:ext cx="4168550" cy="21420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6000"/>
            </a:lvl1pPr>
          </a:lstStyle>
          <a:p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5629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- Mid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rgbClr val="004F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9BE8B1-AA58-7B48-ABD8-DFBB2EA78B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BA7C4D-7A56-7049-B980-A20CA79EB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2155CD0A-5747-914B-A899-258177744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518B3D9-9D89-6341-9612-798ACC785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504062"/>
            <a:ext cx="5474045" cy="1419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65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F013D1-9544-7441-9CC9-BE24C053E0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7014" y="1485012"/>
            <a:ext cx="5123302" cy="4845938"/>
          </a:xfrm>
          <a:prstGeom prst="rect">
            <a:avLst/>
          </a:prstGeom>
        </p:spPr>
        <p:txBody>
          <a:bodyPr lIns="0" tIns="46800" rIns="0" bIns="0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8432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-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9BE8B1-AA58-7B48-ABD8-DFBB2EA78B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BA7C4D-7A56-7049-B980-A20CA79EB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2155CD0A-5747-914B-A899-258177744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50BB77D-F89B-4E42-B54E-34D2498BF3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504062"/>
            <a:ext cx="5474045" cy="1419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65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AECE507-4CDB-C841-9B08-A3FB2D37C1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7014" y="1485012"/>
            <a:ext cx="5123302" cy="4845938"/>
          </a:xfrm>
          <a:prstGeom prst="rect">
            <a:avLst/>
          </a:prstGeom>
        </p:spPr>
        <p:txBody>
          <a:bodyPr lIns="0" tIns="46800" rIns="0" bIns="0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0701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- Light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9BE8B1-AA58-7B48-ABD8-DFBB2EA78B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BA7C4D-7A56-7049-B980-A20CA79EB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2155CD0A-5747-914B-A899-258177744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2895D5C-FF27-B548-BD8A-DFA4B024D2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504062"/>
            <a:ext cx="5474045" cy="1419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65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92D0C12-347D-EC48-8FDA-A7F3BA28AE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7014" y="1485012"/>
            <a:ext cx="5123302" cy="4845938"/>
          </a:xfrm>
          <a:prstGeom prst="rect">
            <a:avLst/>
          </a:prstGeom>
        </p:spPr>
        <p:txBody>
          <a:bodyPr lIns="0" tIns="46800" rIns="0" bIns="0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2198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9BE8B1-AA58-7B48-ABD8-DFBB2EA78B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12664CF-67F7-9448-BFEF-EF1B0746B2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504062"/>
            <a:ext cx="5474045" cy="1419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65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C7F0B22-A3FF-3546-AC41-71D7BF42E4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7014" y="1485012"/>
            <a:ext cx="5123302" cy="4845938"/>
          </a:xfrm>
          <a:prstGeom prst="rect">
            <a:avLst/>
          </a:prstGeom>
        </p:spPr>
        <p:txBody>
          <a:bodyPr lIns="0" tIns="46800" rIns="0" bIns="0"/>
          <a:lstStyle>
            <a:lvl1pPr marL="0" indent="0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2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BA7C4D-7A56-7049-B980-A20CA79EB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2155CD0A-5747-914B-A899-258177744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79249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ro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64D7FD9B-97F6-9E49-9A3A-D7428F24F78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AD8BB39-6F53-8B43-AAFF-CF26BDD5F4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64400" y="0"/>
            <a:ext cx="4064400" cy="632777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DB41FC3-DD50-C04E-8963-CF5706F350E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B819C7F-D171-D145-B6CD-21AA49AC6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5944953-F7C5-7249-81FD-9BA6827994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5" y="1504062"/>
            <a:ext cx="3464158" cy="1419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65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1990559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8 Purple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chemeClr val="accent5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820FC23-74EE-904B-BBCB-91C71A2C72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C40971-30C6-6346-B415-B30F79F036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30245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8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061633" y="541339"/>
            <a:ext cx="9154584" cy="18827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bIns="36000"/>
          <a:lstStyle>
            <a:lvl1pPr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  <a:endParaRPr lang="en-AU" altLang="en-US" noProof="0"/>
          </a:p>
        </p:txBody>
      </p:sp>
      <p:sp>
        <p:nvSpPr>
          <p:cNvPr id="5427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2061633" y="2428875"/>
            <a:ext cx="9154584" cy="7127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/>
          <a:lstStyle>
            <a:lvl1pPr>
              <a:spcBef>
                <a:spcPct val="0"/>
              </a:spcBef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  <a:endParaRPr lang="en-AU" altLang="en-US" noProof="0"/>
          </a:p>
        </p:txBody>
      </p:sp>
      <p:pic>
        <p:nvPicPr>
          <p:cNvPr id="54283" name="Picture Placeholder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" b="-406"/>
          <a:stretch>
            <a:fillRect/>
          </a:stretch>
        </p:blipFill>
        <p:spPr bwMode="auto">
          <a:xfrm>
            <a:off x="512234" y="295276"/>
            <a:ext cx="54610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21"/>
          <p:cNvCxnSpPr/>
          <p:nvPr/>
        </p:nvCxnSpPr>
        <p:spPr>
          <a:xfrm>
            <a:off x="1619251" y="295275"/>
            <a:ext cx="0" cy="2846388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6369315"/>
      </p:ext>
    </p:extLst>
  </p:cSld>
  <p:clrMapOvr>
    <a:masterClrMapping/>
  </p:clrMapOvr>
  <p:hf hdr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049000" y="6496050"/>
            <a:ext cx="823384" cy="2984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D439D-8B01-47E4-B81F-96B25D9ECB51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1049868" y="6496050"/>
            <a:ext cx="2417233" cy="298450"/>
          </a:xfrm>
        </p:spPr>
        <p:txBody>
          <a:bodyPr/>
          <a:lstStyle>
            <a:lvl1pPr>
              <a:defRPr/>
            </a:lvl1pPr>
          </a:lstStyle>
          <a:p>
            <a:fld id="{E41163E8-DE1D-4A23-A451-638C7FE4F902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07828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ED146-D7D9-4CEA-8147-DE5CCDC26211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DAA34A98-E21F-41F3-8C2D-D945BCADF6CC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4362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1985" y="1630363"/>
            <a:ext cx="52959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1084" y="1630363"/>
            <a:ext cx="5298016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8AD480-5B50-4FBD-A6C8-9F6245EFFE18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03D4B247-C725-4B7E-BB24-CAAA7C54C979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39209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304F46-1334-4154-9D92-A090C0F321F9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0904382E-4B6C-494A-80B5-F9D15575F232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1922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E1F88-E081-4D3A-ADDF-06CFDDDEE6A2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01DAB8C3-31DE-4236-BBDC-6C55A7353049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5298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8F1E75-A531-4422-8972-4B91D9998581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22F572A-F1B6-47F1-9217-7DAE5849607D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3097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9799F8-A120-4794-B801-D7C8746174CB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42312BF3-9869-4D13-B193-7AA3266672DB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36202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238E97-D6A0-43F5-B1B2-3B3313AC029B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450FF477-1BDC-4C14-898F-E61015D7C00C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5398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5F2227-3F40-41CD-B5D7-BBF55BED20C6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DA523303-69E8-49C8-988C-46D0BDB1FC85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8402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8 Purple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chemeClr val="accent5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AB7CC5D-133C-4A44-AF0F-E85F6A8BB2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59D3878-81AA-3549-81B4-677DF4ACE4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5159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04351" y="298451"/>
            <a:ext cx="2783416" cy="61896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49867" y="298451"/>
            <a:ext cx="8151284" cy="61896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E9A3DC-E006-4E99-95ED-2CB3F23645A2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D6905102-39AE-4421-8D22-F5C7325D8A93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02486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49867" y="298450"/>
            <a:ext cx="11137900" cy="9413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051985" y="1630363"/>
            <a:ext cx="10797116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049000" y="6496050"/>
            <a:ext cx="823384" cy="2984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D439D-8B01-47E4-B81F-96B25D9ECB51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157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4" y="1166781"/>
            <a:ext cx="109728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84" y="1563329"/>
            <a:ext cx="10972800" cy="482635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8" y="59157"/>
            <a:ext cx="10977033" cy="1002979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0853810" y="6575425"/>
            <a:ext cx="730711" cy="1285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39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" r="-406"/>
          <a:stretch/>
        </p:blipFill>
        <p:spPr>
          <a:xfrm rot="5400000">
            <a:off x="-207907" y="1015565"/>
            <a:ext cx="1986284" cy="545705"/>
          </a:xfrm>
          <a:prstGeom prst="rect">
            <a:avLst/>
          </a:prstGeom>
        </p:spPr>
      </p:pic>
      <p:sp>
        <p:nvSpPr>
          <p:cNvPr id="20" name="Picture Placeholder 19"/>
          <p:cNvSpPr>
            <a:spLocks noGrp="1"/>
          </p:cNvSpPr>
          <p:nvPr>
            <p:ph type="pic" sz="quarter" idx="11"/>
          </p:nvPr>
        </p:nvSpPr>
        <p:spPr>
          <a:xfrm>
            <a:off x="0" y="3430589"/>
            <a:ext cx="12192000" cy="3062286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7" name="TextBox 6"/>
          <p:cNvSpPr txBox="1"/>
          <p:nvPr/>
        </p:nvSpPr>
        <p:spPr>
          <a:xfrm>
            <a:off x="-662517" y="4016906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>
              <a:solidFill>
                <a:srgbClr val="646464"/>
              </a:solidFill>
              <a:latin typeface="Arial"/>
              <a:ea typeface="+mn-ea"/>
              <a:cs typeface="+mn-cs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618359" y="295277"/>
            <a:ext cx="0" cy="2846387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065867" y="545910"/>
            <a:ext cx="9159300" cy="1882560"/>
          </a:xfrm>
        </p:spPr>
        <p:txBody>
          <a:bodyPr bIns="36000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065866" y="2428471"/>
            <a:ext cx="9159300" cy="713193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 algn="l"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>
          <a:xfrm>
            <a:off x="2194953" y="202934"/>
            <a:ext cx="5844147" cy="342976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>
              <a:solidFill>
                <a:srgbClr val="646464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 userDrawn="1"/>
        </p:nvSpPr>
        <p:spPr>
          <a:xfrm>
            <a:off x="446151" y="6457950"/>
            <a:ext cx="7416800" cy="8001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>
            <a:lvl1pPr marL="41669" indent="0" algn="l" defTabSz="68574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24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14298" indent="-172629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5736" indent="-172629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13" indent="-128579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2890" indent="-133341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1468" indent="-129770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69" indent="0" algn="l" defTabSz="685749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9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41669" indent="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3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669" indent="0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solidFill>
                  <a:prstClr val="white">
                    <a:lumMod val="50000"/>
                  </a:prstClr>
                </a:solidFill>
                <a:latin typeface="Arial"/>
              </a:rPr>
              <a:t>Accentur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794163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dirty="0"/>
              <a:t>Rio Tinto Example slides  |  2021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C7A64-3E47-CA41-B6B6-207A8B438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4F8C0437-2C48-A841-B88F-0018B1A674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10AE6657-4DDE-5143-AD2D-EC2D9DB033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2" y="401638"/>
            <a:ext cx="1098285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3605173-DE60-8A47-9125-B6D198CC92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8872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DD54F7-F807-485E-9E91-1B0DD17821A9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 dirty="0">
                <a:solidFill>
                  <a:schemeClr val="tx1">
                    <a:alpha val="75000"/>
                  </a:schemeClr>
                </a:solidFill>
              </a:rPr>
              <a:t>Copyright © 2022 Accenture. All rights reserved. Confidential. </a:t>
            </a:r>
            <a:endParaRPr lang="en-AU" noProof="0" dirty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9967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roup 82">
            <a:extLst>
              <a:ext uri="{FF2B5EF4-FFF2-40B4-BE49-F238E27FC236}">
                <a16:creationId xmlns:a16="http://schemas.microsoft.com/office/drawing/2014/main" id="{A882BB5A-EE5E-4F8D-B177-04B666D7AC97}"/>
              </a:ext>
            </a:extLst>
          </p:cNvPr>
          <p:cNvGrpSpPr/>
          <p:nvPr userDrawn="1"/>
        </p:nvGrpSpPr>
        <p:grpSpPr>
          <a:xfrm>
            <a:off x="0" y="0"/>
            <a:ext cx="2515064" cy="6857999"/>
            <a:chOff x="0" y="0"/>
            <a:chExt cx="2515064" cy="6857999"/>
          </a:xfrm>
        </p:grpSpPr>
        <p:sp>
          <p:nvSpPr>
            <p:cNvPr id="84" name="Rectangle">
              <a:extLst>
                <a:ext uri="{FF2B5EF4-FFF2-40B4-BE49-F238E27FC236}">
                  <a16:creationId xmlns:a16="http://schemas.microsoft.com/office/drawing/2014/main" id="{7CC83D82-9637-40C7-94ED-DADADBDD9B64}"/>
                </a:ext>
              </a:extLst>
            </p:cNvPr>
            <p:cNvSpPr/>
            <p:nvPr userDrawn="1"/>
          </p:nvSpPr>
          <p:spPr>
            <a:xfrm flipH="1">
              <a:off x="0" y="0"/>
              <a:ext cx="2515064" cy="6857999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2">
                    <a:lumMod val="75000"/>
                  </a:schemeClr>
                </a:gs>
                <a:gs pos="33000">
                  <a:schemeClr val="accent2"/>
                </a:gs>
              </a:gsLst>
              <a:lin ang="16200000" scaled="1"/>
              <a:tileRect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1148754" hangingPunct="0">
                <a:spcBef>
                  <a:spcPts val="600"/>
                </a:spcBef>
                <a:defRPr>
                  <a:solidFill>
                    <a:srgbClr val="FFFFFF"/>
                  </a:solidFill>
                </a:defRPr>
              </a:pPr>
              <a:endParaRPr kern="0">
                <a:solidFill>
                  <a:schemeClr val="bg1"/>
                </a:solidFill>
                <a:latin typeface="Segoe UI"/>
                <a:cs typeface="Segoe UI"/>
                <a:sym typeface="Segoe UI"/>
              </a:endParaRPr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FE208ED9-2C63-40A2-AD27-C4CE20EC3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4697" y="5933769"/>
              <a:ext cx="1765670" cy="648000"/>
            </a:xfrm>
            <a:prstGeom prst="rect">
              <a:avLst/>
            </a:prstGeom>
          </p:spPr>
        </p:pic>
      </p:grpSp>
      <p:sp>
        <p:nvSpPr>
          <p:cNvPr id="4" name="Rectangle">
            <a:extLst>
              <a:ext uri="{FF2B5EF4-FFF2-40B4-BE49-F238E27FC236}">
                <a16:creationId xmlns:a16="http://schemas.microsoft.com/office/drawing/2014/main" id="{DA3A02CB-7100-004B-8DB3-8B653682072B}"/>
              </a:ext>
            </a:extLst>
          </p:cNvPr>
          <p:cNvSpPr/>
          <p:nvPr userDrawn="1"/>
        </p:nvSpPr>
        <p:spPr>
          <a:xfrm flipH="1">
            <a:off x="2505143" y="3920"/>
            <a:ext cx="9695170" cy="685799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t">
            <a:noAutofit/>
          </a:bodyPr>
          <a:lstStyle/>
          <a:p>
            <a:pPr defTabSz="1148754" hangingPunct="0">
              <a:spcBef>
                <a:spcPts val="600"/>
              </a:spcBef>
              <a:defRPr>
                <a:solidFill>
                  <a:srgbClr val="FFFFFF"/>
                </a:solidFill>
              </a:defRPr>
            </a:pPr>
            <a:endParaRPr kern="0">
              <a:solidFill>
                <a:schemeClr val="bg1"/>
              </a:solidFill>
              <a:latin typeface="Segoe UI"/>
              <a:cs typeface="Segoe UI"/>
              <a:sym typeface="Segoe U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83B4BB-4B39-C84B-96B3-9B65B8A65F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97" y="5933769"/>
            <a:ext cx="1765670" cy="648000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772A8BC6-A6E2-4248-B68F-A2A5FCDE253C}"/>
              </a:ext>
            </a:extLst>
          </p:cNvPr>
          <p:cNvGrpSpPr/>
          <p:nvPr userDrawn="1"/>
        </p:nvGrpSpPr>
        <p:grpSpPr>
          <a:xfrm>
            <a:off x="11554800" y="508439"/>
            <a:ext cx="180000" cy="180000"/>
            <a:chOff x="9558971" y="508439"/>
            <a:chExt cx="180000" cy="1800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E3B086C-D555-4159-A2AB-8F1FF7189F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558971" y="508439"/>
              <a:ext cx="180000" cy="180000"/>
            </a:xfrm>
            <a:prstGeom prst="ellipse">
              <a:avLst/>
            </a:prstGeom>
            <a:noFill/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29009BD-09CB-4261-927C-BDCDA51470ED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612971" y="562439"/>
              <a:ext cx="72000" cy="72000"/>
              <a:chOff x="3978485" y="2836028"/>
              <a:chExt cx="108000" cy="108000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56FB8BC-189C-4349-8BAD-62758372A9F1}"/>
                  </a:ext>
                </a:extLst>
              </p:cNvPr>
              <p:cNvCxnSpPr/>
              <p:nvPr userDrawn="1"/>
            </p:nvCxnSpPr>
            <p:spPr>
              <a:xfrm>
                <a:off x="4032485" y="2836028"/>
                <a:ext cx="0" cy="10800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DAF6D0E-84FE-4EC7-A2BE-BBF211D303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978485" y="2890028"/>
                <a:ext cx="10800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ACBF95A-47D6-4072-87E5-3B4890EE6706}"/>
              </a:ext>
            </a:extLst>
          </p:cNvPr>
          <p:cNvGrpSpPr/>
          <p:nvPr userDrawn="1"/>
        </p:nvGrpSpPr>
        <p:grpSpPr>
          <a:xfrm>
            <a:off x="3313937" y="724096"/>
            <a:ext cx="3702005" cy="45719"/>
            <a:chOff x="2346961" y="1397852"/>
            <a:chExt cx="8420863" cy="36000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E3EF272-A56A-4A3B-B8E5-2FC133CAB49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346961" y="1415852"/>
              <a:ext cx="8420863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65000"/>
                </a:srgbClr>
              </a:solidFill>
              <a:prstDash val="solid"/>
            </a:ln>
            <a:effectLst/>
          </p:spPr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D9A55B7-9375-4E7D-84D9-4CAC53816667}"/>
                </a:ext>
              </a:extLst>
            </p:cNvPr>
            <p:cNvSpPr/>
            <p:nvPr userDrawn="1"/>
          </p:nvSpPr>
          <p:spPr>
            <a:xfrm>
              <a:off x="2444679" y="1397852"/>
              <a:ext cx="504000" cy="36000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7168C7D-EC51-4AAA-952B-9E89C52D84D1}"/>
              </a:ext>
            </a:extLst>
          </p:cNvPr>
          <p:cNvGrpSpPr/>
          <p:nvPr userDrawn="1"/>
        </p:nvGrpSpPr>
        <p:grpSpPr>
          <a:xfrm>
            <a:off x="2831654" y="418439"/>
            <a:ext cx="432000" cy="432000"/>
            <a:chOff x="8851900" y="-1778000"/>
            <a:chExt cx="432000" cy="432000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C42CCD0-6A67-47EB-851F-4D05092768B5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962149" y="-1706000"/>
              <a:ext cx="211503" cy="288000"/>
              <a:chOff x="6935208" y="2885475"/>
              <a:chExt cx="200907" cy="273571"/>
            </a:xfrm>
          </p:grpSpPr>
          <p:sp>
            <p:nvSpPr>
              <p:cNvPr id="49" name="Freeform 268">
                <a:extLst>
                  <a:ext uri="{FF2B5EF4-FFF2-40B4-BE49-F238E27FC236}">
                    <a16:creationId xmlns:a16="http://schemas.microsoft.com/office/drawing/2014/main" id="{015C78BE-A4AF-48D7-98C1-9402D613C6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5208" y="2885475"/>
                <a:ext cx="200907" cy="273571"/>
              </a:xfrm>
              <a:custGeom>
                <a:avLst/>
                <a:gdLst/>
                <a:ahLst/>
                <a:cxnLst>
                  <a:cxn ang="0">
                    <a:pos x="47" y="120"/>
                  </a:cxn>
                  <a:cxn ang="0">
                    <a:pos x="40" y="155"/>
                  </a:cxn>
                  <a:cxn ang="0">
                    <a:pos x="100" y="111"/>
                  </a:cxn>
                  <a:cxn ang="0">
                    <a:pos x="121" y="61"/>
                  </a:cxn>
                  <a:cxn ang="0">
                    <a:pos x="61" y="0"/>
                  </a:cxn>
                  <a:cxn ang="0">
                    <a:pos x="0" y="61"/>
                  </a:cxn>
                  <a:cxn ang="0">
                    <a:pos x="29" y="112"/>
                  </a:cxn>
                </a:cxnLst>
                <a:rect l="0" t="0" r="r" b="b"/>
                <a:pathLst>
                  <a:path w="121" h="155">
                    <a:moveTo>
                      <a:pt x="47" y="120"/>
                    </a:moveTo>
                    <a:cubicBezTo>
                      <a:pt x="40" y="155"/>
                      <a:pt x="40" y="155"/>
                      <a:pt x="40" y="155"/>
                    </a:cubicBezTo>
                    <a:cubicBezTo>
                      <a:pt x="40" y="155"/>
                      <a:pt x="86" y="125"/>
                      <a:pt x="100" y="111"/>
                    </a:cubicBezTo>
                    <a:cubicBezTo>
                      <a:pt x="110" y="101"/>
                      <a:pt x="121" y="87"/>
                      <a:pt x="121" y="61"/>
                    </a:cubicBezTo>
                    <a:cubicBezTo>
                      <a:pt x="121" y="27"/>
                      <a:pt x="94" y="0"/>
                      <a:pt x="61" y="0"/>
                    </a:cubicBezTo>
                    <a:cubicBezTo>
                      <a:pt x="27" y="0"/>
                      <a:pt x="0" y="27"/>
                      <a:pt x="0" y="61"/>
                    </a:cubicBezTo>
                    <a:cubicBezTo>
                      <a:pt x="0" y="82"/>
                      <a:pt x="11" y="101"/>
                      <a:pt x="29" y="112"/>
                    </a:cubicBezTo>
                  </a:path>
                </a:pathLst>
              </a:custGeom>
              <a:noFill/>
              <a:ln w="95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69">
                <a:extLst>
                  <a:ext uri="{FF2B5EF4-FFF2-40B4-BE49-F238E27FC236}">
                    <a16:creationId xmlns:a16="http://schemas.microsoft.com/office/drawing/2014/main" id="{C80C216E-7288-4EAC-BC70-34991A836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5435" y="2922911"/>
                <a:ext cx="107241" cy="162703"/>
              </a:xfrm>
              <a:custGeom>
                <a:avLst/>
                <a:gdLst/>
                <a:ahLst/>
                <a:cxnLst>
                  <a:cxn ang="0">
                    <a:pos x="65" y="66"/>
                  </a:cxn>
                  <a:cxn ang="0">
                    <a:pos x="42" y="39"/>
                  </a:cxn>
                  <a:cxn ang="0">
                    <a:pos x="51" y="21"/>
                  </a:cxn>
                  <a:cxn ang="0">
                    <a:pos x="34" y="0"/>
                  </a:cxn>
                  <a:cxn ang="0">
                    <a:pos x="17" y="21"/>
                  </a:cxn>
                  <a:cxn ang="0">
                    <a:pos x="27" y="39"/>
                  </a:cxn>
                  <a:cxn ang="0">
                    <a:pos x="0" y="93"/>
                  </a:cxn>
                </a:cxnLst>
                <a:rect l="0" t="0" r="r" b="b"/>
                <a:pathLst>
                  <a:path w="65" h="93">
                    <a:moveTo>
                      <a:pt x="65" y="66"/>
                    </a:moveTo>
                    <a:cubicBezTo>
                      <a:pt x="60" y="52"/>
                      <a:pt x="56" y="45"/>
                      <a:pt x="42" y="39"/>
                    </a:cubicBezTo>
                    <a:cubicBezTo>
                      <a:pt x="46" y="35"/>
                      <a:pt x="51" y="28"/>
                      <a:pt x="51" y="21"/>
                    </a:cubicBezTo>
                    <a:cubicBezTo>
                      <a:pt x="51" y="8"/>
                      <a:pt x="44" y="0"/>
                      <a:pt x="34" y="0"/>
                    </a:cubicBezTo>
                    <a:cubicBezTo>
                      <a:pt x="25" y="0"/>
                      <a:pt x="17" y="8"/>
                      <a:pt x="17" y="21"/>
                    </a:cubicBezTo>
                    <a:cubicBezTo>
                      <a:pt x="17" y="28"/>
                      <a:pt x="23" y="35"/>
                      <a:pt x="27" y="39"/>
                    </a:cubicBezTo>
                    <a:cubicBezTo>
                      <a:pt x="7" y="45"/>
                      <a:pt x="0" y="67"/>
                      <a:pt x="0" y="93"/>
                    </a:cubicBezTo>
                  </a:path>
                </a:pathLst>
              </a:custGeom>
              <a:noFill/>
              <a:ln w="9525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EE48087-3BD5-4FEE-AD52-001B2F4F722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851900" y="-1778000"/>
              <a:ext cx="432000" cy="432000"/>
            </a:xfrm>
            <a:prstGeom prst="ellips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65BC36AE-436C-4668-B454-05FBFEF583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412995" y="459402"/>
            <a:ext cx="25200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kumimoji="0" lang="en-AU" sz="110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None/>
              <a:tabLst/>
            </a:pPr>
            <a:r>
              <a:rPr lang="en-US"/>
              <a:t>ABOUT ME</a:t>
            </a:r>
            <a:endParaRPr lang="en-AU"/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DF41528B-01C3-4B3B-9E65-2A251FC8CE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3936" y="891144"/>
            <a:ext cx="3702005" cy="108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sz="1000"/>
            </a:lvl2pPr>
            <a:lvl3pPr marL="0" indent="0">
              <a:spcAft>
                <a:spcPts val="600"/>
              </a:spcAft>
              <a:buNone/>
              <a:defRPr sz="100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76400" indent="-176400">
              <a:spcAft>
                <a:spcPts val="600"/>
              </a:spcAft>
              <a:buFont typeface="Arial" panose="020B0604020202020204" pitchFamily="34" charset="0"/>
              <a:buChar char="•"/>
              <a:defRPr sz="900"/>
            </a:lvl4pPr>
            <a:lvl5pPr marL="356400" indent="-176400">
              <a:spcAft>
                <a:spcPts val="600"/>
              </a:spcAft>
              <a:defRPr sz="900"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2"/>
            <a:r>
              <a:rPr lang="en-AU"/>
              <a:t>Lorem ipsum </a:t>
            </a:r>
            <a:r>
              <a:rPr lang="en-AU" err="1"/>
              <a:t>dolor</a:t>
            </a:r>
            <a:r>
              <a:rPr lang="en-AU"/>
              <a:t> sit </a:t>
            </a:r>
            <a:r>
              <a:rPr lang="en-AU" err="1"/>
              <a:t>amet</a:t>
            </a:r>
            <a:r>
              <a:rPr lang="en-AU"/>
              <a:t>, </a:t>
            </a:r>
            <a:r>
              <a:rPr lang="en-AU" err="1"/>
              <a:t>consectetur</a:t>
            </a:r>
            <a:r>
              <a:rPr lang="en-AU"/>
              <a:t> </a:t>
            </a:r>
            <a:r>
              <a:rPr lang="en-AU" err="1"/>
              <a:t>adipiscing</a:t>
            </a:r>
            <a:r>
              <a:rPr lang="en-AU"/>
              <a:t> </a:t>
            </a:r>
            <a:r>
              <a:rPr lang="en-AU" err="1"/>
              <a:t>elit</a:t>
            </a:r>
            <a:r>
              <a:rPr lang="en-AU"/>
              <a:t>. Ut id </a:t>
            </a:r>
            <a:r>
              <a:rPr lang="en-AU" err="1"/>
              <a:t>turpis</a:t>
            </a:r>
            <a:r>
              <a:rPr lang="en-AU"/>
              <a:t> </a:t>
            </a:r>
            <a:r>
              <a:rPr lang="en-AU" err="1"/>
              <a:t>ut</a:t>
            </a:r>
            <a:r>
              <a:rPr lang="en-AU"/>
              <a:t> </a:t>
            </a:r>
            <a:r>
              <a:rPr lang="en-AU" err="1"/>
              <a:t>odio</a:t>
            </a:r>
            <a:r>
              <a:rPr lang="en-AU"/>
              <a:t> </a:t>
            </a:r>
            <a:r>
              <a:rPr lang="en-AU" err="1"/>
              <a:t>ultrices</a:t>
            </a:r>
            <a:r>
              <a:rPr lang="en-AU"/>
              <a:t> cursus ac </a:t>
            </a:r>
            <a:r>
              <a:rPr lang="en-AU" err="1"/>
              <a:t>nec</a:t>
            </a:r>
            <a:r>
              <a:rPr lang="en-AU"/>
              <a:t> </a:t>
            </a:r>
            <a:r>
              <a:rPr lang="en-AU" err="1"/>
              <a:t>purus</a:t>
            </a:r>
            <a:r>
              <a:rPr lang="en-AU"/>
              <a:t>. Ut at eros </a:t>
            </a:r>
            <a:r>
              <a:rPr lang="en-AU" err="1"/>
              <a:t>accumsan</a:t>
            </a:r>
            <a:r>
              <a:rPr lang="en-AU"/>
              <a:t>, </a:t>
            </a:r>
            <a:r>
              <a:rPr lang="en-AU" err="1"/>
              <a:t>elementum</a:t>
            </a:r>
            <a:r>
              <a:rPr lang="en-AU"/>
              <a:t> dui in, </a:t>
            </a:r>
            <a:r>
              <a:rPr lang="en-AU" err="1"/>
              <a:t>tincidunt</a:t>
            </a:r>
            <a:r>
              <a:rPr lang="en-AU"/>
              <a:t> </a:t>
            </a:r>
            <a:r>
              <a:rPr lang="en-AU" err="1"/>
              <a:t>urna</a:t>
            </a:r>
            <a:r>
              <a:rPr lang="en-AU"/>
              <a:t>. In </a:t>
            </a:r>
            <a:r>
              <a:rPr lang="en-AU" err="1"/>
              <a:t>egestas</a:t>
            </a:r>
            <a:r>
              <a:rPr lang="en-AU"/>
              <a:t> </a:t>
            </a:r>
            <a:r>
              <a:rPr lang="en-AU" err="1"/>
              <a:t>augue</a:t>
            </a:r>
            <a:r>
              <a:rPr lang="en-AU"/>
              <a:t> id </a:t>
            </a:r>
            <a:r>
              <a:rPr lang="en-AU" err="1"/>
              <a:t>nisl</a:t>
            </a:r>
            <a:r>
              <a:rPr lang="en-AU"/>
              <a:t> porta, sit </a:t>
            </a:r>
            <a:r>
              <a:rPr lang="en-AU" err="1"/>
              <a:t>amet</a:t>
            </a:r>
            <a:r>
              <a:rPr lang="en-AU"/>
              <a:t> </a:t>
            </a:r>
            <a:r>
              <a:rPr lang="en-AU" err="1"/>
              <a:t>faucibus</a:t>
            </a:r>
            <a:r>
              <a:rPr lang="en-AU"/>
              <a:t> </a:t>
            </a:r>
            <a:r>
              <a:rPr lang="en-AU" err="1"/>
              <a:t>nulla</a:t>
            </a:r>
            <a:r>
              <a:rPr lang="en-AU"/>
              <a:t> dictum. 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B551FB1-4B93-4522-BB4D-3B1A83B14D9E}"/>
              </a:ext>
            </a:extLst>
          </p:cNvPr>
          <p:cNvGrpSpPr/>
          <p:nvPr userDrawn="1"/>
        </p:nvGrpSpPr>
        <p:grpSpPr>
          <a:xfrm>
            <a:off x="11554800" y="2254683"/>
            <a:ext cx="180000" cy="180000"/>
            <a:chOff x="9558971" y="508439"/>
            <a:chExt cx="180000" cy="180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CAD51A2-20DE-4F4E-93CB-45B46529656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558971" y="508439"/>
              <a:ext cx="180000" cy="180000"/>
            </a:xfrm>
            <a:prstGeom prst="ellipse">
              <a:avLst/>
            </a:prstGeom>
            <a:noFill/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795243D-5225-4D32-846F-2457DE540296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612971" y="562439"/>
              <a:ext cx="72000" cy="72000"/>
              <a:chOff x="3978485" y="2836028"/>
              <a:chExt cx="108000" cy="108000"/>
            </a:xfrm>
          </p:grpSpPr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4463672-4972-4FB6-AFF1-8CC2E9A44F62}"/>
                  </a:ext>
                </a:extLst>
              </p:cNvPr>
              <p:cNvCxnSpPr/>
              <p:nvPr userDrawn="1"/>
            </p:nvCxnSpPr>
            <p:spPr>
              <a:xfrm>
                <a:off x="4032485" y="2836028"/>
                <a:ext cx="0" cy="10800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7102251F-36E1-4811-90BC-E29004647E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978485" y="2890028"/>
                <a:ext cx="10800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2A0B4F7-5921-4630-BE5B-9E7D04B4B453}"/>
              </a:ext>
            </a:extLst>
          </p:cNvPr>
          <p:cNvGrpSpPr/>
          <p:nvPr userDrawn="1"/>
        </p:nvGrpSpPr>
        <p:grpSpPr>
          <a:xfrm>
            <a:off x="3313937" y="2470341"/>
            <a:ext cx="8420863" cy="36000"/>
            <a:chOff x="2346961" y="1397852"/>
            <a:chExt cx="8420863" cy="36000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3FACD35-D944-4132-8667-58AE465989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346961" y="1415852"/>
              <a:ext cx="8420863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65000"/>
                </a:srgbClr>
              </a:solidFill>
              <a:prstDash val="solid"/>
            </a:ln>
            <a:effectLst/>
          </p:spPr>
        </p:cxn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00AE065-70D0-4E56-AD32-24B6126198FD}"/>
                </a:ext>
              </a:extLst>
            </p:cNvPr>
            <p:cNvSpPr/>
            <p:nvPr userDrawn="1"/>
          </p:nvSpPr>
          <p:spPr>
            <a:xfrm>
              <a:off x="2444679" y="1397852"/>
              <a:ext cx="504000" cy="36000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8D259799-0D99-41B0-97A7-849418BA7B08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3412995" y="2205646"/>
            <a:ext cx="25200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kumimoji="0" lang="en-AU" sz="110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None/>
              <a:tabLst/>
            </a:pPr>
            <a:r>
              <a:rPr lang="en-US"/>
              <a:t>SELECTED PROJECT EXPERIENCE</a:t>
            </a:r>
            <a:endParaRPr lang="en-AU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CBC614D-E310-4660-99A8-93212E0DE481}"/>
              </a:ext>
            </a:extLst>
          </p:cNvPr>
          <p:cNvGrpSpPr/>
          <p:nvPr userDrawn="1"/>
        </p:nvGrpSpPr>
        <p:grpSpPr>
          <a:xfrm>
            <a:off x="2831654" y="2164683"/>
            <a:ext cx="432000" cy="432000"/>
            <a:chOff x="2831654" y="2164683"/>
            <a:chExt cx="432000" cy="43200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CF746AC-A92A-48E5-B369-7775F8F2AE9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831654" y="2164683"/>
              <a:ext cx="432000" cy="432000"/>
            </a:xfrm>
            <a:prstGeom prst="ellips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75" name="Freeform 165">
              <a:extLst>
                <a:ext uri="{FF2B5EF4-FFF2-40B4-BE49-F238E27FC236}">
                  <a16:creationId xmlns:a16="http://schemas.microsoft.com/office/drawing/2014/main" id="{3B9C84F2-EB4C-4DA2-ABE5-C490225A78D8}"/>
                </a:ext>
              </a:extLst>
            </p:cNvPr>
            <p:cNvSpPr>
              <a:spLocks noChangeAspect="1"/>
            </p:cNvSpPr>
            <p:nvPr userDrawn="1"/>
          </p:nvSpPr>
          <p:spPr bwMode="auto">
            <a:xfrm>
              <a:off x="2972265" y="2236683"/>
              <a:ext cx="150779" cy="288000"/>
            </a:xfrm>
            <a:custGeom>
              <a:avLst/>
              <a:gdLst/>
              <a:ahLst/>
              <a:cxnLst>
                <a:cxn ang="0">
                  <a:pos x="156" y="278"/>
                </a:cxn>
                <a:cxn ang="0">
                  <a:pos x="156" y="247"/>
                </a:cxn>
                <a:cxn ang="0">
                  <a:pos x="122" y="185"/>
                </a:cxn>
                <a:cxn ang="0">
                  <a:pos x="119" y="182"/>
                </a:cxn>
                <a:cxn ang="0">
                  <a:pos x="92" y="136"/>
                </a:cxn>
                <a:cxn ang="0">
                  <a:pos x="91" y="131"/>
                </a:cxn>
                <a:cxn ang="0">
                  <a:pos x="93" y="132"/>
                </a:cxn>
                <a:cxn ang="0">
                  <a:pos x="98" y="131"/>
                </a:cxn>
                <a:cxn ang="0">
                  <a:pos x="102" y="131"/>
                </a:cxn>
                <a:cxn ang="0">
                  <a:pos x="105" y="131"/>
                </a:cxn>
                <a:cxn ang="0">
                  <a:pos x="113" y="140"/>
                </a:cxn>
                <a:cxn ang="0">
                  <a:pos x="133" y="153"/>
                </a:cxn>
                <a:cxn ang="0">
                  <a:pos x="144" y="149"/>
                </a:cxn>
                <a:cxn ang="0">
                  <a:pos x="156" y="112"/>
                </a:cxn>
                <a:cxn ang="0">
                  <a:pos x="133" y="78"/>
                </a:cxn>
                <a:cxn ang="0">
                  <a:pos x="107" y="48"/>
                </a:cxn>
                <a:cxn ang="0">
                  <a:pos x="76" y="28"/>
                </a:cxn>
                <a:cxn ang="0">
                  <a:pos x="62" y="12"/>
                </a:cxn>
                <a:cxn ang="0">
                  <a:pos x="57" y="8"/>
                </a:cxn>
                <a:cxn ang="0">
                  <a:pos x="51" y="3"/>
                </a:cxn>
                <a:cxn ang="0">
                  <a:pos x="44" y="0"/>
                </a:cxn>
                <a:cxn ang="0">
                  <a:pos x="38" y="4"/>
                </a:cxn>
                <a:cxn ang="0">
                  <a:pos x="36" y="17"/>
                </a:cxn>
                <a:cxn ang="0">
                  <a:pos x="38" y="26"/>
                </a:cxn>
                <a:cxn ang="0">
                  <a:pos x="38" y="32"/>
                </a:cxn>
                <a:cxn ang="0">
                  <a:pos x="23" y="48"/>
                </a:cxn>
                <a:cxn ang="0">
                  <a:pos x="2" y="109"/>
                </a:cxn>
                <a:cxn ang="0">
                  <a:pos x="5" y="175"/>
                </a:cxn>
                <a:cxn ang="0">
                  <a:pos x="12" y="205"/>
                </a:cxn>
                <a:cxn ang="0">
                  <a:pos x="20" y="239"/>
                </a:cxn>
                <a:cxn ang="0">
                  <a:pos x="21" y="268"/>
                </a:cxn>
                <a:cxn ang="0">
                  <a:pos x="21" y="278"/>
                </a:cxn>
                <a:cxn ang="0">
                  <a:pos x="10" y="295"/>
                </a:cxn>
                <a:cxn ang="0">
                  <a:pos x="23" y="312"/>
                </a:cxn>
                <a:cxn ang="0">
                  <a:pos x="153" y="312"/>
                </a:cxn>
                <a:cxn ang="0">
                  <a:pos x="167" y="295"/>
                </a:cxn>
                <a:cxn ang="0">
                  <a:pos x="156" y="278"/>
                </a:cxn>
              </a:cxnLst>
              <a:rect l="0" t="0" r="r" b="b"/>
              <a:pathLst>
                <a:path w="167" h="312">
                  <a:moveTo>
                    <a:pt x="156" y="278"/>
                  </a:moveTo>
                  <a:cubicBezTo>
                    <a:pt x="158" y="268"/>
                    <a:pt x="158" y="257"/>
                    <a:pt x="156" y="247"/>
                  </a:cubicBezTo>
                  <a:cubicBezTo>
                    <a:pt x="151" y="218"/>
                    <a:pt x="136" y="200"/>
                    <a:pt x="122" y="185"/>
                  </a:cubicBezTo>
                  <a:cubicBezTo>
                    <a:pt x="121" y="184"/>
                    <a:pt x="120" y="183"/>
                    <a:pt x="119" y="182"/>
                  </a:cubicBezTo>
                  <a:cubicBezTo>
                    <a:pt x="107" y="168"/>
                    <a:pt x="95" y="155"/>
                    <a:pt x="92" y="136"/>
                  </a:cubicBezTo>
                  <a:cubicBezTo>
                    <a:pt x="92" y="135"/>
                    <a:pt x="91" y="133"/>
                    <a:pt x="91" y="131"/>
                  </a:cubicBezTo>
                  <a:cubicBezTo>
                    <a:pt x="92" y="131"/>
                    <a:pt x="93" y="132"/>
                    <a:pt x="93" y="132"/>
                  </a:cubicBezTo>
                  <a:cubicBezTo>
                    <a:pt x="95" y="132"/>
                    <a:pt x="97" y="131"/>
                    <a:pt x="98" y="131"/>
                  </a:cubicBezTo>
                  <a:cubicBezTo>
                    <a:pt x="100" y="131"/>
                    <a:pt x="101" y="131"/>
                    <a:pt x="102" y="131"/>
                  </a:cubicBezTo>
                  <a:cubicBezTo>
                    <a:pt x="103" y="131"/>
                    <a:pt x="104" y="131"/>
                    <a:pt x="105" y="131"/>
                  </a:cubicBezTo>
                  <a:cubicBezTo>
                    <a:pt x="108" y="132"/>
                    <a:pt x="110" y="134"/>
                    <a:pt x="113" y="140"/>
                  </a:cubicBezTo>
                  <a:cubicBezTo>
                    <a:pt x="118" y="148"/>
                    <a:pt x="125" y="153"/>
                    <a:pt x="133" y="153"/>
                  </a:cubicBezTo>
                  <a:cubicBezTo>
                    <a:pt x="137" y="153"/>
                    <a:pt x="141" y="152"/>
                    <a:pt x="144" y="149"/>
                  </a:cubicBezTo>
                  <a:cubicBezTo>
                    <a:pt x="149" y="144"/>
                    <a:pt x="160" y="124"/>
                    <a:pt x="156" y="112"/>
                  </a:cubicBezTo>
                  <a:cubicBezTo>
                    <a:pt x="153" y="104"/>
                    <a:pt x="143" y="91"/>
                    <a:pt x="133" y="78"/>
                  </a:cubicBezTo>
                  <a:cubicBezTo>
                    <a:pt x="128" y="72"/>
                    <a:pt x="118" y="59"/>
                    <a:pt x="107" y="48"/>
                  </a:cubicBezTo>
                  <a:cubicBezTo>
                    <a:pt x="98" y="38"/>
                    <a:pt x="87" y="31"/>
                    <a:pt x="76" y="28"/>
                  </a:cubicBezTo>
                  <a:cubicBezTo>
                    <a:pt x="72" y="21"/>
                    <a:pt x="67" y="16"/>
                    <a:pt x="62" y="12"/>
                  </a:cubicBezTo>
                  <a:cubicBezTo>
                    <a:pt x="60" y="11"/>
                    <a:pt x="58" y="9"/>
                    <a:pt x="57" y="8"/>
                  </a:cubicBezTo>
                  <a:cubicBezTo>
                    <a:pt x="55" y="7"/>
                    <a:pt x="53" y="5"/>
                    <a:pt x="51" y="3"/>
                  </a:cubicBezTo>
                  <a:cubicBezTo>
                    <a:pt x="49" y="1"/>
                    <a:pt x="46" y="0"/>
                    <a:pt x="44" y="0"/>
                  </a:cubicBezTo>
                  <a:cubicBezTo>
                    <a:pt x="42" y="0"/>
                    <a:pt x="39" y="2"/>
                    <a:pt x="38" y="4"/>
                  </a:cubicBezTo>
                  <a:cubicBezTo>
                    <a:pt x="35" y="9"/>
                    <a:pt x="36" y="15"/>
                    <a:pt x="36" y="17"/>
                  </a:cubicBezTo>
                  <a:cubicBezTo>
                    <a:pt x="37" y="20"/>
                    <a:pt x="37" y="23"/>
                    <a:pt x="38" y="26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3" y="35"/>
                    <a:pt x="28" y="41"/>
                    <a:pt x="23" y="48"/>
                  </a:cubicBezTo>
                  <a:cubicBezTo>
                    <a:pt x="12" y="63"/>
                    <a:pt x="5" y="84"/>
                    <a:pt x="2" y="109"/>
                  </a:cubicBezTo>
                  <a:cubicBezTo>
                    <a:pt x="0" y="135"/>
                    <a:pt x="2" y="159"/>
                    <a:pt x="5" y="175"/>
                  </a:cubicBezTo>
                  <a:cubicBezTo>
                    <a:pt x="7" y="185"/>
                    <a:pt x="9" y="195"/>
                    <a:pt x="12" y="205"/>
                  </a:cubicBezTo>
                  <a:cubicBezTo>
                    <a:pt x="15" y="217"/>
                    <a:pt x="19" y="228"/>
                    <a:pt x="20" y="239"/>
                  </a:cubicBezTo>
                  <a:cubicBezTo>
                    <a:pt x="21" y="248"/>
                    <a:pt x="21" y="258"/>
                    <a:pt x="21" y="268"/>
                  </a:cubicBezTo>
                  <a:cubicBezTo>
                    <a:pt x="21" y="271"/>
                    <a:pt x="21" y="275"/>
                    <a:pt x="21" y="278"/>
                  </a:cubicBezTo>
                  <a:cubicBezTo>
                    <a:pt x="15" y="279"/>
                    <a:pt x="10" y="286"/>
                    <a:pt x="10" y="295"/>
                  </a:cubicBezTo>
                  <a:cubicBezTo>
                    <a:pt x="10" y="304"/>
                    <a:pt x="16" y="312"/>
                    <a:pt x="23" y="312"/>
                  </a:cubicBezTo>
                  <a:cubicBezTo>
                    <a:pt x="153" y="312"/>
                    <a:pt x="153" y="312"/>
                    <a:pt x="153" y="312"/>
                  </a:cubicBezTo>
                  <a:cubicBezTo>
                    <a:pt x="161" y="312"/>
                    <a:pt x="167" y="304"/>
                    <a:pt x="167" y="295"/>
                  </a:cubicBezTo>
                  <a:cubicBezTo>
                    <a:pt x="167" y="287"/>
                    <a:pt x="162" y="280"/>
                    <a:pt x="156" y="278"/>
                  </a:cubicBezTo>
                  <a:close/>
                </a:path>
              </a:pathLst>
            </a:custGeom>
            <a:noFill/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32D109-FBD7-450F-87BE-FFDCB9AB354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312208" y="2675050"/>
            <a:ext cx="4065471" cy="17070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lang="en-US" sz="1000" b="1" baseline="0" smtClean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 algn="l">
              <a:buNone/>
              <a:defRPr lang="en-US" sz="900" smtClean="0"/>
            </a:lvl2pPr>
            <a:lvl3pPr>
              <a:spcBef>
                <a:spcPts val="0"/>
              </a:spcBef>
              <a:spcAft>
                <a:spcPts val="0"/>
              </a:spcAft>
              <a:defRPr lang="en-US" sz="900" b="0" i="0" kern="1200" baseline="0" dirty="0" smtClean="0">
                <a:solidFill>
                  <a:schemeClr val="tx2"/>
                </a:solidFill>
                <a:latin typeface="Segoe UI Semibold" panose="020B0702040204020203" pitchFamily="34" charset="0"/>
                <a:ea typeface="Segoe UI Light" charset="0"/>
                <a:cs typeface="Segoe UI Semibold" panose="020B0702040204020203" pitchFamily="34" charset="0"/>
              </a:defRPr>
            </a:lvl3pPr>
            <a:lvl4pPr>
              <a:defRPr lang="en-US" sz="900" smtClean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AU" sz="900" baseline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Project Name - Organization 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/>
              <a:buNone/>
            </a:pPr>
            <a:r>
              <a:rPr lang="en-US"/>
              <a:t>Role </a:t>
            </a:r>
          </a:p>
          <a:p>
            <a:pPr marL="0" lvl="3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Ut id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ultrices</a:t>
            </a:r>
            <a:r>
              <a:rPr lang="en-US"/>
              <a:t> cursus ac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. Ut at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dui in,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In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id </a:t>
            </a:r>
            <a:r>
              <a:rPr lang="en-US" err="1"/>
              <a:t>nisl</a:t>
            </a:r>
            <a:r>
              <a:rPr lang="en-US"/>
              <a:t> porta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ictum. </a:t>
            </a:r>
          </a:p>
          <a:p>
            <a:pPr marL="182563" marR="0" lvl="4" indent="-176213" defTabSz="7985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tabLst/>
            </a:pPr>
            <a:r>
              <a:rPr lang="en-US"/>
              <a:t>Bullet</a:t>
            </a:r>
          </a:p>
          <a:p>
            <a:pPr marL="182563" marR="0" lvl="4" indent="-176213" defTabSz="7985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tabLst/>
            </a:pPr>
            <a:r>
              <a:rPr lang="en-US"/>
              <a:t>Bullet</a:t>
            </a:r>
          </a:p>
          <a:p>
            <a:pPr marL="182563" marR="0" lvl="4" indent="-176213" defTabSz="7985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tabLst/>
            </a:pPr>
            <a:r>
              <a:rPr lang="en-US"/>
              <a:t>Bullet</a:t>
            </a:r>
            <a:endParaRPr lang="en-AU"/>
          </a:p>
        </p:txBody>
      </p:sp>
      <p:sp>
        <p:nvSpPr>
          <p:cNvPr id="90" name="Text Placeholder 78">
            <a:extLst>
              <a:ext uri="{FF2B5EF4-FFF2-40B4-BE49-F238E27FC236}">
                <a16:creationId xmlns:a16="http://schemas.microsoft.com/office/drawing/2014/main" id="{A2E79EBD-622A-4656-8578-1D7E6C90B7D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312208" y="4630196"/>
            <a:ext cx="4065471" cy="17070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lang="en-US" sz="1000" b="1" baseline="0" smtClean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 algn="l">
              <a:buNone/>
              <a:defRPr lang="en-US" sz="900" smtClean="0"/>
            </a:lvl2pPr>
            <a:lvl3pPr>
              <a:defRPr lang="en-US" sz="900" b="0" i="0" kern="1200" baseline="0" dirty="0" smtClean="0">
                <a:solidFill>
                  <a:schemeClr val="tx2"/>
                </a:solidFill>
                <a:latin typeface="Segoe UI Semibold" panose="020B0702040204020203" pitchFamily="34" charset="0"/>
                <a:ea typeface="Segoe UI Light" charset="0"/>
                <a:cs typeface="Segoe UI Semibold" panose="020B0702040204020203" pitchFamily="34" charset="0"/>
              </a:defRPr>
            </a:lvl3pPr>
            <a:lvl4pPr>
              <a:defRPr lang="en-US" sz="900" smtClean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lang="en-AU" sz="900" baseline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Project Name - Organization </a:t>
            </a:r>
          </a:p>
          <a:p>
            <a:pPr marL="0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/>
              <a:buNone/>
            </a:pPr>
            <a:r>
              <a:rPr lang="en-US"/>
              <a:t>Role </a:t>
            </a:r>
          </a:p>
          <a:p>
            <a:pPr marL="0" lvl="3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Ut id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ultrices</a:t>
            </a:r>
            <a:r>
              <a:rPr lang="en-US"/>
              <a:t> cursus ac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. Ut at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dui in,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In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id </a:t>
            </a:r>
            <a:r>
              <a:rPr lang="en-US" err="1"/>
              <a:t>nisl</a:t>
            </a:r>
            <a:r>
              <a:rPr lang="en-US"/>
              <a:t> porta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ictum. </a:t>
            </a:r>
          </a:p>
          <a:p>
            <a:pPr marL="182563" marR="0" lvl="4" indent="-176213" defTabSz="7985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tabLst/>
            </a:pPr>
            <a:r>
              <a:rPr lang="en-US"/>
              <a:t>Bullet</a:t>
            </a:r>
          </a:p>
          <a:p>
            <a:pPr marL="182563" marR="0" lvl="4" indent="-176213" defTabSz="7985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tabLst/>
            </a:pPr>
            <a:r>
              <a:rPr lang="en-US"/>
              <a:t>Bullet</a:t>
            </a:r>
          </a:p>
          <a:p>
            <a:pPr marL="182563" marR="0" lvl="4" indent="-176213" defTabSz="7985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tabLst/>
            </a:pPr>
            <a:r>
              <a:rPr lang="en-US"/>
              <a:t>Bullet</a:t>
            </a:r>
            <a:endParaRPr lang="en-AU"/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C0EE90B1-5530-485E-8DF2-67DDB923C2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9330" y="2675050"/>
            <a:ext cx="4065470" cy="17070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000" b="1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>
              <a:spcAft>
                <a:spcPts val="600"/>
              </a:spcAft>
              <a:defRPr sz="900"/>
            </a:lvl2pPr>
            <a:lvl3pPr marL="0" indent="0">
              <a:spcAft>
                <a:spcPts val="600"/>
              </a:spcAft>
              <a:buNone/>
              <a:defRPr sz="900" baseline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0" indent="0">
              <a:spcAft>
                <a:spcPts val="600"/>
              </a:spcAft>
              <a:buFont typeface="Arial" panose="020B0604020202020204" pitchFamily="34" charset="0"/>
              <a:buNone/>
              <a:defRPr sz="9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182563" marR="0" indent="-176213" algn="l" defTabSz="798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900" b="0" i="0" kern="120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charset="0"/>
                <a:cs typeface="Segoe UI Light" panose="020B0502040204020203" pitchFamily="34" charset="0"/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Project Name - </a:t>
            </a:r>
            <a:r>
              <a:rPr lang="en-US" err="1"/>
              <a:t>Organisation</a:t>
            </a:r>
            <a:r>
              <a:rPr lang="en-US"/>
              <a:t> </a:t>
            </a:r>
          </a:p>
          <a:p>
            <a:pPr lvl="2"/>
            <a:r>
              <a:rPr lang="en-US"/>
              <a:t>Role, reporting to Client Role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Ut id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ultrices</a:t>
            </a:r>
            <a:r>
              <a:rPr lang="en-US"/>
              <a:t> cursus ac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. Ut at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dui in,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In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id </a:t>
            </a:r>
            <a:r>
              <a:rPr lang="en-US" err="1"/>
              <a:t>nisl</a:t>
            </a:r>
            <a:r>
              <a:rPr lang="en-US"/>
              <a:t> porta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ictum. </a:t>
            </a:r>
          </a:p>
          <a:p>
            <a:pPr lvl="4"/>
            <a:r>
              <a:rPr lang="en-US"/>
              <a:t>This is dummy text</a:t>
            </a:r>
          </a:p>
          <a:p>
            <a:pPr marL="182563" marR="0" lvl="4" indent="-176213" algn="l" defTabSz="798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his is dummy text</a:t>
            </a:r>
          </a:p>
          <a:p>
            <a:pPr marL="182563" marR="0" lvl="4" indent="-176213" algn="l" defTabSz="798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his is dummy text</a:t>
            </a:r>
          </a:p>
          <a:p>
            <a:pPr lvl="4"/>
            <a:endParaRPr lang="en-US"/>
          </a:p>
        </p:txBody>
      </p:sp>
      <p:sp>
        <p:nvSpPr>
          <p:cNvPr id="97" name="Text Placeholder 8">
            <a:extLst>
              <a:ext uri="{FF2B5EF4-FFF2-40B4-BE49-F238E27FC236}">
                <a16:creationId xmlns:a16="http://schemas.microsoft.com/office/drawing/2014/main" id="{2150E42E-B39C-4073-957B-1FC34C490B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669330" y="4630196"/>
            <a:ext cx="4065470" cy="17070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000" b="1" baseline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>
              <a:spcAft>
                <a:spcPts val="600"/>
              </a:spcAft>
              <a:defRPr sz="900"/>
            </a:lvl2pPr>
            <a:lvl3pPr marL="0" indent="0">
              <a:spcAft>
                <a:spcPts val="600"/>
              </a:spcAft>
              <a:buNone/>
              <a:defRPr sz="900" baseline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0" indent="0">
              <a:spcAft>
                <a:spcPts val="600"/>
              </a:spcAft>
              <a:buFont typeface="Arial" panose="020B0604020202020204" pitchFamily="34" charset="0"/>
              <a:buNone/>
              <a:defRPr sz="9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182563" marR="0" indent="-176213" algn="l" defTabSz="798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900" b="0" i="0" kern="120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charset="0"/>
                <a:cs typeface="Segoe UI Light" panose="020B0502040204020203" pitchFamily="34" charset="0"/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Project Name - </a:t>
            </a:r>
            <a:r>
              <a:rPr lang="en-US" err="1"/>
              <a:t>Organisation</a:t>
            </a:r>
            <a:r>
              <a:rPr lang="en-US"/>
              <a:t> </a:t>
            </a:r>
          </a:p>
          <a:p>
            <a:pPr lvl="2"/>
            <a:r>
              <a:rPr lang="en-US"/>
              <a:t>Role, reporting to Client Role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Ut id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ultrices</a:t>
            </a:r>
            <a:r>
              <a:rPr lang="en-US"/>
              <a:t> cursus ac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. Ut at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dui in,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In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id </a:t>
            </a:r>
            <a:r>
              <a:rPr lang="en-US" err="1"/>
              <a:t>nisl</a:t>
            </a:r>
            <a:r>
              <a:rPr lang="en-US"/>
              <a:t> porta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ictum. </a:t>
            </a:r>
          </a:p>
          <a:p>
            <a:pPr lvl="4"/>
            <a:r>
              <a:rPr lang="en-US"/>
              <a:t>This is dummy text</a:t>
            </a:r>
          </a:p>
          <a:p>
            <a:pPr marL="182563" marR="0" lvl="4" indent="-176213" algn="l" defTabSz="798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his is dummy text</a:t>
            </a:r>
          </a:p>
          <a:p>
            <a:pPr marL="182563" marR="0" lvl="4" indent="-176213" algn="l" defTabSz="798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his is dummy text</a:t>
            </a:r>
          </a:p>
          <a:p>
            <a:pPr lvl="4"/>
            <a:endParaRPr lang="en-US"/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D2011DB3-A56A-4C99-8EED-02CD35DADDB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58415" y="1938492"/>
            <a:ext cx="1980000" cy="345600"/>
          </a:xfrm>
          <a:prstGeom prst="rect">
            <a:avLst/>
          </a:prstGeom>
        </p:spPr>
        <p:txBody>
          <a:bodyPr lIns="36000" tIns="36000" rIns="36000" bIns="36000" anchor="ctr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Surname</a:t>
            </a:r>
            <a:endParaRPr lang="en-AU"/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F4C65A0E-6819-4D50-B19B-BA4E3FDB815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8415" y="2306952"/>
            <a:ext cx="1980000" cy="288000"/>
          </a:xfrm>
          <a:prstGeom prst="rect">
            <a:avLst/>
          </a:prstGeom>
        </p:spPr>
        <p:txBody>
          <a:bodyPr lIns="36000" tIns="36000" rIns="36000" bIns="36000" anchor="ctr"/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actice</a:t>
            </a:r>
          </a:p>
        </p:txBody>
      </p:sp>
      <p:sp>
        <p:nvSpPr>
          <p:cNvPr id="93" name="Text Placeholder 4">
            <a:extLst>
              <a:ext uri="{FF2B5EF4-FFF2-40B4-BE49-F238E27FC236}">
                <a16:creationId xmlns:a16="http://schemas.microsoft.com/office/drawing/2014/main" id="{76F0BBCD-EEE1-4DB4-9062-400F060FA45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58415" y="2619372"/>
            <a:ext cx="1980000" cy="360000"/>
          </a:xfrm>
          <a:prstGeom prst="rect">
            <a:avLst/>
          </a:prstGeom>
        </p:spPr>
        <p:txBody>
          <a:bodyPr lIns="36000" tIns="36000" rIns="36000" bIns="36000" anchor="ctr"/>
          <a:lstStyle>
            <a:lvl1pPr marL="0" indent="0" algn="l">
              <a:spcBef>
                <a:spcPts val="0"/>
              </a:spcBef>
              <a:spcAft>
                <a:spcPts val="400"/>
              </a:spcAft>
              <a:buNone/>
              <a:defRPr sz="1100" b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evel</a:t>
            </a:r>
          </a:p>
          <a:p>
            <a:pPr lvl="0"/>
            <a:r>
              <a:rPr lang="en-US"/>
              <a:t>City, Australia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CE3630E-50AB-4DC2-9F63-F0BC719F67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8415" y="3383042"/>
            <a:ext cx="1980000" cy="288000"/>
          </a:xfrm>
          <a:prstGeom prst="rect">
            <a:avLst/>
          </a:prstGeom>
        </p:spPr>
        <p:txBody>
          <a:bodyPr lIns="36000" tIns="36000" rIns="36000" bIns="36000" anchor="ctr"/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Selawik Semibold" panose="020B0702040204020203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alifications (5 max)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37999168-45EA-41A7-85B5-E4486EFE1E9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58415" y="3679442"/>
            <a:ext cx="1980000" cy="1169418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92075" indent="-92075" algn="l">
              <a:buFont typeface="Arial" panose="020B0604020202020204" pitchFamily="34" charset="0"/>
              <a:buChar char="•"/>
              <a:defRPr sz="900" b="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…</a:t>
            </a:r>
          </a:p>
          <a:p>
            <a:pPr lvl="0"/>
            <a:r>
              <a:rPr lang="en-US"/>
              <a:t>…</a:t>
            </a:r>
          </a:p>
          <a:p>
            <a:pPr lvl="0"/>
            <a:r>
              <a:rPr lang="en-US"/>
              <a:t>…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E1E52F6-911E-4587-9ED3-2C623461825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5529" y="454678"/>
            <a:ext cx="1368000" cy="1368000"/>
            <a:chOff x="731007" y="926116"/>
            <a:chExt cx="1728000" cy="1728000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84549D62-914C-4E4E-A817-F97E73AC9964}"/>
                </a:ext>
              </a:extLst>
            </p:cNvPr>
            <p:cNvGrpSpPr/>
            <p:nvPr userDrawn="1"/>
          </p:nvGrpSpPr>
          <p:grpSpPr>
            <a:xfrm>
              <a:off x="731007" y="926116"/>
              <a:ext cx="1728000" cy="1728000"/>
              <a:chOff x="446377" y="970039"/>
              <a:chExt cx="1728000" cy="1728000"/>
            </a:xfrm>
          </p:grpSpPr>
          <p:sp>
            <p:nvSpPr>
              <p:cNvPr id="111" name="Arc 110">
                <a:extLst>
                  <a:ext uri="{FF2B5EF4-FFF2-40B4-BE49-F238E27FC236}">
                    <a16:creationId xmlns:a16="http://schemas.microsoft.com/office/drawing/2014/main" id="{89D00C99-52A3-407B-9BF6-8C5225EBC4C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18377" y="1042039"/>
                <a:ext cx="1584000" cy="1584000"/>
              </a:xfrm>
              <a:prstGeom prst="arc">
                <a:avLst>
                  <a:gd name="adj1" fmla="val 10790125"/>
                  <a:gd name="adj2" fmla="val 0"/>
                </a:avLst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AU"/>
              </a:p>
            </p:txBody>
          </p:sp>
          <p:sp>
            <p:nvSpPr>
              <p:cNvPr id="112" name="Arc 111">
                <a:extLst>
                  <a:ext uri="{FF2B5EF4-FFF2-40B4-BE49-F238E27FC236}">
                    <a16:creationId xmlns:a16="http://schemas.microsoft.com/office/drawing/2014/main" id="{68504441-041C-4124-92F7-14F9E43C3D2A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518377" y="1042039"/>
                <a:ext cx="1584000" cy="1584000"/>
              </a:xfrm>
              <a:prstGeom prst="arc">
                <a:avLst>
                  <a:gd name="adj1" fmla="val 21599974"/>
                  <a:gd name="adj2" fmla="val 5406582"/>
                </a:avLst>
              </a:prstGeom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AU"/>
              </a:p>
            </p:txBody>
          </p:sp>
          <p:sp>
            <p:nvSpPr>
              <p:cNvPr id="113" name="Arc 112">
                <a:extLst>
                  <a:ext uri="{FF2B5EF4-FFF2-40B4-BE49-F238E27FC236}">
                    <a16:creationId xmlns:a16="http://schemas.microsoft.com/office/drawing/2014/main" id="{B9DA26DA-0D0C-443B-9F79-2CA242E2F0E5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46377" y="970039"/>
                <a:ext cx="1728000" cy="1728000"/>
              </a:xfrm>
              <a:prstGeom prst="arc">
                <a:avLst>
                  <a:gd name="adj1" fmla="val 10758470"/>
                  <a:gd name="adj2" fmla="val 15135807"/>
                </a:avLst>
              </a:prstGeom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AU"/>
              </a:p>
            </p:txBody>
          </p:sp>
          <p:sp>
            <p:nvSpPr>
              <p:cNvPr id="114" name="Arc 113">
                <a:extLst>
                  <a:ext uri="{FF2B5EF4-FFF2-40B4-BE49-F238E27FC236}">
                    <a16:creationId xmlns:a16="http://schemas.microsoft.com/office/drawing/2014/main" id="{93D4D1BE-9DA2-4188-884E-67E975A0FA3B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446377" y="970039"/>
                <a:ext cx="1728000" cy="1728000"/>
              </a:xfrm>
              <a:prstGeom prst="arc">
                <a:avLst>
                  <a:gd name="adj1" fmla="val 20451"/>
                  <a:gd name="adj2" fmla="val 3661276"/>
                </a:avLst>
              </a:prstGeom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AU"/>
              </a:p>
            </p:txBody>
          </p:sp>
        </p:grpSp>
        <p:sp>
          <p:nvSpPr>
            <p:cNvPr id="110" name="Block Arc 109">
              <a:extLst>
                <a:ext uri="{FF2B5EF4-FFF2-40B4-BE49-F238E27FC236}">
                  <a16:creationId xmlns:a16="http://schemas.microsoft.com/office/drawing/2014/main" id="{D877C60F-EEA0-442C-AE7F-9ED54083B99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3007" y="998116"/>
              <a:ext cx="1584000" cy="1584000"/>
            </a:xfrm>
            <a:prstGeom prst="blockArc">
              <a:avLst>
                <a:gd name="adj1" fmla="val 5412104"/>
                <a:gd name="adj2" fmla="val 10751601"/>
                <a:gd name="adj3" fmla="val 44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chemeClr val="tx1"/>
                </a:solidFill>
              </a:endParaRPr>
            </a:p>
          </p:txBody>
        </p:sp>
      </p:grpSp>
      <p:sp>
        <p:nvSpPr>
          <p:cNvPr id="115" name="Picture Placeholder 76">
            <a:extLst>
              <a:ext uri="{FF2B5EF4-FFF2-40B4-BE49-F238E27FC236}">
                <a16:creationId xmlns:a16="http://schemas.microsoft.com/office/drawing/2014/main" id="{EFEB3517-A6B4-41AF-A485-224165A8EE8F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655754" y="571253"/>
            <a:ext cx="1141200" cy="11412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/>
            </a:lvl1pPr>
          </a:lstStyle>
          <a:p>
            <a:r>
              <a:rPr lang="en-AU"/>
              <a:t>Insert Picture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AFC632B-7DF7-4F4A-BDA6-D610716A611B}"/>
              </a:ext>
            </a:extLst>
          </p:cNvPr>
          <p:cNvGrpSpPr/>
          <p:nvPr userDrawn="1"/>
        </p:nvGrpSpPr>
        <p:grpSpPr>
          <a:xfrm>
            <a:off x="7995530" y="701237"/>
            <a:ext cx="3702005" cy="45719"/>
            <a:chOff x="2346961" y="1397852"/>
            <a:chExt cx="8420863" cy="36000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76BC4F00-BEFC-48A4-871C-CBE57F6907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346961" y="1415852"/>
              <a:ext cx="8420863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65000"/>
                </a:srgbClr>
              </a:solidFill>
              <a:prstDash val="solid"/>
            </a:ln>
            <a:effectLst/>
          </p:spPr>
        </p:cxn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5EB0E53B-CD47-4310-80E2-0BC069C43F81}"/>
                </a:ext>
              </a:extLst>
            </p:cNvPr>
            <p:cNvSpPr/>
            <p:nvPr userDrawn="1"/>
          </p:nvSpPr>
          <p:spPr>
            <a:xfrm>
              <a:off x="2444679" y="1397852"/>
              <a:ext cx="504000" cy="36000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4C84A27D-440C-4F02-B640-6530576987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094588" y="436543"/>
            <a:ext cx="25200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kumimoji="0" lang="en-AU" sz="110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None/>
              <a:tabLst/>
            </a:pPr>
            <a:r>
              <a:rPr lang="en-US"/>
              <a:t>EXPERTISE</a:t>
            </a:r>
            <a:endParaRPr lang="en-AU"/>
          </a:p>
        </p:txBody>
      </p:sp>
      <p:sp>
        <p:nvSpPr>
          <p:cNvPr id="100" name="Text Placeholder 8">
            <a:extLst>
              <a:ext uri="{FF2B5EF4-FFF2-40B4-BE49-F238E27FC236}">
                <a16:creationId xmlns:a16="http://schemas.microsoft.com/office/drawing/2014/main" id="{690D6C19-441D-4B27-8FAC-ABE3A1EFCEF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995529" y="868285"/>
            <a:ext cx="3702005" cy="108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sz="1000"/>
            </a:lvl2pPr>
            <a:lvl3pPr marL="0" indent="0">
              <a:spcAft>
                <a:spcPts val="600"/>
              </a:spcAft>
              <a:buNone/>
              <a:defRPr sz="100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76400" indent="-176400">
              <a:spcAft>
                <a:spcPts val="600"/>
              </a:spcAft>
              <a:buFont typeface="Arial" panose="020B0604020202020204" pitchFamily="34" charset="0"/>
              <a:buChar char="•"/>
              <a:defRPr sz="900"/>
            </a:lvl4pPr>
            <a:lvl5pPr marL="356400" indent="-176400">
              <a:spcAft>
                <a:spcPts val="600"/>
              </a:spcAft>
              <a:defRPr sz="900"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2"/>
            <a:r>
              <a:rPr lang="en-AU"/>
              <a:t>Lorem ipsum </a:t>
            </a:r>
            <a:r>
              <a:rPr lang="en-AU" err="1"/>
              <a:t>dolor</a:t>
            </a:r>
            <a:r>
              <a:rPr lang="en-AU"/>
              <a:t> sit </a:t>
            </a:r>
            <a:r>
              <a:rPr lang="en-AU" err="1"/>
              <a:t>amet</a:t>
            </a:r>
            <a:r>
              <a:rPr lang="en-AU"/>
              <a:t>, </a:t>
            </a:r>
            <a:r>
              <a:rPr lang="en-AU" err="1"/>
              <a:t>consectetur</a:t>
            </a:r>
            <a:r>
              <a:rPr lang="en-AU"/>
              <a:t> </a:t>
            </a:r>
            <a:r>
              <a:rPr lang="en-AU" err="1"/>
              <a:t>adipiscing</a:t>
            </a:r>
            <a:r>
              <a:rPr lang="en-AU"/>
              <a:t> </a:t>
            </a:r>
            <a:r>
              <a:rPr lang="en-AU" err="1"/>
              <a:t>elit</a:t>
            </a:r>
            <a:r>
              <a:rPr lang="en-AU"/>
              <a:t>. Ut id </a:t>
            </a:r>
            <a:r>
              <a:rPr lang="en-AU" err="1"/>
              <a:t>turpis</a:t>
            </a:r>
            <a:r>
              <a:rPr lang="en-AU"/>
              <a:t> </a:t>
            </a:r>
            <a:r>
              <a:rPr lang="en-AU" err="1"/>
              <a:t>ut</a:t>
            </a:r>
            <a:r>
              <a:rPr lang="en-AU"/>
              <a:t> </a:t>
            </a:r>
            <a:r>
              <a:rPr lang="en-AU" err="1"/>
              <a:t>odio</a:t>
            </a:r>
            <a:r>
              <a:rPr lang="en-AU"/>
              <a:t> </a:t>
            </a:r>
            <a:r>
              <a:rPr lang="en-AU" err="1"/>
              <a:t>ultrices</a:t>
            </a:r>
            <a:r>
              <a:rPr lang="en-AU"/>
              <a:t> cursus ac </a:t>
            </a:r>
            <a:r>
              <a:rPr lang="en-AU" err="1"/>
              <a:t>nec</a:t>
            </a:r>
            <a:r>
              <a:rPr lang="en-AU"/>
              <a:t> </a:t>
            </a:r>
            <a:r>
              <a:rPr lang="en-AU" err="1"/>
              <a:t>purus</a:t>
            </a:r>
            <a:r>
              <a:rPr lang="en-AU"/>
              <a:t>. Ut at eros </a:t>
            </a:r>
            <a:r>
              <a:rPr lang="en-AU" err="1"/>
              <a:t>accumsan</a:t>
            </a:r>
            <a:r>
              <a:rPr lang="en-AU"/>
              <a:t>, </a:t>
            </a:r>
            <a:r>
              <a:rPr lang="en-AU" err="1"/>
              <a:t>elementum</a:t>
            </a:r>
            <a:r>
              <a:rPr lang="en-AU"/>
              <a:t> dui in, </a:t>
            </a:r>
            <a:r>
              <a:rPr lang="en-AU" err="1"/>
              <a:t>tincidunt</a:t>
            </a:r>
            <a:r>
              <a:rPr lang="en-AU"/>
              <a:t> </a:t>
            </a:r>
            <a:r>
              <a:rPr lang="en-AU" err="1"/>
              <a:t>urna</a:t>
            </a:r>
            <a:r>
              <a:rPr lang="en-AU"/>
              <a:t>. In </a:t>
            </a:r>
            <a:r>
              <a:rPr lang="en-AU" err="1"/>
              <a:t>egestas</a:t>
            </a:r>
            <a:r>
              <a:rPr lang="en-AU"/>
              <a:t> </a:t>
            </a:r>
            <a:r>
              <a:rPr lang="en-AU" err="1"/>
              <a:t>augue</a:t>
            </a:r>
            <a:r>
              <a:rPr lang="en-AU"/>
              <a:t> id </a:t>
            </a:r>
            <a:r>
              <a:rPr lang="en-AU" err="1"/>
              <a:t>nisl</a:t>
            </a:r>
            <a:r>
              <a:rPr lang="en-AU"/>
              <a:t> porta, sit </a:t>
            </a:r>
            <a:r>
              <a:rPr lang="en-AU" err="1"/>
              <a:t>amet</a:t>
            </a:r>
            <a:r>
              <a:rPr lang="en-AU"/>
              <a:t> </a:t>
            </a:r>
            <a:r>
              <a:rPr lang="en-AU" err="1"/>
              <a:t>faucibus</a:t>
            </a:r>
            <a:r>
              <a:rPr lang="en-AU"/>
              <a:t> </a:t>
            </a:r>
            <a:r>
              <a:rPr lang="en-AU" err="1"/>
              <a:t>nulla</a:t>
            </a:r>
            <a:r>
              <a:rPr lang="en-AU"/>
              <a:t> dictum. 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629A4F9-B2C2-4679-87F4-9E6190108389}"/>
              </a:ext>
            </a:extLst>
          </p:cNvPr>
          <p:cNvGrpSpPr/>
          <p:nvPr userDrawn="1"/>
        </p:nvGrpSpPr>
        <p:grpSpPr>
          <a:xfrm>
            <a:off x="6817305" y="503500"/>
            <a:ext cx="180000" cy="180000"/>
            <a:chOff x="9558971" y="508439"/>
            <a:chExt cx="180000" cy="180000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872B06F-0FA0-42D6-8893-CEE0D2309A7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558971" y="508439"/>
              <a:ext cx="180000" cy="180000"/>
            </a:xfrm>
            <a:prstGeom prst="ellipse">
              <a:avLst/>
            </a:prstGeom>
            <a:noFill/>
            <a:ln w="9525" cap="flat" cmpd="sng" algn="ctr">
              <a:solidFill>
                <a:srgbClr val="FFFFFF">
                  <a:lumMod val="6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6BC7EA73-DECF-4AE3-8E4C-3A4534BF51B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612971" y="562439"/>
              <a:ext cx="72000" cy="72000"/>
              <a:chOff x="3978485" y="2836028"/>
              <a:chExt cx="108000" cy="108000"/>
            </a:xfrm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46624D74-87F2-4975-9477-57653A26F6AD}"/>
                  </a:ext>
                </a:extLst>
              </p:cNvPr>
              <p:cNvCxnSpPr/>
              <p:nvPr userDrawn="1"/>
            </p:nvCxnSpPr>
            <p:spPr>
              <a:xfrm>
                <a:off x="4032485" y="2836028"/>
                <a:ext cx="0" cy="10800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7A763411-EB35-45C1-A16E-49B0578AC1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978485" y="2890028"/>
                <a:ext cx="10800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5001318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24F47D-9BB1-1549-80A2-61517DF72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74" y="0"/>
            <a:ext cx="12191999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A21FEE-B9D7-C04E-962C-AB7CD8640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538964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1/2 Horizont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BE80F6-1E1B-3C43-81D8-FE024E6ECE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835" b="23164"/>
          <a:stretch/>
        </p:blipFill>
        <p:spPr>
          <a:xfrm>
            <a:off x="0" y="0"/>
            <a:ext cx="12192000" cy="3429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B0D3C8F-5472-C945-B31A-A1229BB007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bg2">
                  <a:lumMod val="10000"/>
                  <a:alpha val="82000"/>
                </a:schemeClr>
              </a:gs>
              <a:gs pos="0">
                <a:schemeClr val="bg2">
                  <a:lumMod val="10000"/>
                  <a:alpha val="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C92341-4E4C-684D-9A0D-167374905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21438"/>
            <a:ext cx="12191999" cy="4836562"/>
          </a:xfrm>
          <a:prstGeom prst="rect">
            <a:avLst/>
          </a:prstGeom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97EF5B9-B98B-9B47-A715-CAE2BDF92A03}"/>
              </a:ext>
            </a:extLst>
          </p:cNvPr>
          <p:cNvSpPr txBox="1">
            <a:spLocks/>
          </p:cNvSpPr>
          <p:nvPr userDrawn="1"/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47DB54-D037-B84F-B6F1-2E8DA40D09AD}" type="slidenum">
              <a:rPr lang="en-US" sz="700" b="1" smtClean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pPr algn="r"/>
              <a:t>‹#›</a:t>
            </a:fld>
            <a:endParaRPr lang="en-US" sz="700" b="1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4119AD-3DF4-4FFA-9C65-EAB6345231A6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 dirty="0">
                <a:solidFill>
                  <a:schemeClr val="bg1">
                    <a:alpha val="75000"/>
                  </a:schemeClr>
                </a:solidFill>
              </a:rPr>
              <a:t>Copyright © 2022 Accenture. All rights reserved. Confidential. </a:t>
            </a:r>
            <a:endParaRPr lang="en-AU" noProof="0" dirty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0777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9 Dark purple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chemeClr val="accent3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9E5CF1-7918-EA47-B0DC-8376D5FF00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632C502-9A40-F14C-A23D-F8BC42263C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008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9 Dark purple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chemeClr val="accent3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8722F1-4A77-4543-AF94-B343144CD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09A33AB-7C22-D34B-858D-E03AE2BF86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2182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0 Magenta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chemeClr val="accent6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B6D9BC-DAEA-D249-929D-0424AB5CAD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3C23303-6A12-FA40-AF66-ADBDF850DA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028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0 Magenta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chemeClr val="accent6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85425C2-D94E-F141-BCAB-006D92F81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31041E6-5271-9C44-B023-E43893693D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5042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Fram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8772" y="3035003"/>
            <a:ext cx="2154456" cy="787993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91F8AC8-2C59-7D4A-A549-80DD7C6D00C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12192000" cy="6858000"/>
          </a:xfrm>
          <a:custGeom>
            <a:avLst/>
            <a:gdLst>
              <a:gd name="connsiteX0" fmla="*/ 5018772 w 12192000"/>
              <a:gd name="connsiteY0" fmla="*/ 3035003 h 6858000"/>
              <a:gd name="connsiteX1" fmla="*/ 5018772 w 12192000"/>
              <a:gd name="connsiteY1" fmla="*/ 3822996 h 6858000"/>
              <a:gd name="connsiteX2" fmla="*/ 7173228 w 12192000"/>
              <a:gd name="connsiteY2" fmla="*/ 3822996 h 6858000"/>
              <a:gd name="connsiteX3" fmla="*/ 7173228 w 12192000"/>
              <a:gd name="connsiteY3" fmla="*/ 303500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5018772" y="3035003"/>
                </a:moveTo>
                <a:lnTo>
                  <a:pt x="5018772" y="3822996"/>
                </a:lnTo>
                <a:lnTo>
                  <a:pt x="7173228" y="3822996"/>
                </a:lnTo>
                <a:lnTo>
                  <a:pt x="7173228" y="303500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46800" anchor="ctr">
            <a:noAutofit/>
          </a:bodyPr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03607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with gra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7C9C3F1-40C6-2F49-BF15-337D3168F2F3}"/>
              </a:ext>
            </a:extLst>
          </p:cNvPr>
          <p:cNvSpPr/>
          <p:nvPr userDrawn="1"/>
        </p:nvSpPr>
        <p:spPr>
          <a:xfrm>
            <a:off x="0" y="0"/>
            <a:ext cx="71628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84000">
                <a:schemeClr val="tx1"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41F9B8-823C-1C49-9EB3-107A9C85C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612" y="2296729"/>
            <a:ext cx="4680000" cy="15611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4600" b="1" i="0" kern="1200" spc="-11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88CF3E5-DC70-4946-9400-A6C7124BFB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598" y="3881689"/>
            <a:ext cx="4680000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3FBC35E-E1D9-554A-8925-BF637B1B2D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7598" y="4714809"/>
            <a:ext cx="4680000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37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Frame 2 - no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8772" y="3035003"/>
            <a:ext cx="2154456" cy="78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861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" r="-406"/>
          <a:stretch/>
        </p:blipFill>
        <p:spPr>
          <a:xfrm rot="5400000">
            <a:off x="-207907" y="1015565"/>
            <a:ext cx="1986284" cy="545705"/>
          </a:xfrm>
          <a:prstGeom prst="rect">
            <a:avLst/>
          </a:prstGeom>
        </p:spPr>
      </p:pic>
      <p:sp>
        <p:nvSpPr>
          <p:cNvPr id="20" name="Picture Placeholder 19"/>
          <p:cNvSpPr>
            <a:spLocks noGrp="1"/>
          </p:cNvSpPr>
          <p:nvPr>
            <p:ph type="pic" sz="quarter" idx="11"/>
          </p:nvPr>
        </p:nvSpPr>
        <p:spPr>
          <a:xfrm>
            <a:off x="0" y="3430589"/>
            <a:ext cx="12192000" cy="3062286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7" name="TextBox 6"/>
          <p:cNvSpPr txBox="1"/>
          <p:nvPr/>
        </p:nvSpPr>
        <p:spPr>
          <a:xfrm>
            <a:off x="-662517" y="4016906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>
              <a:solidFill>
                <a:srgbClr val="646464"/>
              </a:solidFill>
              <a:latin typeface="Arial"/>
              <a:ea typeface="+mn-ea"/>
              <a:cs typeface="+mn-cs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618359" y="295277"/>
            <a:ext cx="0" cy="2846387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065867" y="545910"/>
            <a:ext cx="9159300" cy="1882560"/>
          </a:xfrm>
        </p:spPr>
        <p:txBody>
          <a:bodyPr bIns="36000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065866" y="2428471"/>
            <a:ext cx="9159300" cy="713193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 algn="l"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>
          <a:xfrm>
            <a:off x="2194953" y="202934"/>
            <a:ext cx="5844147" cy="342976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>
              <a:solidFill>
                <a:srgbClr val="646464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 userDrawn="1"/>
        </p:nvSpPr>
        <p:spPr>
          <a:xfrm>
            <a:off x="446151" y="6457950"/>
            <a:ext cx="7416800" cy="8001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>
            <a:lvl1pPr marL="41669" indent="0" algn="l" defTabSz="68574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24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14298" indent="-172629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5736" indent="-172629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13" indent="-128579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2890" indent="-133341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1468" indent="-129770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69" indent="0" algn="l" defTabSz="685749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9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41669" indent="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3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669" indent="0" algn="l" defTabSz="68574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solidFill>
                  <a:prstClr val="white">
                    <a:lumMod val="50000"/>
                  </a:prstClr>
                </a:solidFill>
                <a:latin typeface="Arial"/>
              </a:rPr>
              <a:t>Accentur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4142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83B9A3-FED2-BB46-9424-284874865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E59AAB-51EC-4041-B659-A8D6349A2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059605E-B0B2-5542-827E-91879E4391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466C9D3D-F710-C24B-9D8E-768827F58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3C4AFE8-4EDD-BD4D-A2AA-582FDD6F92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6247184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Mid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rgbClr val="004F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13F5C7F-5BA7-C24A-9441-DF4652D618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83B9A3-FED2-BB46-9424-284874865E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E59AAB-51EC-4041-B659-A8D6349A2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059605E-B0B2-5542-827E-91879E4391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466C9D3D-F710-C24B-9D8E-768827F58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7610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rgbClr val="0384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0AC2DB-BC95-EF4E-A0F2-29CCFA7F73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EEE9D57-E450-F347-A622-925F2C04138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AF992E9B-7DAD-744E-8A73-C0BBF9643F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29C6CDE-6122-2A40-A11E-0B93940557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9894945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Teal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81DBC3D-5F75-8740-9EA1-AFB7E455BC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B5AC9B7B-5890-3640-BA4B-3836E9567F0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0534E271-A85E-824E-9294-DB0171897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A9B60C0-14A1-694B-9587-F4BE3B8A4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812475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Dark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3EC079-AF32-564D-80D3-812EEBAD1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3B11B1DE-7612-4243-B58E-AEE8B5CF238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D2DA5D05-8923-DC4C-A2D4-BD86E943F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22008CD-56C8-464E-9CB0-E3CFF39926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688657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46B5F6-BABC-974B-B452-AC204C1A9E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B3B0269C-EAC2-D94B-814C-8E5A6E5C6A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B52AD12F-A84D-BB4F-B232-83A82A7A65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80B8D94-5094-F74B-A54E-EFB0F22268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8124890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Dark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C4F1EC-AAE0-0641-9FF8-9D3761CBC9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269BED6-BDAA-3D49-A1E4-75E3DE3F238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0F51EADA-8B00-BA4E-9D26-003EDEA0E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1471D69-FD5A-B742-B3AF-59AF6DBEE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4441402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Magen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C4F1EC-AAE0-0641-9FF8-9D3761CBC9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269BED6-BDAA-3D49-A1E4-75E3DE3F238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0F51EADA-8B00-BA4E-9D26-003EDEA0E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D528D6D-8609-1742-B14D-55F068301E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016177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chemeClr val="tx2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5A6DB6-97E3-5247-80B3-C86D1387C8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A0EE111-78F2-694B-9CBB-0EF025909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032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AB88C-DB6D-084E-8654-2CB24C399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609DF5-57A9-F64F-92E5-F98651E3B6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BB7DC04D-8698-9B4A-84A2-36F21B32920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3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C041B496-F5DE-7E46-AC11-CBE92E9444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D26C30-EFB1-B14E-A866-D3041D49D0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4" y="1415162"/>
            <a:ext cx="5076013" cy="28350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566124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Mid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rgbClr val="004F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3DCB75-0BAE-B343-B561-41EF3B2C5A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B7DE93BB-5874-E945-A4A1-4160163F29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1B8CB7C1-138A-7B49-ADFD-8A0FD4097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270540-8062-8248-A26C-B0E305A83F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0CF93BD-3E63-2242-A14C-BEE0C187EA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090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rgbClr val="0384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BBF885D-423A-EE45-8804-147859375B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5BB01F0-8EED-9446-8215-C6AE5F9B5DE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AF90CB8E-5B06-BD4E-9B67-F888A5E24D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9FB9C9-6DB1-544E-A588-4241A84998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11F1450-C3E1-FD48-9944-799DF2E140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725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Teal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9275DF4-C197-EA42-B995-0FE11F2C11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7BFA37B-F971-F94D-A273-BB709861D2D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9D00FEE8-281F-564A-BEBE-412FCC48A6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20DE616-DB24-064C-8552-C5154FF78B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3086BAB-F882-774F-A331-C15092F88B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6619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Dark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8F948E2-7664-0D45-BC9D-4E414D5AA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42BB7FD-CD6E-1D48-AA20-E6E223B7C2B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534719B-9EAB-9C42-9D16-4412A2CE4D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EC9C982-91F1-454C-8096-77B24D81C5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BF64138-E61F-F84F-AB28-5FC461090E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466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205FA6-D4BB-C245-A2DE-3735147E2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08C2E30-542D-6D41-A27F-7DFABC0E78A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628E859-7EED-134F-951E-90907E13A2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FD9C96D-AB89-8F41-80B9-76DD62D266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D1EF9E9-CBCA-3442-B440-DB35C93AFD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23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Dark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3456F5-104A-7F44-A20F-9627E987A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43E48AAE-4BB0-D748-8F22-A36731C8D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32A1823E-874F-1A41-B57A-64C5D12B6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30A87E-B5CF-E348-8BB1-5D45905DA7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5AA6202-AAD1-0345-9724-001B07E01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7847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Magen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3456F5-104A-7F44-A20F-9627E987A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43E48AAE-4BB0-D748-8F22-A36731C8D8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32A1823E-874F-1A41-B57A-64C5D12B6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8CDB776-86DC-554E-8C4E-D339D9F8A9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3700479-33E7-3E43-8CAE-AC516CF588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9928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FD6315A-A48B-854A-8FC5-91A1E1F9BB78}"/>
              </a:ext>
            </a:extLst>
          </p:cNvPr>
          <p:cNvSpPr/>
          <p:nvPr userDrawn="1"/>
        </p:nvSpPr>
        <p:spPr>
          <a:xfrm>
            <a:off x="0" y="0"/>
            <a:ext cx="12191999" cy="6327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C65D47-E3EC-5348-A93E-EEF17FECD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6C33728-E954-BE44-A279-371E2F9F4D8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760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D9B6296-BAF0-0B4E-88F5-65C1979D17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E26752-1A21-E84C-A5A9-FC2792911E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4" y="1415162"/>
            <a:ext cx="3507217" cy="4912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None/>
              <a:defRPr sz="6000" b="1" i="0" cap="none" spc="-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6400"/>
              </a:lnSpc>
              <a:spcBef>
                <a:spcPts val="0"/>
              </a:spcBef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2700"/>
              </a:lnSpc>
              <a:spcBef>
                <a:spcPts val="0"/>
              </a:spcBef>
              <a:buNone/>
              <a:defRPr sz="2200" b="1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8A2BD26-DFC4-8342-8D3C-33AEB1C07E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7203" y="1534376"/>
            <a:ext cx="3497592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4795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and info –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C3EC079-AF32-564D-80D3-812EEBAD1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2" r="99" b="7732"/>
          <a:stretch/>
        </p:blipFill>
        <p:spPr>
          <a:xfrm>
            <a:off x="0" y="1"/>
            <a:ext cx="12192000" cy="6327776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3E7AF0-5287-C548-B331-DD67148F05A6}"/>
              </a:ext>
            </a:extLst>
          </p:cNvPr>
          <p:cNvSpPr/>
          <p:nvPr userDrawn="1"/>
        </p:nvSpPr>
        <p:spPr>
          <a:xfrm>
            <a:off x="0" y="1400176"/>
            <a:ext cx="11847513" cy="4979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ADF0FB-0DC2-1641-B60D-150E734B6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2729"/>
            <a:ext cx="11519718" cy="55662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E8AFD0E2-751A-A142-8EC1-96834B0470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842AA60-86E3-884D-AEF5-61A6F54769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8613" y="1478661"/>
            <a:ext cx="11276704" cy="4685709"/>
          </a:xfrm>
          <a:prstGeom prst="rect">
            <a:avLst/>
          </a:prstGeom>
        </p:spPr>
        <p:txBody>
          <a:bodyPr lIns="0"/>
          <a:lstStyle>
            <a:lvl1pPr marL="216000" indent="-216000">
              <a:lnSpc>
                <a:spcPct val="100000"/>
              </a:lnSpc>
              <a:defRPr/>
            </a:lvl1pPr>
            <a:lvl2pPr marL="432000" indent="-216000">
              <a:lnSpc>
                <a:spcPct val="100000"/>
              </a:lnSpc>
              <a:defRPr/>
            </a:lvl2pPr>
            <a:lvl3pPr marL="648000" indent="-216000">
              <a:lnSpc>
                <a:spcPct val="100000"/>
              </a:lnSpc>
              <a:defRPr/>
            </a:lvl3pPr>
            <a:lvl4pPr marL="864000" indent="-216000">
              <a:lnSpc>
                <a:spcPct val="100000"/>
              </a:lnSpc>
              <a:defRPr/>
            </a:lvl4pPr>
            <a:lvl5pPr marL="1080000" indent="-216000"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91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chemeClr val="tx2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349ED01-2F4A-DF4F-B2BD-3CA5F27FCC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07DA5CC-9540-1146-BBED-F054A2BFCD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1996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and info - Dark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C3EC079-AF32-564D-80D3-812EEBAD1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2" r="99" b="7732"/>
          <a:stretch/>
        </p:blipFill>
        <p:spPr>
          <a:xfrm>
            <a:off x="0" y="1"/>
            <a:ext cx="12192000" cy="632777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3E7AF0-5287-C548-B331-DD67148F05A6}"/>
              </a:ext>
            </a:extLst>
          </p:cNvPr>
          <p:cNvSpPr/>
          <p:nvPr userDrawn="1"/>
        </p:nvSpPr>
        <p:spPr>
          <a:xfrm>
            <a:off x="0" y="1400176"/>
            <a:ext cx="11847513" cy="4979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F7BE5F96-C298-2B42-8C34-655ED9FB7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914A5CEB-2664-C44C-B79F-17346E472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2729"/>
            <a:ext cx="11519718" cy="55662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C508C48-8B98-264E-BBFF-D4D42EF6A7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8613" y="1478661"/>
            <a:ext cx="11276704" cy="4685709"/>
          </a:xfrm>
          <a:prstGeom prst="rect">
            <a:avLst/>
          </a:prstGeom>
        </p:spPr>
        <p:txBody>
          <a:bodyPr lIns="0"/>
          <a:lstStyle>
            <a:lvl1pPr marL="216000" indent="-216000">
              <a:lnSpc>
                <a:spcPct val="100000"/>
              </a:lnSpc>
              <a:defRPr/>
            </a:lvl1pPr>
            <a:lvl2pPr marL="432000" indent="-216000">
              <a:lnSpc>
                <a:spcPct val="100000"/>
              </a:lnSpc>
              <a:defRPr/>
            </a:lvl2pPr>
            <a:lvl3pPr marL="648000" indent="-216000">
              <a:lnSpc>
                <a:spcPct val="100000"/>
              </a:lnSpc>
              <a:defRPr/>
            </a:lvl3pPr>
            <a:lvl4pPr marL="864000" indent="-216000">
              <a:lnSpc>
                <a:spcPct val="100000"/>
              </a:lnSpc>
              <a:defRPr/>
            </a:lvl4pPr>
            <a:lvl5pPr marL="1080000" indent="-216000"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0782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and info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C3EC079-AF32-564D-80D3-812EEBAD1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2" r="99" b="7732"/>
          <a:stretch/>
        </p:blipFill>
        <p:spPr>
          <a:xfrm>
            <a:off x="0" y="1"/>
            <a:ext cx="12192000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3E7AF0-5287-C548-B331-DD67148F05A6}"/>
              </a:ext>
            </a:extLst>
          </p:cNvPr>
          <p:cNvSpPr/>
          <p:nvPr userDrawn="1"/>
        </p:nvSpPr>
        <p:spPr>
          <a:xfrm>
            <a:off x="0" y="1400176"/>
            <a:ext cx="11847513" cy="4979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16">
            <a:extLst>
              <a:ext uri="{FF2B5EF4-FFF2-40B4-BE49-F238E27FC236}">
                <a16:creationId xmlns:a16="http://schemas.microsoft.com/office/drawing/2014/main" id="{FAE87F2A-E0EF-2243-BB9E-02A6CD4F5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F7BE5F96-C298-2B42-8C34-655ED9FB7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60D7788-7968-804F-AEC1-FA01FB234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3200"/>
            <a:ext cx="11519718" cy="55662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853A212-44A4-DC4C-AC85-7A7B18BC0A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8613" y="1478661"/>
            <a:ext cx="11276704" cy="4685709"/>
          </a:xfrm>
          <a:prstGeom prst="rect">
            <a:avLst/>
          </a:prstGeom>
        </p:spPr>
        <p:txBody>
          <a:bodyPr lIns="0"/>
          <a:lstStyle>
            <a:lvl1pPr marL="216000" indent="-216000">
              <a:lnSpc>
                <a:spcPct val="100000"/>
              </a:lnSpc>
              <a:defRPr/>
            </a:lvl1pPr>
            <a:lvl2pPr marL="432000" indent="-216000">
              <a:lnSpc>
                <a:spcPct val="100000"/>
              </a:lnSpc>
              <a:defRPr/>
            </a:lvl2pPr>
            <a:lvl3pPr marL="648000" indent="-216000">
              <a:lnSpc>
                <a:spcPct val="100000"/>
              </a:lnSpc>
              <a:defRPr/>
            </a:lvl3pPr>
            <a:lvl4pPr marL="864000" indent="-216000">
              <a:lnSpc>
                <a:spcPct val="100000"/>
              </a:lnSpc>
              <a:defRPr/>
            </a:lvl4pPr>
            <a:lvl5pPr marL="1080000" indent="-216000"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2341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039D1F-7517-BC4C-A33A-2B8C4A0B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C8687E8-27E9-EC4E-8151-E7B15636F3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9576D17D-4B99-9948-A452-016AFC7A5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509417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0953EA2-C52C-D44A-90AB-7BA665698B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4207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2C891C-93F8-E14B-A95E-F6B28853F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4" y="0"/>
            <a:ext cx="344486" cy="6327776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6ED4DF8-51BF-6547-A94E-6A6CBF3F0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A30FD5A7-1481-6346-9D18-F30A5CB21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6912078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8C936B2-6B7A-EA46-A142-818D1A1B6A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3972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C7A64-3E47-CA41-B6B6-207A8B438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4" y="0"/>
            <a:ext cx="344486" cy="6327776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8C2222D0-D493-2046-AB28-8637A69C47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A41392E-4E0C-7641-A730-2EF0B411F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10973968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BC570E3-F2CB-D847-90BC-0C35AAFA280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6256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039D1F-7517-BC4C-A33A-2B8C4A0B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C8687E8-27E9-EC4E-8151-E7B15636F3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41F51BA1-62ED-E241-A19D-424986E06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509417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120144F-360F-5A45-B248-632C87B922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21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2C891C-93F8-E14B-A95E-F6B28853F9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6ED4DF8-51BF-6547-A94E-6A6CBF3F0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100C2815-2FA6-D245-BC61-8563A9115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6912078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FC39B11-B719-6E44-8631-2825F20720E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6514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C7A64-3E47-CA41-B6B6-207A8B438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8C2222D0-D493-2046-AB28-8637A69C47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5A632F51-8C0D-1C40-8357-58FAF136E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10973968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B79A5F4-B6BC-D44E-B779-DAFAABA570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6578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FB33E7-6A3C-ED43-B07F-6B2D7F9D7A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562D22F-83AF-C14E-965D-DE2AFE1AC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CE32375-BFB2-8745-A550-0AA38EAF2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494347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0CB26FD-8358-AF42-A7DF-688636326B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8236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0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5D5F8B-7992-0A49-9C1F-A7FBF80E5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CA2025DF-88F1-954D-83CD-E0CFA882F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064A37E1-B399-5D40-95CB-C9DDF9E6A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6912076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827821E-4245-AB42-BAC0-4D2055D2573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934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Blue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rgbClr val="004F9A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5A6DB6-97E3-5247-80B3-C86D1387C8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A0EE111-78F2-694B-9CBB-0EF025909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4049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8C7A64-3E47-CA41-B6B6-207A8B438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4F8C0437-2C48-A841-B88F-0018B1A674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10AE6657-4DDE-5143-AD2D-EC2D9DB033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2" y="401638"/>
            <a:ext cx="1098285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3605173-DE60-8A47-9125-B6D198CC92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5287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1A59EF-4E18-9441-87D1-E084042C1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2349FD06-9255-3F42-B1E4-367809D157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6CEBEF60-64B4-DD44-A4A2-B35C78E4A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494347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63B7E0C-D2E6-C04C-917D-D18B10C31D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6524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1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AEB05F-B647-0B47-BA39-74A293903D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EB4BAC4F-644D-6447-A774-499D398AEB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DEC06860-B7B6-9B49-B792-A2418266F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6912079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D7270A3-2E83-A341-9B7C-4609DE89B42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1772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85684E-A4EB-9249-910B-EB03ABDFBF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8647AEBA-E8E7-9B41-84E1-B1F1221E23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97399B94-E548-494B-9359-F4657BA60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098285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095727D-F235-994D-8248-6CA3DEBEF5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1702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en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1A59EF-4E18-9441-87D1-E084042C1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CC0D7B0-94F7-E748-81BC-4F6F815DE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7F4DB901-802F-7543-88A8-0E4D3363F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494781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E186D67-0643-9B49-A4A4-658DB47B1A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0882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en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1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B6E89C-1306-2E41-A3D3-EEA227458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F351C5AA-BD1A-7A4E-806B-96B283AD0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05CB18E7-E15B-3548-9688-38F358DAD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6912079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283AFDF-50A9-ED40-832C-DFFD9D00CB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759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e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39A5EA-9F6E-EB4F-AC59-0C71CD4A42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2FC27632-BB84-CF43-B228-55136E09F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DE6D25A3-7313-4842-80AF-B4F6C7CB6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098285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CF0B390-B324-ED44-AEDF-AC37160CEDB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9289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1A59EF-4E18-9441-87D1-E084042C1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2" y="0"/>
            <a:ext cx="344486" cy="6327776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CC0D7B0-94F7-E748-81BC-4F6F815DE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F7FADE7F-040F-1941-ABD1-321CED327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494781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86E17EB-A24A-D944-B920-8B939C0F15D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0324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1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B6E89C-1306-2E41-A3D3-EEA227458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F351C5AA-BD1A-7A4E-806B-96B283AD0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00513FF2-8712-0A45-B0DA-0ADE213E4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6912079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5AF4C24-2406-734C-B086-6500F68FF3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2986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39A5EA-9F6E-EB4F-AC59-0C71CD4A42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2FC27632-BB84-CF43-B228-55136E09F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CCC802A8-2E2B-AD43-ADEC-B2C05D0FB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098285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3F62BD9-1517-9740-A686-28643455154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560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Blue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rgbClr val="004F9A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349ED01-2F4A-DF4F-B2BD-3CA5F27FCC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07DA5CC-9540-1146-BBED-F054A2BFCD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4952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Purple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1A59EF-4E18-9441-87D1-E084042C1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342BCD03-0D3A-9E43-A865-A19EB64280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AC66AA30-F2F4-5042-B4C1-51F455618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494781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F376647-9591-0C41-9C0E-6A9CF467020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2735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Purple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1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9164B0-EDC6-8744-A628-B50C1F862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885EFE7B-51D2-DC4F-B9E3-8D4186879B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F4D55B9D-FBBC-4F4C-91EC-AA1AB77B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6912079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24C3496-8C6B-4643-B754-D93B6D4AA3F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2499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Purpl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771AF0-A901-AF4C-9786-339D15F4B9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8FAFE55F-D3ED-B642-81B3-5672AB199E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3BAC0726-91DA-BF4F-8368-CBD17250F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098285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5B7728D-8D11-B249-AAC8-D635E981FDF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922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ine Red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1A59EF-4E18-9441-87D1-E084042C1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D60057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FC52B6D-A0EC-3A40-8561-44EB926CDE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22CE74F1-0D6A-DE4C-B753-7AD6E1A6B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2" y="401638"/>
            <a:ext cx="4943476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83F0052-F6CC-D84D-94D6-E2D01C246D2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8822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ine Red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1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180D562-D9C7-B143-8B7B-39CD56897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D60057"/>
          </a:solidFill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FDFEA6DF-C3FB-8C42-A1CD-AC7A8F3FE9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B699DF61-A1D4-0A43-B3D1-214D2ABB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6912079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7FF7309-EAB2-5F42-8E75-719CCFAE36B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4869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ine Re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58AA5F-5983-F941-9877-999AAD5701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rgbClr val="D60057"/>
          </a:solidFill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99862C82-4F42-3F42-876F-56CE596FE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6884F855-C7C4-934F-B172-427D4E47E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0982857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4EE257A-5AB1-C64D-8679-DE2DCA2E37C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2026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- 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2D2884-9D1A-704B-B6A5-AAF46665F9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9112" y="0"/>
            <a:ext cx="6098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1A59EF-4E18-9441-87D1-E084042C1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745D0BA0-CF81-744C-8D2C-736ABF6360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1A1525DE-8D23-184A-8745-6C955928A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1638"/>
            <a:ext cx="4943476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061A362-F95F-774C-9137-3284631368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4943480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8250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- 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80209AB-D39A-294E-A718-07031278EF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83111" y="0"/>
            <a:ext cx="4064400" cy="6327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50FC3C7-F725-9C4C-B182-1057E2B8E3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48924C3A-01D1-CF4B-B521-4996D1CE0E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2E3DA3AF-4D79-364A-8EBE-7B9882B61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2" y="401638"/>
            <a:ext cx="6912075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234724D-F5C3-8340-A0A8-A0B24A903E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6912079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333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256730-644D-BA41-9978-8AA5D72EC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47513" y="1"/>
            <a:ext cx="344486" cy="632777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A2581EA7-D79D-8E44-8AD0-4C39DEFC7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34841652-03D5-9B44-87E7-228D04C3E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2" y="401638"/>
            <a:ext cx="10973970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DA3E04B-E22D-F441-BB96-718EF6C49B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10982858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0341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2007C127-0CA4-244C-A87F-A13D19FDCD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00C0BFE9-364B-8C4F-B7C3-60CFC2BBB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C588391-E156-0040-873D-585ACC12828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8" y="1534376"/>
            <a:ext cx="1151890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931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 Light blue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rgbClr val="0384DB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E1FC269-98E9-2D40-8C9D-1874F75718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24A1D13-02C8-DB41-8DD5-B254682B07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9052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9" name="Chart Placeholder 17">
            <a:extLst>
              <a:ext uri="{FF2B5EF4-FFF2-40B4-BE49-F238E27FC236}">
                <a16:creationId xmlns:a16="http://schemas.microsoft.com/office/drawing/2014/main" id="{39B94E55-D93A-C24F-BA79-8CA5E46B856E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28612" y="1974849"/>
            <a:ext cx="11520000" cy="366967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here to insert chart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34F4018-FF89-8846-8617-E8EE20F33F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39909D-22D2-E44B-B16C-B1E97662D1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8611" y="1539600"/>
            <a:ext cx="11511784" cy="375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1">
                <a:solidFill>
                  <a:srgbClr val="4D4D4D"/>
                </a:solidFill>
              </a:defRPr>
            </a:lvl1pPr>
            <a:lvl2pPr marL="457200" indent="0">
              <a:buNone/>
              <a:defRPr sz="2200">
                <a:solidFill>
                  <a:srgbClr val="4D4D4D"/>
                </a:solidFill>
              </a:defRPr>
            </a:lvl2pPr>
            <a:lvl3pPr marL="914400" indent="0">
              <a:buNone/>
              <a:defRPr sz="2200">
                <a:solidFill>
                  <a:srgbClr val="4D4D4D"/>
                </a:solidFill>
              </a:defRPr>
            </a:lvl3pPr>
            <a:lvl4pPr marL="1371600" indent="0">
              <a:buNone/>
              <a:defRPr sz="2200">
                <a:solidFill>
                  <a:srgbClr val="4D4D4D"/>
                </a:solidFill>
              </a:defRPr>
            </a:lvl4pPr>
            <a:lvl5pPr marL="1828800" indent="0">
              <a:buNone/>
              <a:defRPr sz="22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EE823A-2D36-994F-878A-537AF133DB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11" y="5761406"/>
            <a:ext cx="11511783" cy="47270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900">
                <a:solidFill>
                  <a:srgbClr val="4D4D4D"/>
                </a:solidFill>
              </a:defRPr>
            </a:lvl1pPr>
            <a:lvl2pPr marL="457200" indent="0">
              <a:buNone/>
              <a:defRPr sz="900">
                <a:solidFill>
                  <a:srgbClr val="4D4D4D"/>
                </a:solidFill>
              </a:defRPr>
            </a:lvl2pPr>
            <a:lvl3pPr marL="914400" indent="0">
              <a:buNone/>
              <a:defRPr sz="900">
                <a:solidFill>
                  <a:srgbClr val="4D4D4D"/>
                </a:solidFill>
              </a:defRPr>
            </a:lvl3pPr>
            <a:lvl4pPr marL="1371600" indent="0">
              <a:buNone/>
              <a:defRPr sz="900">
                <a:solidFill>
                  <a:srgbClr val="4D4D4D"/>
                </a:solidFill>
              </a:defRPr>
            </a:lvl4pPr>
            <a:lvl5pPr marL="1828800" indent="0">
              <a:buNone/>
              <a:defRPr sz="9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EC6DAE1C-B6E2-9947-B272-823F217A6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687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9" name="Chart Placeholder 17">
            <a:extLst>
              <a:ext uri="{FF2B5EF4-FFF2-40B4-BE49-F238E27FC236}">
                <a16:creationId xmlns:a16="http://schemas.microsoft.com/office/drawing/2014/main" id="{B2B4EC1B-B596-9F4D-9911-CAA411CE5CAB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28612" y="1974849"/>
            <a:ext cx="5667375" cy="366967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here to insert chart</a:t>
            </a:r>
          </a:p>
        </p:txBody>
      </p:sp>
      <p:sp>
        <p:nvSpPr>
          <p:cNvPr id="10" name="Chart Placeholder 17">
            <a:extLst>
              <a:ext uri="{FF2B5EF4-FFF2-40B4-BE49-F238E27FC236}">
                <a16:creationId xmlns:a16="http://schemas.microsoft.com/office/drawing/2014/main" id="{91D70187-89E8-0140-8F9A-F72942BF32CF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70262" y="1974850"/>
            <a:ext cx="5667375" cy="36696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here to insert char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8187F14-BC36-B64D-B791-1AD72A4A0D3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560668"/>
            <a:ext cx="0" cy="4673443"/>
          </a:xfrm>
          <a:prstGeom prst="line">
            <a:avLst/>
          </a:prstGeom>
          <a:ln>
            <a:solidFill>
              <a:srgbClr val="6F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F52ABE1-D005-D142-8962-7E6FEE0BB3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1AE6B56-BEE5-0F46-B760-F98F6508A0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10" y="1539600"/>
            <a:ext cx="5667373" cy="375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1">
                <a:solidFill>
                  <a:srgbClr val="4D4D4D"/>
                </a:solidFill>
              </a:defRPr>
            </a:lvl1pPr>
            <a:lvl2pPr marL="457200" indent="0">
              <a:buNone/>
              <a:defRPr sz="2200">
                <a:solidFill>
                  <a:srgbClr val="4D4D4D"/>
                </a:solidFill>
              </a:defRPr>
            </a:lvl2pPr>
            <a:lvl3pPr marL="914400" indent="0">
              <a:buNone/>
              <a:defRPr sz="2200">
                <a:solidFill>
                  <a:srgbClr val="4D4D4D"/>
                </a:solidFill>
              </a:defRPr>
            </a:lvl3pPr>
            <a:lvl4pPr marL="1371600" indent="0">
              <a:buNone/>
              <a:defRPr sz="2200">
                <a:solidFill>
                  <a:srgbClr val="4D4D4D"/>
                </a:solidFill>
              </a:defRPr>
            </a:lvl4pPr>
            <a:lvl5pPr marL="1828800" indent="0">
              <a:buNone/>
              <a:defRPr sz="22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7855427-C46F-6E43-B88B-9B867F64AF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8611" y="5761406"/>
            <a:ext cx="5667373" cy="47270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900">
                <a:solidFill>
                  <a:srgbClr val="4D4D4D"/>
                </a:solidFill>
              </a:defRPr>
            </a:lvl1pPr>
            <a:lvl2pPr marL="457200" indent="0">
              <a:buNone/>
              <a:defRPr sz="900">
                <a:solidFill>
                  <a:srgbClr val="4D4D4D"/>
                </a:solidFill>
              </a:defRPr>
            </a:lvl2pPr>
            <a:lvl3pPr marL="914400" indent="0">
              <a:buNone/>
              <a:defRPr sz="900">
                <a:solidFill>
                  <a:srgbClr val="4D4D4D"/>
                </a:solidFill>
              </a:defRPr>
            </a:lvl3pPr>
            <a:lvl4pPr marL="1371600" indent="0">
              <a:buNone/>
              <a:defRPr sz="900">
                <a:solidFill>
                  <a:srgbClr val="4D4D4D"/>
                </a:solidFill>
              </a:defRPr>
            </a:lvl4pPr>
            <a:lvl5pPr marL="1828800" indent="0">
              <a:buNone/>
              <a:defRPr sz="9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2D534B1-AF29-6542-8A4A-90323EED44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0262" y="1539600"/>
            <a:ext cx="5669648" cy="375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1">
                <a:solidFill>
                  <a:srgbClr val="4D4D4D"/>
                </a:solidFill>
              </a:defRPr>
            </a:lvl1pPr>
            <a:lvl2pPr marL="457200" indent="0">
              <a:buNone/>
              <a:defRPr sz="2200">
                <a:solidFill>
                  <a:srgbClr val="4D4D4D"/>
                </a:solidFill>
              </a:defRPr>
            </a:lvl2pPr>
            <a:lvl3pPr marL="914400" indent="0">
              <a:buNone/>
              <a:defRPr sz="2200">
                <a:solidFill>
                  <a:srgbClr val="4D4D4D"/>
                </a:solidFill>
              </a:defRPr>
            </a:lvl3pPr>
            <a:lvl4pPr marL="1371600" indent="0">
              <a:buNone/>
              <a:defRPr sz="2200">
                <a:solidFill>
                  <a:srgbClr val="4D4D4D"/>
                </a:solidFill>
              </a:defRPr>
            </a:lvl4pPr>
            <a:lvl5pPr marL="1828800" indent="0">
              <a:buNone/>
              <a:defRPr sz="22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E5D87E4F-7A75-9147-A964-185CD47EBD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0261" y="5761406"/>
            <a:ext cx="5669648" cy="47270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900">
                <a:solidFill>
                  <a:srgbClr val="4D4D4D"/>
                </a:solidFill>
              </a:defRPr>
            </a:lvl1pPr>
            <a:lvl2pPr marL="457200" indent="0">
              <a:buNone/>
              <a:defRPr sz="900">
                <a:solidFill>
                  <a:srgbClr val="4D4D4D"/>
                </a:solidFill>
              </a:defRPr>
            </a:lvl2pPr>
            <a:lvl3pPr marL="914400" indent="0">
              <a:buNone/>
              <a:defRPr sz="900">
                <a:solidFill>
                  <a:srgbClr val="4D4D4D"/>
                </a:solidFill>
              </a:defRPr>
            </a:lvl3pPr>
            <a:lvl4pPr marL="1371600" indent="0">
              <a:buNone/>
              <a:defRPr sz="900">
                <a:solidFill>
                  <a:srgbClr val="4D4D4D"/>
                </a:solidFill>
              </a:defRPr>
            </a:lvl4pPr>
            <a:lvl5pPr marL="1828800" indent="0">
              <a:buNone/>
              <a:defRPr sz="9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F69E945C-D781-CE41-A766-6E74950FA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2280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ou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8" name="Content Placeholder 13">
            <a:extLst>
              <a:ext uri="{FF2B5EF4-FFF2-40B4-BE49-F238E27FC236}">
                <a16:creationId xmlns:a16="http://schemas.microsoft.com/office/drawing/2014/main" id="{C0B53582-4809-174E-934D-F05E5B0114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8611" y="1605816"/>
            <a:ext cx="11511783" cy="4721958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endParaRPr 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6E925BA3-41D8-7348-BE82-C704337417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381AAE7B-F928-614F-BEC7-03F3E25CD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4498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50AEB4D3-51E5-2F44-8BBA-91907484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19CD795-FA1A-0941-8A92-BA09D263ABC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2458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1766A70A-E117-9546-9B6D-8F42CA705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AA27E90-C798-9147-8364-340CBCB2DB8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0988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0486B7E9-04E2-A74F-B8ED-87E5F280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FF997F0-4531-344E-A0C2-17B40561298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034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28A89318-ED32-FD47-AD4A-B669DE9BF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7C5ED5C-403B-C54B-B3C0-89E937E71A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095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B092F287-E5DA-C543-99D2-1ADBC6D45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E9210C3-9260-284B-8BB8-3688302DC2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5085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DEB44D7A-C098-644A-8CBD-043746E49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5E480DB-8EDB-1B44-A014-FAAF052C01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828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A10A0584-0252-E446-ACD0-B8495A5A9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387BC46-5664-8848-A6FB-DFD58FE48B4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888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 Light blue panel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0321" y="1400175"/>
            <a:ext cx="1632069" cy="596930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63C292-7F42-6849-BB73-1F8563F132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0321" y="2191266"/>
            <a:ext cx="5767387" cy="4001142"/>
          </a:xfrm>
          <a:prstGeom prst="rect">
            <a:avLst/>
          </a:prstGeom>
          <a:solidFill>
            <a:srgbClr val="0384DB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F178E1D-777A-494F-8BCE-58E9C3AB17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2507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3862F4F-76A7-3142-9F49-00CFA62360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2507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14798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42E4E707-AFC8-F04E-ACA2-90E3B6DCC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6278632-BBDF-C540-BA43-1EB243EB855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44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1 –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180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  <a:p>
            <a:pPr marL="0" lvl="1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/>
              <a:t>Text her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677C8A78-1579-2348-A134-6F1711269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Placeholder 2">
            <a:extLst>
              <a:ext uri="{FF2B5EF4-FFF2-40B4-BE49-F238E27FC236}">
                <a16:creationId xmlns:a16="http://schemas.microsoft.com/office/drawing/2014/main" id="{21D49A93-6D99-E74C-ABE2-700C65552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1" y="401638"/>
            <a:ext cx="11518902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594FDD4-EAFB-9147-B8B2-958D1B4E5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8609" y="1534376"/>
            <a:ext cx="3940881" cy="4796574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00000"/>
              </a:lnSpc>
              <a:buFont typeface="System Font Regular"/>
              <a:buChar char="–"/>
              <a:defRPr sz="24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4000" indent="-252000">
              <a:lnSpc>
                <a:spcPct val="100000"/>
              </a:lnSpc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56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8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000" indent="-252000">
              <a:lnSpc>
                <a:spcPct val="100000"/>
              </a:lnSpc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6604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3A59EF2-1924-AB4E-9AD4-DBAC68C990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591459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64723C92-C7F5-C24C-AC1E-F34DC77F75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27754482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A3DEC3A-C671-7548-BCA5-6FFE4E5553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3157279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  <a:solidFill>
            <a:srgbClr val="2F9191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rgbClr val="2F9191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BCA33C3-6A2E-734F-8E70-5A50CC992D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441662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064400" cy="632777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7F96865E-AD75-E74D-AE15-2426FF1B5F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23380837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31DD593-EB6F-AF4C-9879-EACF471394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69569317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FF64E1F-7DA1-4441-AD77-6BA8EDFD2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60323264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4C17B3D-241A-3345-AC5C-A014D7F309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1940000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 Teal panel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0FF807-F335-6B4C-9331-2E8C7B462D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613" y="2191266"/>
            <a:ext cx="5767387" cy="4001142"/>
          </a:xfrm>
          <a:prstGeom prst="rect">
            <a:avLst/>
          </a:prstGeom>
          <a:solidFill>
            <a:schemeClr val="accent4"/>
          </a:solidFill>
        </p:spPr>
        <p:txBody>
          <a:bodyPr lIns="180000" tIns="108000" rIns="180000" bIns="0"/>
          <a:lstStyle>
            <a:lvl1pPr marL="0" indent="0">
              <a:lnSpc>
                <a:spcPts val="5200"/>
              </a:lnSpc>
              <a:spcBef>
                <a:spcPts val="0"/>
              </a:spcBef>
              <a:spcAft>
                <a:spcPts val="800"/>
              </a:spcAft>
              <a:buNone/>
              <a:defRPr sz="4600" b="1" i="0" spc="-11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1500"/>
              </a:spcAft>
              <a:buNone/>
              <a:defRPr sz="22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GB"/>
              <a:t>Heading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917B221-FA6D-2746-93B9-18934C09A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3" y="1400175"/>
            <a:ext cx="1632069" cy="5969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30B9C6A-B442-8B46-9817-BC4E8A3653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0799" y="388168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Sub heading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9257081-D40D-5341-ABDF-72FB73DC9A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99" y="4714809"/>
            <a:ext cx="5328134" cy="80545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 b="0" i="0" spc="-7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5605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2 –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33BEFB-3970-5440-B9B0-1ED43C218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2064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028AC2-1398-6843-944F-F2D917B3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430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F6005A-4C4A-B14D-8060-DAD55BEDC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796" y="1588351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D7EC8F-A93A-3A45-B96D-06799E52D8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322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34F9D0-C320-F047-A783-DF4079A573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688" y="3967484"/>
            <a:ext cx="2142000" cy="2142067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4A1A31C-AAEA-5244-A3DC-FAE7C640F79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949572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43EF060-5240-904E-A0CE-4C033D1EB3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09748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9B32546-673F-A640-BCAE-3F8B4BBB5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70114" y="1759385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921415F-96F5-CD4C-8C1C-695BD45B1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8640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Stat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3C16B46-4B61-A747-A80C-E086906301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29006" y="4138517"/>
            <a:ext cx="1807364" cy="4956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250"/>
              </a:spcAft>
              <a:buNone/>
              <a:defRPr sz="38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ts val="2750"/>
              </a:lnSpc>
              <a:spcBef>
                <a:spcPts val="0"/>
              </a:spcBef>
              <a:buNone/>
              <a:defRPr lang="en-GB" sz="2200" b="0" i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 sz="4000"/>
              <a:t>Sta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396868-47CD-DB41-9309-2E17A70260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9572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F37AFC2-0BAD-A642-BBED-1093239271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09748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47CF92F-3A02-D749-886A-CFB227373D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70114" y="2316276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D9126E-F9D7-0D49-9C6E-A37114987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68640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81DC756-8021-8547-9F6E-492A10D0F9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9006" y="4695408"/>
            <a:ext cx="1807364" cy="12431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2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609BA86-8274-084E-BCEE-D3F12813E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487F20B-56D8-5E44-9033-D50D18AB88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511892"/>
            <a:ext cx="3466493" cy="48158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3860735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3 –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064400" cy="6327776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FCEC092-1CDB-BC4A-B37F-9F5A0D5065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84060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09229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3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064400" cy="6327776"/>
          </a:xfrm>
          <a:prstGeom prst="rect">
            <a:avLst/>
          </a:prstGeom>
          <a:solidFill>
            <a:srgbClr val="004F9A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rgbClr val="004F9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rgbClr val="004F9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rgbClr val="004F9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rgbClr val="004F9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625D25F-D859-6948-B8BB-139A0192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260188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3 –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rgbClr val="0384DB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rgbClr val="0384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rgbClr val="0384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rgbClr val="0384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rgbClr val="0384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93EE63F-85E7-AB40-8498-02A5A6D4A4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102771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data 3 –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691139E-5105-9C4E-82FC-6BE9880745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457870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data 3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4C11F7C-0C74-2841-AD9F-5AA1DCB7A5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423465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data 3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EB75EE2-7E15-9F42-9820-C48BE10CB6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265738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3 –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2387ECB-04C0-A145-A6F2-5C76772747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0065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ata 3 –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ACE57DA-E8BF-BE44-ADDE-9CF7AAD93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2131266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data 3 –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607860-FC1F-664B-8AEB-3A938931B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64400" cy="632777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67EB28-7F82-DC49-BA42-365F09ABB9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S to ISE Migration Project CV  |  22 June 2022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A82CF77C-7995-D044-AA45-D3174D21C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0F7FB1-9303-0D41-B575-6454DE32EE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8175" y="990000"/>
            <a:ext cx="7399338" cy="5524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98F609-CB1C-B642-A4D5-34CC2CEF8BD8}"/>
              </a:ext>
            </a:extLst>
          </p:cNvPr>
          <p:cNvCxnSpPr>
            <a:cxnSpLocks/>
          </p:cNvCxnSpPr>
          <p:nvPr userDrawn="1"/>
        </p:nvCxnSpPr>
        <p:spPr>
          <a:xfrm>
            <a:off x="4463452" y="1605523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DA1E80-B6CF-C549-9393-FFE5C9BB06B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3179941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EA6D27-2865-9346-8E39-317BC56BCF66}"/>
              </a:ext>
            </a:extLst>
          </p:cNvPr>
          <p:cNvCxnSpPr>
            <a:cxnSpLocks/>
          </p:cNvCxnSpPr>
          <p:nvPr userDrawn="1"/>
        </p:nvCxnSpPr>
        <p:spPr>
          <a:xfrm>
            <a:off x="4463452" y="4754359"/>
            <a:ext cx="7384061" cy="0"/>
          </a:xfrm>
          <a:prstGeom prst="line">
            <a:avLst/>
          </a:prstGeom>
          <a:ln>
            <a:solidFill>
              <a:srgbClr val="6F6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BA3F39-33C1-3E43-A1D5-848AA6C3E3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8175" y="1604967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8D29885-9C9F-394E-8011-D7D25427A4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8175" y="3181261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5F0813-9B10-3849-8F62-0CDE003A3C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8175" y="4758070"/>
            <a:ext cx="3289300" cy="1574954"/>
          </a:xfrm>
          <a:prstGeom prst="rect">
            <a:avLst/>
          </a:prstGeom>
        </p:spPr>
        <p:txBody>
          <a:bodyPr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22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09D022D-ACE2-6946-ACAA-4CA473E32C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131" y="1604967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F58FA30-AD27-5946-B2D8-A1D6D59318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77131" y="31794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CA44581-8DED-654D-B971-413316E7FF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131" y="4753966"/>
            <a:ext cx="3670381" cy="1574954"/>
          </a:xfrm>
          <a:prstGeom prst="rect">
            <a:avLst/>
          </a:prstGeom>
        </p:spPr>
        <p:txBody>
          <a:bodyPr lIns="0" tIns="108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stem Font Regular"/>
              <a:buNone/>
              <a:defRPr sz="1800" b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6F1B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CDEDFB8-05FD-F74B-BC8C-36CB7956BA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611" y="1464526"/>
            <a:ext cx="3466493" cy="48632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 typeface="System Font Regular"/>
              <a:buNone/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System Font Regular"/>
              <a:buChar char="–"/>
              <a:defRPr sz="22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System Font Regular"/>
              <a:buChar char="–"/>
              <a:defRPr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614977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62.xml"/><Relationship Id="rId42" Type="http://schemas.openxmlformats.org/officeDocument/2006/relationships/slideLayout" Target="../slideLayouts/slideLayout83.xml"/><Relationship Id="rId47" Type="http://schemas.openxmlformats.org/officeDocument/2006/relationships/slideLayout" Target="../slideLayouts/slideLayout88.xml"/><Relationship Id="rId63" Type="http://schemas.openxmlformats.org/officeDocument/2006/relationships/slideLayout" Target="../slideLayouts/slideLayout104.xml"/><Relationship Id="rId68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slideLayout" Target="../slideLayouts/slideLayout86.xml"/><Relationship Id="rId53" Type="http://schemas.openxmlformats.org/officeDocument/2006/relationships/slideLayout" Target="../slideLayouts/slideLayout94.xml"/><Relationship Id="rId58" Type="http://schemas.openxmlformats.org/officeDocument/2006/relationships/slideLayout" Target="../slideLayouts/slideLayout99.xml"/><Relationship Id="rId66" Type="http://schemas.openxmlformats.org/officeDocument/2006/relationships/slideLayout" Target="../slideLayouts/slideLayout107.xml"/><Relationship Id="rId74" Type="http://schemas.openxmlformats.org/officeDocument/2006/relationships/image" Target="../media/image5.png"/><Relationship Id="rId5" Type="http://schemas.openxmlformats.org/officeDocument/2006/relationships/slideLayout" Target="../slideLayouts/slideLayout46.xml"/><Relationship Id="rId61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48" Type="http://schemas.openxmlformats.org/officeDocument/2006/relationships/slideLayout" Target="../slideLayouts/slideLayout89.xml"/><Relationship Id="rId56" Type="http://schemas.openxmlformats.org/officeDocument/2006/relationships/slideLayout" Target="../slideLayouts/slideLayout97.xml"/><Relationship Id="rId64" Type="http://schemas.openxmlformats.org/officeDocument/2006/relationships/slideLayout" Target="../slideLayouts/slideLayout105.xml"/><Relationship Id="rId69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49.xml"/><Relationship Id="rId51" Type="http://schemas.openxmlformats.org/officeDocument/2006/relationships/slideLayout" Target="../slideLayouts/slideLayout92.xml"/><Relationship Id="rId72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slideLayout" Target="../slideLayouts/slideLayout87.xml"/><Relationship Id="rId59" Type="http://schemas.openxmlformats.org/officeDocument/2006/relationships/slideLayout" Target="../slideLayouts/slideLayout100.xml"/><Relationship Id="rId67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54" Type="http://schemas.openxmlformats.org/officeDocument/2006/relationships/slideLayout" Target="../slideLayouts/slideLayout95.xml"/><Relationship Id="rId62" Type="http://schemas.openxmlformats.org/officeDocument/2006/relationships/slideLayout" Target="../slideLayouts/slideLayout103.xml"/><Relationship Id="rId7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slideLayout" Target="../slideLayouts/slideLayout90.xml"/><Relationship Id="rId57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72.xml"/><Relationship Id="rId44" Type="http://schemas.openxmlformats.org/officeDocument/2006/relationships/slideLayout" Target="../slideLayouts/slideLayout85.xml"/><Relationship Id="rId52" Type="http://schemas.openxmlformats.org/officeDocument/2006/relationships/slideLayout" Target="../slideLayouts/slideLayout93.xml"/><Relationship Id="rId60" Type="http://schemas.openxmlformats.org/officeDocument/2006/relationships/slideLayout" Target="../slideLayouts/slideLayout101.xml"/><Relationship Id="rId65" Type="http://schemas.openxmlformats.org/officeDocument/2006/relationships/slideLayout" Target="../slideLayouts/slideLayout106.xml"/><Relationship Id="rId73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9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75.xml"/><Relationship Id="rId50" Type="http://schemas.openxmlformats.org/officeDocument/2006/relationships/slideLayout" Target="../slideLayouts/slideLayout91.xml"/><Relationship Id="rId55" Type="http://schemas.openxmlformats.org/officeDocument/2006/relationships/slideLayout" Target="../slideLayouts/slideLayout96.xml"/><Relationship Id="rId7" Type="http://schemas.openxmlformats.org/officeDocument/2006/relationships/slideLayout" Target="../slideLayouts/slideLayout48.xml"/><Relationship Id="rId71" Type="http://schemas.openxmlformats.org/officeDocument/2006/relationships/slideLayout" Target="../slideLayouts/slideLayout1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image" Target="../media/image19.jpeg"/><Relationship Id="rId2" Type="http://schemas.openxmlformats.org/officeDocument/2006/relationships/slideLayout" Target="../slideLayouts/slideLayout131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slideLayout" Target="../slideLayouts/slideLayout147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tags" Target="../tags/tag1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053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  <p:sldLayoutId id="2147484038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500" b="1" kern="1200" dirty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8">
          <p15:clr>
            <a:srgbClr val="F26B43"/>
          </p15:clr>
        </p15:guide>
        <p15:guide id="2" orient="horz" pos="323">
          <p15:clr>
            <a:srgbClr val="F26B43"/>
          </p15:clr>
        </p15:guide>
        <p15:guide id="3" pos="207">
          <p15:clr>
            <a:srgbClr val="F26B43"/>
          </p15:clr>
        </p15:guide>
        <p15:guide id="4" pos="7463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882">
          <p15:clr>
            <a:srgbClr val="F26B43"/>
          </p15:clr>
        </p15:guide>
        <p15:guide id="7" pos="5392">
          <p15:clr>
            <a:srgbClr val="F26B43"/>
          </p15:clr>
        </p15:guide>
        <p15:guide id="8" orient="horz" pos="1011">
          <p15:clr>
            <a:srgbClr val="F26B43"/>
          </p15:clr>
        </p15:guide>
        <p15:guide id="9" pos="4874">
          <p15:clr>
            <a:srgbClr val="F26B43"/>
          </p15:clr>
        </p15:guide>
        <p15:guide id="10" pos="4355">
          <p15:clr>
            <a:srgbClr val="F26B43"/>
          </p15:clr>
        </p15:guide>
        <p15:guide id="11" pos="3840">
          <p15:clr>
            <a:srgbClr val="F26B43"/>
          </p15:clr>
        </p15:guide>
        <p15:guide id="12" pos="3321">
          <p15:clr>
            <a:srgbClr val="F26B43"/>
          </p15:clr>
        </p15:guide>
        <p15:guide id="13" pos="2802">
          <p15:clr>
            <a:srgbClr val="F26B43"/>
          </p15:clr>
        </p15:guide>
        <p15:guide id="14" pos="2284">
          <p15:clr>
            <a:srgbClr val="F26B43"/>
          </p15:clr>
        </p15:guide>
        <p15:guide id="15" pos="1769">
          <p15:clr>
            <a:srgbClr val="F26B43"/>
          </p15:clr>
        </p15:guide>
        <p15:guide id="16" pos="1250">
          <p15:clr>
            <a:srgbClr val="F26B43"/>
          </p15:clr>
        </p15:guide>
        <p15:guide id="17" pos="733">
          <p15:clr>
            <a:srgbClr val="F26B43"/>
          </p15:clr>
        </p15:guide>
        <p15:guide id="18" pos="5907">
          <p15:clr>
            <a:srgbClr val="F26B43"/>
          </p15:clr>
        </p15:guide>
        <p15:guide id="19" pos="6425">
          <p15:clr>
            <a:srgbClr val="F26B43"/>
          </p15:clr>
        </p15:guide>
        <p15:guide id="20" pos="694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6">
            <a:extLst>
              <a:ext uri="{FF2B5EF4-FFF2-40B4-BE49-F238E27FC236}">
                <a16:creationId xmlns:a16="http://schemas.microsoft.com/office/drawing/2014/main" id="{3B14093F-E82F-6646-AF3A-586675417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29AA75-2269-D545-A284-C7D279193F88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C10505E1-36E1-4546-BDAC-0A0DB27E2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3199"/>
            <a:ext cx="11519718" cy="9969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151EC1-A71B-454D-A72E-F7FBA86881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0861" y="6449579"/>
            <a:ext cx="817469" cy="2265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900" b="0" i="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C436CADD-A19C-D244-A093-502D5B78DBC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3375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8">
          <p15:clr>
            <a:srgbClr val="F26B43"/>
          </p15:clr>
        </p15:guide>
        <p15:guide id="2" orient="horz" pos="323">
          <p15:clr>
            <a:srgbClr val="F26B43"/>
          </p15:clr>
        </p15:guide>
        <p15:guide id="3" pos="207">
          <p15:clr>
            <a:srgbClr val="F26B43"/>
          </p15:clr>
        </p15:guide>
        <p15:guide id="4" pos="7463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882">
          <p15:clr>
            <a:srgbClr val="F26B43"/>
          </p15:clr>
        </p15:guide>
        <p15:guide id="7" pos="5392">
          <p15:clr>
            <a:srgbClr val="F26B43"/>
          </p15:clr>
        </p15:guide>
        <p15:guide id="8" orient="horz" pos="1011">
          <p15:clr>
            <a:srgbClr val="F26B43"/>
          </p15:clr>
        </p15:guide>
        <p15:guide id="9" pos="4874">
          <p15:clr>
            <a:srgbClr val="F26B43"/>
          </p15:clr>
        </p15:guide>
        <p15:guide id="10" pos="4355">
          <p15:clr>
            <a:srgbClr val="F26B43"/>
          </p15:clr>
        </p15:guide>
        <p15:guide id="11" pos="3840">
          <p15:clr>
            <a:srgbClr val="F26B43"/>
          </p15:clr>
        </p15:guide>
        <p15:guide id="12" pos="3321">
          <p15:clr>
            <a:srgbClr val="F26B43"/>
          </p15:clr>
        </p15:guide>
        <p15:guide id="13" pos="2802">
          <p15:clr>
            <a:srgbClr val="F26B43"/>
          </p15:clr>
        </p15:guide>
        <p15:guide id="14" pos="2284">
          <p15:clr>
            <a:srgbClr val="F26B43"/>
          </p15:clr>
        </p15:guide>
        <p15:guide id="15" pos="1769">
          <p15:clr>
            <a:srgbClr val="F26B43"/>
          </p15:clr>
        </p15:guide>
        <p15:guide id="16" pos="1250">
          <p15:clr>
            <a:srgbClr val="F26B43"/>
          </p15:clr>
        </p15:guide>
        <p15:guide id="17" pos="733">
          <p15:clr>
            <a:srgbClr val="F26B43"/>
          </p15:clr>
        </p15:guide>
        <p15:guide id="18" pos="5907">
          <p15:clr>
            <a:srgbClr val="F26B43"/>
          </p15:clr>
        </p15:guide>
        <p15:guide id="19" pos="6425">
          <p15:clr>
            <a:srgbClr val="F26B43"/>
          </p15:clr>
        </p15:guide>
        <p15:guide id="20" pos="694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F689C5B0-1986-AB4D-9405-5E73D7625B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3200"/>
            <a:ext cx="11520000" cy="998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Footer Placeholder 16">
            <a:extLst>
              <a:ext uri="{FF2B5EF4-FFF2-40B4-BE49-F238E27FC236}">
                <a16:creationId xmlns:a16="http://schemas.microsoft.com/office/drawing/2014/main" id="{3B14093F-E82F-6646-AF3A-586675417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29AA75-2269-D545-A284-C7D279193F88}"/>
              </a:ext>
            </a:extLst>
          </p:cNvPr>
          <p:cNvPicPr>
            <a:picLocks noChangeAspect="1"/>
          </p:cNvPicPr>
          <p:nvPr userDrawn="1"/>
        </p:nvPicPr>
        <p:blipFill>
          <a:blip r:embed="rId7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B91344-339B-004A-B667-A25CBA137D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2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900" kern="1200" smtClean="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6CDE6A52-A3AB-8943-8A9E-87884222981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2509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  <p:sldLayoutId id="2147483963" r:id="rId15"/>
    <p:sldLayoutId id="2147483964" r:id="rId16"/>
    <p:sldLayoutId id="2147483965" r:id="rId17"/>
    <p:sldLayoutId id="2147483966" r:id="rId18"/>
    <p:sldLayoutId id="2147483967" r:id="rId19"/>
    <p:sldLayoutId id="2147483968" r:id="rId20"/>
    <p:sldLayoutId id="2147483969" r:id="rId21"/>
    <p:sldLayoutId id="2147483970" r:id="rId22"/>
    <p:sldLayoutId id="2147483971" r:id="rId23"/>
    <p:sldLayoutId id="2147483972" r:id="rId24"/>
    <p:sldLayoutId id="2147483973" r:id="rId25"/>
    <p:sldLayoutId id="2147483974" r:id="rId26"/>
    <p:sldLayoutId id="2147483975" r:id="rId27"/>
    <p:sldLayoutId id="2147483976" r:id="rId28"/>
    <p:sldLayoutId id="2147483977" r:id="rId29"/>
    <p:sldLayoutId id="2147483978" r:id="rId30"/>
    <p:sldLayoutId id="2147483979" r:id="rId31"/>
    <p:sldLayoutId id="2147483980" r:id="rId32"/>
    <p:sldLayoutId id="2147483981" r:id="rId33"/>
    <p:sldLayoutId id="2147483982" r:id="rId34"/>
    <p:sldLayoutId id="2147483983" r:id="rId35"/>
    <p:sldLayoutId id="2147483984" r:id="rId36"/>
    <p:sldLayoutId id="2147483985" r:id="rId37"/>
    <p:sldLayoutId id="2147483986" r:id="rId38"/>
    <p:sldLayoutId id="2147483987" r:id="rId39"/>
    <p:sldLayoutId id="2147483988" r:id="rId40"/>
    <p:sldLayoutId id="2147483989" r:id="rId41"/>
    <p:sldLayoutId id="2147483990" r:id="rId42"/>
    <p:sldLayoutId id="2147483991" r:id="rId43"/>
    <p:sldLayoutId id="2147483992" r:id="rId44"/>
    <p:sldLayoutId id="2147483993" r:id="rId45"/>
    <p:sldLayoutId id="2147483994" r:id="rId46"/>
    <p:sldLayoutId id="2147483995" r:id="rId47"/>
    <p:sldLayoutId id="2147483996" r:id="rId48"/>
    <p:sldLayoutId id="2147483997" r:id="rId49"/>
    <p:sldLayoutId id="2147483998" r:id="rId50"/>
    <p:sldLayoutId id="2147483999" r:id="rId51"/>
    <p:sldLayoutId id="2147484000" r:id="rId52"/>
    <p:sldLayoutId id="2147484001" r:id="rId53"/>
    <p:sldLayoutId id="2147484002" r:id="rId54"/>
    <p:sldLayoutId id="2147484003" r:id="rId55"/>
    <p:sldLayoutId id="2147484004" r:id="rId56"/>
    <p:sldLayoutId id="2147484005" r:id="rId57"/>
    <p:sldLayoutId id="2147484006" r:id="rId58"/>
    <p:sldLayoutId id="2147484007" r:id="rId59"/>
    <p:sldLayoutId id="2147484008" r:id="rId60"/>
    <p:sldLayoutId id="2147484009" r:id="rId61"/>
    <p:sldLayoutId id="2147484010" r:id="rId62"/>
    <p:sldLayoutId id="2147484011" r:id="rId63"/>
    <p:sldLayoutId id="2147484012" r:id="rId64"/>
    <p:sldLayoutId id="2147484013" r:id="rId65"/>
    <p:sldLayoutId id="2147484014" r:id="rId66"/>
    <p:sldLayoutId id="2147484015" r:id="rId67"/>
    <p:sldLayoutId id="2147484016" r:id="rId68"/>
    <p:sldLayoutId id="2147484017" r:id="rId69"/>
    <p:sldLayoutId id="2147484018" r:id="rId70"/>
    <p:sldLayoutId id="2147484019" r:id="rId71"/>
    <p:sldLayoutId id="2147484020" r:id="rId7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b="1" kern="120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8">
          <p15:clr>
            <a:srgbClr val="F26B43"/>
          </p15:clr>
        </p15:guide>
        <p15:guide id="2" orient="horz" pos="323">
          <p15:clr>
            <a:srgbClr val="F26B43"/>
          </p15:clr>
        </p15:guide>
        <p15:guide id="3" pos="207">
          <p15:clr>
            <a:srgbClr val="F26B43"/>
          </p15:clr>
        </p15:guide>
        <p15:guide id="4" pos="7463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882">
          <p15:clr>
            <a:srgbClr val="F26B43"/>
          </p15:clr>
        </p15:guide>
        <p15:guide id="7" pos="5392">
          <p15:clr>
            <a:srgbClr val="F26B43"/>
          </p15:clr>
        </p15:guide>
        <p15:guide id="8" orient="horz" pos="1011">
          <p15:clr>
            <a:srgbClr val="F26B43"/>
          </p15:clr>
        </p15:guide>
        <p15:guide id="9" pos="4874">
          <p15:clr>
            <a:srgbClr val="F26B43"/>
          </p15:clr>
        </p15:guide>
        <p15:guide id="10" pos="4355">
          <p15:clr>
            <a:srgbClr val="F26B43"/>
          </p15:clr>
        </p15:guide>
        <p15:guide id="11" pos="3840">
          <p15:clr>
            <a:srgbClr val="F26B43"/>
          </p15:clr>
        </p15:guide>
        <p15:guide id="12" pos="3321">
          <p15:clr>
            <a:srgbClr val="F26B43"/>
          </p15:clr>
        </p15:guide>
        <p15:guide id="13" pos="2802">
          <p15:clr>
            <a:srgbClr val="F26B43"/>
          </p15:clr>
        </p15:guide>
        <p15:guide id="14" pos="2284">
          <p15:clr>
            <a:srgbClr val="F26B43"/>
          </p15:clr>
        </p15:guide>
        <p15:guide id="15" pos="1769">
          <p15:clr>
            <a:srgbClr val="F26B43"/>
          </p15:clr>
        </p15:guide>
        <p15:guide id="16" pos="1250">
          <p15:clr>
            <a:srgbClr val="F26B43"/>
          </p15:clr>
        </p15:guide>
        <p15:guide id="17" pos="733">
          <p15:clr>
            <a:srgbClr val="F26B43"/>
          </p15:clr>
        </p15:guide>
        <p15:guide id="18" pos="5907">
          <p15:clr>
            <a:srgbClr val="F26B43"/>
          </p15:clr>
        </p15:guide>
        <p15:guide id="19" pos="6425">
          <p15:clr>
            <a:srgbClr val="F26B43"/>
          </p15:clr>
        </p15:guide>
        <p15:guide id="20" pos="694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6">
            <a:extLst>
              <a:ext uri="{FF2B5EF4-FFF2-40B4-BE49-F238E27FC236}">
                <a16:creationId xmlns:a16="http://schemas.microsoft.com/office/drawing/2014/main" id="{3B14093F-E82F-6646-AF3A-586675417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3903" y="6450229"/>
            <a:ext cx="5403032" cy="2259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to ISE Migration Project CV  |  22 June 202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29AA75-2269-D545-A284-C7D279193F88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14" y="6449580"/>
            <a:ext cx="817469" cy="29813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ED17D0-6000-5E48-AC5D-1A266A67DC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2583" y="6449579"/>
            <a:ext cx="545747" cy="2265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29B926-BC7C-8F49-A7AC-EA4BF57BEB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A2607FF9-1BE4-A54A-976D-6824167A0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613" y="403199"/>
            <a:ext cx="11519718" cy="996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40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8">
          <p15:clr>
            <a:srgbClr val="F26B43"/>
          </p15:clr>
        </p15:guide>
        <p15:guide id="2" orient="horz" pos="323">
          <p15:clr>
            <a:srgbClr val="F26B43"/>
          </p15:clr>
        </p15:guide>
        <p15:guide id="3" pos="211">
          <p15:clr>
            <a:srgbClr val="F26B43"/>
          </p15:clr>
        </p15:guide>
        <p15:guide id="4" pos="7463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882">
          <p15:clr>
            <a:srgbClr val="F26B43"/>
          </p15:clr>
        </p15:guide>
        <p15:guide id="7" pos="5392">
          <p15:clr>
            <a:srgbClr val="F26B43"/>
          </p15:clr>
        </p15:guide>
        <p15:guide id="8" orient="horz" pos="1011">
          <p15:clr>
            <a:srgbClr val="F26B43"/>
          </p15:clr>
        </p15:guide>
        <p15:guide id="9" pos="4874">
          <p15:clr>
            <a:srgbClr val="F26B43"/>
          </p15:clr>
        </p15:guide>
        <p15:guide id="10" pos="4355">
          <p15:clr>
            <a:srgbClr val="F26B43"/>
          </p15:clr>
        </p15:guide>
        <p15:guide id="11" pos="3840">
          <p15:clr>
            <a:srgbClr val="F26B43"/>
          </p15:clr>
        </p15:guide>
        <p15:guide id="12" pos="3321">
          <p15:clr>
            <a:srgbClr val="F26B43"/>
          </p15:clr>
        </p15:guide>
        <p15:guide id="13" pos="2802">
          <p15:clr>
            <a:srgbClr val="F26B43"/>
          </p15:clr>
        </p15:guide>
        <p15:guide id="14" pos="2284">
          <p15:clr>
            <a:srgbClr val="F26B43"/>
          </p15:clr>
        </p15:guide>
        <p15:guide id="15" pos="1769">
          <p15:clr>
            <a:srgbClr val="F26B43"/>
          </p15:clr>
        </p15:guide>
        <p15:guide id="16" pos="1250">
          <p15:clr>
            <a:srgbClr val="F26B43"/>
          </p15:clr>
        </p15:guide>
        <p15:guide id="17" pos="733">
          <p15:clr>
            <a:srgbClr val="F26B43"/>
          </p15:clr>
        </p15:guide>
        <p15:guide id="18" pos="5907">
          <p15:clr>
            <a:srgbClr val="F26B43"/>
          </p15:clr>
        </p15:guide>
        <p15:guide id="19" pos="6425">
          <p15:clr>
            <a:srgbClr val="F26B43"/>
          </p15:clr>
        </p15:guide>
        <p15:guide id="20" pos="694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68" name="Title Placeholder 1"/>
          <p:cNvSpPr>
            <a:spLocks noGrp="1"/>
          </p:cNvSpPr>
          <p:nvPr>
            <p:ph type="title"/>
          </p:nvPr>
        </p:nvSpPr>
        <p:spPr bwMode="auto">
          <a:xfrm>
            <a:off x="1049867" y="298450"/>
            <a:ext cx="11137900" cy="94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pic>
        <p:nvPicPr>
          <p:cNvPr id="53260" name="Picture Placeholder 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" b="-406"/>
          <a:stretch>
            <a:fillRect/>
          </a:stretch>
        </p:blipFill>
        <p:spPr bwMode="auto">
          <a:xfrm>
            <a:off x="256117" y="293689"/>
            <a:ext cx="226483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6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1051985" y="1630363"/>
            <a:ext cx="10797116" cy="485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530600" y="0"/>
            <a:ext cx="7145867" cy="298450"/>
          </a:xfrm>
          <a:prstGeom prst="rect">
            <a:avLst/>
          </a:prstGeom>
        </p:spPr>
        <p:txBody>
          <a:bodyPr vert="horz" wrap="square" lIns="91440" tIns="45720" rIns="108000" bIns="45720" numCol="1" anchor="b" anchorCtr="0" compatLnSpc="1">
            <a:prstTxWarp prst="textNoShape">
              <a:avLst/>
            </a:prstTxWarp>
          </a:bodyPr>
          <a:lstStyle>
            <a:lvl1pPr>
              <a:defRPr sz="900"/>
            </a:lvl1pPr>
          </a:lstStyle>
          <a:p>
            <a:r>
              <a:rPr lang="en-AU" altLang="en-US">
                <a:solidFill>
                  <a:srgbClr val="646464"/>
                </a:solidFill>
              </a:rPr>
              <a:t>Footer text[Name of conferenc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9000" y="0"/>
            <a:ext cx="823384" cy="298450"/>
          </a:xfrm>
          <a:prstGeom prst="rect">
            <a:avLst/>
          </a:prstGeom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900" smtClean="0">
                <a:solidFill>
                  <a:schemeClr val="tx1"/>
                </a:solidFill>
                <a:latin typeface="+mn-lt"/>
                <a:ea typeface="Arial" pitchFamily="51" charset="0"/>
                <a:cs typeface="Arial" pitchFamily="51" charset="0"/>
              </a:defRPr>
            </a:lvl1pPr>
          </a:lstStyle>
          <a:p>
            <a:pPr>
              <a:defRPr/>
            </a:pPr>
            <a:fld id="{484A466D-C0ED-4438-8403-BA02B959EE6A}" type="slidenum">
              <a:rPr lang="en-GB">
                <a:solidFill>
                  <a:srgbClr val="646464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2"/>
          </p:nvPr>
        </p:nvSpPr>
        <p:spPr>
          <a:xfrm>
            <a:off x="1049868" y="0"/>
            <a:ext cx="2417233" cy="2984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900"/>
            </a:lvl1pPr>
          </a:lstStyle>
          <a:p>
            <a:fld id="{61667347-9B36-42D6-AADD-C80C363176D4}" type="datetime4">
              <a:rPr lang="en-AU" altLang="en-US">
                <a:solidFill>
                  <a:srgbClr val="646464"/>
                </a:solidFill>
              </a:rPr>
              <a:pPr/>
              <a:t>28 July 2022</a:t>
            </a:fld>
            <a:endParaRPr lang="en-AU" altLang="en-US">
              <a:solidFill>
                <a:srgbClr val="646464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F106CB4-1D51-45DC-BA37-3B90674151BF}"/>
              </a:ext>
            </a:extLst>
          </p:cNvPr>
          <p:cNvCxnSpPr>
            <a:cxnSpLocks/>
          </p:cNvCxnSpPr>
          <p:nvPr userDrawn="1"/>
        </p:nvCxnSpPr>
        <p:spPr>
          <a:xfrm flipH="1">
            <a:off x="563418" y="1239838"/>
            <a:ext cx="11628584" cy="0"/>
          </a:xfrm>
          <a:prstGeom prst="line">
            <a:avLst/>
          </a:prstGeom>
          <a:ln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3349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</p:sldLayoutIdLst>
  <p:hf hdr="0"/>
  <p:txStyles>
    <p:titleStyle>
      <a:lvl1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2pPr>
      <a:lvl3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3pPr>
      <a:lvl4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4pPr>
      <a:lvl5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5pPr>
      <a:lvl6pPr marL="4572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6pPr>
      <a:lvl7pPr marL="9144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7pPr>
      <a:lvl8pPr marL="13716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8pPr>
      <a:lvl9pPr marL="18288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Geneva"/>
          <a:cs typeface="Geneva"/>
        </a:defRPr>
      </a:lvl9pPr>
    </p:titleStyle>
    <p:bodyStyle>
      <a:lvl1pPr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1800" indent="-250825" algn="l" defTabSz="457200" rtl="0" eaLnBrk="1" fontAlgn="base" hangingPunct="1">
        <a:spcBef>
          <a:spcPts val="450"/>
        </a:spcBef>
        <a:spcAft>
          <a:spcPct val="0"/>
        </a:spcAft>
        <a:buFont typeface="Lucida Grande"/>
        <a:buChar char="–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25475" indent="-228600" algn="l" defTabSz="457200" rtl="0" eaLnBrk="1" fontAlgn="base" hangingPunct="1">
        <a:spcBef>
          <a:spcPts val="450"/>
        </a:spcBef>
        <a:spcAft>
          <a:spcPct val="0"/>
        </a:spcAft>
        <a:buFont typeface="Lucida Grande"/>
        <a:buChar char="–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55663" indent="-228600"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312863" indent="-228600"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770063" indent="-228600"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2227263" indent="-228600"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2684463" indent="-228600" algn="l" defTabSz="457200" rtl="0" eaLnBrk="1" fontAlgn="base" hangingPunct="1">
        <a:spcBef>
          <a:spcPts val="45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A633A7-963A-4271-9E99-941CB3CE8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93850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A633A7-963A-4271-9E99-941CB3CE8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58DE76C-BE08-874D-89E5-86F2CB5A1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200" y="390719"/>
            <a:ext cx="10782000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3EF9A9-1084-A048-BA5E-600BDC1892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200" y="1524000"/>
            <a:ext cx="10782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6ADD8B0-8C25-234B-ADCE-7E0BFFB2AA87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12218649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33" name="Rectangle 32"/>
          <p:cNvSpPr/>
          <p:nvPr userDrawn="1"/>
        </p:nvSpPr>
        <p:spPr>
          <a:xfrm>
            <a:off x="12218649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34" name="Rectangle 33"/>
          <p:cNvSpPr/>
          <p:nvPr userDrawn="1"/>
        </p:nvSpPr>
        <p:spPr>
          <a:xfrm>
            <a:off x="12215748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38" name="Rectangle 37"/>
          <p:cNvSpPr/>
          <p:nvPr userDrawn="1"/>
        </p:nvSpPr>
        <p:spPr>
          <a:xfrm>
            <a:off x="12215748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39" name="Rectangle 38"/>
          <p:cNvSpPr/>
          <p:nvPr userDrawn="1"/>
        </p:nvSpPr>
        <p:spPr>
          <a:xfrm>
            <a:off x="12215748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0" name="Rectangle 39"/>
          <p:cNvSpPr/>
          <p:nvPr userDrawn="1"/>
        </p:nvSpPr>
        <p:spPr>
          <a:xfrm>
            <a:off x="12382951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1" name="Rectangle 40"/>
          <p:cNvSpPr/>
          <p:nvPr userDrawn="1"/>
        </p:nvSpPr>
        <p:spPr>
          <a:xfrm>
            <a:off x="12382951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2" name="Rectangle 41"/>
          <p:cNvSpPr/>
          <p:nvPr userDrawn="1"/>
        </p:nvSpPr>
        <p:spPr>
          <a:xfrm>
            <a:off x="12382951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3" name="Rectangle 42"/>
          <p:cNvSpPr/>
          <p:nvPr userDrawn="1"/>
        </p:nvSpPr>
        <p:spPr>
          <a:xfrm>
            <a:off x="12382951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4" name="Rectangle 43"/>
          <p:cNvSpPr/>
          <p:nvPr userDrawn="1"/>
        </p:nvSpPr>
        <p:spPr>
          <a:xfrm>
            <a:off x="12382951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5" name="Rectangle 44"/>
          <p:cNvSpPr/>
          <p:nvPr userDrawn="1"/>
        </p:nvSpPr>
        <p:spPr>
          <a:xfrm>
            <a:off x="12382951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6" name="Rectangle 45"/>
          <p:cNvSpPr/>
          <p:nvPr userDrawn="1"/>
        </p:nvSpPr>
        <p:spPr>
          <a:xfrm>
            <a:off x="12382951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7" name="Rectangle 46"/>
          <p:cNvSpPr/>
          <p:nvPr userDrawn="1"/>
        </p:nvSpPr>
        <p:spPr>
          <a:xfrm>
            <a:off x="12218649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8" name="Rectangle 47"/>
          <p:cNvSpPr/>
          <p:nvPr userDrawn="1"/>
        </p:nvSpPr>
        <p:spPr>
          <a:xfrm>
            <a:off x="12382951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49" name="Rectangle 48"/>
          <p:cNvSpPr/>
          <p:nvPr userDrawn="1"/>
        </p:nvSpPr>
        <p:spPr>
          <a:xfrm>
            <a:off x="12215748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50" name="Rectangle 49"/>
          <p:cNvSpPr/>
          <p:nvPr userDrawn="1"/>
        </p:nvSpPr>
        <p:spPr>
          <a:xfrm>
            <a:off x="12215748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99"/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097EF5B9-B98B-9B47-A715-CAE2BDF92A03}"/>
              </a:ext>
            </a:extLst>
          </p:cNvPr>
          <p:cNvSpPr txBox="1">
            <a:spLocks/>
          </p:cNvSpPr>
          <p:nvPr userDrawn="1"/>
        </p:nvSpPr>
        <p:spPr>
          <a:xfrm>
            <a:off x="11153103" y="6217539"/>
            <a:ext cx="43883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47DB54-D037-B84F-B6F1-2E8DA40D09AD}" type="slidenum">
              <a:rPr lang="en-US" sz="700" b="0" smtClean="0">
                <a:latin typeface="Segoe UI Semibold" panose="020B0502040204020203" pitchFamily="34" charset="0"/>
                <a:cs typeface="Segoe UI Semibold" panose="020B0502040204020203" pitchFamily="34" charset="0"/>
              </a:rPr>
              <a:pPr algn="r"/>
              <a:t>‹#›</a:t>
            </a:fld>
            <a:endParaRPr lang="en-US" sz="700" b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42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</p:sldLayoutIdLst>
  <p:transition>
    <p:fade/>
  </p:transition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599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/>
        <a:buNone/>
        <a:defRPr sz="1999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8.xml"/><Relationship Id="rId1" Type="http://schemas.openxmlformats.org/officeDocument/2006/relationships/tags" Target="../tags/tag2.xml"/><Relationship Id="rId6" Type="http://schemas.openxmlformats.org/officeDocument/2006/relationships/image" Target="../media/image27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785468" y="359751"/>
            <a:ext cx="9560957" cy="176795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AU" sz="3200" dirty="0"/>
              <a:t>SO-S&amp;S-021 Application Server Hardening</a:t>
            </a:r>
            <a:br>
              <a:rPr lang="en-US" sz="3200" dirty="0"/>
            </a:br>
            <a:br>
              <a:rPr lang="en-US" sz="4000" dirty="0"/>
            </a:br>
            <a:r>
              <a:rPr lang="en-GB" sz="2800" dirty="0">
                <a:latin typeface="Graphik"/>
              </a:rPr>
              <a:t>Project Kick-Off Meeting</a:t>
            </a:r>
            <a:endParaRPr lang="en-GB" sz="3200" dirty="0">
              <a:latin typeface="Graphik" panose="020B0503030202060203" pitchFamily="34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785468" y="2871778"/>
            <a:ext cx="9159300" cy="713193"/>
          </a:xfrm>
        </p:spPr>
        <p:txBody>
          <a:bodyPr>
            <a:normAutofit/>
          </a:bodyPr>
          <a:lstStyle/>
          <a:p>
            <a:r>
              <a:rPr lang="en-GB" sz="2400" dirty="0">
                <a:latin typeface="Graphik"/>
              </a:rPr>
              <a:t>Date: 25 July ‘22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04427"/>
            <a:ext cx="12192000" cy="3062304"/>
          </a:xfrm>
          <a:prstGeom prst="rect">
            <a:avLst/>
          </a:prstGeom>
        </p:spPr>
      </p:pic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10159003" y="391269"/>
            <a:ext cx="1418277" cy="380683"/>
            <a:chOff x="9638475" y="1219200"/>
            <a:chExt cx="1389888" cy="373063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>
              <a:lum bright="-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>
                <a:solidFill>
                  <a:prstClr val="black"/>
                </a:solidFill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5497552" y="6544401"/>
            <a:ext cx="6825110" cy="313599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r>
              <a:rPr lang="en-US" sz="850">
                <a:latin typeface="Graphik" panose="020B0503030202060203" pitchFamily="34" charset="0"/>
              </a:rPr>
              <a:t>This report is based on information available to Accenture and may need to be updated if the information subsequently changes</a:t>
            </a:r>
          </a:p>
        </p:txBody>
      </p:sp>
    </p:spTree>
    <p:extLst>
      <p:ext uri="{BB962C8B-B14F-4D97-AF65-F5344CB8AC3E}">
        <p14:creationId xmlns:p14="http://schemas.microsoft.com/office/powerpoint/2010/main" val="2926675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Deliverables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A6E2696-D9F3-4982-936B-C54D9FBFF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4250216"/>
              </p:ext>
            </p:extLst>
          </p:nvPr>
        </p:nvGraphicFramePr>
        <p:xfrm>
          <a:off x="553944" y="1355201"/>
          <a:ext cx="11511975" cy="14731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8105">
                  <a:extLst>
                    <a:ext uri="{9D8B030D-6E8A-4147-A177-3AD203B41FA5}">
                      <a16:colId xmlns:a16="http://schemas.microsoft.com/office/drawing/2014/main" val="4173195923"/>
                    </a:ext>
                  </a:extLst>
                </a:gridCol>
                <a:gridCol w="3591736">
                  <a:extLst>
                    <a:ext uri="{9D8B030D-6E8A-4147-A177-3AD203B41FA5}">
                      <a16:colId xmlns:a16="http://schemas.microsoft.com/office/drawing/2014/main" val="2675585950"/>
                    </a:ext>
                  </a:extLst>
                </a:gridCol>
                <a:gridCol w="1374530">
                  <a:extLst>
                    <a:ext uri="{9D8B030D-6E8A-4147-A177-3AD203B41FA5}">
                      <a16:colId xmlns:a16="http://schemas.microsoft.com/office/drawing/2014/main" val="3611654323"/>
                    </a:ext>
                  </a:extLst>
                </a:gridCol>
                <a:gridCol w="3948607">
                  <a:extLst>
                    <a:ext uri="{9D8B030D-6E8A-4147-A177-3AD203B41FA5}">
                      <a16:colId xmlns:a16="http://schemas.microsoft.com/office/drawing/2014/main" val="643207631"/>
                    </a:ext>
                  </a:extLst>
                </a:gridCol>
                <a:gridCol w="1438997">
                  <a:extLst>
                    <a:ext uri="{9D8B030D-6E8A-4147-A177-3AD203B41FA5}">
                      <a16:colId xmlns:a16="http://schemas.microsoft.com/office/drawing/2014/main" val="1676568077"/>
                    </a:ext>
                  </a:extLst>
                </a:gridCol>
              </a:tblGrid>
              <a:tr h="617169"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1" kern="1400" dirty="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Ref.</a:t>
                      </a:r>
                      <a:endParaRPr lang="en-AU" sz="1000" b="1" dirty="0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1" kern="1400" dirty="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Deliverable / Documentation</a:t>
                      </a:r>
                      <a:endParaRPr lang="en-AU" sz="1000" b="1" dirty="0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1" kern="140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Subject to Acceptance by Rio Tinto (Y/N)</a:t>
                      </a:r>
                      <a:endParaRPr lang="en-AU" sz="1000" b="1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1" kern="1400" dirty="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Acceptance Criteria (including operational readiness criteria)</a:t>
                      </a:r>
                      <a:endParaRPr lang="en-AU" sz="1000" b="1" dirty="0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1" kern="1400" dirty="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Developed Material (Y/N)*</a:t>
                      </a:r>
                      <a:endParaRPr lang="en-AU" sz="1000" b="1" dirty="0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86873"/>
                  </a:ext>
                </a:extLst>
              </a:tr>
              <a:tr h="155575"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L01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dirty="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mediation Fix Build Guide for the application server hardening initiatives </a:t>
                      </a:r>
                    </a:p>
                  </a:txBody>
                  <a:tcPr marL="35560" marR="3556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Y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AU" sz="1000" b="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and approved by Rio Tinto for reasonable level of detail.</a:t>
                      </a:r>
                    </a:p>
                  </a:txBody>
                  <a:tcPr marL="35560" marR="35560" marT="36195" marB="3619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Y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5560" marR="35560" marT="36195" marB="36195" anchor="ctr"/>
                </a:tc>
                <a:extLst>
                  <a:ext uri="{0D108BD9-81ED-4DB2-BD59-A6C34878D82A}">
                    <a16:rowId xmlns:a16="http://schemas.microsoft.com/office/drawing/2014/main" val="3950442353"/>
                  </a:ext>
                </a:extLst>
              </a:tr>
              <a:tr h="155575"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L02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dirty="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ction Deployment Plan for the application server hardening initiatives</a:t>
                      </a:r>
                    </a:p>
                  </a:txBody>
                  <a:tcPr marL="35560" marR="3556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AU" sz="1000" b="0" kern="140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Y</a:t>
                      </a:r>
                      <a:endParaRPr lang="en-AU" sz="1000" b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5560" marR="35560" marT="36195" marB="3619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AU" sz="1000" b="0" dirty="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iewed and approved by Rio Tinto for reasonable level of detail.</a:t>
                      </a:r>
                    </a:p>
                  </a:txBody>
                  <a:tcPr marL="35560" marR="35560" marT="36195" marB="3619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0" kern="1400" dirty="0">
                          <a:solidFill>
                            <a:srgbClr val="000000"/>
                          </a:solidFill>
                          <a:effectLst/>
                          <a:latin typeface="Graphik" panose="020B0503030202060203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Y</a:t>
                      </a:r>
                      <a:endParaRPr lang="en-AU" sz="1000" b="0" dirty="0">
                        <a:solidFill>
                          <a:srgbClr val="000000"/>
                        </a:solidFill>
                        <a:effectLst/>
                        <a:latin typeface="Graphik" panose="020B05030302020602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5560" marR="35560" marT="36195" marB="36195" anchor="ctr"/>
                </a:tc>
                <a:extLst>
                  <a:ext uri="{0D108BD9-81ED-4DB2-BD59-A6C34878D82A}">
                    <a16:rowId xmlns:a16="http://schemas.microsoft.com/office/drawing/2014/main" val="724961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87505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Dependencies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C6398197-BB6B-9F02-4639-308BF6BDDF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8573642"/>
              </p:ext>
            </p:extLst>
          </p:nvPr>
        </p:nvGraphicFramePr>
        <p:xfrm>
          <a:off x="553943" y="1357825"/>
          <a:ext cx="11511975" cy="3751200"/>
        </p:xfrm>
        <a:graphic>
          <a:graphicData uri="http://schemas.openxmlformats.org/drawingml/2006/table">
            <a:tbl>
              <a:tblPr firstRow="1">
                <a:tableStyleId>{793D81CF-94F2-401A-BA57-92F5A7B2D0C5}</a:tableStyleId>
              </a:tblPr>
              <a:tblGrid>
                <a:gridCol w="251665">
                  <a:extLst>
                    <a:ext uri="{9D8B030D-6E8A-4147-A177-3AD203B41FA5}">
                      <a16:colId xmlns:a16="http://schemas.microsoft.com/office/drawing/2014/main" val="276807528"/>
                    </a:ext>
                  </a:extLst>
                </a:gridCol>
                <a:gridCol w="4255321">
                  <a:extLst>
                    <a:ext uri="{9D8B030D-6E8A-4147-A177-3AD203B41FA5}">
                      <a16:colId xmlns:a16="http://schemas.microsoft.com/office/drawing/2014/main" val="2248764959"/>
                    </a:ext>
                  </a:extLst>
                </a:gridCol>
                <a:gridCol w="2831927">
                  <a:extLst>
                    <a:ext uri="{9D8B030D-6E8A-4147-A177-3AD203B41FA5}">
                      <a16:colId xmlns:a16="http://schemas.microsoft.com/office/drawing/2014/main" val="1594429944"/>
                    </a:ext>
                  </a:extLst>
                </a:gridCol>
                <a:gridCol w="1646241">
                  <a:extLst>
                    <a:ext uri="{9D8B030D-6E8A-4147-A177-3AD203B41FA5}">
                      <a16:colId xmlns:a16="http://schemas.microsoft.com/office/drawing/2014/main" val="4025320564"/>
                    </a:ext>
                  </a:extLst>
                </a:gridCol>
                <a:gridCol w="946071">
                  <a:extLst>
                    <a:ext uri="{9D8B030D-6E8A-4147-A177-3AD203B41FA5}">
                      <a16:colId xmlns:a16="http://schemas.microsoft.com/office/drawing/2014/main" val="1540409046"/>
                    </a:ext>
                  </a:extLst>
                </a:gridCol>
                <a:gridCol w="1580750">
                  <a:extLst>
                    <a:ext uri="{9D8B030D-6E8A-4147-A177-3AD203B41FA5}">
                      <a16:colId xmlns:a16="http://schemas.microsoft.com/office/drawing/2014/main" val="74081793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kumimoji="0"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raphik" panose="020B0503030202060203"/>
                          <a:cs typeface="Segoe UI Semilight"/>
                        </a:rPr>
                        <a:t>#</a:t>
                      </a:r>
                      <a:r>
                        <a:rPr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raphik" panose="020B0503030202060203"/>
                          <a:cs typeface="Segoe UI Semilight"/>
                        </a:rPr>
                        <a:t> </a:t>
                      </a: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raphik" panose="020B0503030202060203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000" u="none" strike="noStrike" cap="none" normalizeH="0" baseline="0">
                          <a:ln>
                            <a:noFill/>
                          </a:ln>
                          <a:effectLst/>
                          <a:latin typeface="Graphik" panose="020B0503030202060203"/>
                          <a:cs typeface="Segoe UI Semilight"/>
                        </a:rPr>
                        <a:t>Dependency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raphik" panose="020B0503030202060203"/>
                        <a:cs typeface="Segoe UI Semi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raphik" panose="020B0503030202060203"/>
                          <a:cs typeface="Segoe UI Semilight"/>
                        </a:rPr>
                        <a:t>Impact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raphik" panose="020B0503030202060203"/>
                          <a:cs typeface="Segoe UI Semilight" panose="020B0402040204020203" pitchFamily="34" charset="0"/>
                        </a:rPr>
                        <a:t>By When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raphik" panose="020B0503030202060203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raphik" panose="020B0503030202060203"/>
                          <a:cs typeface="Segoe UI Semilight"/>
                        </a:rPr>
                        <a:t>Obligation With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raphik" panose="020B0503030202060203"/>
                        <a:cs typeface="Segoe UI Semi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Semilight"/>
                        </a:rPr>
                        <a:t>Comments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raphik" panose="020B0503030202060203"/>
                        <a:cs typeface="Segoe UI Semi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7595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1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/>
                        </a:rPr>
                        <a:t>RIO to provide access to people and resources which include includes access to application owners, stakeholders, SMEs, and all relevant Project team members.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/>
                        </a:rPr>
                        <a:t>Delay in sharing these details may impact the build of pilot remediation plan.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Week 1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RIO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1982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2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/>
                        </a:rPr>
                        <a:t>Access to Corp Server fleet in Production and Non-Production environment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Project Delays impacting schedule.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Week 1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RIO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5235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3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Sample virtual machines for testing remediation fixes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Project Delays impacting schedule.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Week 3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RIO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5456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4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Key Design Decisions related to Enterprise deployment rollout plan and remediation fix deployment email communication templates made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Project Delays impacting schedule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Week 3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RIO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0466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5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RIO to share the change management and Incident management process,  schedule Meeting invites and stakeholders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/>
                        </a:rPr>
                        <a:t>Delay in the workshop schedule may impact target dates.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Week 5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RIO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145008"/>
                  </a:ext>
                </a:extLst>
              </a:tr>
              <a:tr h="1122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6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RIO to facilitate the solution fix handover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Project Delays impacting schedul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 to apply solution fix to wider in-scope servers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Week 6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RIO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353565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/>
                        </a:rPr>
                        <a:t>7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422030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8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53693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9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724220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10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63232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11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AU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8651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12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6122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cs typeface="Segoe UI Light" panose="020B0502040204020203" pitchFamily="34" charset="0"/>
                        </a:rPr>
                        <a:t>13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90443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4487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Communication Plan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BD9C235-4EB4-4CBA-EB53-5F549EA2F9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213455"/>
              </p:ext>
            </p:extLst>
          </p:nvPr>
        </p:nvGraphicFramePr>
        <p:xfrm>
          <a:off x="553944" y="1316724"/>
          <a:ext cx="11511976" cy="3699366"/>
        </p:xfrm>
        <a:graphic>
          <a:graphicData uri="http://schemas.openxmlformats.org/drawingml/2006/table">
            <a:tbl>
              <a:tblPr firstRow="1" firstCol="1" bandRow="1" bandCol="1">
                <a:tableStyleId>{912C8C85-51F0-491E-9774-3900AFEF0FD7}</a:tableStyleId>
              </a:tblPr>
              <a:tblGrid>
                <a:gridCol w="14845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9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9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03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0330">
                  <a:extLst>
                    <a:ext uri="{9D8B030D-6E8A-4147-A177-3AD203B41FA5}">
                      <a16:colId xmlns:a16="http://schemas.microsoft.com/office/drawing/2014/main" val="1200886948"/>
                    </a:ext>
                  </a:extLst>
                </a:gridCol>
                <a:gridCol w="17482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659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31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704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Graphik" panose="020B0503030202060203"/>
                        </a:rPr>
                        <a:t>Type</a:t>
                      </a:r>
                      <a:endParaRPr lang="en-US" sz="1400" dirty="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Graphik" panose="020B0503030202060203"/>
                        </a:rPr>
                        <a:t>Objective</a:t>
                      </a:r>
                      <a:endParaRPr lang="en-US" sz="1400" dirty="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  <a:latin typeface="Graphik" panose="020B0503030202060203"/>
                        </a:rPr>
                        <a:t>Medium</a:t>
                      </a:r>
                      <a:endParaRPr lang="en-US" sz="140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Graphik" panose="020B0503030202060203"/>
                        </a:rPr>
                        <a:t>Frequency</a:t>
                      </a:r>
                      <a:endParaRPr lang="en-US" sz="1400" dirty="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Graphik" panose="020B050303020206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uration</a:t>
                      </a: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  <a:latin typeface="Graphik" panose="020B0503030202060203"/>
                        </a:rPr>
                        <a:t>Audience</a:t>
                      </a:r>
                      <a:endParaRPr lang="en-US" sz="140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  <a:latin typeface="Graphik" panose="020B0503030202060203"/>
                        </a:rPr>
                        <a:t>Owner</a:t>
                      </a:r>
                      <a:endParaRPr lang="en-US" sz="140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Graphik" panose="020B0503030202060203"/>
                        </a:rPr>
                        <a:t>Deliverable</a:t>
                      </a:r>
                      <a:endParaRPr lang="en-US" sz="1400" dirty="0"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9937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Kickoff Meeting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Review project objectives and timeline and approach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Teams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t the beginning of the project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+mn-cs"/>
                        </a:rPr>
                        <a:t>TBD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+mn-cs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Project Sponsors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Combined Project Team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Security Lea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Presentation Deck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+mn-cs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3289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Daily Standups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Daily Standup meetin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Virtual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Daily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+mn-cs"/>
                        </a:rPr>
                        <a:t>TBD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+mn-cs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RIO Tinto Project Team</a:t>
                      </a:r>
                    </a:p>
                    <a:p>
                      <a:pPr marL="342900" marR="0" lvl="0" indent="-342900" algn="l" defTabSz="9142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Project team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Security Lea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  <a:tab pos="160020" algn="l"/>
                        </a:tabLs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Issue list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9937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ily Team Standups</a:t>
                      </a: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Daily Standup meetin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Virtual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Daily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15Min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+mn-cs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Work Package Leads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Project team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Security Lea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  <a:tab pos="160020" algn="l"/>
                        </a:tabLs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Issue list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74739"/>
                  </a:ext>
                </a:extLst>
              </a:tr>
              <a:tr h="580053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Review Deployment Plan - Meeting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Discuss and develop Remediation Fix Build Guide and Production Deployment Plan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Virtual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s Neede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Security Lead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RIO Tinto Service Owner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Security Lea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Meeting Minutes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Technical Design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+mn-ea"/>
                        <a:cs typeface="+mn-cs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244866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Project Status Reports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Report the status of the project including activities, progress, costs and issues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Email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Virtual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Weekly every Tuesday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Project Sponsor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Stakeholders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Avanade Security Lea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Weekly Project Status Report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7760754"/>
                  </a:ext>
                </a:extLst>
              </a:tr>
              <a:tr h="413303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ject Governance Meeting</a:t>
                      </a:r>
                    </a:p>
                  </a:txBody>
                  <a:tcPr marL="23176" marR="2317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Virtual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Monthly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Program Lead</a:t>
                      </a:r>
                    </a:p>
                    <a:p>
                      <a:pPr marL="342900" marR="0" lvl="0" indent="-342900" algn="l" defTabSz="914249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Stakeholders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+mn-ea"/>
                          <a:cs typeface="+mn-cs"/>
                        </a:rPr>
                        <a:t>RIO Tinto PMO delivery lead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2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>
                          <a:tab pos="102870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</a:rPr>
                        <a:t>Project Report</a:t>
                      </a:r>
                    </a:p>
                  </a:txBody>
                  <a:tcPr marL="23176" marR="2317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0012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23594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A68DA9-44FB-5FE2-AD66-25D9D87F80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E7D439D-8B01-47E4-B81F-96B25D9ECB51}" type="slidenum">
              <a:rPr lang="en-GB" smtClean="0">
                <a:solidFill>
                  <a:srgbClr val="646464"/>
                </a:solidFill>
              </a:rPr>
              <a:pPr>
                <a:defRPr/>
              </a:pPr>
              <a:t>13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76DFF24-BCFE-0586-8483-C9E74FF0DBE2}"/>
              </a:ext>
            </a:extLst>
          </p:cNvPr>
          <p:cNvSpPr txBox="1">
            <a:spLocks/>
          </p:cNvSpPr>
          <p:nvPr/>
        </p:nvSpPr>
        <p:spPr bwMode="auto">
          <a:xfrm>
            <a:off x="704385" y="2638619"/>
            <a:ext cx="10783229" cy="998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2pPr>
            <a:lvl3pPr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3pPr>
            <a:lvl4pPr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4pPr>
            <a:lvl5pPr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5pPr>
            <a:lvl6pPr marL="457200"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6pPr>
            <a:lvl7pPr marL="914400"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7pPr>
            <a:lvl8pPr marL="1371600"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8pPr>
            <a:lvl9pPr marL="1828800" algn="l" defTabSz="457200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Geneva"/>
                <a:cs typeface="Geneva"/>
              </a:defRPr>
            </a:lvl9pPr>
          </a:lstStyle>
          <a:p>
            <a:r>
              <a:rPr lang="en-US" kern="0"/>
              <a:t>Thank You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277688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>
                  <a:solidFill>
                    <a:srgbClr val="FFFFFF"/>
                  </a:solidFill>
                  <a:latin typeface="Graphik" panose="020B0503030202060203" pitchFamily="34" charset="0"/>
                  <a:ea typeface="Geneva"/>
                </a:rPr>
                <a:t>AGENDA</a:t>
              </a:r>
              <a:endPara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5ACCB39F-06F3-43F3-AEC7-45F475636AF5}"/>
              </a:ext>
            </a:extLst>
          </p:cNvPr>
          <p:cNvSpPr txBox="1"/>
          <p:nvPr/>
        </p:nvSpPr>
        <p:spPr>
          <a:xfrm>
            <a:off x="553944" y="1447025"/>
            <a:ext cx="7567501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Project 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Project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Project Sc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Project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Project Resour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Deliver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Depend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Graphik" panose="020B0503030202060203" pitchFamily="34" charset="0"/>
              </a:rPr>
              <a:t>Communication Plan</a:t>
            </a:r>
          </a:p>
        </p:txBody>
      </p:sp>
    </p:spTree>
    <p:extLst>
      <p:ext uri="{BB962C8B-B14F-4D97-AF65-F5344CB8AC3E}">
        <p14:creationId xmlns:p14="http://schemas.microsoft.com/office/powerpoint/2010/main" val="2350985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1CAA8D-4C3E-405B-B511-EED46FFA31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1CAA8D-4C3E-405B-B511-EED46FFA3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AC55EEC9-884A-4451-86FB-E22293144FA9}"/>
              </a:ext>
            </a:extLst>
          </p:cNvPr>
          <p:cNvSpPr txBox="1"/>
          <p:nvPr/>
        </p:nvSpPr>
        <p:spPr>
          <a:xfrm>
            <a:off x="6368371" y="4306069"/>
            <a:ext cx="566610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Segoe UI Light"/>
              </a:rPr>
              <a:t>In order to ensure full coverage and visibility, Rio Tinto needs to rely on a consistent and comprehensive CMDB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5091748-CF1C-4016-A21B-EB8F8F1A13D5}"/>
              </a:ext>
            </a:extLst>
          </p:cNvPr>
          <p:cNvSpPr txBox="1"/>
          <p:nvPr/>
        </p:nvSpPr>
        <p:spPr>
          <a:xfrm>
            <a:off x="470112" y="5571162"/>
            <a:ext cx="5612878" cy="5930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square" lIns="0" tIns="0" rIns="0" bIns="0" rtlCol="0" anchor="t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Segoe UI Light"/>
              </a:rPr>
              <a:t>Rio Tinto want track progression on remediation of those vulnerabilities across their environ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b="1" dirty="0">
                <a:latin typeface="+mn-lt"/>
              </a:rPr>
              <a:t>Our Understanding</a:t>
            </a:r>
            <a:br>
              <a:rPr lang="en-AU" b="1" dirty="0">
                <a:latin typeface="+mn-lt"/>
              </a:rPr>
            </a:br>
            <a:r>
              <a:rPr lang="en-AU" sz="4400" b="1" dirty="0">
                <a:solidFill>
                  <a:schemeClr val="tx1">
                    <a:lumMod val="20000"/>
                    <a:lumOff val="8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 the brief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8383BCB-6B77-894F-9EE0-8853002857C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163" y="4397313"/>
            <a:ext cx="242858" cy="243767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4E151BD-47DE-4A6B-BA46-3459B7CA7021}"/>
              </a:ext>
            </a:extLst>
          </p:cNvPr>
          <p:cNvSpPr txBox="1"/>
          <p:nvPr/>
        </p:nvSpPr>
        <p:spPr>
          <a:xfrm>
            <a:off x="6368371" y="3073860"/>
            <a:ext cx="5389685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Segoe UI Light"/>
              </a:rPr>
              <a:t>Existing tools should be evaluated to analyse environment coverage and threat detection capabilities. Rio Tinto wants to maximize existing investment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1F408509-7E3C-4CE1-B2D2-6544818E68F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8371" y="3150313"/>
            <a:ext cx="242858" cy="243767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07D9316-C297-4687-8FF4-65A61D19DA40}"/>
              </a:ext>
            </a:extLst>
          </p:cNvPr>
          <p:cNvGrpSpPr/>
          <p:nvPr/>
        </p:nvGrpSpPr>
        <p:grpSpPr>
          <a:xfrm>
            <a:off x="365414" y="2756882"/>
            <a:ext cx="5991424" cy="1477328"/>
            <a:chOff x="245917" y="2469208"/>
            <a:chExt cx="5991424" cy="1477328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A9CB0B7-D6BC-474C-806C-CADFD6C5917A}"/>
                </a:ext>
              </a:extLst>
            </p:cNvPr>
            <p:cNvSpPr txBox="1"/>
            <p:nvPr/>
          </p:nvSpPr>
          <p:spPr>
            <a:xfrm>
              <a:off x="245917" y="2469208"/>
              <a:ext cx="5991424" cy="147732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Segoe UI Light"/>
                </a:rPr>
                <a:t>Rio Tinto want to understand their current exposition to specific vulnerabilities: NTLM v1,  WDigest,  PowerShell 2.0, NetBIOS &amp; App Clear Text Passwords on the current environment </a:t>
              </a: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Segoe UI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E37F2C0E-45FF-482C-BAE5-3C3C15923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917" y="2800085"/>
              <a:ext cx="242858" cy="243767"/>
            </a:xfrm>
            <a:prstGeom prst="rect">
              <a:avLst/>
            </a:prstGeom>
          </p:spPr>
        </p:pic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A51F064-1B5D-48C1-8D0F-B52C1C24EC19}"/>
              </a:ext>
            </a:extLst>
          </p:cNvPr>
          <p:cNvSpPr txBox="1"/>
          <p:nvPr/>
        </p:nvSpPr>
        <p:spPr>
          <a:xfrm>
            <a:off x="365414" y="4571572"/>
            <a:ext cx="5612879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Segoe UI Light"/>
              </a:rPr>
              <a:t>Rio Tinto need a complete assessment of their virtual machines to define a current state baseline of existing vulnerabilities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D7AE8F00-EB7B-4BA5-AB07-B3C61425997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88" y="5605279"/>
            <a:ext cx="242858" cy="24376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61D8AAC-B067-4230-A69E-F51FB92B248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33" y="4644384"/>
            <a:ext cx="242858" cy="243767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89792CB-3C8E-451D-8D9B-DB94C52CF00B}"/>
              </a:ext>
            </a:extLst>
          </p:cNvPr>
          <p:cNvSpPr txBox="1"/>
          <p:nvPr/>
        </p:nvSpPr>
        <p:spPr>
          <a:xfrm>
            <a:off x="6356837" y="5511133"/>
            <a:ext cx="5389685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Segoe UI Light"/>
              </a:rPr>
              <a:t>An enterprise-wide rollout needs to address different criticality complexity, large number of virtual machines and applications that are currently in use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C45A232-012C-418A-BCC4-CD876BDB402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6837" y="5596707"/>
            <a:ext cx="242858" cy="24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82085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Team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5774C48-CDC9-85B5-F7BC-3C37E58F94FC}"/>
              </a:ext>
            </a:extLst>
          </p:cNvPr>
          <p:cNvSpPr/>
          <p:nvPr/>
        </p:nvSpPr>
        <p:spPr>
          <a:xfrm>
            <a:off x="8671173" y="5975006"/>
            <a:ext cx="2937731" cy="52104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B5D5EA2-6B55-EAEE-9591-CC75947C7CE5}"/>
              </a:ext>
            </a:extLst>
          </p:cNvPr>
          <p:cNvSpPr txBox="1"/>
          <p:nvPr/>
        </p:nvSpPr>
        <p:spPr>
          <a:xfrm>
            <a:off x="10500384" y="6031027"/>
            <a:ext cx="936000" cy="37785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marL="0" marR="0" lvl="0" indent="0" algn="ctr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vanade Team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4AA5896-D06D-397C-EBFC-88070032AACB}"/>
              </a:ext>
            </a:extLst>
          </p:cNvPr>
          <p:cNvSpPr txBox="1"/>
          <p:nvPr/>
        </p:nvSpPr>
        <p:spPr>
          <a:xfrm>
            <a:off x="8671173" y="6035442"/>
            <a:ext cx="71963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egend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C53795C-35E8-E1D6-A4F6-4C6CEB2B5586}"/>
              </a:ext>
            </a:extLst>
          </p:cNvPr>
          <p:cNvSpPr/>
          <p:nvPr/>
        </p:nvSpPr>
        <p:spPr>
          <a:xfrm>
            <a:off x="9342002" y="6031027"/>
            <a:ext cx="936000" cy="377851"/>
          </a:xfrm>
          <a:prstGeom prst="rect">
            <a:avLst/>
          </a:prstGeom>
          <a:solidFill>
            <a:srgbClr val="FC591F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91440" rIns="91440" bIns="91440" anchor="ctr">
            <a:noAutofit/>
          </a:bodyPr>
          <a:lstStyle/>
          <a:p>
            <a:pPr marL="0" marR="0" lvl="0" indent="0" algn="ctr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IO Team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118B9DD-55F4-B59B-82A1-B5ADEF787E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193" y="1278198"/>
            <a:ext cx="6785251" cy="5639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801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Team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9" name="Table 40">
            <a:extLst>
              <a:ext uri="{FF2B5EF4-FFF2-40B4-BE49-F238E27FC236}">
                <a16:creationId xmlns:a16="http://schemas.microsoft.com/office/drawing/2014/main" id="{E5E651BB-E473-7D60-3373-C83D07D0FE38}"/>
              </a:ext>
            </a:extLst>
          </p:cNvPr>
          <p:cNvGraphicFramePr>
            <a:graphicFrameLocks noGrp="1"/>
          </p:cNvGraphicFramePr>
          <p:nvPr/>
        </p:nvGraphicFramePr>
        <p:xfrm>
          <a:off x="553944" y="1437676"/>
          <a:ext cx="5420137" cy="3193429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124813">
                  <a:extLst>
                    <a:ext uri="{9D8B030D-6E8A-4147-A177-3AD203B41FA5}">
                      <a16:colId xmlns:a16="http://schemas.microsoft.com/office/drawing/2014/main" val="4066848765"/>
                    </a:ext>
                  </a:extLst>
                </a:gridCol>
                <a:gridCol w="1340046">
                  <a:extLst>
                    <a:ext uri="{9D8B030D-6E8A-4147-A177-3AD203B41FA5}">
                      <a16:colId xmlns:a16="http://schemas.microsoft.com/office/drawing/2014/main" val="3134356632"/>
                    </a:ext>
                  </a:extLst>
                </a:gridCol>
                <a:gridCol w="2955278">
                  <a:extLst>
                    <a:ext uri="{9D8B030D-6E8A-4147-A177-3AD203B41FA5}">
                      <a16:colId xmlns:a16="http://schemas.microsoft.com/office/drawing/2014/main" val="1342210508"/>
                    </a:ext>
                  </a:extLst>
                </a:gridCol>
              </a:tblGrid>
              <a:tr h="400777">
                <a:tc gridSpan="3">
                  <a:txBody>
                    <a:bodyPr/>
                    <a:lstStyle/>
                    <a:p>
                      <a:r>
                        <a:rPr lang="en-AU" sz="1600" b="1" dirty="0">
                          <a:solidFill>
                            <a:schemeClr val="bg1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oject roles – Rio Tint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44748"/>
                  </a:ext>
                </a:extLst>
              </a:tr>
              <a:tr h="400777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Project</a:t>
                      </a: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 Manager</a:t>
                      </a:r>
                      <a:endParaRPr kumimoji="0" lang="en-GB" sz="12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  <a:p>
                      <a:endParaRPr lang="en-AU" sz="1200" b="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ll spr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Identify and mobilize Rio Tinto resources </a:t>
                      </a:r>
                    </a:p>
                    <a:p>
                      <a:r>
                        <a:rPr lang="en-AU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Lead change management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028114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Security Analysts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Sprints 1 to 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Provide inputs from the CMDB and Vulnerability assessment tools. Provide Scan reports for vulnerabilities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735201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Server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dm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print 2 to rollou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upport server re-scan phase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Run server inspections for critical workloads change preparation (with Cloud Consultant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4008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App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Owners</a:t>
                      </a:r>
                      <a:endParaRPr kumimoji="0" lang="en-GB" sz="12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  <a:p>
                      <a:endParaRPr lang="en-AU" sz="1200" b="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print 2 to rollout</a:t>
                      </a:r>
                    </a:p>
                    <a:p>
                      <a:endParaRPr lang="en-AU" sz="105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ovide change management support: areas impacted, approved windows and run (or delegate) post deployment tests</a:t>
                      </a:r>
                    </a:p>
                    <a:p>
                      <a:endParaRPr lang="en-AU" sz="110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9783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CB108FC-4030-0E26-4491-F5E4F41167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943089"/>
              </p:ext>
            </p:extLst>
          </p:nvPr>
        </p:nvGraphicFramePr>
        <p:xfrm>
          <a:off x="6217921" y="1437676"/>
          <a:ext cx="5848001" cy="3992672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213606">
                  <a:extLst>
                    <a:ext uri="{9D8B030D-6E8A-4147-A177-3AD203B41FA5}">
                      <a16:colId xmlns:a16="http://schemas.microsoft.com/office/drawing/2014/main" val="4066848765"/>
                    </a:ext>
                  </a:extLst>
                </a:gridCol>
                <a:gridCol w="1445828">
                  <a:extLst>
                    <a:ext uri="{9D8B030D-6E8A-4147-A177-3AD203B41FA5}">
                      <a16:colId xmlns:a16="http://schemas.microsoft.com/office/drawing/2014/main" val="3134356632"/>
                    </a:ext>
                  </a:extLst>
                </a:gridCol>
                <a:gridCol w="3188567">
                  <a:extLst>
                    <a:ext uri="{9D8B030D-6E8A-4147-A177-3AD203B41FA5}">
                      <a16:colId xmlns:a16="http://schemas.microsoft.com/office/drawing/2014/main" val="1342210508"/>
                    </a:ext>
                  </a:extLst>
                </a:gridCol>
              </a:tblGrid>
              <a:tr h="382814">
                <a:tc gridSpan="3">
                  <a:txBody>
                    <a:bodyPr/>
                    <a:lstStyle/>
                    <a:p>
                      <a:r>
                        <a:rPr lang="en-AU" sz="1600" b="1" dirty="0">
                          <a:solidFill>
                            <a:schemeClr val="bg1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oject roles – Avanade/Accen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44748"/>
                  </a:ext>
                </a:extLst>
              </a:tr>
              <a:tr h="400777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Technical</a:t>
                      </a:r>
                    </a:p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Lead</a:t>
                      </a:r>
                      <a:endParaRPr lang="en-AU" sz="1200" b="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ll spr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ovide technical guidance, define and manage technical gates</a:t>
                      </a:r>
                    </a:p>
                    <a:p>
                      <a:r>
                        <a:rPr lang="en-AU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Track activities and prepare the rollout plan (with Project Manager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028114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Security </a:t>
                      </a:r>
                      <a:r>
                        <a:rPr kumimoji="0" lang="en-GB" sz="11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Consultant</a:t>
                      </a: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All Spr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Analyse vulnerability on servers, build fixes, roll back procedures and artefacts. Develop pathway for patch fixes to be deployed by Ansib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735201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Security </a:t>
                      </a:r>
                      <a:r>
                        <a:rPr kumimoji="0" lang="en-GB" sz="11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Consultant*</a:t>
                      </a:r>
                      <a:endParaRPr lang="en-GB" sz="1200" b="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ll Spr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Test vulnerability fixes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ssess impact with fix deployment on critical workloads. Assist app owners in testing post fix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upport/Run fix deployment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4008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ecurity Analyst x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ll Spr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Obtain handovers of NTLM (I4.3) and Clear Text (A3.1) from Pilot. Assist in comms to App owners and raise change requests. Perform all admin task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229831"/>
                  </a:ext>
                </a:extLst>
              </a:tr>
              <a:tr h="695286">
                <a:tc gridSpan="3"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* Capacity required for Cloud Consultant role for Sprint 4 and rollout activities can be confirmed observing quantity of servers and rollout approach distribution (critical x non-critical x self-service)</a:t>
                      </a:r>
                      <a:endParaRPr lang="en-GB" sz="1100" b="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rgbClr val="00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>
                        <a:solidFill>
                          <a:srgbClr val="00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43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076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Scope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AA63F258-A02A-94A7-5D6E-8B61860094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9316388"/>
              </p:ext>
            </p:extLst>
          </p:nvPr>
        </p:nvGraphicFramePr>
        <p:xfrm>
          <a:off x="553943" y="1323923"/>
          <a:ext cx="11511976" cy="5312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7600">
                  <a:extLst>
                    <a:ext uri="{9D8B030D-6E8A-4147-A177-3AD203B41FA5}">
                      <a16:colId xmlns:a16="http://schemas.microsoft.com/office/drawing/2014/main" val="258268867"/>
                    </a:ext>
                  </a:extLst>
                </a:gridCol>
                <a:gridCol w="8974376">
                  <a:extLst>
                    <a:ext uri="{9D8B030D-6E8A-4147-A177-3AD203B41FA5}">
                      <a16:colId xmlns:a16="http://schemas.microsoft.com/office/drawing/2014/main" val="68652836"/>
                    </a:ext>
                  </a:extLst>
                </a:gridCol>
              </a:tblGrid>
              <a:tr h="277736">
                <a:tc>
                  <a:txBody>
                    <a:bodyPr/>
                    <a:lstStyle/>
                    <a:p>
                      <a:r>
                        <a:rPr lang="en-AU" sz="1400" dirty="0"/>
                        <a:t>Scope Item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400" dirty="0"/>
                        <a:t>Scope Detail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674948"/>
                  </a:ext>
                </a:extLst>
              </a:tr>
              <a:tr h="1472000">
                <a:tc>
                  <a:txBody>
                    <a:bodyPr/>
                    <a:lstStyle/>
                    <a:p>
                      <a:r>
                        <a:rPr lang="en-AU" sz="14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ross all initiatives</a:t>
                      </a:r>
                      <a:endParaRPr lang="en-A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btain scan reports of the five vulnerabilities and impacted servers across the Corp Server fleet from Rio Tinto Cyber team</a:t>
                      </a:r>
                      <a:endParaRPr lang="en-AU" sz="10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line initial vulnerability status level and define a reference point for the project</a:t>
                      </a:r>
                      <a:endParaRPr lang="en-AU" sz="10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rify scan reports and identify any deltas between the reports and Rio Tinto CMDB tool where source of truth is valid and correct in CMDB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sify the shortlisted servers from reports based on their workload criticality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ntify the Rio Tinto application owners for the shortlisted server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eate an Enterprise deployment rollout plan and remediation fix deployment email communication template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aise change requests for remediation fixes on in-scope servers, attend Change Advisory Board (CAB) meetings to present the change and subsequent approvals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005202"/>
                  </a:ext>
                </a:extLst>
              </a:tr>
              <a:tr h="1055396">
                <a:tc>
                  <a:txBody>
                    <a:bodyPr/>
                    <a:lstStyle/>
                    <a:p>
                      <a:r>
                        <a:rPr lang="en-AU" sz="14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ross initiatives I4.2, I4.4 &amp; I4.5(</a:t>
                      </a:r>
                      <a:r>
                        <a:rPr lang="en-AU" sz="1400" dirty="0" err="1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Digest</a:t>
                      </a:r>
                      <a:r>
                        <a:rPr lang="en-AU" sz="14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&amp; NetBIOS and PowerShell)</a:t>
                      </a:r>
                      <a:endParaRPr lang="en-A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ild and test fixes for Vulnerabilities I4.2, I4.4 &amp; I4.5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hortlist a total of approximately 50 pilot servers from the list to apply the remediation fixes for above vulnerabilitie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ntify the application owners for the shortlisted servers and communicate to them about the vulnerabilities and the schedules of the remediation fix rollout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sist the application owners of the impacted servers to test their application post remediation fix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cord the results if successful or proceed with roll back process if unsuccessfu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385336"/>
                  </a:ext>
                </a:extLst>
              </a:tr>
              <a:tr h="1749735">
                <a:tc>
                  <a:txBody>
                    <a:bodyPr/>
                    <a:lstStyle/>
                    <a:p>
                      <a:r>
                        <a:rPr lang="en-AU" sz="14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ross initiatives I4.3 &amp; A3.1(NTLM &amp; Clear Text)</a:t>
                      </a:r>
                      <a:endParaRPr lang="en-A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btain handovers of the fixes from the relevant Rio Tinto teams who conducted the Pilot and current production rollouts of the I4.3 and A3.1 vulnerabilitie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pply fixes to vulnerabilities in line with agreed deployment schedules, approved changes in accordance with Rio Tinto’s change management policy and subject to project team capacity.  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sify the criticality of the servers based on the workloads and application tiers within Rio Tinto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sume the planning and deployment of the I4.3 &amp; A3.1 fixes in accordance with the existing Prod deployment plan in Rio Tinto for in-scope servers, proceed to create the plan if one does not exist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duct production deployment plan workshops with the Rio Tinto application owners as necessary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sist the application owners of the impacted servers to test their application post remediation fix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cord the results of the remediation if successful or proceed with roll back process if unsuccessfu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274611"/>
                  </a:ext>
                </a:extLst>
              </a:tr>
              <a:tr h="313547">
                <a:tc>
                  <a:txBody>
                    <a:bodyPr/>
                    <a:lstStyle/>
                    <a:p>
                      <a:r>
                        <a:rPr lang="en-AU" sz="1400" kern="12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rn rate dashboard</a:t>
                      </a:r>
                      <a:endParaRPr lang="en-AU" sz="1400" kern="1200" dirty="0">
                        <a:solidFill>
                          <a:srgbClr val="000000"/>
                        </a:solidFill>
                        <a:effectLst/>
                        <a:latin typeface="Graphik" panose="020B0503030202060203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AU" sz="1000" dirty="0">
                          <a:solidFill>
                            <a:srgbClr val="000000"/>
                          </a:solidFill>
                          <a:effectLst/>
                          <a:latin typeface="Graphik" panose="020B0503030202060203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sist Rio Tinto with creating the Burn rate dashboard on Nexpose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663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8700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81992" y="120844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Plan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146" name="Table 145">
            <a:extLst>
              <a:ext uri="{FF2B5EF4-FFF2-40B4-BE49-F238E27FC236}">
                <a16:creationId xmlns:a16="http://schemas.microsoft.com/office/drawing/2014/main" id="{A82F7D67-02EA-B75A-51BA-89EAEE77BB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918481"/>
              </p:ext>
            </p:extLst>
          </p:nvPr>
        </p:nvGraphicFramePr>
        <p:xfrm>
          <a:off x="550277" y="1260811"/>
          <a:ext cx="10039511" cy="4920162"/>
        </p:xfrm>
        <a:graphic>
          <a:graphicData uri="http://schemas.openxmlformats.org/drawingml/2006/table">
            <a:tbl>
              <a:tblPr firstRow="1" bandRow="1"/>
              <a:tblGrid>
                <a:gridCol w="717108">
                  <a:extLst>
                    <a:ext uri="{9D8B030D-6E8A-4147-A177-3AD203B41FA5}">
                      <a16:colId xmlns:a16="http://schemas.microsoft.com/office/drawing/2014/main" val="3932980135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169738558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391729580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4291619851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2920755163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880113655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480871175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647325308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1172949371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41058946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2390451689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2011092549"/>
                    </a:ext>
                  </a:extLst>
                </a:gridCol>
                <a:gridCol w="1434215">
                  <a:extLst>
                    <a:ext uri="{9D8B030D-6E8A-4147-A177-3AD203B41FA5}">
                      <a16:colId xmlns:a16="http://schemas.microsoft.com/office/drawing/2014/main" val="2993006490"/>
                    </a:ext>
                  </a:extLst>
                </a:gridCol>
              </a:tblGrid>
              <a:tr h="226963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Month 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Month 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Month 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Rollout timeline TBD*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210787"/>
                  </a:ext>
                </a:extLst>
              </a:tr>
              <a:tr h="2269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</a:t>
                      </a:r>
                      <a:endParaRPr lang="en-AU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2</a:t>
                      </a:r>
                      <a:endParaRPr lang="en-AU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3</a:t>
                      </a:r>
                      <a:endParaRPr lang="en-AU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5</a:t>
                      </a:r>
                      <a:endParaRPr lang="en-AU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12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547260"/>
                  </a:ext>
                </a:extLst>
              </a:tr>
              <a:tr h="44662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03938"/>
                  </a:ext>
                </a:extLst>
              </a:tr>
            </a:tbl>
          </a:graphicData>
        </a:graphic>
      </p:graphicFrame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2082DEC0-18A1-FD5B-44AE-268C8B5238DD}"/>
              </a:ext>
            </a:extLst>
          </p:cNvPr>
          <p:cNvSpPr>
            <a:spLocks/>
          </p:cNvSpPr>
          <p:nvPr/>
        </p:nvSpPr>
        <p:spPr>
          <a:xfrm>
            <a:off x="1982300" y="3443375"/>
            <a:ext cx="719932" cy="273792"/>
          </a:xfrm>
          <a:prstGeom prst="roundRect">
            <a:avLst>
              <a:gd name="adj" fmla="val 50000"/>
            </a:avLst>
          </a:prstGeom>
          <a:solidFill>
            <a:srgbClr val="CE0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Discovery Assessment Workshops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730FD46-D48B-C902-DECC-12516E21853D}"/>
              </a:ext>
            </a:extLst>
          </p:cNvPr>
          <p:cNvGrpSpPr/>
          <p:nvPr/>
        </p:nvGrpSpPr>
        <p:grpSpPr>
          <a:xfrm>
            <a:off x="4903766" y="3271305"/>
            <a:ext cx="2065835" cy="165036"/>
            <a:chOff x="690562" y="2717940"/>
            <a:chExt cx="1343026" cy="134130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A75E07A8-E3A4-41F3-0239-286E0C639FB3}"/>
                </a:ext>
              </a:extLst>
            </p:cNvPr>
            <p:cNvCxnSpPr>
              <a:cxnSpLocks/>
            </p:cNvCxnSpPr>
            <p:nvPr/>
          </p:nvCxnSpPr>
          <p:spPr>
            <a:xfrm>
              <a:off x="690562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47C8DD00-2133-552C-4292-E3A7EEE6E3B3}"/>
                </a:ext>
              </a:extLst>
            </p:cNvPr>
            <p:cNvSpPr txBox="1"/>
            <p:nvPr/>
          </p:nvSpPr>
          <p:spPr>
            <a:xfrm>
              <a:off x="912816" y="2717940"/>
              <a:ext cx="793729" cy="13413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Communication to App Owners</a:t>
              </a:r>
            </a:p>
          </p:txBody>
        </p:sp>
      </p:grpSp>
      <p:sp>
        <p:nvSpPr>
          <p:cNvPr id="151" name="Diamond 150">
            <a:extLst>
              <a:ext uri="{FF2B5EF4-FFF2-40B4-BE49-F238E27FC236}">
                <a16:creationId xmlns:a16="http://schemas.microsoft.com/office/drawing/2014/main" id="{FACAB4A3-30B5-745D-3CEE-32EFA66E0493}"/>
              </a:ext>
            </a:extLst>
          </p:cNvPr>
          <p:cNvSpPr/>
          <p:nvPr/>
        </p:nvSpPr>
        <p:spPr>
          <a:xfrm>
            <a:off x="534771" y="2822760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B5F7B63C-9A53-CC99-DA97-EA4ADD3019F6}"/>
              </a:ext>
            </a:extLst>
          </p:cNvPr>
          <p:cNvSpPr txBox="1"/>
          <p:nvPr/>
        </p:nvSpPr>
        <p:spPr>
          <a:xfrm>
            <a:off x="389646" y="2946370"/>
            <a:ext cx="541031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Scan Reports from Rio Tinto</a:t>
            </a:r>
          </a:p>
        </p:txBody>
      </p:sp>
      <p:sp>
        <p:nvSpPr>
          <p:cNvPr id="153" name="Pentagon 16">
            <a:extLst>
              <a:ext uri="{FF2B5EF4-FFF2-40B4-BE49-F238E27FC236}">
                <a16:creationId xmlns:a16="http://schemas.microsoft.com/office/drawing/2014/main" id="{86D1BCA0-E1B6-1DA8-B058-49869C6EFFE2}"/>
              </a:ext>
            </a:extLst>
          </p:cNvPr>
          <p:cNvSpPr/>
          <p:nvPr/>
        </p:nvSpPr>
        <p:spPr>
          <a:xfrm>
            <a:off x="550277" y="1854151"/>
            <a:ext cx="2159742" cy="273793"/>
          </a:xfrm>
          <a:prstGeom prst="homePlate">
            <a:avLst>
              <a:gd name="adj" fmla="val 30972"/>
            </a:avLst>
          </a:prstGeom>
          <a:solidFill>
            <a:srgbClr val="FF58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1: Discover and Analyze</a:t>
            </a: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  <a:ea typeface="Calibri" pitchFamily="34" charset="0"/>
              <a:cs typeface="Segoe UI Semilight" panose="020B0402040204020203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6763203-1D5F-744A-7947-6C6C954518E6}"/>
              </a:ext>
            </a:extLst>
          </p:cNvPr>
          <p:cNvSpPr txBox="1"/>
          <p:nvPr/>
        </p:nvSpPr>
        <p:spPr>
          <a:xfrm>
            <a:off x="671685" y="2126499"/>
            <a:ext cx="446203" cy="195814"/>
          </a:xfrm>
          <a:prstGeom prst="rect">
            <a:avLst/>
          </a:prstGeom>
          <a:solidFill>
            <a:sysClr val="window" lastClr="FFFFFF">
              <a:lumMod val="95000"/>
              <a:alpha val="60000"/>
            </a:sysClr>
          </a:solidFill>
        </p:spPr>
        <p:txBody>
          <a:bodyPr wrap="non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Mobilize</a:t>
            </a:r>
          </a:p>
        </p:txBody>
      </p:sp>
      <p:sp>
        <p:nvSpPr>
          <p:cNvPr id="155" name="Diamond 154">
            <a:extLst>
              <a:ext uri="{FF2B5EF4-FFF2-40B4-BE49-F238E27FC236}">
                <a16:creationId xmlns:a16="http://schemas.microsoft.com/office/drawing/2014/main" id="{C6FFB5EF-6126-9726-08CF-A7D18AD2F12C}"/>
              </a:ext>
            </a:extLst>
          </p:cNvPr>
          <p:cNvSpPr/>
          <p:nvPr/>
        </p:nvSpPr>
        <p:spPr>
          <a:xfrm>
            <a:off x="540670" y="2134159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2484E78-5BBB-0718-B632-49DABB133211}"/>
              </a:ext>
            </a:extLst>
          </p:cNvPr>
          <p:cNvGrpSpPr/>
          <p:nvPr/>
        </p:nvGrpSpPr>
        <p:grpSpPr>
          <a:xfrm>
            <a:off x="576263" y="2325590"/>
            <a:ext cx="1392894" cy="165036"/>
            <a:chOff x="399776" y="2738020"/>
            <a:chExt cx="1343026" cy="76999"/>
          </a:xfrm>
        </p:grpSpPr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4484D7E-AA82-6146-031F-BD1142BF4596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F6C4E819-7768-33CF-2E1F-86E704A588D5}"/>
                </a:ext>
              </a:extLst>
            </p:cNvPr>
            <p:cNvSpPr txBox="1"/>
            <p:nvPr/>
          </p:nvSpPr>
          <p:spPr>
            <a:xfrm>
              <a:off x="516739" y="2738020"/>
              <a:ext cx="1069989" cy="769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Verify Scan Reports</a:t>
              </a: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0DA57CA3-4628-74EC-C2AC-BE48F3A2ADC4}"/>
              </a:ext>
            </a:extLst>
          </p:cNvPr>
          <p:cNvGrpSpPr/>
          <p:nvPr/>
        </p:nvGrpSpPr>
        <p:grpSpPr>
          <a:xfrm>
            <a:off x="2002690" y="2440079"/>
            <a:ext cx="662825" cy="349703"/>
            <a:chOff x="399776" y="2712073"/>
            <a:chExt cx="1343026" cy="192998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9630468F-F65F-FEF3-8CA6-4373AD530916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1D4DB5A6-E58D-BC30-E3A8-41679D652B3F}"/>
                </a:ext>
              </a:extLst>
            </p:cNvPr>
            <p:cNvSpPr txBox="1"/>
            <p:nvPr/>
          </p:nvSpPr>
          <p:spPr>
            <a:xfrm>
              <a:off x="536300" y="2712073"/>
              <a:ext cx="1069989" cy="19299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Identify Coverage Gaps</a:t>
              </a: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0AF062A3-9FFA-77E4-FC37-7155F5480881}"/>
              </a:ext>
            </a:extLst>
          </p:cNvPr>
          <p:cNvGrpSpPr/>
          <p:nvPr/>
        </p:nvGrpSpPr>
        <p:grpSpPr>
          <a:xfrm>
            <a:off x="1296326" y="2799237"/>
            <a:ext cx="1369189" cy="257369"/>
            <a:chOff x="399776" y="2719439"/>
            <a:chExt cx="1343026" cy="168799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E6C59E82-E635-E76B-FF2C-ECCD78D7A229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A3CE1B55-ABB5-E114-FC09-3967896CE2D7}"/>
                </a:ext>
              </a:extLst>
            </p:cNvPr>
            <p:cNvSpPr txBox="1"/>
            <p:nvPr/>
          </p:nvSpPr>
          <p:spPr>
            <a:xfrm>
              <a:off x="632256" y="2719439"/>
              <a:ext cx="844050" cy="1687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Identify Application Owners</a:t>
              </a: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E890640C-EFD5-AAFE-9999-CDBFD7561EB9}"/>
              </a:ext>
            </a:extLst>
          </p:cNvPr>
          <p:cNvGrpSpPr/>
          <p:nvPr/>
        </p:nvGrpSpPr>
        <p:grpSpPr>
          <a:xfrm>
            <a:off x="2870073" y="6277623"/>
            <a:ext cx="5341239" cy="486987"/>
            <a:chOff x="2257425" y="6428169"/>
            <a:chExt cx="6068747" cy="289683"/>
          </a:xfrm>
        </p:grpSpPr>
        <p:sp>
          <p:nvSpPr>
            <p:cNvPr id="166" name="Rounded Rectangle 107">
              <a:extLst>
                <a:ext uri="{FF2B5EF4-FFF2-40B4-BE49-F238E27FC236}">
                  <a16:creationId xmlns:a16="http://schemas.microsoft.com/office/drawing/2014/main" id="{26FEA508-5FE4-6C48-E5EB-1B25CB547D7E}"/>
                </a:ext>
              </a:extLst>
            </p:cNvPr>
            <p:cNvSpPr/>
            <p:nvPr/>
          </p:nvSpPr>
          <p:spPr>
            <a:xfrm>
              <a:off x="2257425" y="6457213"/>
              <a:ext cx="6068747" cy="260639"/>
            </a:xfrm>
            <a:prstGeom prst="roundRect">
              <a:avLst/>
            </a:prstGeom>
            <a:noFill/>
            <a:ln w="6350" cap="flat" cmpd="sng" algn="ctr">
              <a:solidFill>
                <a:srgbClr val="333333">
                  <a:lumMod val="50000"/>
                  <a:lumOff val="50000"/>
                </a:srgbClr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80601C82-44A9-4BBE-3502-BC5EC465667D}"/>
                </a:ext>
              </a:extLst>
            </p:cNvPr>
            <p:cNvSpPr txBox="1"/>
            <p:nvPr/>
          </p:nvSpPr>
          <p:spPr>
            <a:xfrm>
              <a:off x="4334033" y="6428169"/>
              <a:ext cx="1237935" cy="73232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00" b="0" i="0" u="none" strike="noStrike" kern="0" cap="none" spc="300" normalizeH="0" baseline="0" noProof="0" dirty="0">
                  <a:ln>
                    <a:noFill/>
                  </a:ln>
                  <a:solidFill>
                    <a:srgbClr val="333333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Graphik" panose="020B0503030202060203"/>
                  <a:cs typeface="Arial" panose="020B0604020202020204" pitchFamily="34" charset="0"/>
                </a:rPr>
                <a:t>KEY</a:t>
              </a: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41F6EC0A-5AA6-6F5F-B2AB-8B55255F42DF}"/>
              </a:ext>
            </a:extLst>
          </p:cNvPr>
          <p:cNvGrpSpPr/>
          <p:nvPr/>
        </p:nvGrpSpPr>
        <p:grpSpPr>
          <a:xfrm>
            <a:off x="2973008" y="6507291"/>
            <a:ext cx="2858324" cy="180000"/>
            <a:chOff x="2807694" y="6526341"/>
            <a:chExt cx="2858324" cy="180000"/>
          </a:xfrm>
        </p:grpSpPr>
        <p:sp>
          <p:nvSpPr>
            <p:cNvPr id="169" name="Pentagon 16">
              <a:extLst>
                <a:ext uri="{FF2B5EF4-FFF2-40B4-BE49-F238E27FC236}">
                  <a16:creationId xmlns:a16="http://schemas.microsoft.com/office/drawing/2014/main" id="{EAA0C8EE-1320-21EA-9CCA-EE5035C9F94A}"/>
                </a:ext>
              </a:extLst>
            </p:cNvPr>
            <p:cNvSpPr/>
            <p:nvPr/>
          </p:nvSpPr>
          <p:spPr>
            <a:xfrm>
              <a:off x="2807694" y="6526341"/>
              <a:ext cx="719735" cy="180000"/>
            </a:xfrm>
            <a:prstGeom prst="homePlate">
              <a:avLst>
                <a:gd name="adj" fmla="val 30972"/>
              </a:avLst>
            </a:prstGeom>
            <a:solidFill>
              <a:srgbClr val="FF5800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marL="85725" marR="0" lvl="0" indent="-8572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11125" algn="l"/>
                </a:tabLst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Calibri" pitchFamily="34" charset="0"/>
                  <a:cs typeface="Segoe UI Semilight" panose="020B0402040204020203" pitchFamily="34" charset="0"/>
                </a:rPr>
                <a:t>Sprint</a:t>
              </a: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CBEBDB12-9981-81DE-8ABB-4F757A17C775}"/>
                </a:ext>
              </a:extLst>
            </p:cNvPr>
            <p:cNvGrpSpPr/>
            <p:nvPr/>
          </p:nvGrpSpPr>
          <p:grpSpPr>
            <a:xfrm>
              <a:off x="3692212" y="6533823"/>
              <a:ext cx="810328" cy="165036"/>
              <a:chOff x="690562" y="2833314"/>
              <a:chExt cx="810328" cy="165036"/>
            </a:xfrm>
          </p:grpSpPr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CE9BA8DB-2DDC-BB46-C1BC-1B8094455E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0562" y="2915832"/>
                <a:ext cx="810328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FF5800"/>
                </a:solidFill>
                <a:prstDash val="solid"/>
                <a:miter lim="800000"/>
                <a:headEnd type="oval"/>
                <a:tailEnd type="oval"/>
              </a:ln>
              <a:effectLst/>
            </p:spPr>
          </p:cxn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43A25E0B-6BFD-5F46-D882-4CAD82607732}"/>
                  </a:ext>
                </a:extLst>
              </p:cNvPr>
              <p:cNvSpPr txBox="1"/>
              <p:nvPr/>
            </p:nvSpPr>
            <p:spPr>
              <a:xfrm>
                <a:off x="939953" y="2833314"/>
                <a:ext cx="311551" cy="165036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36000" tIns="36000" rIns="36000" bIns="36000" rtlCol="0">
                <a:spAutoFit/>
              </a:bodyPr>
              <a:lstStyle>
                <a:defPPr>
                  <a:defRPr lang="en-US"/>
                </a:defPPr>
                <a:lvl1pPr algn="r">
                  <a:defRPr sz="600"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FF5800"/>
                    </a:solidFill>
                    <a:effectLst/>
                    <a:uLnTx/>
                    <a:uFillTx/>
                    <a:latin typeface="Graphik" panose="020B0503030202060203"/>
                  </a:rPr>
                  <a:t>Activity</a:t>
                </a:r>
              </a:p>
            </p:txBody>
          </p:sp>
        </p:grpSp>
        <p:sp>
          <p:nvSpPr>
            <p:cNvPr id="171" name="Rectangle: Rounded Corners 170">
              <a:extLst>
                <a:ext uri="{FF2B5EF4-FFF2-40B4-BE49-F238E27FC236}">
                  <a16:creationId xmlns:a16="http://schemas.microsoft.com/office/drawing/2014/main" id="{47181FFF-E3D9-21A1-1595-60D46CACAC0D}"/>
                </a:ext>
              </a:extLst>
            </p:cNvPr>
            <p:cNvSpPr>
              <a:spLocks/>
            </p:cNvSpPr>
            <p:nvPr/>
          </p:nvSpPr>
          <p:spPr>
            <a:xfrm>
              <a:off x="4667323" y="6544341"/>
              <a:ext cx="998695" cy="144000"/>
            </a:xfrm>
            <a:prstGeom prst="roundRect">
              <a:avLst>
                <a:gd name="adj" fmla="val 50000"/>
              </a:avLst>
            </a:prstGeom>
            <a:solidFill>
              <a:srgbClr val="CE056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cs typeface="Segoe UI Semilight" panose="020B0402040204020203" pitchFamily="34" charset="0"/>
                </a:rPr>
                <a:t>Stakeholder Engagement</a:t>
              </a:r>
            </a:p>
          </p:txBody>
        </p: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9590D3C9-6CB3-BE79-A2BB-63C15599C45E}"/>
              </a:ext>
            </a:extLst>
          </p:cNvPr>
          <p:cNvSpPr txBox="1"/>
          <p:nvPr/>
        </p:nvSpPr>
        <p:spPr>
          <a:xfrm>
            <a:off x="6172209" y="6500550"/>
            <a:ext cx="1868205" cy="1804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Milestone or Deliverable or Artifact release</a:t>
            </a:r>
          </a:p>
        </p:txBody>
      </p:sp>
      <p:sp>
        <p:nvSpPr>
          <p:cNvPr id="175" name="Diamond 174">
            <a:extLst>
              <a:ext uri="{FF2B5EF4-FFF2-40B4-BE49-F238E27FC236}">
                <a16:creationId xmlns:a16="http://schemas.microsoft.com/office/drawing/2014/main" id="{7D38E81F-5BD0-51CE-A28C-23A70EBC8A86}"/>
              </a:ext>
            </a:extLst>
          </p:cNvPr>
          <p:cNvSpPr/>
          <p:nvPr/>
        </p:nvSpPr>
        <p:spPr>
          <a:xfrm>
            <a:off x="6029335" y="6516147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76" name="Pentagon 16">
            <a:extLst>
              <a:ext uri="{FF2B5EF4-FFF2-40B4-BE49-F238E27FC236}">
                <a16:creationId xmlns:a16="http://schemas.microsoft.com/office/drawing/2014/main" id="{D5593AF0-9EA0-BDA8-E707-9BE741B55D63}"/>
              </a:ext>
            </a:extLst>
          </p:cNvPr>
          <p:cNvSpPr/>
          <p:nvPr/>
        </p:nvSpPr>
        <p:spPr>
          <a:xfrm>
            <a:off x="4848338" y="2991514"/>
            <a:ext cx="2170423" cy="229932"/>
          </a:xfrm>
          <a:prstGeom prst="homePlate">
            <a:avLst>
              <a:gd name="adj" fmla="val 30972"/>
            </a:avLst>
          </a:prstGeom>
          <a:solidFill>
            <a:srgbClr val="FF58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3: Pilot Remediation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658FCC53-B86F-9E0C-69B5-BA2EFCF7FA79}"/>
              </a:ext>
            </a:extLst>
          </p:cNvPr>
          <p:cNvGrpSpPr/>
          <p:nvPr/>
        </p:nvGrpSpPr>
        <p:grpSpPr>
          <a:xfrm>
            <a:off x="5610035" y="3814139"/>
            <a:ext cx="1359566" cy="165034"/>
            <a:chOff x="399776" y="2757260"/>
            <a:chExt cx="1343026" cy="48752"/>
          </a:xfrm>
        </p:grpSpPr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5E0DCFE0-0D74-F79A-E85F-C45F80961A2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F3B177DE-87D9-DBA2-96CC-744072142FAD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4875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Fix 50 Pilot Servers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2167BB9B-36D1-8163-F98E-3A01A0E3FE98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A1909F87-DB72-7C45-4FB1-9AB698B48E45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CA736268-6219-A46D-E3DD-AB7A2FC5C1C5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sp>
        <p:nvSpPr>
          <p:cNvPr id="183" name="Pentagon 16">
            <a:extLst>
              <a:ext uri="{FF2B5EF4-FFF2-40B4-BE49-F238E27FC236}">
                <a16:creationId xmlns:a16="http://schemas.microsoft.com/office/drawing/2014/main" id="{EE1CF515-653A-5381-DB98-E69AA037DAB2}"/>
              </a:ext>
            </a:extLst>
          </p:cNvPr>
          <p:cNvSpPr/>
          <p:nvPr/>
        </p:nvSpPr>
        <p:spPr>
          <a:xfrm>
            <a:off x="2699054" y="2626439"/>
            <a:ext cx="2144481" cy="237516"/>
          </a:xfrm>
          <a:prstGeom prst="homePlate">
            <a:avLst>
              <a:gd name="adj" fmla="val 30972"/>
            </a:avLst>
          </a:prstGeom>
          <a:solidFill>
            <a:srgbClr val="FF58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2: Build &amp; Test Fix 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A01E60C3-F41F-B78B-9541-5192195C550E}"/>
              </a:ext>
            </a:extLst>
          </p:cNvPr>
          <p:cNvGrpSpPr/>
          <p:nvPr/>
        </p:nvGrpSpPr>
        <p:grpSpPr>
          <a:xfrm>
            <a:off x="2732399" y="2913279"/>
            <a:ext cx="1409616" cy="257366"/>
            <a:chOff x="515944" y="2780423"/>
            <a:chExt cx="1138457" cy="34388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B7D0FA7F-0C04-040E-A1F4-174946273A2A}"/>
                </a:ext>
              </a:extLst>
            </p:cNvPr>
            <p:cNvCxnSpPr>
              <a:cxnSpLocks/>
            </p:cNvCxnSpPr>
            <p:nvPr/>
          </p:nvCxnSpPr>
          <p:spPr>
            <a:xfrm>
              <a:off x="515944" y="2793063"/>
              <a:ext cx="1138457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DF6EE41E-7CCA-62D4-90AB-D236D5527002}"/>
                </a:ext>
              </a:extLst>
            </p:cNvPr>
            <p:cNvSpPr txBox="1"/>
            <p:nvPr/>
          </p:nvSpPr>
          <p:spPr>
            <a:xfrm>
              <a:off x="604338" y="2780423"/>
              <a:ext cx="961668" cy="3438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Build fix for </a:t>
              </a:r>
              <a:r>
                <a:rPr kumimoji="0" lang="en-AU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WDigest</a:t>
              </a: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, PowerShell, NetBIOS</a:t>
              </a:r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A16B02BB-DAF2-DC1D-186C-C361CBE120E1}"/>
              </a:ext>
            </a:extLst>
          </p:cNvPr>
          <p:cNvGrpSpPr/>
          <p:nvPr/>
        </p:nvGrpSpPr>
        <p:grpSpPr>
          <a:xfrm>
            <a:off x="3459418" y="3157675"/>
            <a:ext cx="1365194" cy="257372"/>
            <a:chOff x="515944" y="2780614"/>
            <a:chExt cx="1138457" cy="28503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53D2EA4-C8A7-CC61-C91E-D3A4869F60B1}"/>
                </a:ext>
              </a:extLst>
            </p:cNvPr>
            <p:cNvCxnSpPr>
              <a:cxnSpLocks/>
            </p:cNvCxnSpPr>
            <p:nvPr/>
          </p:nvCxnSpPr>
          <p:spPr>
            <a:xfrm>
              <a:off x="515944" y="2793063"/>
              <a:ext cx="1138457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AEF40724-A4DA-CD07-552A-BD2905095264}"/>
                </a:ext>
              </a:extLst>
            </p:cNvPr>
            <p:cNvSpPr txBox="1"/>
            <p:nvPr/>
          </p:nvSpPr>
          <p:spPr>
            <a:xfrm>
              <a:off x="597867" y="2780614"/>
              <a:ext cx="961668" cy="2850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Test Remediation Fixes on Sample VMs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E9E0D50-931F-187B-553D-C1080AC4E3EC}"/>
              </a:ext>
            </a:extLst>
          </p:cNvPr>
          <p:cNvGrpSpPr/>
          <p:nvPr/>
        </p:nvGrpSpPr>
        <p:grpSpPr>
          <a:xfrm>
            <a:off x="3428375" y="3551809"/>
            <a:ext cx="1359566" cy="165035"/>
            <a:chOff x="399776" y="2757260"/>
            <a:chExt cx="1343026" cy="56923"/>
          </a:xfrm>
        </p:grpSpPr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104834ED-952A-FBFE-2C08-DB1073A865F3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197D0516-5D7C-0E3C-265A-C05AD3503E3B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5692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raphik" panose="020B0503030202060203"/>
                </a:rPr>
                <a:t>Assess 50 Pilot Servers</a:t>
              </a:r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1A01E0EE-D2A8-63D9-0CB2-6AAF31BAB0AD}"/>
              </a:ext>
            </a:extLst>
          </p:cNvPr>
          <p:cNvSpPr txBox="1"/>
          <p:nvPr/>
        </p:nvSpPr>
        <p:spPr>
          <a:xfrm>
            <a:off x="6328880" y="4004434"/>
            <a:ext cx="560016" cy="3958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Pilo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Remedi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Complete</a:t>
            </a:r>
            <a:endParaRPr kumimoji="0" lang="en-AU" sz="5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94" name="Pentagon 16">
            <a:extLst>
              <a:ext uri="{FF2B5EF4-FFF2-40B4-BE49-F238E27FC236}">
                <a16:creationId xmlns:a16="http://schemas.microsoft.com/office/drawing/2014/main" id="{C3E3C43C-7D1C-807F-EB53-BE9719C617D4}"/>
              </a:ext>
            </a:extLst>
          </p:cNvPr>
          <p:cNvSpPr/>
          <p:nvPr/>
        </p:nvSpPr>
        <p:spPr>
          <a:xfrm>
            <a:off x="7017191" y="3677233"/>
            <a:ext cx="2141585" cy="229932"/>
          </a:xfrm>
          <a:prstGeom prst="homePlate">
            <a:avLst>
              <a:gd name="adj" fmla="val 30972"/>
            </a:avLst>
          </a:prstGeom>
          <a:solidFill>
            <a:srgbClr val="EDEDED">
              <a:lumMod val="25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4: Patch Rollout Plan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228734CB-9858-8CF6-EA67-98845E6082D8}"/>
              </a:ext>
            </a:extLst>
          </p:cNvPr>
          <p:cNvGrpSpPr/>
          <p:nvPr/>
        </p:nvGrpSpPr>
        <p:grpSpPr>
          <a:xfrm>
            <a:off x="7047348" y="3994946"/>
            <a:ext cx="1382316" cy="257369"/>
            <a:chOff x="399776" y="2757260"/>
            <a:chExt cx="1343026" cy="97592"/>
          </a:xfrm>
        </p:grpSpPr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3F3ADFF0-51A4-B685-B337-CE5E58B6ED4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8CBAD245-2294-308F-10D7-65153EE7ADB0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9759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Enterprise Deployment Plan		</a:t>
              </a:r>
            </a:p>
          </p:txBody>
        </p:sp>
      </p:grpSp>
      <p:sp>
        <p:nvSpPr>
          <p:cNvPr id="198" name="Diamond 197">
            <a:extLst>
              <a:ext uri="{FF2B5EF4-FFF2-40B4-BE49-F238E27FC236}">
                <a16:creationId xmlns:a16="http://schemas.microsoft.com/office/drawing/2014/main" id="{2A376F7A-ECB8-5B4D-DAB2-69929917F9BC}"/>
              </a:ext>
            </a:extLst>
          </p:cNvPr>
          <p:cNvSpPr/>
          <p:nvPr/>
        </p:nvSpPr>
        <p:spPr>
          <a:xfrm>
            <a:off x="9003791" y="4646724"/>
            <a:ext cx="149057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04F2BD73-9788-C823-BB61-1E177D57EC73}"/>
              </a:ext>
            </a:extLst>
          </p:cNvPr>
          <p:cNvSpPr txBox="1"/>
          <p:nvPr/>
        </p:nvSpPr>
        <p:spPr>
          <a:xfrm>
            <a:off x="8580820" y="4605411"/>
            <a:ext cx="483072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Pl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Approved</a:t>
            </a: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46AA54F3-28EB-6AE1-75A2-183DBBA320F2}"/>
              </a:ext>
            </a:extLst>
          </p:cNvPr>
          <p:cNvSpPr>
            <a:spLocks/>
          </p:cNvSpPr>
          <p:nvPr/>
        </p:nvSpPr>
        <p:spPr>
          <a:xfrm>
            <a:off x="7734345" y="4199038"/>
            <a:ext cx="695319" cy="196952"/>
          </a:xfrm>
          <a:prstGeom prst="roundRect">
            <a:avLst>
              <a:gd name="adj" fmla="val 50000"/>
            </a:avLst>
          </a:prstGeom>
          <a:solidFill>
            <a:srgbClr val="CE0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Rollout Plan  Workshops</a:t>
            </a: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6418F135-2866-B9E3-B149-216D1C890363}"/>
              </a:ext>
            </a:extLst>
          </p:cNvPr>
          <p:cNvGrpSpPr/>
          <p:nvPr/>
        </p:nvGrpSpPr>
        <p:grpSpPr>
          <a:xfrm>
            <a:off x="7753605" y="4459471"/>
            <a:ext cx="1382316" cy="165034"/>
            <a:chOff x="399776" y="2771313"/>
            <a:chExt cx="1343026" cy="31468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EDFB62C9-BB2A-371F-4A7C-305D7C9B32F3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3B927692-FFBF-5A82-D558-27AAB7DEB124}"/>
                </a:ext>
              </a:extLst>
            </p:cNvPr>
            <p:cNvSpPr txBox="1"/>
            <p:nvPr/>
          </p:nvSpPr>
          <p:spPr>
            <a:xfrm>
              <a:off x="531597" y="2771313"/>
              <a:ext cx="1050045" cy="3146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Enterprise Comms</a:t>
              </a:r>
            </a:p>
          </p:txBody>
        </p:sp>
      </p:grpSp>
      <p:sp>
        <p:nvSpPr>
          <p:cNvPr id="204" name="Diamond 203">
            <a:extLst>
              <a:ext uri="{FF2B5EF4-FFF2-40B4-BE49-F238E27FC236}">
                <a16:creationId xmlns:a16="http://schemas.microsoft.com/office/drawing/2014/main" id="{13F52D31-1DDC-C982-81D1-77CB60C48E78}"/>
              </a:ext>
            </a:extLst>
          </p:cNvPr>
          <p:cNvSpPr/>
          <p:nvPr/>
        </p:nvSpPr>
        <p:spPr>
          <a:xfrm>
            <a:off x="6854994" y="4099078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16EE526B-89F1-37DD-8FE5-541BEA7E48BC}"/>
              </a:ext>
            </a:extLst>
          </p:cNvPr>
          <p:cNvSpPr txBox="1"/>
          <p:nvPr/>
        </p:nvSpPr>
        <p:spPr>
          <a:xfrm>
            <a:off x="7936295" y="4601872"/>
            <a:ext cx="324153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Pl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Draft</a:t>
            </a: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3EE65138-F2D8-5179-6BFE-92EDDA77F761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10A7A148-3831-D1A8-0C4D-030C41DD1BF1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10BC135B-6E96-139A-BD03-1F1F64EE4FCE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sp>
        <p:nvSpPr>
          <p:cNvPr id="209" name="Pentagon 16">
            <a:extLst>
              <a:ext uri="{FF2B5EF4-FFF2-40B4-BE49-F238E27FC236}">
                <a16:creationId xmlns:a16="http://schemas.microsoft.com/office/drawing/2014/main" id="{93439528-E3B0-CD98-BF5E-CE982B07736C}"/>
              </a:ext>
            </a:extLst>
          </p:cNvPr>
          <p:cNvSpPr/>
          <p:nvPr/>
        </p:nvSpPr>
        <p:spPr>
          <a:xfrm>
            <a:off x="2710019" y="4729459"/>
            <a:ext cx="2144481" cy="229932"/>
          </a:xfrm>
          <a:prstGeom prst="homePlate">
            <a:avLst>
              <a:gd name="adj" fmla="val 30972"/>
            </a:avLst>
          </a:prstGeom>
          <a:solidFill>
            <a:srgbClr val="008C95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2a: Prod Deployment Plan</a:t>
            </a:r>
          </a:p>
        </p:txBody>
      </p:sp>
      <p:sp>
        <p:nvSpPr>
          <p:cNvPr id="210" name="Pentagon 16">
            <a:extLst>
              <a:ext uri="{FF2B5EF4-FFF2-40B4-BE49-F238E27FC236}">
                <a16:creationId xmlns:a16="http://schemas.microsoft.com/office/drawing/2014/main" id="{2DEA0714-CC4F-895D-756D-4279B8649ECD}"/>
              </a:ext>
            </a:extLst>
          </p:cNvPr>
          <p:cNvSpPr/>
          <p:nvPr/>
        </p:nvSpPr>
        <p:spPr>
          <a:xfrm>
            <a:off x="4864577" y="5032362"/>
            <a:ext cx="2137365" cy="229932"/>
          </a:xfrm>
          <a:prstGeom prst="homePlate">
            <a:avLst>
              <a:gd name="adj" fmla="val 30972"/>
            </a:avLst>
          </a:prstGeom>
          <a:solidFill>
            <a:srgbClr val="008C95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3a: Non-Critical Servers</a:t>
            </a:r>
          </a:p>
        </p:txBody>
      </p:sp>
      <p:sp>
        <p:nvSpPr>
          <p:cNvPr id="211" name="Pentagon 16">
            <a:extLst>
              <a:ext uri="{FF2B5EF4-FFF2-40B4-BE49-F238E27FC236}">
                <a16:creationId xmlns:a16="http://schemas.microsoft.com/office/drawing/2014/main" id="{016CA198-FDEA-B13B-37C3-FDB4BB35D16A}"/>
              </a:ext>
            </a:extLst>
          </p:cNvPr>
          <p:cNvSpPr/>
          <p:nvPr/>
        </p:nvSpPr>
        <p:spPr>
          <a:xfrm>
            <a:off x="7012056" y="5387234"/>
            <a:ext cx="2139896" cy="229932"/>
          </a:xfrm>
          <a:prstGeom prst="homePlate">
            <a:avLst>
              <a:gd name="adj" fmla="val 30972"/>
            </a:avLst>
          </a:prstGeom>
          <a:solidFill>
            <a:srgbClr val="008C95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4a: Critical Servers</a:t>
            </a:r>
          </a:p>
        </p:txBody>
      </p: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55E1FBCD-D1A5-B6CC-0DFF-4AE7E521C7D5}"/>
              </a:ext>
            </a:extLst>
          </p:cNvPr>
          <p:cNvCxnSpPr/>
          <p:nvPr/>
        </p:nvCxnSpPr>
        <p:spPr>
          <a:xfrm flipH="1" flipV="1">
            <a:off x="978391" y="4505917"/>
            <a:ext cx="8819" cy="7731"/>
          </a:xfrm>
          <a:prstGeom prst="line">
            <a:avLst/>
          </a:prstGeom>
          <a:noFill/>
          <a:ln w="6350" cap="flat" cmpd="sng" algn="ctr">
            <a:solidFill>
              <a:srgbClr val="FF5800"/>
            </a:solidFill>
            <a:prstDash val="solid"/>
            <a:miter lim="800000"/>
          </a:ln>
          <a:effectLst/>
        </p:spPr>
      </p:cxn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08C7B961-EFDE-6FFC-6E7D-47DE619EBA7E}"/>
              </a:ext>
            </a:extLst>
          </p:cNvPr>
          <p:cNvGrpSpPr/>
          <p:nvPr/>
        </p:nvGrpSpPr>
        <p:grpSpPr>
          <a:xfrm>
            <a:off x="1296326" y="3044255"/>
            <a:ext cx="1369189" cy="257369"/>
            <a:chOff x="399776" y="2719439"/>
            <a:chExt cx="1343026" cy="168799"/>
          </a:xfrm>
        </p:grpSpPr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D9D451ED-AC47-0DEE-6D5F-60D22DA8818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C19690F3-E67F-DEC4-B38E-96D050088D21}"/>
                </a:ext>
              </a:extLst>
            </p:cNvPr>
            <p:cNvSpPr txBox="1"/>
            <p:nvPr/>
          </p:nvSpPr>
          <p:spPr>
            <a:xfrm>
              <a:off x="632256" y="2719439"/>
              <a:ext cx="844050" cy="1687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Classify Servers from Reports</a:t>
              </a:r>
            </a:p>
          </p:txBody>
        </p:sp>
      </p:grpSp>
      <p:sp>
        <p:nvSpPr>
          <p:cNvPr id="216" name="Rectangle: Rounded Corners 215">
            <a:extLst>
              <a:ext uri="{FF2B5EF4-FFF2-40B4-BE49-F238E27FC236}">
                <a16:creationId xmlns:a16="http://schemas.microsoft.com/office/drawing/2014/main" id="{96A83CDA-B972-493E-FBB4-383D3CB5790F}"/>
              </a:ext>
            </a:extLst>
          </p:cNvPr>
          <p:cNvSpPr>
            <a:spLocks/>
          </p:cNvSpPr>
          <p:nvPr/>
        </p:nvSpPr>
        <p:spPr>
          <a:xfrm>
            <a:off x="2710020" y="2188710"/>
            <a:ext cx="4285148" cy="116152"/>
          </a:xfrm>
          <a:prstGeom prst="roundRect">
            <a:avLst>
              <a:gd name="adj" fmla="val 50000"/>
            </a:avLst>
          </a:prstGeom>
          <a:solidFill>
            <a:srgbClr val="C800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srgbClr val="EDEDED">
                    <a:lumMod val="10000"/>
                  </a:srgbClr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Business requirements I4.2, I4.4 and I4.5 Vulnerabilities</a:t>
            </a:r>
          </a:p>
        </p:txBody>
      </p: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75FA6306-4E4E-DBB4-3708-F8318C608E2E}"/>
              </a:ext>
            </a:extLst>
          </p:cNvPr>
          <p:cNvGrpSpPr/>
          <p:nvPr/>
        </p:nvGrpSpPr>
        <p:grpSpPr>
          <a:xfrm>
            <a:off x="4886165" y="4019649"/>
            <a:ext cx="677971" cy="257368"/>
            <a:chOff x="399776" y="2757260"/>
            <a:chExt cx="1343026" cy="82453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C5A358E8-684F-D33B-28F9-04C2CB50830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AEFE5065-3647-3419-DA1E-835C7F24D876}"/>
                </a:ext>
              </a:extLst>
            </p:cNvPr>
            <p:cNvSpPr txBox="1"/>
            <p:nvPr/>
          </p:nvSpPr>
          <p:spPr>
            <a:xfrm>
              <a:off x="529354" y="2757260"/>
              <a:ext cx="1069990" cy="824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aise Change Requests</a:t>
              </a:r>
            </a:p>
          </p:txBody>
        </p:sp>
      </p:grpSp>
      <p:sp>
        <p:nvSpPr>
          <p:cNvPr id="220" name="Diamond 219">
            <a:extLst>
              <a:ext uri="{FF2B5EF4-FFF2-40B4-BE49-F238E27FC236}">
                <a16:creationId xmlns:a16="http://schemas.microsoft.com/office/drawing/2014/main" id="{743117CF-7AF5-D1D1-CB4A-9CD4148F0A92}"/>
              </a:ext>
            </a:extLst>
          </p:cNvPr>
          <p:cNvSpPr/>
          <p:nvPr/>
        </p:nvSpPr>
        <p:spPr>
          <a:xfrm>
            <a:off x="8266472" y="4647774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221" name="Rectangle: Rounded Corners 220">
            <a:extLst>
              <a:ext uri="{FF2B5EF4-FFF2-40B4-BE49-F238E27FC236}">
                <a16:creationId xmlns:a16="http://schemas.microsoft.com/office/drawing/2014/main" id="{D037AF83-3EB9-3D3C-BD95-CC70E73458AB}"/>
              </a:ext>
            </a:extLst>
          </p:cNvPr>
          <p:cNvSpPr>
            <a:spLocks/>
          </p:cNvSpPr>
          <p:nvPr/>
        </p:nvSpPr>
        <p:spPr>
          <a:xfrm>
            <a:off x="551025" y="4580562"/>
            <a:ext cx="6450915" cy="113809"/>
          </a:xfrm>
          <a:prstGeom prst="roundRect">
            <a:avLst>
              <a:gd name="adj" fmla="val 50000"/>
            </a:avLst>
          </a:prstGeom>
          <a:solidFill>
            <a:srgbClr val="008C9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srgbClr val="EDEDED">
                    <a:lumMod val="10000"/>
                  </a:srgbClr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Business Requirements I4.3 and A3.1 Vulnerabilities</a:t>
            </a: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FA9CF6D9-2CE3-76C2-9CBB-2EFB4ACABDCB}"/>
              </a:ext>
            </a:extLst>
          </p:cNvPr>
          <p:cNvSpPr>
            <a:spLocks/>
          </p:cNvSpPr>
          <p:nvPr/>
        </p:nvSpPr>
        <p:spPr>
          <a:xfrm>
            <a:off x="2699054" y="5353404"/>
            <a:ext cx="695319" cy="196952"/>
          </a:xfrm>
          <a:prstGeom prst="roundRect">
            <a:avLst>
              <a:gd name="adj" fmla="val 50000"/>
            </a:avLst>
          </a:prstGeom>
          <a:solidFill>
            <a:srgbClr val="CE0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Deployment Plan  Workshops</a:t>
            </a:r>
          </a:p>
        </p:txBody>
      </p: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EBD95823-4E34-5062-C87D-05015008A31D}"/>
              </a:ext>
            </a:extLst>
          </p:cNvPr>
          <p:cNvGrpSpPr/>
          <p:nvPr/>
        </p:nvGrpSpPr>
        <p:grpSpPr>
          <a:xfrm>
            <a:off x="2738936" y="4987272"/>
            <a:ext cx="1382316" cy="257369"/>
            <a:chOff x="399776" y="2757260"/>
            <a:chExt cx="1343026" cy="97592"/>
          </a:xfrm>
        </p:grpSpPr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6342DA2F-03AF-B67C-4DBC-4C7D63B0FE20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F37C4B32-DE1B-B031-3955-E82FA8285879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9759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Prod Deployment Plan		</a:t>
              </a: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D8BF2B81-6C5F-1F98-0ABA-5795CB8782BF}"/>
              </a:ext>
            </a:extLst>
          </p:cNvPr>
          <p:cNvGrpSpPr/>
          <p:nvPr/>
        </p:nvGrpSpPr>
        <p:grpSpPr>
          <a:xfrm>
            <a:off x="3442296" y="5175502"/>
            <a:ext cx="1382316" cy="165034"/>
            <a:chOff x="399776" y="2771313"/>
            <a:chExt cx="1343026" cy="31468"/>
          </a:xfrm>
        </p:grpSpPr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C97B1F64-9F31-9B1F-EDE0-36D9AB6E734F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67AF8D10-65DC-0304-B454-04DC87426E0D}"/>
                </a:ext>
              </a:extLst>
            </p:cNvPr>
            <p:cNvSpPr txBox="1"/>
            <p:nvPr/>
          </p:nvSpPr>
          <p:spPr>
            <a:xfrm>
              <a:off x="531597" y="2771313"/>
              <a:ext cx="1050045" cy="3146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Enterprise Comms</a:t>
              </a:r>
            </a:p>
          </p:txBody>
        </p:sp>
      </p:grpSp>
      <p:sp>
        <p:nvSpPr>
          <p:cNvPr id="229" name="TextBox 228">
            <a:extLst>
              <a:ext uri="{FF2B5EF4-FFF2-40B4-BE49-F238E27FC236}">
                <a16:creationId xmlns:a16="http://schemas.microsoft.com/office/drawing/2014/main" id="{804C2970-6C6A-4C80-1A38-CD5847FA6A53}"/>
              </a:ext>
            </a:extLst>
          </p:cNvPr>
          <p:cNvSpPr txBox="1"/>
          <p:nvPr/>
        </p:nvSpPr>
        <p:spPr>
          <a:xfrm>
            <a:off x="3645742" y="5412947"/>
            <a:ext cx="324153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Pl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Draft</a:t>
            </a:r>
          </a:p>
        </p:txBody>
      </p:sp>
      <p:sp>
        <p:nvSpPr>
          <p:cNvPr id="230" name="Diamond 229">
            <a:extLst>
              <a:ext uri="{FF2B5EF4-FFF2-40B4-BE49-F238E27FC236}">
                <a16:creationId xmlns:a16="http://schemas.microsoft.com/office/drawing/2014/main" id="{C5652E07-4BC6-8F50-525F-9B627243D04E}"/>
              </a:ext>
            </a:extLst>
          </p:cNvPr>
          <p:cNvSpPr/>
          <p:nvPr/>
        </p:nvSpPr>
        <p:spPr>
          <a:xfrm>
            <a:off x="3975919" y="5458849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231" name="Diamond 230">
            <a:extLst>
              <a:ext uri="{FF2B5EF4-FFF2-40B4-BE49-F238E27FC236}">
                <a16:creationId xmlns:a16="http://schemas.microsoft.com/office/drawing/2014/main" id="{47B84550-CD7C-6802-C671-DB82BDCC7A20}"/>
              </a:ext>
            </a:extLst>
          </p:cNvPr>
          <p:cNvSpPr/>
          <p:nvPr/>
        </p:nvSpPr>
        <p:spPr>
          <a:xfrm>
            <a:off x="4679149" y="5452060"/>
            <a:ext cx="149057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0BEFAE65-8BAC-2832-6AB9-A9903A0E3983}"/>
              </a:ext>
            </a:extLst>
          </p:cNvPr>
          <p:cNvSpPr txBox="1"/>
          <p:nvPr/>
        </p:nvSpPr>
        <p:spPr>
          <a:xfrm>
            <a:off x="4256178" y="5404651"/>
            <a:ext cx="483072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Pl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Approved</a:t>
            </a:r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73FB919-FD1B-E6B2-1737-F96AD14BEE2F}"/>
              </a:ext>
            </a:extLst>
          </p:cNvPr>
          <p:cNvGrpSpPr/>
          <p:nvPr/>
        </p:nvGrpSpPr>
        <p:grpSpPr>
          <a:xfrm>
            <a:off x="598603" y="4804698"/>
            <a:ext cx="1368091" cy="349702"/>
            <a:chOff x="399776" y="2749834"/>
            <a:chExt cx="1343026" cy="132604"/>
          </a:xfrm>
        </p:grpSpPr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A53B78B1-068D-6FFC-291F-9D391FDC343F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A75C986B-EEDE-49CB-9CB3-557BF04C7E8D}"/>
                </a:ext>
              </a:extLst>
            </p:cNvPr>
            <p:cNvSpPr txBox="1"/>
            <p:nvPr/>
          </p:nvSpPr>
          <p:spPr>
            <a:xfrm>
              <a:off x="527862" y="2749834"/>
              <a:ext cx="1069989" cy="13260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Handovers of NTLM and Clea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Text Fixes from Pilot		</a:t>
              </a: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0333EB9E-9A6C-8A9A-37E2-7D6022BFCF2E}"/>
              </a:ext>
            </a:extLst>
          </p:cNvPr>
          <p:cNvGrpSpPr/>
          <p:nvPr/>
        </p:nvGrpSpPr>
        <p:grpSpPr>
          <a:xfrm>
            <a:off x="1297424" y="5108936"/>
            <a:ext cx="1368091" cy="257369"/>
            <a:chOff x="399776" y="2749834"/>
            <a:chExt cx="1343026" cy="97592"/>
          </a:xfrm>
        </p:grpSpPr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99DE3729-A485-F1FC-53B1-AE68D68499F9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3984F17F-84A5-088F-33DD-7F5C809ED870}"/>
                </a:ext>
              </a:extLst>
            </p:cNvPr>
            <p:cNvSpPr txBox="1"/>
            <p:nvPr/>
          </p:nvSpPr>
          <p:spPr>
            <a:xfrm>
              <a:off x="527862" y="2749834"/>
              <a:ext cx="1069989" cy="9759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Assess/Validate Test Fixes		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15BB4301-C7C3-3E2B-BE3E-33661DC82B80}"/>
              </a:ext>
            </a:extLst>
          </p:cNvPr>
          <p:cNvGrpSpPr/>
          <p:nvPr/>
        </p:nvGrpSpPr>
        <p:grpSpPr>
          <a:xfrm>
            <a:off x="4880981" y="5298992"/>
            <a:ext cx="677971" cy="257368"/>
            <a:chOff x="399776" y="2757260"/>
            <a:chExt cx="1343026" cy="82453"/>
          </a:xfrm>
        </p:grpSpPr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CDE6026-2816-8049-CCF5-C0294BD024E3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D24FCBD1-6AAA-A759-87F1-8F5AD6356750}"/>
                </a:ext>
              </a:extLst>
            </p:cNvPr>
            <p:cNvSpPr txBox="1"/>
            <p:nvPr/>
          </p:nvSpPr>
          <p:spPr>
            <a:xfrm>
              <a:off x="529354" y="2757260"/>
              <a:ext cx="1069990" cy="824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aise Change Request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EC749410-73C3-7886-3522-DFDBB7991ACA}"/>
              </a:ext>
            </a:extLst>
          </p:cNvPr>
          <p:cNvGrpSpPr/>
          <p:nvPr/>
        </p:nvGrpSpPr>
        <p:grpSpPr>
          <a:xfrm>
            <a:off x="7035295" y="5608993"/>
            <a:ext cx="677971" cy="257368"/>
            <a:chOff x="399776" y="2757260"/>
            <a:chExt cx="1343026" cy="82453"/>
          </a:xfrm>
        </p:grpSpPr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46808666-F4E0-1215-9CD2-5A4A9028E1BD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2F626992-BFB0-CC90-1CA2-60CCE93D1738}"/>
                </a:ext>
              </a:extLst>
            </p:cNvPr>
            <p:cNvSpPr txBox="1"/>
            <p:nvPr/>
          </p:nvSpPr>
          <p:spPr>
            <a:xfrm>
              <a:off x="529354" y="2757260"/>
              <a:ext cx="1069990" cy="824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aise Change Requests</a:t>
              </a: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4690C15D-639E-DB06-236D-6A29E5F73C8A}"/>
              </a:ext>
            </a:extLst>
          </p:cNvPr>
          <p:cNvGrpSpPr/>
          <p:nvPr/>
        </p:nvGrpSpPr>
        <p:grpSpPr>
          <a:xfrm>
            <a:off x="4893965" y="5525265"/>
            <a:ext cx="655879" cy="257368"/>
            <a:chOff x="399776" y="2747880"/>
            <a:chExt cx="1343026" cy="88424"/>
          </a:xfrm>
        </p:grpSpPr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DA23AC01-81FC-C41C-56D0-EF4EC39AF361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93D7567D-DBE9-1C72-5DCC-373984EC6275}"/>
                </a:ext>
              </a:extLst>
            </p:cNvPr>
            <p:cNvSpPr txBox="1"/>
            <p:nvPr/>
          </p:nvSpPr>
          <p:spPr>
            <a:xfrm>
              <a:off x="523482" y="2747880"/>
              <a:ext cx="1069989" cy="8842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Shortlist 50 Servers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D2898CD1-7782-112E-3CE5-ADDD1BD46A96}"/>
              </a:ext>
            </a:extLst>
          </p:cNvPr>
          <p:cNvGrpSpPr/>
          <p:nvPr/>
        </p:nvGrpSpPr>
        <p:grpSpPr>
          <a:xfrm>
            <a:off x="2748898" y="5766444"/>
            <a:ext cx="2065835" cy="165036"/>
            <a:chOff x="690562" y="2721708"/>
            <a:chExt cx="1343026" cy="134130"/>
          </a:xfrm>
        </p:grpSpPr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08BD9610-AB2F-E1FF-1712-DE07998BBABB}"/>
                </a:ext>
              </a:extLst>
            </p:cNvPr>
            <p:cNvCxnSpPr>
              <a:cxnSpLocks/>
            </p:cNvCxnSpPr>
            <p:nvPr/>
          </p:nvCxnSpPr>
          <p:spPr>
            <a:xfrm>
              <a:off x="690562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5EBD710F-16A3-9AD0-2023-1648133B28F1}"/>
                </a:ext>
              </a:extLst>
            </p:cNvPr>
            <p:cNvSpPr txBox="1"/>
            <p:nvPr/>
          </p:nvSpPr>
          <p:spPr>
            <a:xfrm>
              <a:off x="929008" y="2721708"/>
              <a:ext cx="793729" cy="13413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Communication to App Owners</a:t>
              </a: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E920D92D-C310-C3C2-AD64-9C07D95F8123}"/>
              </a:ext>
            </a:extLst>
          </p:cNvPr>
          <p:cNvGrpSpPr/>
          <p:nvPr/>
        </p:nvGrpSpPr>
        <p:grpSpPr>
          <a:xfrm>
            <a:off x="7035295" y="5882017"/>
            <a:ext cx="655879" cy="257369"/>
            <a:chOff x="399776" y="2747880"/>
            <a:chExt cx="1343026" cy="88424"/>
          </a:xfrm>
        </p:grpSpPr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239D142A-A63D-E09A-A888-740147588181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ACD2D5D7-1F4D-7018-3AD8-8ACDA9F31432}"/>
                </a:ext>
              </a:extLst>
            </p:cNvPr>
            <p:cNvSpPr txBox="1"/>
            <p:nvPr/>
          </p:nvSpPr>
          <p:spPr>
            <a:xfrm>
              <a:off x="523482" y="2747880"/>
              <a:ext cx="1069989" cy="8842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Shortlist 20  Servers</a:t>
              </a:r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20EC504E-8F1C-4741-507E-5738E4C6B102}"/>
              </a:ext>
            </a:extLst>
          </p:cNvPr>
          <p:cNvGrpSpPr/>
          <p:nvPr/>
        </p:nvGrpSpPr>
        <p:grpSpPr>
          <a:xfrm>
            <a:off x="5599976" y="5659884"/>
            <a:ext cx="1359566" cy="165034"/>
            <a:chOff x="399776" y="2757260"/>
            <a:chExt cx="1343026" cy="48752"/>
          </a:xfrm>
        </p:grpSpPr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6A5965DE-9681-1FEE-FBAF-52F96D14CB0D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0FB3ACF6-1A5D-5721-C4B2-324B46D9CC5B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4875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Fix 50 Shortlisted Servers</a:t>
              </a: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24050500-0EBC-7DF0-1785-6B528F0DC129}"/>
              </a:ext>
            </a:extLst>
          </p:cNvPr>
          <p:cNvGrpSpPr/>
          <p:nvPr/>
        </p:nvGrpSpPr>
        <p:grpSpPr>
          <a:xfrm>
            <a:off x="5609420" y="5824372"/>
            <a:ext cx="1359566" cy="165034"/>
            <a:chOff x="399776" y="2757260"/>
            <a:chExt cx="1343026" cy="48752"/>
          </a:xfrm>
        </p:grpSpPr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CDD5C48B-310B-86C0-C934-7C2E3FDC7FF5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C452B94C-E682-FEE3-08A3-9841EB264766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4875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Application Testing</a:t>
              </a: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3E0097BB-05F1-0091-A4EF-B253383065F6}"/>
              </a:ext>
            </a:extLst>
          </p:cNvPr>
          <p:cNvGrpSpPr/>
          <p:nvPr/>
        </p:nvGrpSpPr>
        <p:grpSpPr>
          <a:xfrm>
            <a:off x="7764980" y="6027345"/>
            <a:ext cx="1359566" cy="165034"/>
            <a:chOff x="399776" y="2757260"/>
            <a:chExt cx="1343026" cy="48752"/>
          </a:xfrm>
        </p:grpSpPr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926A188F-8557-C88F-59F6-2B976CDCC8EF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57E319F9-BEEF-E43F-4F15-1AF699C20BF0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4875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Application Testing</a:t>
              </a:r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4EA63348-3914-FB77-2190-E646F6024775}"/>
              </a:ext>
            </a:extLst>
          </p:cNvPr>
          <p:cNvGrpSpPr/>
          <p:nvPr/>
        </p:nvGrpSpPr>
        <p:grpSpPr>
          <a:xfrm>
            <a:off x="7753605" y="5773382"/>
            <a:ext cx="1359566" cy="165034"/>
            <a:chOff x="399776" y="2763982"/>
            <a:chExt cx="1343026" cy="48752"/>
          </a:xfrm>
        </p:grpSpPr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06F58182-723B-AB1C-EB87-595B5CD0FE16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9955B7A-8CF8-155D-CE9E-D8B8B809654B}"/>
                </a:ext>
              </a:extLst>
            </p:cNvPr>
            <p:cNvSpPr txBox="1"/>
            <p:nvPr/>
          </p:nvSpPr>
          <p:spPr>
            <a:xfrm>
              <a:off x="523153" y="2763982"/>
              <a:ext cx="1069989" cy="4875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Fix 20 Shortlisted Servers</a:t>
              </a:r>
            </a:p>
          </p:txBody>
        </p:sp>
      </p:grpSp>
      <p:sp>
        <p:nvSpPr>
          <p:cNvPr id="266" name="Diamond 265">
            <a:extLst>
              <a:ext uri="{FF2B5EF4-FFF2-40B4-BE49-F238E27FC236}">
                <a16:creationId xmlns:a16="http://schemas.microsoft.com/office/drawing/2014/main" id="{1EFF87D3-CCDE-63C4-6987-7DF5DD8193CA}"/>
              </a:ext>
            </a:extLst>
          </p:cNvPr>
          <p:cNvSpPr/>
          <p:nvPr/>
        </p:nvSpPr>
        <p:spPr>
          <a:xfrm>
            <a:off x="2556222" y="4048418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17D5B73-A1C9-4B73-232E-6A31EA35EE00}"/>
              </a:ext>
            </a:extLst>
          </p:cNvPr>
          <p:cNvSpPr txBox="1"/>
          <p:nvPr/>
        </p:nvSpPr>
        <p:spPr>
          <a:xfrm>
            <a:off x="1951714" y="3941682"/>
            <a:ext cx="677971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Burn rate Dashboards (Rio)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1FA0804-C893-E6F8-D772-28B29F872BFE}"/>
              </a:ext>
            </a:extLst>
          </p:cNvPr>
          <p:cNvSpPr txBox="1"/>
          <p:nvPr/>
        </p:nvSpPr>
        <p:spPr>
          <a:xfrm>
            <a:off x="10791347" y="4663180"/>
            <a:ext cx="1273678" cy="1508105"/>
          </a:xfrm>
          <a:prstGeom prst="rect">
            <a:avLst/>
          </a:prstGeom>
          <a:solidFill>
            <a:srgbClr val="EDEDED">
              <a:lumMod val="9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Legen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raphik" panose="020B0503030202060203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Business Requirements Docu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raphik" panose="020B0503030202060203"/>
              <a:cs typeface="Arial" panose="020B0604020202020204" pitchFamily="34" charset="0"/>
            </a:endParaRP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I4.2 – </a:t>
            </a:r>
            <a:r>
              <a:rPr kumimoji="0" lang="en-AU" sz="900" b="0" i="0" u="none" strike="noStrike" kern="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WDigest</a:t>
            </a:r>
            <a:endParaRPr kumimoji="0" lang="en-AU" sz="9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raphik" panose="020B0503030202060203"/>
              <a:cs typeface="Arial" panose="020B0604020202020204" pitchFamily="34" charset="0"/>
            </a:endParaRP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I4.3 – NTLM</a:t>
            </a: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I4.4 – NetBIOS</a:t>
            </a: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I4.5 – PowerShell</a:t>
            </a: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A3.1 – Clear Text</a:t>
            </a:r>
          </a:p>
        </p:txBody>
      </p: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5B6AA2BC-F1F2-0004-1E73-F23C8E88B487}"/>
              </a:ext>
            </a:extLst>
          </p:cNvPr>
          <p:cNvCxnSpPr>
            <a:cxnSpLocks/>
          </p:cNvCxnSpPr>
          <p:nvPr/>
        </p:nvCxnSpPr>
        <p:spPr>
          <a:xfrm>
            <a:off x="3430094" y="3928312"/>
            <a:ext cx="2046823" cy="13370"/>
          </a:xfrm>
          <a:prstGeom prst="line">
            <a:avLst/>
          </a:prstGeom>
          <a:noFill/>
          <a:ln w="12700" cap="flat" cmpd="sng" algn="ctr">
            <a:solidFill>
              <a:srgbClr val="FF5800"/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EEB30F7-C91D-2918-07F3-DC8A6EE7278F}"/>
              </a:ext>
            </a:extLst>
          </p:cNvPr>
          <p:cNvSpPr txBox="1"/>
          <p:nvPr/>
        </p:nvSpPr>
        <p:spPr>
          <a:xfrm>
            <a:off x="3918602" y="3864331"/>
            <a:ext cx="1083166" cy="165035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raphik" panose="020B0503030202060203"/>
              </a:rPr>
              <a:t>Close Pilot Plan</a:t>
            </a:r>
          </a:p>
        </p:txBody>
      </p:sp>
    </p:spTree>
    <p:extLst>
      <p:ext uri="{BB962C8B-B14F-4D97-AF65-F5344CB8AC3E}">
        <p14:creationId xmlns:p14="http://schemas.microsoft.com/office/powerpoint/2010/main" val="3384245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81992" y="120844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Plan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146" name="Table 145">
            <a:extLst>
              <a:ext uri="{FF2B5EF4-FFF2-40B4-BE49-F238E27FC236}">
                <a16:creationId xmlns:a16="http://schemas.microsoft.com/office/drawing/2014/main" id="{A82F7D67-02EA-B75A-51BA-89EAEE77BB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678502"/>
              </p:ext>
            </p:extLst>
          </p:nvPr>
        </p:nvGraphicFramePr>
        <p:xfrm>
          <a:off x="550277" y="1260811"/>
          <a:ext cx="10039511" cy="4920162"/>
        </p:xfrm>
        <a:graphic>
          <a:graphicData uri="http://schemas.openxmlformats.org/drawingml/2006/table">
            <a:tbl>
              <a:tblPr firstRow="1" bandRow="1"/>
              <a:tblGrid>
                <a:gridCol w="717108">
                  <a:extLst>
                    <a:ext uri="{9D8B030D-6E8A-4147-A177-3AD203B41FA5}">
                      <a16:colId xmlns:a16="http://schemas.microsoft.com/office/drawing/2014/main" val="3932980135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169738558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391729580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4291619851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2920755163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880113655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480871175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3647325308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1172949371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41058946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2390451689"/>
                    </a:ext>
                  </a:extLst>
                </a:gridCol>
                <a:gridCol w="717108">
                  <a:extLst>
                    <a:ext uri="{9D8B030D-6E8A-4147-A177-3AD203B41FA5}">
                      <a16:colId xmlns:a16="http://schemas.microsoft.com/office/drawing/2014/main" val="2011092549"/>
                    </a:ext>
                  </a:extLst>
                </a:gridCol>
                <a:gridCol w="1434215">
                  <a:extLst>
                    <a:ext uri="{9D8B030D-6E8A-4147-A177-3AD203B41FA5}">
                      <a16:colId xmlns:a16="http://schemas.microsoft.com/office/drawing/2014/main" val="2993006490"/>
                    </a:ext>
                  </a:extLst>
                </a:gridCol>
              </a:tblGrid>
              <a:tr h="226963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Month 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Month 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Month 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33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9143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Rollout timeline TBD*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>
                        <a:lumMod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210787"/>
                  </a:ext>
                </a:extLst>
              </a:tr>
              <a:tr h="2269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800" b="0" kern="1200" dirty="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</a:t>
                      </a:r>
                      <a:endParaRPr lang="en-AU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 dirty="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2</a:t>
                      </a:r>
                      <a:endParaRPr lang="en-AU" sz="800" b="0" kern="1200" dirty="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 dirty="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3</a:t>
                      </a:r>
                      <a:endParaRPr lang="en-AU" sz="800" b="0" kern="1200" dirty="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 dirty="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5</a:t>
                      </a:r>
                      <a:endParaRPr lang="en-AU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algn="ctr" defTabSz="914126" rtl="0" eaLnBrk="1" latinLnBrk="0" hangingPunct="1"/>
                      <a:r>
                        <a:rPr lang="en-US" sz="800" b="0" kern="1200">
                          <a:solidFill>
                            <a:schemeClr val="bg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Week 1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126" rtl="0" eaLnBrk="1" latinLnBrk="0" hangingPunct="1"/>
                      <a:endParaRPr lang="en-US" sz="800" b="0" kern="1200">
                        <a:solidFill>
                          <a:schemeClr val="bg1"/>
                        </a:solidFill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547260"/>
                  </a:ext>
                </a:extLst>
              </a:tr>
              <a:tr h="44662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AU" dirty="0"/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03938"/>
                  </a:ext>
                </a:extLst>
              </a:tr>
            </a:tbl>
          </a:graphicData>
        </a:graphic>
      </p:graphicFrame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2082DEC0-18A1-FD5B-44AE-268C8B5238DD}"/>
              </a:ext>
            </a:extLst>
          </p:cNvPr>
          <p:cNvSpPr>
            <a:spLocks/>
          </p:cNvSpPr>
          <p:nvPr/>
        </p:nvSpPr>
        <p:spPr>
          <a:xfrm>
            <a:off x="1975055" y="3570192"/>
            <a:ext cx="719932" cy="273792"/>
          </a:xfrm>
          <a:prstGeom prst="roundRect">
            <a:avLst>
              <a:gd name="adj" fmla="val 50000"/>
            </a:avLst>
          </a:prstGeom>
          <a:solidFill>
            <a:srgbClr val="CE0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Solution Design Review Workshops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730FD46-D48B-C902-DECC-12516E21853D}"/>
              </a:ext>
            </a:extLst>
          </p:cNvPr>
          <p:cNvGrpSpPr/>
          <p:nvPr/>
        </p:nvGrpSpPr>
        <p:grpSpPr>
          <a:xfrm>
            <a:off x="4903766" y="3271305"/>
            <a:ext cx="2065835" cy="165036"/>
            <a:chOff x="690562" y="2717940"/>
            <a:chExt cx="1343026" cy="134130"/>
          </a:xfrm>
        </p:grpSpPr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A75E07A8-E3A4-41F3-0239-286E0C639FB3}"/>
                </a:ext>
              </a:extLst>
            </p:cNvPr>
            <p:cNvCxnSpPr>
              <a:cxnSpLocks/>
            </p:cNvCxnSpPr>
            <p:nvPr/>
          </p:nvCxnSpPr>
          <p:spPr>
            <a:xfrm>
              <a:off x="690562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47C8DD00-2133-552C-4292-E3A7EEE6E3B3}"/>
                </a:ext>
              </a:extLst>
            </p:cNvPr>
            <p:cNvSpPr txBox="1"/>
            <p:nvPr/>
          </p:nvSpPr>
          <p:spPr>
            <a:xfrm>
              <a:off x="912816" y="2717940"/>
              <a:ext cx="793729" cy="13413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Communication to App Owners</a:t>
              </a:r>
            </a:p>
          </p:txBody>
        </p:sp>
      </p:grpSp>
      <p:sp>
        <p:nvSpPr>
          <p:cNvPr id="151" name="Diamond 150">
            <a:extLst>
              <a:ext uri="{FF2B5EF4-FFF2-40B4-BE49-F238E27FC236}">
                <a16:creationId xmlns:a16="http://schemas.microsoft.com/office/drawing/2014/main" id="{FACAB4A3-30B5-745D-3CEE-32EFA66E0493}"/>
              </a:ext>
            </a:extLst>
          </p:cNvPr>
          <p:cNvSpPr/>
          <p:nvPr/>
        </p:nvSpPr>
        <p:spPr>
          <a:xfrm>
            <a:off x="1018870" y="2822059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B5F7B63C-9A53-CC99-DA97-EA4ADD3019F6}"/>
              </a:ext>
            </a:extLst>
          </p:cNvPr>
          <p:cNvSpPr txBox="1"/>
          <p:nvPr/>
        </p:nvSpPr>
        <p:spPr>
          <a:xfrm>
            <a:off x="873745" y="2945669"/>
            <a:ext cx="541031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2003/2008 Server List from Rio Tinto</a:t>
            </a:r>
          </a:p>
        </p:txBody>
      </p:sp>
      <p:sp>
        <p:nvSpPr>
          <p:cNvPr id="153" name="Pentagon 16">
            <a:extLst>
              <a:ext uri="{FF2B5EF4-FFF2-40B4-BE49-F238E27FC236}">
                <a16:creationId xmlns:a16="http://schemas.microsoft.com/office/drawing/2014/main" id="{86D1BCA0-E1B6-1DA8-B058-49869C6EFFE2}"/>
              </a:ext>
            </a:extLst>
          </p:cNvPr>
          <p:cNvSpPr/>
          <p:nvPr/>
        </p:nvSpPr>
        <p:spPr>
          <a:xfrm>
            <a:off x="1264235" y="1854151"/>
            <a:ext cx="1445783" cy="273793"/>
          </a:xfrm>
          <a:prstGeom prst="homePlate">
            <a:avLst>
              <a:gd name="adj" fmla="val 30972"/>
            </a:avLst>
          </a:prstGeom>
          <a:solidFill>
            <a:srgbClr val="00B05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1: Discover and Analyze</a:t>
            </a:r>
            <a:endParaRPr kumimoji="0" lang="en-AU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  <a:ea typeface="Calibri" pitchFamily="34" charset="0"/>
              <a:cs typeface="Segoe UI Semilight" panose="020B0402040204020203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06763203-1D5F-744A-7947-6C6C954518E6}"/>
              </a:ext>
            </a:extLst>
          </p:cNvPr>
          <p:cNvSpPr txBox="1"/>
          <p:nvPr/>
        </p:nvSpPr>
        <p:spPr>
          <a:xfrm>
            <a:off x="1395251" y="2126499"/>
            <a:ext cx="446203" cy="195814"/>
          </a:xfrm>
          <a:prstGeom prst="rect">
            <a:avLst/>
          </a:prstGeom>
          <a:solidFill>
            <a:sysClr val="window" lastClr="FFFFFF">
              <a:lumMod val="95000"/>
              <a:alpha val="60000"/>
            </a:sysClr>
          </a:solidFill>
        </p:spPr>
        <p:txBody>
          <a:bodyPr wrap="non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Mobilize</a:t>
            </a:r>
          </a:p>
        </p:txBody>
      </p:sp>
      <p:sp>
        <p:nvSpPr>
          <p:cNvPr id="155" name="Diamond 154">
            <a:extLst>
              <a:ext uri="{FF2B5EF4-FFF2-40B4-BE49-F238E27FC236}">
                <a16:creationId xmlns:a16="http://schemas.microsoft.com/office/drawing/2014/main" id="{C6FFB5EF-6126-9726-08CF-A7D18AD2F12C}"/>
              </a:ext>
            </a:extLst>
          </p:cNvPr>
          <p:cNvSpPr/>
          <p:nvPr/>
        </p:nvSpPr>
        <p:spPr>
          <a:xfrm>
            <a:off x="1264236" y="2134159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2484E78-5BBB-0718-B632-49DABB133211}"/>
              </a:ext>
            </a:extLst>
          </p:cNvPr>
          <p:cNvGrpSpPr/>
          <p:nvPr/>
        </p:nvGrpSpPr>
        <p:grpSpPr>
          <a:xfrm>
            <a:off x="1317125" y="2301816"/>
            <a:ext cx="1392894" cy="349702"/>
            <a:chOff x="399776" y="2738020"/>
            <a:chExt cx="1343026" cy="163157"/>
          </a:xfrm>
        </p:grpSpPr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64484D7E-AA82-6146-031F-BD1142BF4596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F6C4E819-7768-33CF-2E1F-86E704A588D5}"/>
                </a:ext>
              </a:extLst>
            </p:cNvPr>
            <p:cNvSpPr txBox="1"/>
            <p:nvPr/>
          </p:nvSpPr>
          <p:spPr>
            <a:xfrm>
              <a:off x="516739" y="2738020"/>
              <a:ext cx="1069989" cy="16315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ed Cloak Capability and Requirements discussion workshop</a:t>
              </a:r>
              <a:endPara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srgbClr val="FF5800"/>
                </a:solidFill>
                <a:effectLst/>
                <a:uLnTx/>
                <a:uFillTx/>
                <a:latin typeface="Graphik" panose="020B0503030202060203"/>
              </a:endParaRP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E890640C-EFD5-AAFE-9999-CDBFD7561EB9}"/>
              </a:ext>
            </a:extLst>
          </p:cNvPr>
          <p:cNvGrpSpPr/>
          <p:nvPr/>
        </p:nvGrpSpPr>
        <p:grpSpPr>
          <a:xfrm>
            <a:off x="2870073" y="6277623"/>
            <a:ext cx="5341239" cy="486987"/>
            <a:chOff x="2257425" y="6428169"/>
            <a:chExt cx="6068747" cy="289683"/>
          </a:xfrm>
        </p:grpSpPr>
        <p:sp>
          <p:nvSpPr>
            <p:cNvPr id="166" name="Rounded Rectangle 107">
              <a:extLst>
                <a:ext uri="{FF2B5EF4-FFF2-40B4-BE49-F238E27FC236}">
                  <a16:creationId xmlns:a16="http://schemas.microsoft.com/office/drawing/2014/main" id="{26FEA508-5FE4-6C48-E5EB-1B25CB547D7E}"/>
                </a:ext>
              </a:extLst>
            </p:cNvPr>
            <p:cNvSpPr/>
            <p:nvPr/>
          </p:nvSpPr>
          <p:spPr>
            <a:xfrm>
              <a:off x="2257425" y="6457213"/>
              <a:ext cx="6068747" cy="260639"/>
            </a:xfrm>
            <a:prstGeom prst="roundRect">
              <a:avLst/>
            </a:prstGeom>
            <a:noFill/>
            <a:ln w="6350" cap="flat" cmpd="sng" algn="ctr">
              <a:solidFill>
                <a:srgbClr val="333333">
                  <a:lumMod val="50000"/>
                  <a:lumOff val="50000"/>
                </a:srgbClr>
              </a:solidFill>
              <a:prstDash val="sysDot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80601C82-44A9-4BBE-3502-BC5EC465667D}"/>
                </a:ext>
              </a:extLst>
            </p:cNvPr>
            <p:cNvSpPr txBox="1"/>
            <p:nvPr/>
          </p:nvSpPr>
          <p:spPr>
            <a:xfrm>
              <a:off x="4334033" y="6428169"/>
              <a:ext cx="1237935" cy="73232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800" b="0" i="0" u="none" strike="noStrike" kern="0" cap="none" spc="300" normalizeH="0" baseline="0" noProof="0" dirty="0">
                  <a:ln>
                    <a:noFill/>
                  </a:ln>
                  <a:solidFill>
                    <a:srgbClr val="333333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Graphik" panose="020B0503030202060203"/>
                  <a:cs typeface="Arial" panose="020B0604020202020204" pitchFamily="34" charset="0"/>
                </a:rPr>
                <a:t>KEY</a:t>
              </a: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41F6EC0A-5AA6-6F5F-B2AB-8B55255F42DF}"/>
              </a:ext>
            </a:extLst>
          </p:cNvPr>
          <p:cNvGrpSpPr/>
          <p:nvPr/>
        </p:nvGrpSpPr>
        <p:grpSpPr>
          <a:xfrm>
            <a:off x="2973008" y="6507291"/>
            <a:ext cx="2858324" cy="180000"/>
            <a:chOff x="2807694" y="6526341"/>
            <a:chExt cx="2858324" cy="180000"/>
          </a:xfrm>
        </p:grpSpPr>
        <p:sp>
          <p:nvSpPr>
            <p:cNvPr id="169" name="Pentagon 16">
              <a:extLst>
                <a:ext uri="{FF2B5EF4-FFF2-40B4-BE49-F238E27FC236}">
                  <a16:creationId xmlns:a16="http://schemas.microsoft.com/office/drawing/2014/main" id="{EAA0C8EE-1320-21EA-9CCA-EE5035C9F94A}"/>
                </a:ext>
              </a:extLst>
            </p:cNvPr>
            <p:cNvSpPr/>
            <p:nvPr/>
          </p:nvSpPr>
          <p:spPr>
            <a:xfrm>
              <a:off x="2807694" y="6526341"/>
              <a:ext cx="719735" cy="180000"/>
            </a:xfrm>
            <a:prstGeom prst="homePlate">
              <a:avLst>
                <a:gd name="adj" fmla="val 30972"/>
              </a:avLst>
            </a:prstGeom>
            <a:solidFill>
              <a:srgbClr val="00B050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marL="85725" marR="0" lvl="0" indent="-8572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11125" algn="l"/>
                </a:tabLst>
                <a:defRPr/>
              </a:pPr>
              <a:r>
                <a:rPr kumimoji="0" lang="en-US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Calibri" pitchFamily="34" charset="0"/>
                  <a:cs typeface="Segoe UI Semilight" panose="020B0402040204020203" pitchFamily="34" charset="0"/>
                </a:rPr>
                <a:t>Sprint</a:t>
              </a: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CBEBDB12-9981-81DE-8ABB-4F757A17C775}"/>
                </a:ext>
              </a:extLst>
            </p:cNvPr>
            <p:cNvGrpSpPr/>
            <p:nvPr/>
          </p:nvGrpSpPr>
          <p:grpSpPr>
            <a:xfrm>
              <a:off x="3692212" y="6533823"/>
              <a:ext cx="810328" cy="165036"/>
              <a:chOff x="690562" y="2833314"/>
              <a:chExt cx="810328" cy="165036"/>
            </a:xfrm>
          </p:grpSpPr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CE9BA8DB-2DDC-BB46-C1BC-1B8094455E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0562" y="2915832"/>
                <a:ext cx="810328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FF5800"/>
                </a:solidFill>
                <a:prstDash val="solid"/>
                <a:miter lim="800000"/>
                <a:headEnd type="oval"/>
                <a:tailEnd type="oval"/>
              </a:ln>
              <a:effectLst/>
            </p:spPr>
          </p:cxn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43A25E0B-6BFD-5F46-D882-4CAD82607732}"/>
                  </a:ext>
                </a:extLst>
              </p:cNvPr>
              <p:cNvSpPr txBox="1"/>
              <p:nvPr/>
            </p:nvSpPr>
            <p:spPr>
              <a:xfrm>
                <a:off x="939953" y="2833314"/>
                <a:ext cx="311551" cy="165036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none" lIns="36000" tIns="36000" rIns="36000" bIns="36000" rtlCol="0">
                <a:spAutoFit/>
              </a:bodyPr>
              <a:lstStyle>
                <a:defPPr>
                  <a:defRPr lang="en-US"/>
                </a:defPPr>
                <a:lvl1pPr algn="r">
                  <a:defRPr sz="600"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FF5800"/>
                    </a:solidFill>
                    <a:effectLst/>
                    <a:uLnTx/>
                    <a:uFillTx/>
                    <a:latin typeface="Graphik" panose="020B0503030202060203"/>
                  </a:rPr>
                  <a:t>Activity</a:t>
                </a:r>
              </a:p>
            </p:txBody>
          </p:sp>
        </p:grpSp>
        <p:sp>
          <p:nvSpPr>
            <p:cNvPr id="171" name="Rectangle: Rounded Corners 170">
              <a:extLst>
                <a:ext uri="{FF2B5EF4-FFF2-40B4-BE49-F238E27FC236}">
                  <a16:creationId xmlns:a16="http://schemas.microsoft.com/office/drawing/2014/main" id="{47181FFF-E3D9-21A1-1595-60D46CACAC0D}"/>
                </a:ext>
              </a:extLst>
            </p:cNvPr>
            <p:cNvSpPr>
              <a:spLocks/>
            </p:cNvSpPr>
            <p:nvPr/>
          </p:nvSpPr>
          <p:spPr>
            <a:xfrm>
              <a:off x="4667323" y="6544341"/>
              <a:ext cx="998695" cy="144000"/>
            </a:xfrm>
            <a:prstGeom prst="roundRect">
              <a:avLst>
                <a:gd name="adj" fmla="val 50000"/>
              </a:avLst>
            </a:prstGeom>
            <a:solidFill>
              <a:srgbClr val="CE056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cs typeface="Segoe UI Semilight" panose="020B0402040204020203" pitchFamily="34" charset="0"/>
                </a:rPr>
                <a:t>Stakeholder Engagement</a:t>
              </a:r>
            </a:p>
          </p:txBody>
        </p: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9590D3C9-6CB3-BE79-A2BB-63C15599C45E}"/>
              </a:ext>
            </a:extLst>
          </p:cNvPr>
          <p:cNvSpPr txBox="1"/>
          <p:nvPr/>
        </p:nvSpPr>
        <p:spPr>
          <a:xfrm>
            <a:off x="6172209" y="6500550"/>
            <a:ext cx="1868205" cy="1804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Milestone or Deliverable or Artifact release</a:t>
            </a:r>
          </a:p>
        </p:txBody>
      </p:sp>
      <p:sp>
        <p:nvSpPr>
          <p:cNvPr id="175" name="Diamond 174">
            <a:extLst>
              <a:ext uri="{FF2B5EF4-FFF2-40B4-BE49-F238E27FC236}">
                <a16:creationId xmlns:a16="http://schemas.microsoft.com/office/drawing/2014/main" id="{7D38E81F-5BD0-51CE-A28C-23A70EBC8A86}"/>
              </a:ext>
            </a:extLst>
          </p:cNvPr>
          <p:cNvSpPr/>
          <p:nvPr/>
        </p:nvSpPr>
        <p:spPr>
          <a:xfrm>
            <a:off x="6029335" y="6516147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76" name="Pentagon 16">
            <a:extLst>
              <a:ext uri="{FF2B5EF4-FFF2-40B4-BE49-F238E27FC236}">
                <a16:creationId xmlns:a16="http://schemas.microsoft.com/office/drawing/2014/main" id="{D5593AF0-9EA0-BDA8-E707-9BE741B55D63}"/>
              </a:ext>
            </a:extLst>
          </p:cNvPr>
          <p:cNvSpPr/>
          <p:nvPr/>
        </p:nvSpPr>
        <p:spPr>
          <a:xfrm>
            <a:off x="4848338" y="2991514"/>
            <a:ext cx="2170423" cy="229932"/>
          </a:xfrm>
          <a:prstGeom prst="homePlate">
            <a:avLst>
              <a:gd name="adj" fmla="val 30972"/>
            </a:avLst>
          </a:prstGeom>
          <a:solidFill>
            <a:srgbClr val="00B05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3: Pilot Deployment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658FCC53-B86F-9E0C-69B5-BA2EFCF7FA79}"/>
              </a:ext>
            </a:extLst>
          </p:cNvPr>
          <p:cNvGrpSpPr/>
          <p:nvPr/>
        </p:nvGrpSpPr>
        <p:grpSpPr>
          <a:xfrm>
            <a:off x="5565625" y="3814139"/>
            <a:ext cx="1309993" cy="215582"/>
            <a:chOff x="399776" y="2757260"/>
            <a:chExt cx="1343026" cy="76028"/>
          </a:xfrm>
        </p:grpSpPr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5E0DCFE0-0D74-F79A-E85F-C45F80961A2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F3B177DE-87D9-DBA2-96CC-744072142FAD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76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Deploy Red Cloak on 10 Pilot Servers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2167BB9B-36D1-8163-F98E-3A01A0E3FE98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A1909F87-DB72-7C45-4FB1-9AB698B48E45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CA736268-6219-A46D-E3DD-AB7A2FC5C1C5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sp>
        <p:nvSpPr>
          <p:cNvPr id="183" name="Pentagon 16">
            <a:extLst>
              <a:ext uri="{FF2B5EF4-FFF2-40B4-BE49-F238E27FC236}">
                <a16:creationId xmlns:a16="http://schemas.microsoft.com/office/drawing/2014/main" id="{EE1CF515-653A-5381-DB98-E69AA037DAB2}"/>
              </a:ext>
            </a:extLst>
          </p:cNvPr>
          <p:cNvSpPr/>
          <p:nvPr/>
        </p:nvSpPr>
        <p:spPr>
          <a:xfrm>
            <a:off x="2699054" y="2626439"/>
            <a:ext cx="2144481" cy="237516"/>
          </a:xfrm>
          <a:prstGeom prst="homePlate">
            <a:avLst>
              <a:gd name="adj" fmla="val 30972"/>
            </a:avLst>
          </a:prstGeom>
          <a:solidFill>
            <a:srgbClr val="00B05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2: Document Review and Communication Plan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A01E60C3-F41F-B78B-9541-5192195C550E}"/>
              </a:ext>
            </a:extLst>
          </p:cNvPr>
          <p:cNvGrpSpPr/>
          <p:nvPr/>
        </p:nvGrpSpPr>
        <p:grpSpPr>
          <a:xfrm>
            <a:off x="3407785" y="3606964"/>
            <a:ext cx="731179" cy="257367"/>
            <a:chOff x="515944" y="2780423"/>
            <a:chExt cx="1138457" cy="34388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B7D0FA7F-0C04-040E-A1F4-174946273A2A}"/>
                </a:ext>
              </a:extLst>
            </p:cNvPr>
            <p:cNvCxnSpPr>
              <a:cxnSpLocks/>
            </p:cNvCxnSpPr>
            <p:nvPr/>
          </p:nvCxnSpPr>
          <p:spPr>
            <a:xfrm>
              <a:off x="515944" y="2793063"/>
              <a:ext cx="1138457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DF6EE41E-7CCA-62D4-90AB-D236D5527002}"/>
                </a:ext>
              </a:extLst>
            </p:cNvPr>
            <p:cNvSpPr txBox="1"/>
            <p:nvPr/>
          </p:nvSpPr>
          <p:spPr>
            <a:xfrm>
              <a:off x="604338" y="2780423"/>
              <a:ext cx="961668" cy="3438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kern="0" dirty="0">
                  <a:solidFill>
                    <a:srgbClr val="FF5800"/>
                  </a:solidFill>
                  <a:latin typeface="Graphik" panose="020B0503030202060203"/>
                </a:rPr>
                <a:t>Communication Plan</a:t>
              </a:r>
              <a:endPara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srgbClr val="FF5800"/>
                </a:solidFill>
                <a:effectLst/>
                <a:uLnTx/>
                <a:uFillTx/>
                <a:latin typeface="Graphik" panose="020B0503030202060203"/>
              </a:endParaRPr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1A01E0EE-D2A8-63D9-0CB2-6AAF31BAB0AD}"/>
              </a:ext>
            </a:extLst>
          </p:cNvPr>
          <p:cNvSpPr txBox="1"/>
          <p:nvPr/>
        </p:nvSpPr>
        <p:spPr>
          <a:xfrm>
            <a:off x="6207315" y="4004434"/>
            <a:ext cx="792896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Pilot deploymen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Complete</a:t>
            </a:r>
          </a:p>
        </p:txBody>
      </p:sp>
      <p:sp>
        <p:nvSpPr>
          <p:cNvPr id="194" name="Pentagon 16">
            <a:extLst>
              <a:ext uri="{FF2B5EF4-FFF2-40B4-BE49-F238E27FC236}">
                <a16:creationId xmlns:a16="http://schemas.microsoft.com/office/drawing/2014/main" id="{C3E3C43C-7D1C-807F-EB53-BE9719C617D4}"/>
              </a:ext>
            </a:extLst>
          </p:cNvPr>
          <p:cNvSpPr/>
          <p:nvPr/>
        </p:nvSpPr>
        <p:spPr>
          <a:xfrm>
            <a:off x="7017191" y="3510255"/>
            <a:ext cx="2141585" cy="229932"/>
          </a:xfrm>
          <a:prstGeom prst="homePlate">
            <a:avLst>
              <a:gd name="adj" fmla="val 30972"/>
            </a:avLst>
          </a:prstGeom>
          <a:solidFill>
            <a:srgbClr val="00B05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85725" marR="0" lvl="0" indent="-85725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1125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Calibri" pitchFamily="34" charset="0"/>
                <a:cs typeface="Segoe UI Semilight" panose="020B0402040204020203" pitchFamily="34" charset="0"/>
              </a:rPr>
              <a:t>Sprint 4: Enterprise Rollout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228734CB-9858-8CF6-EA67-98845E6082D8}"/>
              </a:ext>
            </a:extLst>
          </p:cNvPr>
          <p:cNvGrpSpPr/>
          <p:nvPr/>
        </p:nvGrpSpPr>
        <p:grpSpPr>
          <a:xfrm>
            <a:off x="7047348" y="3965654"/>
            <a:ext cx="1382316" cy="167954"/>
            <a:chOff x="399776" y="2740239"/>
            <a:chExt cx="1343026" cy="97592"/>
          </a:xfrm>
        </p:grpSpPr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3F3ADFF0-51A4-B685-B337-CE5E58B6ED4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8CBAD245-2294-308F-10D7-65153EE7ADB0}"/>
                </a:ext>
              </a:extLst>
            </p:cNvPr>
            <p:cNvSpPr txBox="1"/>
            <p:nvPr/>
          </p:nvSpPr>
          <p:spPr>
            <a:xfrm>
              <a:off x="532251" y="2740239"/>
              <a:ext cx="1069989" cy="9759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Enterprise Deployment Plan		</a:t>
              </a:r>
            </a:p>
          </p:txBody>
        </p:sp>
      </p:grpSp>
      <p:sp>
        <p:nvSpPr>
          <p:cNvPr id="198" name="Diamond 197">
            <a:extLst>
              <a:ext uri="{FF2B5EF4-FFF2-40B4-BE49-F238E27FC236}">
                <a16:creationId xmlns:a16="http://schemas.microsoft.com/office/drawing/2014/main" id="{2A376F7A-ECB8-5B4D-DAB2-69929917F9BC}"/>
              </a:ext>
            </a:extLst>
          </p:cNvPr>
          <p:cNvSpPr/>
          <p:nvPr/>
        </p:nvSpPr>
        <p:spPr>
          <a:xfrm>
            <a:off x="8653936" y="4901166"/>
            <a:ext cx="149057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04F2BD73-9788-C823-BB61-1E177D57EC73}"/>
              </a:ext>
            </a:extLst>
          </p:cNvPr>
          <p:cNvSpPr txBox="1"/>
          <p:nvPr/>
        </p:nvSpPr>
        <p:spPr>
          <a:xfrm>
            <a:off x="8784138" y="4858884"/>
            <a:ext cx="356435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Test Pl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Sign-off</a:t>
            </a: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:a16="http://schemas.microsoft.com/office/drawing/2014/main" id="{46AA54F3-28EB-6AE1-75A2-183DBBA320F2}"/>
              </a:ext>
            </a:extLst>
          </p:cNvPr>
          <p:cNvSpPr>
            <a:spLocks/>
          </p:cNvSpPr>
          <p:nvPr/>
        </p:nvSpPr>
        <p:spPr>
          <a:xfrm>
            <a:off x="7002946" y="4177705"/>
            <a:ext cx="695319" cy="281766"/>
          </a:xfrm>
          <a:prstGeom prst="roundRect">
            <a:avLst>
              <a:gd name="adj" fmla="val 50000"/>
            </a:avLst>
          </a:prstGeom>
          <a:solidFill>
            <a:srgbClr val="CE05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cs typeface="Segoe UI Semilight" panose="020B0402040204020203" pitchFamily="34" charset="0"/>
              </a:rPr>
              <a:t>Enterprise Deployment Plan  Workshops</a:t>
            </a: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6418F135-2866-B9E3-B149-216D1C890363}"/>
              </a:ext>
            </a:extLst>
          </p:cNvPr>
          <p:cNvGrpSpPr/>
          <p:nvPr/>
        </p:nvGrpSpPr>
        <p:grpSpPr>
          <a:xfrm>
            <a:off x="7753605" y="4459471"/>
            <a:ext cx="1382316" cy="165034"/>
            <a:chOff x="399776" y="2771313"/>
            <a:chExt cx="1343026" cy="31468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EDFB62C9-BB2A-371F-4A7C-305D7C9B32F3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3B927692-FFBF-5A82-D558-27AAB7DEB124}"/>
                </a:ext>
              </a:extLst>
            </p:cNvPr>
            <p:cNvSpPr txBox="1"/>
            <p:nvPr/>
          </p:nvSpPr>
          <p:spPr>
            <a:xfrm>
              <a:off x="531597" y="2771313"/>
              <a:ext cx="1050045" cy="3146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ed Cloak handover workshop</a:t>
              </a:r>
            </a:p>
          </p:txBody>
        </p:sp>
      </p:grpSp>
      <p:sp>
        <p:nvSpPr>
          <p:cNvPr id="204" name="Diamond 203">
            <a:extLst>
              <a:ext uri="{FF2B5EF4-FFF2-40B4-BE49-F238E27FC236}">
                <a16:creationId xmlns:a16="http://schemas.microsoft.com/office/drawing/2014/main" id="{13F52D31-1DDC-C982-81D1-77CB60C48E78}"/>
              </a:ext>
            </a:extLst>
          </p:cNvPr>
          <p:cNvSpPr/>
          <p:nvPr/>
        </p:nvSpPr>
        <p:spPr>
          <a:xfrm>
            <a:off x="6854994" y="4099078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3EE65138-F2D8-5179-6BFE-92EDDA77F761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10A7A148-3831-D1A8-0C4D-030C41DD1BF1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10BC135B-6E96-139A-BD03-1F1F64EE4FCE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55E1FBCD-D1A5-B6CC-0DFF-4AE7E521C7D5}"/>
              </a:ext>
            </a:extLst>
          </p:cNvPr>
          <p:cNvCxnSpPr/>
          <p:nvPr/>
        </p:nvCxnSpPr>
        <p:spPr>
          <a:xfrm flipH="1" flipV="1">
            <a:off x="978391" y="4505917"/>
            <a:ext cx="8819" cy="7731"/>
          </a:xfrm>
          <a:prstGeom prst="line">
            <a:avLst/>
          </a:prstGeom>
          <a:noFill/>
          <a:ln w="6350" cap="flat" cmpd="sng" algn="ctr">
            <a:solidFill>
              <a:srgbClr val="FF5800"/>
            </a:solidFill>
            <a:prstDash val="solid"/>
            <a:miter lim="800000"/>
          </a:ln>
          <a:effectLst/>
        </p:spPr>
      </p:cxn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08C7B961-EFDE-6FFC-6E7D-47DE619EBA7E}"/>
              </a:ext>
            </a:extLst>
          </p:cNvPr>
          <p:cNvGrpSpPr/>
          <p:nvPr/>
        </p:nvGrpSpPr>
        <p:grpSpPr>
          <a:xfrm>
            <a:off x="1307290" y="3285940"/>
            <a:ext cx="1369189" cy="257369"/>
            <a:chOff x="399776" y="2719439"/>
            <a:chExt cx="1343026" cy="168799"/>
          </a:xfrm>
        </p:grpSpPr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D9D451ED-AC47-0DEE-6D5F-60D22DA8818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C19690F3-E67F-DEC4-B38E-96D050088D21}"/>
                </a:ext>
              </a:extLst>
            </p:cNvPr>
            <p:cNvSpPr txBox="1"/>
            <p:nvPr/>
          </p:nvSpPr>
          <p:spPr>
            <a:xfrm>
              <a:off x="632256" y="2719439"/>
              <a:ext cx="844050" cy="1687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Workshop with Application owners</a:t>
              </a: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75FA6306-4E4E-DBB4-3708-F8318C608E2E}"/>
              </a:ext>
            </a:extLst>
          </p:cNvPr>
          <p:cNvGrpSpPr/>
          <p:nvPr/>
        </p:nvGrpSpPr>
        <p:grpSpPr>
          <a:xfrm>
            <a:off x="4871719" y="3533863"/>
            <a:ext cx="677971" cy="257368"/>
            <a:chOff x="399776" y="2757260"/>
            <a:chExt cx="1343026" cy="82453"/>
          </a:xfrm>
        </p:grpSpPr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C5A358E8-684F-D33B-28F9-04C2CB50830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AEFE5065-3647-3419-DA1E-835C7F24D876}"/>
                </a:ext>
              </a:extLst>
            </p:cNvPr>
            <p:cNvSpPr txBox="1"/>
            <p:nvPr/>
          </p:nvSpPr>
          <p:spPr>
            <a:xfrm>
              <a:off x="529354" y="2757260"/>
              <a:ext cx="1069990" cy="824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aise Change Requests</a:t>
              </a: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73FB919-FD1B-E6B2-1737-F96AD14BEE2F}"/>
              </a:ext>
            </a:extLst>
          </p:cNvPr>
          <p:cNvGrpSpPr/>
          <p:nvPr/>
        </p:nvGrpSpPr>
        <p:grpSpPr>
          <a:xfrm>
            <a:off x="1315260" y="2650539"/>
            <a:ext cx="631639" cy="349702"/>
            <a:chOff x="399776" y="2749834"/>
            <a:chExt cx="1343026" cy="132604"/>
          </a:xfrm>
        </p:grpSpPr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A53B78B1-068D-6FFC-291F-9D391FDC343F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A75C986B-EEDE-49CB-9CB3-557BF04C7E8D}"/>
                </a:ext>
              </a:extLst>
            </p:cNvPr>
            <p:cNvSpPr txBox="1"/>
            <p:nvPr/>
          </p:nvSpPr>
          <p:spPr>
            <a:xfrm>
              <a:off x="527862" y="2749834"/>
              <a:ext cx="1069989" cy="13260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Assess current EDR capabilities/configuration		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15BB4301-C7C3-3E2B-BE3E-33661DC82B80}"/>
              </a:ext>
            </a:extLst>
          </p:cNvPr>
          <p:cNvGrpSpPr/>
          <p:nvPr/>
        </p:nvGrpSpPr>
        <p:grpSpPr>
          <a:xfrm>
            <a:off x="3741444" y="3413953"/>
            <a:ext cx="1083167" cy="257368"/>
            <a:chOff x="399776" y="2757260"/>
            <a:chExt cx="1343026" cy="82453"/>
          </a:xfrm>
        </p:grpSpPr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CDE6026-2816-8049-CCF5-C0294BD024E3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D24FCBD1-6AAA-A759-87F1-8F5AD6356750}"/>
                </a:ext>
              </a:extLst>
            </p:cNvPr>
            <p:cNvSpPr txBox="1"/>
            <p:nvPr/>
          </p:nvSpPr>
          <p:spPr>
            <a:xfrm>
              <a:off x="529354" y="2757260"/>
              <a:ext cx="1069990" cy="824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aise Change Requests</a:t>
              </a: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E1EBB4C3-721F-34EF-F373-8A3E3CDABBC1}"/>
              </a:ext>
            </a:extLst>
          </p:cNvPr>
          <p:cNvSpPr txBox="1"/>
          <p:nvPr/>
        </p:nvSpPr>
        <p:spPr>
          <a:xfrm>
            <a:off x="2107379" y="3860917"/>
            <a:ext cx="48159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Solution Desig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Draft</a:t>
            </a:r>
          </a:p>
        </p:txBody>
      </p:sp>
      <p:sp>
        <p:nvSpPr>
          <p:cNvPr id="135" name="Diamond 134">
            <a:extLst>
              <a:ext uri="{FF2B5EF4-FFF2-40B4-BE49-F238E27FC236}">
                <a16:creationId xmlns:a16="http://schemas.microsoft.com/office/drawing/2014/main" id="{BBF6F14D-5721-1469-0DE7-CCCB97071C77}"/>
              </a:ext>
            </a:extLst>
          </p:cNvPr>
          <p:cNvSpPr/>
          <p:nvPr/>
        </p:nvSpPr>
        <p:spPr>
          <a:xfrm>
            <a:off x="2483677" y="3906819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730BC334-823F-9132-9DB4-64DB19DE1030}"/>
              </a:ext>
            </a:extLst>
          </p:cNvPr>
          <p:cNvGrpSpPr/>
          <p:nvPr/>
        </p:nvGrpSpPr>
        <p:grpSpPr>
          <a:xfrm>
            <a:off x="2017934" y="2648803"/>
            <a:ext cx="631639" cy="482052"/>
            <a:chOff x="399776" y="2749834"/>
            <a:chExt cx="1343026" cy="202627"/>
          </a:xfrm>
        </p:grpSpPr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7CBE928D-642D-69E4-4010-37C6328F20D6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BC4837DB-3CCE-57F8-550E-E66C800AE8A5}"/>
                </a:ext>
              </a:extLst>
            </p:cNvPr>
            <p:cNvSpPr txBox="1"/>
            <p:nvPr/>
          </p:nvSpPr>
          <p:spPr>
            <a:xfrm>
              <a:off x="527862" y="2749834"/>
              <a:ext cx="1069989" cy="20262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Environment Readiness workshop		</a:t>
              </a: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0AF062A3-9FFA-77E4-FC37-7155F5480881}"/>
              </a:ext>
            </a:extLst>
          </p:cNvPr>
          <p:cNvGrpSpPr/>
          <p:nvPr/>
        </p:nvGrpSpPr>
        <p:grpSpPr>
          <a:xfrm>
            <a:off x="1310980" y="2961631"/>
            <a:ext cx="980018" cy="257369"/>
            <a:chOff x="399776" y="2719439"/>
            <a:chExt cx="1343026" cy="168799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E6C59E82-E635-E76B-FF2C-ECCD78D7A229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A3CE1B55-ABB5-E114-FC09-3967896CE2D7}"/>
                </a:ext>
              </a:extLst>
            </p:cNvPr>
            <p:cNvSpPr txBox="1"/>
            <p:nvPr/>
          </p:nvSpPr>
          <p:spPr>
            <a:xfrm>
              <a:off x="632256" y="2719439"/>
              <a:ext cx="844050" cy="1687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Solution Design Workshop</a:t>
              </a:r>
            </a:p>
          </p:txBody>
        </p:sp>
      </p:grpSp>
      <p:sp>
        <p:nvSpPr>
          <p:cNvPr id="139" name="TextBox 138">
            <a:extLst>
              <a:ext uri="{FF2B5EF4-FFF2-40B4-BE49-F238E27FC236}">
                <a16:creationId xmlns:a16="http://schemas.microsoft.com/office/drawing/2014/main" id="{EDF8F6FB-3C6F-DF61-4DCF-1406D52C2EA3}"/>
              </a:ext>
            </a:extLst>
          </p:cNvPr>
          <p:cNvSpPr txBox="1"/>
          <p:nvPr/>
        </p:nvSpPr>
        <p:spPr>
          <a:xfrm>
            <a:off x="3711854" y="4175657"/>
            <a:ext cx="49854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Approved Solution Design</a:t>
            </a:r>
          </a:p>
        </p:txBody>
      </p:sp>
      <p:sp>
        <p:nvSpPr>
          <p:cNvPr id="140" name="Diamond 139">
            <a:extLst>
              <a:ext uri="{FF2B5EF4-FFF2-40B4-BE49-F238E27FC236}">
                <a16:creationId xmlns:a16="http://schemas.microsoft.com/office/drawing/2014/main" id="{B1F0B80C-64BF-5D9A-3DA5-D162B183B385}"/>
              </a:ext>
            </a:extLst>
          </p:cNvPr>
          <p:cNvSpPr/>
          <p:nvPr/>
        </p:nvSpPr>
        <p:spPr>
          <a:xfrm>
            <a:off x="4136913" y="4221559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4E46560-C477-4133-A015-9D68CDF75B44}"/>
              </a:ext>
            </a:extLst>
          </p:cNvPr>
          <p:cNvSpPr txBox="1"/>
          <p:nvPr/>
        </p:nvSpPr>
        <p:spPr>
          <a:xfrm>
            <a:off x="2128339" y="4169230"/>
            <a:ext cx="37848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Test Pl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Draft</a:t>
            </a:r>
          </a:p>
        </p:txBody>
      </p:sp>
      <p:sp>
        <p:nvSpPr>
          <p:cNvPr id="142" name="Diamond 141">
            <a:extLst>
              <a:ext uri="{FF2B5EF4-FFF2-40B4-BE49-F238E27FC236}">
                <a16:creationId xmlns:a16="http://schemas.microsoft.com/office/drawing/2014/main" id="{1EF1DC64-D8A2-5CB3-750F-92B4726EEAAF}"/>
              </a:ext>
            </a:extLst>
          </p:cNvPr>
          <p:cNvSpPr/>
          <p:nvPr/>
        </p:nvSpPr>
        <p:spPr>
          <a:xfrm>
            <a:off x="2481040" y="4215132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4061BF53-CAA1-9338-0CC1-4B0EFF841859}"/>
              </a:ext>
            </a:extLst>
          </p:cNvPr>
          <p:cNvGrpSpPr/>
          <p:nvPr/>
        </p:nvGrpSpPr>
        <p:grpSpPr>
          <a:xfrm>
            <a:off x="2721675" y="2961662"/>
            <a:ext cx="1101291" cy="442033"/>
            <a:chOff x="515944" y="2780423"/>
            <a:chExt cx="1138457" cy="59062"/>
          </a:xfrm>
        </p:grpSpPr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519841C-A33E-CE6E-B46A-95C8194D1D68}"/>
                </a:ext>
              </a:extLst>
            </p:cNvPr>
            <p:cNvCxnSpPr>
              <a:cxnSpLocks/>
            </p:cNvCxnSpPr>
            <p:nvPr/>
          </p:nvCxnSpPr>
          <p:spPr>
            <a:xfrm>
              <a:off x="515944" y="2793063"/>
              <a:ext cx="1138457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53852E0E-9A0E-FF06-C7EA-B81C28C613B0}"/>
                </a:ext>
              </a:extLst>
            </p:cNvPr>
            <p:cNvSpPr txBox="1"/>
            <p:nvPr/>
          </p:nvSpPr>
          <p:spPr>
            <a:xfrm>
              <a:off x="604338" y="2780423"/>
              <a:ext cx="961668" cy="5906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kern="0" dirty="0">
                  <a:solidFill>
                    <a:srgbClr val="FF5800"/>
                  </a:solidFill>
                  <a:latin typeface="Graphik" panose="020B0503030202060203"/>
                </a:rPr>
                <a:t>Review design with Architecture Board</a:t>
              </a:r>
              <a:endParaRPr kumimoji="0" lang="en-AU" sz="600" b="0" i="0" u="none" strike="noStrike" kern="0" cap="none" spc="0" normalizeH="0" baseline="0" noProof="0" dirty="0">
                <a:ln>
                  <a:noFill/>
                </a:ln>
                <a:solidFill>
                  <a:srgbClr val="FF5800"/>
                </a:solidFill>
                <a:effectLst/>
                <a:uLnTx/>
                <a:uFillTx/>
                <a:latin typeface="Graphik" panose="020B0503030202060203"/>
              </a:endParaRPr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:a16="http://schemas.microsoft.com/office/drawing/2014/main" id="{941E5656-F139-D609-9694-9A327BFAFEFB}"/>
              </a:ext>
            </a:extLst>
          </p:cNvPr>
          <p:cNvSpPr txBox="1"/>
          <p:nvPr/>
        </p:nvSpPr>
        <p:spPr>
          <a:xfrm>
            <a:off x="3711855" y="4643136"/>
            <a:ext cx="50829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Approved Test Plan</a:t>
            </a:r>
          </a:p>
        </p:txBody>
      </p:sp>
      <p:sp>
        <p:nvSpPr>
          <p:cNvPr id="272" name="Diamond 271">
            <a:extLst>
              <a:ext uri="{FF2B5EF4-FFF2-40B4-BE49-F238E27FC236}">
                <a16:creationId xmlns:a16="http://schemas.microsoft.com/office/drawing/2014/main" id="{D41A9EA9-6067-E744-B33B-01F0818D8ADC}"/>
              </a:ext>
            </a:extLst>
          </p:cNvPr>
          <p:cNvSpPr/>
          <p:nvPr/>
        </p:nvSpPr>
        <p:spPr>
          <a:xfrm>
            <a:off x="4130754" y="4689038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EB410FD9-1075-CD97-5901-8EEA00F498A3}"/>
              </a:ext>
            </a:extLst>
          </p:cNvPr>
          <p:cNvSpPr txBox="1"/>
          <p:nvPr/>
        </p:nvSpPr>
        <p:spPr>
          <a:xfrm>
            <a:off x="2136289" y="4467023"/>
            <a:ext cx="383705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Env Readines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Draft</a:t>
            </a:r>
          </a:p>
        </p:txBody>
      </p:sp>
      <p:sp>
        <p:nvSpPr>
          <p:cNvPr id="274" name="Diamond 273">
            <a:extLst>
              <a:ext uri="{FF2B5EF4-FFF2-40B4-BE49-F238E27FC236}">
                <a16:creationId xmlns:a16="http://schemas.microsoft.com/office/drawing/2014/main" id="{8DE11D80-8912-62C4-9BFD-81462C6C9E8F}"/>
              </a:ext>
            </a:extLst>
          </p:cNvPr>
          <p:cNvSpPr/>
          <p:nvPr/>
        </p:nvSpPr>
        <p:spPr>
          <a:xfrm>
            <a:off x="2486262" y="4481121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E9E0D50-931F-187B-553D-C1080AC4E3EC}"/>
              </a:ext>
            </a:extLst>
          </p:cNvPr>
          <p:cNvGrpSpPr/>
          <p:nvPr/>
        </p:nvGrpSpPr>
        <p:grpSpPr>
          <a:xfrm>
            <a:off x="3440006" y="3188584"/>
            <a:ext cx="661974" cy="151665"/>
            <a:chOff x="399776" y="2757260"/>
            <a:chExt cx="1343026" cy="56923"/>
          </a:xfrm>
        </p:grpSpPr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104834ED-952A-FBFE-2C08-DB1073A865F3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197D0516-5D7C-0E3C-265A-C05AD3503E3B}"/>
                </a:ext>
              </a:extLst>
            </p:cNvPr>
            <p:cNvSpPr txBox="1"/>
            <p:nvPr/>
          </p:nvSpPr>
          <p:spPr>
            <a:xfrm>
              <a:off x="529353" y="2757260"/>
              <a:ext cx="1069989" cy="5692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kern="0" dirty="0">
                  <a:solidFill>
                    <a:srgbClr val="FF5800"/>
                  </a:solidFill>
                  <a:latin typeface="Graphik" panose="020B0503030202060203"/>
                </a:rPr>
                <a:t>Identify 10 Pilot Servers</a:t>
              </a:r>
            </a:p>
          </p:txBody>
        </p:sp>
      </p:grp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213B4B84-7230-BA7B-05E1-0829E4A6CED0}"/>
              </a:ext>
            </a:extLst>
          </p:cNvPr>
          <p:cNvGrpSpPr/>
          <p:nvPr/>
        </p:nvGrpSpPr>
        <p:grpSpPr>
          <a:xfrm>
            <a:off x="3449911" y="3834956"/>
            <a:ext cx="677971" cy="349702"/>
            <a:chOff x="399776" y="2757260"/>
            <a:chExt cx="1343026" cy="112034"/>
          </a:xfrm>
        </p:grpSpPr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2183101C-F614-E45F-C82C-56BA5F5DFC89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E1A1AA71-CF40-04C6-EFBA-C3E1B5248DC4}"/>
                </a:ext>
              </a:extLst>
            </p:cNvPr>
            <p:cNvSpPr txBox="1"/>
            <p:nvPr/>
          </p:nvSpPr>
          <p:spPr>
            <a:xfrm>
              <a:off x="529354" y="2757260"/>
              <a:ext cx="1069990" cy="11203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raphik" panose="020B0503030202060203"/>
                </a:rPr>
                <a:t>Close Design, Test Plan Documents</a:t>
              </a:r>
            </a:p>
          </p:txBody>
        </p:sp>
      </p:grpSp>
      <p:grpSp>
        <p:nvGrpSpPr>
          <p:cNvPr id="281" name="Group 280">
            <a:extLst>
              <a:ext uri="{FF2B5EF4-FFF2-40B4-BE49-F238E27FC236}">
                <a16:creationId xmlns:a16="http://schemas.microsoft.com/office/drawing/2014/main" id="{95448990-7A95-704A-881C-C32F29F9B577}"/>
              </a:ext>
            </a:extLst>
          </p:cNvPr>
          <p:cNvGrpSpPr/>
          <p:nvPr/>
        </p:nvGrpSpPr>
        <p:grpSpPr>
          <a:xfrm>
            <a:off x="5549688" y="4322324"/>
            <a:ext cx="1339207" cy="232955"/>
            <a:chOff x="399776" y="2757260"/>
            <a:chExt cx="1343026" cy="86563"/>
          </a:xfrm>
        </p:grpSpPr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C023C748-5234-6A80-C9D6-A55306C2797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DB15C0A1-873D-604C-6653-2772DA5EDE0D}"/>
                </a:ext>
              </a:extLst>
            </p:cNvPr>
            <p:cNvSpPr txBox="1"/>
            <p:nvPr/>
          </p:nvSpPr>
          <p:spPr>
            <a:xfrm>
              <a:off x="529352" y="2757260"/>
              <a:ext cx="1069989" cy="865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ed Cloak functional testing</a:t>
              </a:r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590566FF-4B79-614A-B459-AB888A9A18C1}"/>
              </a:ext>
            </a:extLst>
          </p:cNvPr>
          <p:cNvGrpSpPr/>
          <p:nvPr/>
        </p:nvGrpSpPr>
        <p:grpSpPr>
          <a:xfrm>
            <a:off x="5565624" y="4624636"/>
            <a:ext cx="1309993" cy="257369"/>
            <a:chOff x="399776" y="2757260"/>
            <a:chExt cx="1343026" cy="86563"/>
          </a:xfrm>
        </p:grpSpPr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A5CB9B4-BC1F-E84B-B273-F8894D7F531B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AE950A21-0424-F9AE-3006-F45B993D8687}"/>
                </a:ext>
              </a:extLst>
            </p:cNvPr>
            <p:cNvSpPr txBox="1"/>
            <p:nvPr/>
          </p:nvSpPr>
          <p:spPr>
            <a:xfrm>
              <a:off x="529352" y="2757260"/>
              <a:ext cx="1069989" cy="865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Troubleshoot issues and document</a:t>
              </a:r>
            </a:p>
          </p:txBody>
        </p:sp>
      </p:grp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025858DE-3943-6EF3-FC22-08237A5FD3E1}"/>
              </a:ext>
            </a:extLst>
          </p:cNvPr>
          <p:cNvGrpSpPr/>
          <p:nvPr/>
        </p:nvGrpSpPr>
        <p:grpSpPr>
          <a:xfrm>
            <a:off x="7027820" y="4639977"/>
            <a:ext cx="1403742" cy="231386"/>
            <a:chOff x="399776" y="2757260"/>
            <a:chExt cx="1343026" cy="130580"/>
          </a:xfrm>
        </p:grpSpPr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96E73290-160B-4FAB-7062-1B13389E3010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4B1EF404-EF5D-DA6A-14FA-D07A3DB7415D}"/>
                </a:ext>
              </a:extLst>
            </p:cNvPr>
            <p:cNvSpPr txBox="1"/>
            <p:nvPr/>
          </p:nvSpPr>
          <p:spPr>
            <a:xfrm>
              <a:off x="529354" y="2757260"/>
              <a:ext cx="1069988" cy="13058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Deploy Red Cloak on remaining 40 Servers</a:t>
              </a: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B6973F07-C85D-CFB9-9EF6-D9594A915815}"/>
              </a:ext>
            </a:extLst>
          </p:cNvPr>
          <p:cNvGrpSpPr/>
          <p:nvPr/>
        </p:nvGrpSpPr>
        <p:grpSpPr>
          <a:xfrm>
            <a:off x="7020814" y="4861811"/>
            <a:ext cx="1471050" cy="216722"/>
            <a:chOff x="399776" y="2757260"/>
            <a:chExt cx="1343026" cy="86563"/>
          </a:xfrm>
        </p:grpSpPr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A24CD537-9B88-D4B1-3CC6-09C53B07A971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2927FBC1-977A-D31E-9CA0-F8311447C223}"/>
                </a:ext>
              </a:extLst>
            </p:cNvPr>
            <p:cNvSpPr txBox="1"/>
            <p:nvPr/>
          </p:nvSpPr>
          <p:spPr>
            <a:xfrm>
              <a:off x="529352" y="2757260"/>
              <a:ext cx="1069989" cy="865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Red Cloak functional testing</a:t>
              </a:r>
            </a:p>
          </p:txBody>
        </p:sp>
      </p:grpSp>
      <p:sp>
        <p:nvSpPr>
          <p:cNvPr id="296" name="TextBox 295">
            <a:extLst>
              <a:ext uri="{FF2B5EF4-FFF2-40B4-BE49-F238E27FC236}">
                <a16:creationId xmlns:a16="http://schemas.microsoft.com/office/drawing/2014/main" id="{1B2AE4B7-1BA2-0A6A-0371-028999A7F809}"/>
              </a:ext>
            </a:extLst>
          </p:cNvPr>
          <p:cNvSpPr txBox="1"/>
          <p:nvPr/>
        </p:nvSpPr>
        <p:spPr>
          <a:xfrm>
            <a:off x="9126263" y="4147473"/>
            <a:ext cx="695319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r">
              <a:defRPr sz="6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</a:rPr>
              <a:t>Red Cloak deployment on 50 Servers Complete</a:t>
            </a:r>
          </a:p>
        </p:txBody>
      </p:sp>
      <p:sp>
        <p:nvSpPr>
          <p:cNvPr id="297" name="Diamond 296">
            <a:extLst>
              <a:ext uri="{FF2B5EF4-FFF2-40B4-BE49-F238E27FC236}">
                <a16:creationId xmlns:a16="http://schemas.microsoft.com/office/drawing/2014/main" id="{5ED92BB7-9BFD-D2BF-B26B-2EB36C6B3BDA}"/>
              </a:ext>
            </a:extLst>
          </p:cNvPr>
          <p:cNvSpPr/>
          <p:nvPr/>
        </p:nvSpPr>
        <p:spPr>
          <a:xfrm>
            <a:off x="9040610" y="4250618"/>
            <a:ext cx="146948" cy="146948"/>
          </a:xfrm>
          <a:prstGeom prst="diamond">
            <a:avLst/>
          </a:prstGeom>
          <a:solidFill>
            <a:srgbClr val="008C9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/>
            </a:endParaRP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DE7CD211-E666-2A31-0E33-F86435A03F50}"/>
              </a:ext>
            </a:extLst>
          </p:cNvPr>
          <p:cNvGrpSpPr/>
          <p:nvPr/>
        </p:nvGrpSpPr>
        <p:grpSpPr>
          <a:xfrm>
            <a:off x="7035295" y="3730778"/>
            <a:ext cx="2065835" cy="165036"/>
            <a:chOff x="690562" y="2721708"/>
            <a:chExt cx="1343026" cy="134130"/>
          </a:xfrm>
        </p:grpSpPr>
        <p:cxnSp>
          <p:nvCxnSpPr>
            <p:cNvPr id="299" name="Straight Connector 298">
              <a:extLst>
                <a:ext uri="{FF2B5EF4-FFF2-40B4-BE49-F238E27FC236}">
                  <a16:creationId xmlns:a16="http://schemas.microsoft.com/office/drawing/2014/main" id="{3EA41E37-6B92-4331-A997-FC4AFA09FB4F}"/>
                </a:ext>
              </a:extLst>
            </p:cNvPr>
            <p:cNvCxnSpPr>
              <a:cxnSpLocks/>
            </p:cNvCxnSpPr>
            <p:nvPr/>
          </p:nvCxnSpPr>
          <p:spPr>
            <a:xfrm>
              <a:off x="690562" y="2791427"/>
              <a:ext cx="1343026" cy="0"/>
            </a:xfrm>
            <a:prstGeom prst="line">
              <a:avLst/>
            </a:prstGeom>
            <a:noFill/>
            <a:ln w="12700" cap="flat" cmpd="sng" algn="ctr">
              <a:solidFill>
                <a:srgbClr val="FF5800"/>
              </a:solidFill>
              <a:prstDash val="solid"/>
              <a:miter lim="800000"/>
              <a:headEnd type="oval"/>
              <a:tailEnd type="oval"/>
            </a:ln>
            <a:effectLst/>
          </p:spPr>
        </p:cxn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DDF024D4-1AB9-BF63-EEAA-929AF8C60BE3}"/>
                </a:ext>
              </a:extLst>
            </p:cNvPr>
            <p:cNvSpPr txBox="1"/>
            <p:nvPr/>
          </p:nvSpPr>
          <p:spPr>
            <a:xfrm>
              <a:off x="929008" y="2721708"/>
              <a:ext cx="793729" cy="13413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Graphik" panose="020B0503030202060203"/>
                </a:rPr>
                <a:t>Communication to App Own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01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7D439D-8B01-47E4-B81F-96B25D9ECB51}" type="slidenum"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Graphik" panose="020B0503030202060203" pitchFamily="34" charset="0"/>
                <a:cs typeface="Arial" pitchFamily="51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Graphik" panose="020B0503030202060203" pitchFamily="34" charset="0"/>
              <a:cs typeface="Arial" pitchFamily="51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E5CFC-758F-4324-B229-17DADAC54200}"/>
              </a:ext>
            </a:extLst>
          </p:cNvPr>
          <p:cNvGrpSpPr/>
          <p:nvPr/>
        </p:nvGrpSpPr>
        <p:grpSpPr>
          <a:xfrm>
            <a:off x="553944" y="255297"/>
            <a:ext cx="11511976" cy="902059"/>
            <a:chOff x="0" y="0"/>
            <a:chExt cx="12192000" cy="90205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E5D31FB-6D48-436F-8DC7-DBA8708A91DE}"/>
                </a:ext>
              </a:extLst>
            </p:cNvPr>
            <p:cNvSpPr/>
            <p:nvPr/>
          </p:nvSpPr>
          <p:spPr>
            <a:xfrm rot="5400000">
              <a:off x="5667829" y="-5667829"/>
              <a:ext cx="856342" cy="12192000"/>
            </a:xfrm>
            <a:prstGeom prst="rect">
              <a:avLst/>
            </a:prstGeom>
            <a:solidFill>
              <a:srgbClr val="002C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F2C78C-7CF5-4F67-AA45-1CD5E34E0E8C}"/>
                </a:ext>
              </a:extLst>
            </p:cNvPr>
            <p:cNvSpPr txBox="1"/>
            <p:nvPr/>
          </p:nvSpPr>
          <p:spPr>
            <a:xfrm>
              <a:off x="133404" y="166561"/>
              <a:ext cx="11926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ea typeface="Geneva"/>
                </a:rPr>
                <a:t>Project Resourcing</a:t>
              </a:r>
              <a:endPara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05B82F-8FAB-4DB2-A264-DC304D974783}"/>
                </a:ext>
              </a:extLst>
            </p:cNvPr>
            <p:cNvSpPr/>
            <p:nvPr/>
          </p:nvSpPr>
          <p:spPr>
            <a:xfrm flipV="1">
              <a:off x="0" y="856340"/>
              <a:ext cx="12192000" cy="45719"/>
            </a:xfrm>
            <a:prstGeom prst="rect">
              <a:avLst/>
            </a:prstGeom>
            <a:solidFill>
              <a:srgbClr val="4D6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Geneva"/>
              </a:endParaRP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9EC8CEE-C01A-2708-02BD-F7356B08A5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8985117"/>
              </p:ext>
            </p:extLst>
          </p:nvPr>
        </p:nvGraphicFramePr>
        <p:xfrm>
          <a:off x="553943" y="1329638"/>
          <a:ext cx="11511975" cy="3382852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916251">
                  <a:extLst>
                    <a:ext uri="{9D8B030D-6E8A-4147-A177-3AD203B41FA5}">
                      <a16:colId xmlns:a16="http://schemas.microsoft.com/office/drawing/2014/main" val="4066848765"/>
                    </a:ext>
                  </a:extLst>
                </a:gridCol>
                <a:gridCol w="1851266">
                  <a:extLst>
                    <a:ext uri="{9D8B030D-6E8A-4147-A177-3AD203B41FA5}">
                      <a16:colId xmlns:a16="http://schemas.microsoft.com/office/drawing/2014/main" val="3134356632"/>
                    </a:ext>
                  </a:extLst>
                </a:gridCol>
                <a:gridCol w="2704904">
                  <a:extLst>
                    <a:ext uri="{9D8B030D-6E8A-4147-A177-3AD203B41FA5}">
                      <a16:colId xmlns:a16="http://schemas.microsoft.com/office/drawing/2014/main" val="1041365458"/>
                    </a:ext>
                  </a:extLst>
                </a:gridCol>
                <a:gridCol w="5039554">
                  <a:extLst>
                    <a:ext uri="{9D8B030D-6E8A-4147-A177-3AD203B41FA5}">
                      <a16:colId xmlns:a16="http://schemas.microsoft.com/office/drawing/2014/main" val="1342210508"/>
                    </a:ext>
                  </a:extLst>
                </a:gridCol>
              </a:tblGrid>
              <a:tr h="382814">
                <a:tc gridSpan="2">
                  <a:txBody>
                    <a:bodyPr/>
                    <a:lstStyle/>
                    <a:p>
                      <a:r>
                        <a:rPr lang="en-AU" sz="1400" b="1" dirty="0">
                          <a:solidFill>
                            <a:schemeClr val="bg1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oject roles – Avanade/Accentur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AU" sz="1400" dirty="0">
                          <a:solidFill>
                            <a:schemeClr val="bg1"/>
                          </a:solidFill>
                          <a:latin typeface="Graphik" panose="020B0503030202060203"/>
                        </a:rPr>
                        <a:t>Team Member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44748"/>
                  </a:ext>
                </a:extLst>
              </a:tr>
              <a:tr h="400777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Technical Lead</a:t>
                      </a:r>
                      <a:endParaRPr lang="en-AU" sz="1200" b="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A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All spri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pt-BR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Hitender Yadav</a:t>
                      </a:r>
                      <a:endParaRPr kumimoji="0" lang="en-AU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raphik" panose="020B0503030202060203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ovide technical guidance, define and manage technical gates</a:t>
                      </a:r>
                    </a:p>
                    <a:p>
                      <a:r>
                        <a:rPr lang="en-AU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Track activities and prepare the rollout plan (with Project Manager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028114"/>
                  </a:ext>
                </a:extLst>
              </a:tr>
              <a:tr h="567392"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cs typeface="Segoe UI Light" panose="020B0502040204020203" pitchFamily="34" charset="0"/>
                        </a:rPr>
                        <a:t>Security Consultant</a:t>
                      </a:r>
                    </a:p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Workstream Lea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Workstream 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Alex Bondarenk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Analyse vulnerability on servers, build fixes, roll back procedures and artefacts. Develop pathway for patch fixes to be deployed by Ansib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735201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ecurity Consultant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Workstream Lea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Workstream 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Achroo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raphik" panose="020B0503030202060203"/>
                          <a:ea typeface="+mn-ea"/>
                          <a:cs typeface="Segoe UI Light" panose="020B0502040204020203" pitchFamily="34" charset="0"/>
                        </a:rPr>
                        <a:t> Batta 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rgbClr val="000000"/>
                        </a:solidFill>
                        <a:latin typeface="Graphik" panose="020B0503030202060203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Test vulnerability fixes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Assess impact with fix deployment on critical workloads. Assist app owners in testing post fix</a:t>
                      </a:r>
                    </a:p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upport/Run fix deployment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4008"/>
                  </a:ext>
                </a:extLst>
              </a:tr>
              <a:tr h="428791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ecurity Analy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Workstream 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rabjot Kau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Obtain handovers of NTLM (I4.3) and Clear Text (A3.1) from Pilot. Assist in comms to App owners and raise change requests. Perform all admin task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229831"/>
                  </a:ext>
                </a:extLst>
              </a:tr>
              <a:tr h="695286"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Security Analy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Workstream 2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Pooja Tyagi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1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latin typeface="Graphik" panose="020B0503030202060203"/>
                          <a:cs typeface="Segoe UI Light" panose="020B0502040204020203" pitchFamily="34" charset="0"/>
                        </a:rPr>
                        <a:t>Obtain handovers of NTLM (I4.3) and Clear Text (A3.1) from Pilot. Assist in comms to App owners and raise change requests. Perform all admin task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11461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E5AF445-A284-B7AB-AF11-7B822B0937D8}"/>
              </a:ext>
            </a:extLst>
          </p:cNvPr>
          <p:cNvSpPr txBox="1"/>
          <p:nvPr/>
        </p:nvSpPr>
        <p:spPr>
          <a:xfrm>
            <a:off x="8315865" y="5746363"/>
            <a:ext cx="3367150" cy="815608"/>
          </a:xfrm>
          <a:prstGeom prst="rect">
            <a:avLst/>
          </a:prstGeom>
          <a:solidFill>
            <a:srgbClr val="EDEDED">
              <a:lumMod val="9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Legen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raphik" panose="020B0503030202060203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Workstreams coverage:</a:t>
            </a: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Workstream1: I4.2 –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WDigest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, I4.3 – NTLMV2, I4.4 – NetBIOS</a:t>
            </a:r>
          </a:p>
          <a:p>
            <a:pPr marL="177800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raphik" panose="020B0503030202060203"/>
                <a:cs typeface="Arial" panose="020B0604020202020204" pitchFamily="34" charset="0"/>
              </a:rPr>
              <a:t>Workstream2: I4.5 – PowerShell, A3.1 – Clear Text</a:t>
            </a:r>
            <a:endParaRPr kumimoji="0" lang="en-AU" sz="9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Graphik" panose="020B0503030202060203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842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vers">
  <a:themeElements>
    <a:clrScheme name="Rio Tinto">
      <a:dk1>
        <a:srgbClr val="4D4D4D"/>
      </a:dk1>
      <a:lt1>
        <a:srgbClr val="FFFFFF"/>
      </a:lt1>
      <a:dk2>
        <a:srgbClr val="002C5F"/>
      </a:dk2>
      <a:lt2>
        <a:srgbClr val="E7E6E6"/>
      </a:lt2>
      <a:accent1>
        <a:srgbClr val="009536"/>
      </a:accent1>
      <a:accent2>
        <a:srgbClr val="EE7700"/>
      </a:accent2>
      <a:accent3>
        <a:srgbClr val="6F1B91"/>
      </a:accent3>
      <a:accent4>
        <a:srgbClr val="2F9191"/>
      </a:accent4>
      <a:accent5>
        <a:srgbClr val="A11588"/>
      </a:accent5>
      <a:accent6>
        <a:srgbClr val="D60057"/>
      </a:accent6>
      <a:hlink>
        <a:srgbClr val="004F9A"/>
      </a:hlink>
      <a:folHlink>
        <a:srgbClr val="0383D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4D4D4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 anchor="t" anchorCtr="0">
        <a:spAutoFit/>
      </a:bodyPr>
      <a:lstStyle>
        <a:defPPr algn="l">
          <a:lnSpc>
            <a:spcPts val="1650"/>
          </a:lnSpc>
          <a:spcAft>
            <a:spcPts val="1000"/>
          </a:spcAft>
          <a:defRPr sz="1500" dirty="0" err="1" smtClean="0">
            <a:solidFill>
              <a:srgbClr val="4D4D4D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Red">
      <a:srgbClr val="E60D2E"/>
    </a:custClr>
    <a:custClr name="Mid Blue">
      <a:srgbClr val="004F9A"/>
    </a:custClr>
    <a:custClr name="Light Blue">
      <a:srgbClr val="0384DB"/>
    </a:custClr>
  </a:custClrLst>
  <a:extLst>
    <a:ext uri="{05A4C25C-085E-4340-85A3-A5531E510DB2}">
      <thm15:themeFamily xmlns:thm15="http://schemas.microsoft.com/office/thememl/2012/main" name="RT_PPT_Template_2020_Example-Slides" id="{60654AB1-58F1-7743-A689-DDEC41BCC126}" vid="{2B48148D-3958-384A-AC06-AA56A78C8A89}"/>
    </a:ext>
  </a:extLst>
</a:theme>
</file>

<file path=ppt/theme/theme2.xml><?xml version="1.0" encoding="utf-8"?>
<a:theme xmlns:a="http://schemas.openxmlformats.org/drawingml/2006/main" name="2_Dividers">
  <a:themeElements>
    <a:clrScheme name="Rio Tinto">
      <a:dk1>
        <a:srgbClr val="4D4D4D"/>
      </a:dk1>
      <a:lt1>
        <a:srgbClr val="FFFFFF"/>
      </a:lt1>
      <a:dk2>
        <a:srgbClr val="002C5F"/>
      </a:dk2>
      <a:lt2>
        <a:srgbClr val="E7E6E6"/>
      </a:lt2>
      <a:accent1>
        <a:srgbClr val="009536"/>
      </a:accent1>
      <a:accent2>
        <a:srgbClr val="EE7700"/>
      </a:accent2>
      <a:accent3>
        <a:srgbClr val="6F1B91"/>
      </a:accent3>
      <a:accent4>
        <a:srgbClr val="2F9191"/>
      </a:accent4>
      <a:accent5>
        <a:srgbClr val="A11588"/>
      </a:accent5>
      <a:accent6>
        <a:srgbClr val="D60057"/>
      </a:accent6>
      <a:hlink>
        <a:srgbClr val="004F9A"/>
      </a:hlink>
      <a:folHlink>
        <a:srgbClr val="0383D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4D4D4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 algn="l">
          <a:defRPr dirty="0" err="1" smtClean="0">
            <a:solidFill>
              <a:srgbClr val="4D4D4D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Red">
      <a:srgbClr val="E60D2E"/>
    </a:custClr>
    <a:custClr name="Mid Blue">
      <a:srgbClr val="004F9A"/>
    </a:custClr>
    <a:custClr name="Light Blue">
      <a:srgbClr val="0384DB"/>
    </a:custClr>
  </a:custClrLst>
  <a:extLst>
    <a:ext uri="{05A4C25C-085E-4340-85A3-A5531E510DB2}">
      <thm15:themeFamily xmlns:thm15="http://schemas.microsoft.com/office/thememl/2012/main" name="RT_PPT_Template_2020_Example-Slides" id="{60654AB1-58F1-7743-A689-DDEC41BCC126}" vid="{508D3584-7DD2-464E-88E8-C655C070505D}"/>
    </a:ext>
  </a:extLst>
</a:theme>
</file>

<file path=ppt/theme/theme3.xml><?xml version="1.0" encoding="utf-8"?>
<a:theme xmlns:a="http://schemas.openxmlformats.org/drawingml/2006/main" name="3_General_Content">
  <a:themeElements>
    <a:clrScheme name="Rio Tinto">
      <a:dk1>
        <a:srgbClr val="4D4D4D"/>
      </a:dk1>
      <a:lt1>
        <a:srgbClr val="FFFFFF"/>
      </a:lt1>
      <a:dk2>
        <a:srgbClr val="002C5F"/>
      </a:dk2>
      <a:lt2>
        <a:srgbClr val="E7E6E6"/>
      </a:lt2>
      <a:accent1>
        <a:srgbClr val="009536"/>
      </a:accent1>
      <a:accent2>
        <a:srgbClr val="EE7700"/>
      </a:accent2>
      <a:accent3>
        <a:srgbClr val="6F1B91"/>
      </a:accent3>
      <a:accent4>
        <a:srgbClr val="2F9191"/>
      </a:accent4>
      <a:accent5>
        <a:srgbClr val="A11588"/>
      </a:accent5>
      <a:accent6>
        <a:srgbClr val="D60057"/>
      </a:accent6>
      <a:hlink>
        <a:srgbClr val="004F9A"/>
      </a:hlink>
      <a:folHlink>
        <a:srgbClr val="0383D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4D4D4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 algn="l">
          <a:defRPr dirty="0" err="1" smtClean="0">
            <a:solidFill>
              <a:srgbClr val="4D4D4D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Red">
      <a:srgbClr val="E60D2E"/>
    </a:custClr>
    <a:custClr name="Mid Blue">
      <a:srgbClr val="004F9A"/>
    </a:custClr>
    <a:custClr name="Light Blue">
      <a:srgbClr val="0384DB"/>
    </a:custClr>
  </a:custClrLst>
  <a:extLst>
    <a:ext uri="{05A4C25C-085E-4340-85A3-A5531E510DB2}">
      <thm15:themeFamily xmlns:thm15="http://schemas.microsoft.com/office/thememl/2012/main" name="RT_PPT_Template_2020_Example-Slides" id="{60654AB1-58F1-7743-A689-DDEC41BCC126}" vid="{F4F41CEB-FA7C-0547-8A74-EC718E37FBD8}"/>
    </a:ext>
  </a:extLst>
</a:theme>
</file>

<file path=ppt/theme/theme4.xml><?xml version="1.0" encoding="utf-8"?>
<a:theme xmlns:a="http://schemas.openxmlformats.org/drawingml/2006/main" name="4_Hero_Image">
  <a:themeElements>
    <a:clrScheme name="Rio Tinto">
      <a:dk1>
        <a:srgbClr val="4D4D4D"/>
      </a:dk1>
      <a:lt1>
        <a:srgbClr val="FFFFFF"/>
      </a:lt1>
      <a:dk2>
        <a:srgbClr val="002C5F"/>
      </a:dk2>
      <a:lt2>
        <a:srgbClr val="E7E6E6"/>
      </a:lt2>
      <a:accent1>
        <a:srgbClr val="009536"/>
      </a:accent1>
      <a:accent2>
        <a:srgbClr val="EE7700"/>
      </a:accent2>
      <a:accent3>
        <a:srgbClr val="6F1B91"/>
      </a:accent3>
      <a:accent4>
        <a:srgbClr val="2F9191"/>
      </a:accent4>
      <a:accent5>
        <a:srgbClr val="A11588"/>
      </a:accent5>
      <a:accent6>
        <a:srgbClr val="D60057"/>
      </a:accent6>
      <a:hlink>
        <a:srgbClr val="004F9A"/>
      </a:hlink>
      <a:folHlink>
        <a:srgbClr val="0383D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4D4D4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 algn="l">
          <a:defRPr dirty="0" err="1" smtClean="0">
            <a:solidFill>
              <a:srgbClr val="4D4D4D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Red">
      <a:srgbClr val="E60D2E"/>
    </a:custClr>
    <a:custClr name="Mid Blue">
      <a:srgbClr val="004F9A"/>
    </a:custClr>
    <a:custClr name="Light Blue">
      <a:srgbClr val="0384DB"/>
    </a:custClr>
  </a:custClrLst>
  <a:extLst>
    <a:ext uri="{05A4C25C-085E-4340-85A3-A5531E510DB2}">
      <thm15:themeFamily xmlns:thm15="http://schemas.microsoft.com/office/thememl/2012/main" name="RT_PPT_Template_2020_Example-Slides" id="{60654AB1-58F1-7743-A689-DDEC41BCC126}" vid="{2340064A-FB88-AC4D-8E11-245C6B755E55}"/>
    </a:ext>
  </a:extLst>
</a:theme>
</file>

<file path=ppt/theme/theme5.xml><?xml version="1.0" encoding="utf-8"?>
<a:theme xmlns:a="http://schemas.openxmlformats.org/drawingml/2006/main" name="1_Rio Tinto 2003 Library">
  <a:themeElements>
    <a:clrScheme name="Rio Tinto 2003 2">
      <a:dk1>
        <a:srgbClr val="646464"/>
      </a:dk1>
      <a:lt1>
        <a:srgbClr val="FFFFFF"/>
      </a:lt1>
      <a:dk2>
        <a:srgbClr val="B9B9B9"/>
      </a:dk2>
      <a:lt2>
        <a:srgbClr val="E60D2E"/>
      </a:lt2>
      <a:accent1>
        <a:srgbClr val="002C5F"/>
      </a:accent1>
      <a:accent2>
        <a:srgbClr val="007EA3"/>
      </a:accent2>
      <a:accent3>
        <a:srgbClr val="FFFFFF"/>
      </a:accent3>
      <a:accent4>
        <a:srgbClr val="545454"/>
      </a:accent4>
      <a:accent5>
        <a:srgbClr val="AAACB6"/>
      </a:accent5>
      <a:accent6>
        <a:srgbClr val="007293"/>
      </a:accent6>
      <a:hlink>
        <a:srgbClr val="70A489"/>
      </a:hlink>
      <a:folHlink>
        <a:srgbClr val="E8CE79"/>
      </a:folHlink>
    </a:clrScheme>
    <a:fontScheme name="Rio Tinto 2003">
      <a:majorFont>
        <a:latin typeface="Arial"/>
        <a:ea typeface="Geneva"/>
        <a:cs typeface="Geneva"/>
      </a:majorFont>
      <a:minorFont>
        <a:latin typeface="Arial"/>
        <a:ea typeface="Geneva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io Tinto 2003 1">
        <a:dk1>
          <a:srgbClr val="646464"/>
        </a:dk1>
        <a:lt1>
          <a:srgbClr val="FFFFFF"/>
        </a:lt1>
        <a:dk2>
          <a:srgbClr val="B9B9B9"/>
        </a:dk2>
        <a:lt2>
          <a:srgbClr val="E60D2E"/>
        </a:lt2>
        <a:accent1>
          <a:srgbClr val="3E5D57"/>
        </a:accent1>
        <a:accent2>
          <a:srgbClr val="CACDA3"/>
        </a:accent2>
        <a:accent3>
          <a:srgbClr val="FFFFFF"/>
        </a:accent3>
        <a:accent4>
          <a:srgbClr val="545454"/>
        </a:accent4>
        <a:accent5>
          <a:srgbClr val="AFB6B4"/>
        </a:accent5>
        <a:accent6>
          <a:srgbClr val="B7BA93"/>
        </a:accent6>
        <a:hlink>
          <a:srgbClr val="FFA100"/>
        </a:hlink>
        <a:folHlink>
          <a:srgbClr val="007E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io Tinto 2003 2">
        <a:dk1>
          <a:srgbClr val="646464"/>
        </a:dk1>
        <a:lt1>
          <a:srgbClr val="FFFFFF"/>
        </a:lt1>
        <a:dk2>
          <a:srgbClr val="B9B9B9"/>
        </a:dk2>
        <a:lt2>
          <a:srgbClr val="E60D2E"/>
        </a:lt2>
        <a:accent1>
          <a:srgbClr val="002C5F"/>
        </a:accent1>
        <a:accent2>
          <a:srgbClr val="007EA3"/>
        </a:accent2>
        <a:accent3>
          <a:srgbClr val="FFFFFF"/>
        </a:accent3>
        <a:accent4>
          <a:srgbClr val="545454"/>
        </a:accent4>
        <a:accent5>
          <a:srgbClr val="AAACB6"/>
        </a:accent5>
        <a:accent6>
          <a:srgbClr val="007293"/>
        </a:accent6>
        <a:hlink>
          <a:srgbClr val="70A489"/>
        </a:hlink>
        <a:folHlink>
          <a:srgbClr val="E8C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Confidential">
  <a:themeElements>
    <a:clrScheme name="Update Avanade">
      <a:dk1>
        <a:srgbClr val="333333"/>
      </a:dk1>
      <a:lt1>
        <a:sysClr val="window" lastClr="FFFFFF"/>
      </a:lt1>
      <a:dk2>
        <a:srgbClr val="FF5800"/>
      </a:dk2>
      <a:lt2>
        <a:srgbClr val="EDEDED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B912A"/>
      </a:accent5>
      <a:accent6>
        <a:srgbClr val="008C95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vanade Aurora PPT Template_2020_Update" id="{396A399F-32CD-4CAD-ADDA-3A3C639379CE}" vid="{85C39173-13B9-42C4-8C73-3DAC1181C12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12CFA-E9AE-4767-8F98-BA5C669D11CA}"/>
</file>

<file path=customXml/itemProps2.xml><?xml version="1.0" encoding="utf-8"?>
<ds:datastoreItem xmlns:ds="http://schemas.openxmlformats.org/officeDocument/2006/customXml" ds:itemID="{1B380BD6-46FC-4BA4-900C-2269310C045A}">
  <ds:schemaRefs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44313e63-dbb0-4447-accb-bf88edb4a23e"/>
    <ds:schemaRef ds:uri="e63b928b-fc86-42f2-8bdf-d3f68a29fe1c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FD236140-59FE-4614-BEE3-6BC06F348DD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S Migration Summary</Template>
  <TotalTime>15588</TotalTime>
  <Words>1958</Words>
  <Application>Microsoft Office PowerPoint</Application>
  <PresentationFormat>Widescreen</PresentationFormat>
  <Paragraphs>427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3" baseType="lpstr">
      <vt:lpstr>Arial</vt:lpstr>
      <vt:lpstr>Calibri</vt:lpstr>
      <vt:lpstr>Courier New</vt:lpstr>
      <vt:lpstr>Graphik</vt:lpstr>
      <vt:lpstr>Lucida Grande</vt:lpstr>
      <vt:lpstr>Segoe UI</vt:lpstr>
      <vt:lpstr>Segoe UI Light</vt:lpstr>
      <vt:lpstr>Segoe UI Semibold</vt:lpstr>
      <vt:lpstr>Segoe UI Semilight</vt:lpstr>
      <vt:lpstr>Selawik Semibold</vt:lpstr>
      <vt:lpstr>Symbol</vt:lpstr>
      <vt:lpstr>System Font Regular</vt:lpstr>
      <vt:lpstr>Verdana</vt:lpstr>
      <vt:lpstr>1_Covers</vt:lpstr>
      <vt:lpstr>2_Dividers</vt:lpstr>
      <vt:lpstr>3_General_Content</vt:lpstr>
      <vt:lpstr>4_Hero_Image</vt:lpstr>
      <vt:lpstr>1_Rio Tinto 2003 Library</vt:lpstr>
      <vt:lpstr>2_Confidential</vt:lpstr>
      <vt:lpstr>think-cell Slide</vt:lpstr>
      <vt:lpstr>SO-S&amp;S-021 Application Server Hardening  Project Kick-Off Meeting</vt:lpstr>
      <vt:lpstr>PowerPoint Presentation</vt:lpstr>
      <vt:lpstr>Our Understanding of the brief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el, Dipan</dc:creator>
  <cp:lastModifiedBy>Hitender Yadav</cp:lastModifiedBy>
  <cp:revision>31</cp:revision>
  <cp:lastPrinted>2020-07-20T16:47:16Z</cp:lastPrinted>
  <dcterms:created xsi:type="dcterms:W3CDTF">2022-03-31T02:11:15Z</dcterms:created>
  <dcterms:modified xsi:type="dcterms:W3CDTF">2022-07-28T06:0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1E2B39043C7E40952DF1086CF29555</vt:lpwstr>
  </property>
</Properties>
</file>